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8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9.xml" ContentType="application/vnd.openxmlformats-officedocument.theme+xml"/>
  <Override PartName="/ppt/tags/tag5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0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1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2.xml" ContentType="application/vnd.openxmlformats-officedocument.theme+xml"/>
  <Override PartName="/ppt/tags/tag6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3.xml" ContentType="application/vnd.openxmlformats-officedocument.theme+xml"/>
  <Override PartName="/ppt/tags/tag7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4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5.xml" ContentType="application/vnd.openxmlformats-officedocument.theme+xml"/>
  <Override PartName="/ppt/tags/tag8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7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4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5.xml" ContentType="application/vnd.openxmlformats-officedocument.presentationml.notesSlide+xml"/>
  <Override PartName="/ppt/tags/tag90.xml" ContentType="application/vnd.openxmlformats-officedocument.presentationml.tags+xml"/>
  <Override PartName="/ppt/notesSlides/notesSlide6.xml" ContentType="application/vnd.openxmlformats-officedocument.presentationml.notesSlide+xml"/>
  <Override PartName="/ppt/tags/tag9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9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9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11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32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33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34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35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37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38.xml" ContentType="application/vnd.openxmlformats-officedocument.presentationml.notesSl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39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697" r:id="rId3"/>
    <p:sldMasterId id="2147483705" r:id="rId4"/>
    <p:sldMasterId id="2147483713" r:id="rId5"/>
    <p:sldMasterId id="2147483720" r:id="rId6"/>
    <p:sldMasterId id="2147483728" r:id="rId7"/>
    <p:sldMasterId id="2147483736" r:id="rId8"/>
    <p:sldMasterId id="2147483744" r:id="rId9"/>
    <p:sldMasterId id="2147483752" r:id="rId10"/>
    <p:sldMasterId id="2147483759" r:id="rId11"/>
    <p:sldMasterId id="2147483767" r:id="rId12"/>
    <p:sldMasterId id="2147483774" r:id="rId13"/>
    <p:sldMasterId id="2147483781" r:id="rId14"/>
    <p:sldMasterId id="2147483788" r:id="rId15"/>
    <p:sldMasterId id="2147483827" r:id="rId16"/>
    <p:sldMasterId id="2147483835" r:id="rId17"/>
    <p:sldMasterId id="2147483843" r:id="rId18"/>
  </p:sldMasterIdLst>
  <p:notesMasterIdLst>
    <p:notesMasterId r:id="rId69"/>
  </p:notesMasterIdLst>
  <p:handoutMasterIdLst>
    <p:handoutMasterId r:id="rId70"/>
  </p:handoutMasterIdLst>
  <p:sldIdLst>
    <p:sldId id="284" r:id="rId19"/>
    <p:sldId id="336" r:id="rId20"/>
    <p:sldId id="365" r:id="rId21"/>
    <p:sldId id="326" r:id="rId22"/>
    <p:sldId id="417" r:id="rId23"/>
    <p:sldId id="353" r:id="rId24"/>
    <p:sldId id="366" r:id="rId25"/>
    <p:sldId id="408" r:id="rId26"/>
    <p:sldId id="409" r:id="rId27"/>
    <p:sldId id="367" r:id="rId28"/>
    <p:sldId id="392" r:id="rId29"/>
    <p:sldId id="406" r:id="rId30"/>
    <p:sldId id="405" r:id="rId31"/>
    <p:sldId id="416" r:id="rId32"/>
    <p:sldId id="369" r:id="rId33"/>
    <p:sldId id="370" r:id="rId34"/>
    <p:sldId id="398" r:id="rId35"/>
    <p:sldId id="393" r:id="rId36"/>
    <p:sldId id="394" r:id="rId37"/>
    <p:sldId id="395" r:id="rId38"/>
    <p:sldId id="396" r:id="rId39"/>
    <p:sldId id="414" r:id="rId40"/>
    <p:sldId id="410" r:id="rId41"/>
    <p:sldId id="411" r:id="rId42"/>
    <p:sldId id="412" r:id="rId43"/>
    <p:sldId id="413" r:id="rId44"/>
    <p:sldId id="397" r:id="rId45"/>
    <p:sldId id="415" r:id="rId46"/>
    <p:sldId id="404" r:id="rId47"/>
    <p:sldId id="418" r:id="rId48"/>
    <p:sldId id="375" r:id="rId49"/>
    <p:sldId id="377" r:id="rId50"/>
    <p:sldId id="378" r:id="rId51"/>
    <p:sldId id="379" r:id="rId52"/>
    <p:sldId id="380" r:id="rId53"/>
    <p:sldId id="381" r:id="rId54"/>
    <p:sldId id="382" r:id="rId55"/>
    <p:sldId id="383" r:id="rId56"/>
    <p:sldId id="384" r:id="rId57"/>
    <p:sldId id="385" r:id="rId58"/>
    <p:sldId id="386" r:id="rId59"/>
    <p:sldId id="387" r:id="rId60"/>
    <p:sldId id="389" r:id="rId61"/>
    <p:sldId id="390" r:id="rId62"/>
    <p:sldId id="391" r:id="rId63"/>
    <p:sldId id="399" r:id="rId64"/>
    <p:sldId id="400" r:id="rId65"/>
    <p:sldId id="401" r:id="rId66"/>
    <p:sldId id="402" r:id="rId67"/>
    <p:sldId id="407" r:id="rId68"/>
  </p:sldIdLst>
  <p:sldSz cx="9906000" cy="6858000" type="A4"/>
  <p:notesSz cx="6858000" cy="9296400"/>
  <p:custDataLst>
    <p:tags r:id="rId7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1157C81-A0D7-4254-8931-C0CAD6CB8102}">
          <p14:sldIdLst>
            <p14:sldId id="284"/>
            <p14:sldId id="336"/>
            <p14:sldId id="365"/>
            <p14:sldId id="326"/>
            <p14:sldId id="417"/>
            <p14:sldId id="353"/>
            <p14:sldId id="366"/>
            <p14:sldId id="408"/>
            <p14:sldId id="409"/>
            <p14:sldId id="367"/>
            <p14:sldId id="392"/>
            <p14:sldId id="406"/>
            <p14:sldId id="405"/>
            <p14:sldId id="416"/>
            <p14:sldId id="369"/>
            <p14:sldId id="370"/>
            <p14:sldId id="398"/>
            <p14:sldId id="393"/>
            <p14:sldId id="394"/>
            <p14:sldId id="395"/>
            <p14:sldId id="396"/>
            <p14:sldId id="414"/>
            <p14:sldId id="410"/>
            <p14:sldId id="411"/>
            <p14:sldId id="412"/>
            <p14:sldId id="413"/>
            <p14:sldId id="397"/>
            <p14:sldId id="415"/>
            <p14:sldId id="404"/>
            <p14:sldId id="418"/>
            <p14:sldId id="375"/>
            <p14:sldId id="377"/>
            <p14:sldId id="378"/>
            <p14:sldId id="379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9"/>
            <p14:sldId id="390"/>
            <p14:sldId id="391"/>
            <p14:sldId id="399"/>
            <p14:sldId id="400"/>
            <p14:sldId id="401"/>
            <p14:sldId id="402"/>
            <p14:sldId id="40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6600"/>
    <a:srgbClr val="FFCC99"/>
    <a:srgbClr val="CC0099"/>
    <a:srgbClr val="CCCCFF"/>
    <a:srgbClr val="009900"/>
    <a:srgbClr val="548DD4"/>
    <a:srgbClr val="5F5F5F"/>
    <a:srgbClr val="B8B8B8"/>
    <a:srgbClr val="B2B2B2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09" autoAdjust="0"/>
    <p:restoredTop sz="94434" autoAdjust="0"/>
  </p:normalViewPr>
  <p:slideViewPr>
    <p:cSldViewPr snapToObjects="1">
      <p:cViewPr varScale="1">
        <p:scale>
          <a:sx n="101" d="100"/>
          <a:sy n="101" d="100"/>
        </p:scale>
        <p:origin x="114" y="31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812"/>
    </p:cViewPr>
  </p:sorterViewPr>
  <p:notesViewPr>
    <p:cSldViewPr snapToObjects="1">
      <p:cViewPr varScale="1">
        <p:scale>
          <a:sx n="79" d="100"/>
          <a:sy n="79" d="100"/>
        </p:scale>
        <p:origin x="116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9" Type="http://schemas.openxmlformats.org/officeDocument/2006/relationships/slide" Target="slides/slide21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slide" Target="slides/slide24.xml"/><Relationship Id="rId47" Type="http://schemas.openxmlformats.org/officeDocument/2006/relationships/slide" Target="slides/slide29.xml"/><Relationship Id="rId50" Type="http://schemas.openxmlformats.org/officeDocument/2006/relationships/slide" Target="slides/slide32.xml"/><Relationship Id="rId55" Type="http://schemas.openxmlformats.org/officeDocument/2006/relationships/slide" Target="slides/slide37.xml"/><Relationship Id="rId63" Type="http://schemas.openxmlformats.org/officeDocument/2006/relationships/slide" Target="slides/slide45.xml"/><Relationship Id="rId68" Type="http://schemas.openxmlformats.org/officeDocument/2006/relationships/slide" Target="slides/slide50.xml"/><Relationship Id="rId7" Type="http://schemas.openxmlformats.org/officeDocument/2006/relationships/slideMaster" Target="slideMasters/slideMaster7.xml"/><Relationship Id="rId71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1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slide" Target="slides/slide22.xml"/><Relationship Id="rId45" Type="http://schemas.openxmlformats.org/officeDocument/2006/relationships/slide" Target="slides/slide27.xml"/><Relationship Id="rId53" Type="http://schemas.openxmlformats.org/officeDocument/2006/relationships/slide" Target="slides/slide35.xml"/><Relationship Id="rId58" Type="http://schemas.openxmlformats.org/officeDocument/2006/relationships/slide" Target="slides/slide40.xml"/><Relationship Id="rId66" Type="http://schemas.openxmlformats.org/officeDocument/2006/relationships/slide" Target="slides/slide48.xml"/><Relationship Id="rId7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49" Type="http://schemas.openxmlformats.org/officeDocument/2006/relationships/slide" Target="slides/slide31.xml"/><Relationship Id="rId57" Type="http://schemas.openxmlformats.org/officeDocument/2006/relationships/slide" Target="slides/slide39.xml"/><Relationship Id="rId61" Type="http://schemas.openxmlformats.org/officeDocument/2006/relationships/slide" Target="slides/slide43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4" Type="http://schemas.openxmlformats.org/officeDocument/2006/relationships/slide" Target="slides/slide26.xml"/><Relationship Id="rId52" Type="http://schemas.openxmlformats.org/officeDocument/2006/relationships/slide" Target="slides/slide34.xml"/><Relationship Id="rId60" Type="http://schemas.openxmlformats.org/officeDocument/2006/relationships/slide" Target="slides/slide42.xml"/><Relationship Id="rId65" Type="http://schemas.openxmlformats.org/officeDocument/2006/relationships/slide" Target="slides/slide47.xml"/><Relationship Id="rId73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slide" Target="slides/slide25.xml"/><Relationship Id="rId48" Type="http://schemas.openxmlformats.org/officeDocument/2006/relationships/slide" Target="slides/slide30.xml"/><Relationship Id="rId56" Type="http://schemas.openxmlformats.org/officeDocument/2006/relationships/slide" Target="slides/slide38.xml"/><Relationship Id="rId64" Type="http://schemas.openxmlformats.org/officeDocument/2006/relationships/slide" Target="slides/slide46.xml"/><Relationship Id="rId69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3.xml"/><Relationship Id="rId72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slide" Target="slides/slide20.xml"/><Relationship Id="rId46" Type="http://schemas.openxmlformats.org/officeDocument/2006/relationships/slide" Target="slides/slide28.xml"/><Relationship Id="rId59" Type="http://schemas.openxmlformats.org/officeDocument/2006/relationships/slide" Target="slides/slide41.xml"/><Relationship Id="rId67" Type="http://schemas.openxmlformats.org/officeDocument/2006/relationships/slide" Target="slides/slide49.xml"/><Relationship Id="rId20" Type="http://schemas.openxmlformats.org/officeDocument/2006/relationships/slide" Target="slides/slide2.xml"/><Relationship Id="rId41" Type="http://schemas.openxmlformats.org/officeDocument/2006/relationships/slide" Target="slides/slide23.xml"/><Relationship Id="rId54" Type="http://schemas.openxmlformats.org/officeDocument/2006/relationships/slide" Target="slides/slide36.xml"/><Relationship Id="rId62" Type="http://schemas.openxmlformats.org/officeDocument/2006/relationships/slide" Target="slides/slide44.xml"/><Relationship Id="rId70" Type="http://schemas.openxmlformats.org/officeDocument/2006/relationships/handoutMaster" Target="handoutMasters/handout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UNICEF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ygiene</c:v>
                </c:pt>
                <c:pt idx="3">
                  <c:v>Health behaviours</c:v>
                </c:pt>
                <c:pt idx="4">
                  <c:v>Maternal, neonatal &amp; paedriatric 
health services</c:v>
                </c:pt>
                <c:pt idx="5">
                  <c:v>Micronutrient supplementation</c:v>
                </c:pt>
                <c:pt idx="6">
                  <c:v>Disease prevention &amp; mgt.</c:v>
                </c:pt>
              </c:strCache>
            </c:strRef>
          </c:cat>
          <c:val>
            <c:numRef>
              <c:f>Feuil1!$B$2:$B$8</c:f>
              <c:numCache>
                <c:formatCode>0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WFP</c:v>
                </c:pt>
              </c:strCache>
            </c:strRef>
          </c:tx>
          <c:spPr>
            <a:solidFill>
              <a:srgbClr val="CC00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ygiene</c:v>
                </c:pt>
                <c:pt idx="3">
                  <c:v>Health behaviours</c:v>
                </c:pt>
                <c:pt idx="4">
                  <c:v>Maternal, neonatal &amp; paedriatric 
health services</c:v>
                </c:pt>
                <c:pt idx="5">
                  <c:v>Micronutrient supplementation</c:v>
                </c:pt>
                <c:pt idx="6">
                  <c:v>Disease prevention &amp; mgt.</c:v>
                </c:pt>
              </c:strCache>
            </c:strRef>
          </c:cat>
          <c:val>
            <c:numRef>
              <c:f>Feuil1!$C$2:$C$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WH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ygiene</c:v>
                </c:pt>
                <c:pt idx="3">
                  <c:v>Health behaviours</c:v>
                </c:pt>
                <c:pt idx="4">
                  <c:v>Maternal, neonatal &amp; paedriatric 
health services</c:v>
                </c:pt>
                <c:pt idx="5">
                  <c:v>Micronutrient supplementation</c:v>
                </c:pt>
                <c:pt idx="6">
                  <c:v>Disease prevention &amp; mgt.</c:v>
                </c:pt>
              </c:strCache>
            </c:strRef>
          </c:cat>
          <c:val>
            <c:numRef>
              <c:f>Feuil1!$D$2:$D$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  <c:pt idx="0">
                  <c:v>IFAD</c:v>
                </c:pt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ygiene</c:v>
                </c:pt>
                <c:pt idx="3">
                  <c:v>Health behaviours</c:v>
                </c:pt>
                <c:pt idx="4">
                  <c:v>Maternal, neonatal &amp; paedriatric 
health services</c:v>
                </c:pt>
                <c:pt idx="5">
                  <c:v>Micronutrient supplementation</c:v>
                </c:pt>
                <c:pt idx="6">
                  <c:v>Disease prevention &amp; mgt.</c:v>
                </c:pt>
              </c:strCache>
            </c:strRef>
          </c:cat>
          <c:val>
            <c:numRef>
              <c:f>Feuil1!$E$2:$E$8</c:f>
              <c:numCache>
                <c:formatCode>General</c:formatCode>
                <c:ptCount val="7"/>
                <c:pt idx="2">
                  <c:v>1</c:v>
                </c:pt>
                <c:pt idx="3" formatCode="0">
                  <c:v>1</c:v>
                </c:pt>
                <c:pt idx="6">
                  <c:v>1</c:v>
                </c:pt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  <c:pt idx="0">
                  <c:v>UNFPA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ygiene</c:v>
                </c:pt>
                <c:pt idx="3">
                  <c:v>Health behaviours</c:v>
                </c:pt>
                <c:pt idx="4">
                  <c:v>Maternal, neonatal &amp; paedriatric 
health services</c:v>
                </c:pt>
                <c:pt idx="5">
                  <c:v>Micronutrient supplementation</c:v>
                </c:pt>
                <c:pt idx="6">
                  <c:v>Disease prevention &amp; mgt.</c:v>
                </c:pt>
              </c:strCache>
            </c:strRef>
          </c:cat>
          <c:val>
            <c:numRef>
              <c:f>Feuil1!$F$2:$F$8</c:f>
              <c:numCache>
                <c:formatCode>General</c:formatCode>
                <c:ptCount val="7"/>
                <c:pt idx="3" formatCode="0">
                  <c:v>1</c:v>
                </c:pt>
                <c:pt idx="4">
                  <c:v>1</c:v>
                </c:pt>
                <c:pt idx="6">
                  <c:v>1</c:v>
                </c:pt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  <c:pt idx="0">
                  <c:v>FAO</c:v>
                </c:pt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ygiene</c:v>
                </c:pt>
                <c:pt idx="3">
                  <c:v>Health behaviours</c:v>
                </c:pt>
                <c:pt idx="4">
                  <c:v>Maternal, neonatal &amp; paedriatric 
health services</c:v>
                </c:pt>
                <c:pt idx="5">
                  <c:v>Micronutrient supplementation</c:v>
                </c:pt>
                <c:pt idx="6">
                  <c:v>Disease prevention &amp; mgt.</c:v>
                </c:pt>
              </c:strCache>
            </c:strRef>
          </c:cat>
          <c:val>
            <c:numRef>
              <c:f>Feuil1!$G$2:$G$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557143864"/>
        <c:axId val="557133280"/>
      </c:barChart>
      <c:catAx>
        <c:axId val="557143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133280"/>
        <c:crosses val="autoZero"/>
        <c:auto val="1"/>
        <c:lblAlgn val="ctr"/>
        <c:lblOffset val="100"/>
        <c:noMultiLvlLbl val="0"/>
      </c:catAx>
      <c:valAx>
        <c:axId val="557133280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nextTo"/>
        <c:crossAx val="557143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3.250966214153269E-2"/>
          <c:w val="1"/>
          <c:h val="5.46411372599628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B$2:$B$3</c:f>
              <c:numCache>
                <c:formatCode>0</c:formatCode>
                <c:ptCount val="2"/>
                <c:pt idx="0">
                  <c:v>3</c:v>
                </c:pt>
                <c:pt idx="1">
                  <c:v>0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C$2:$C$3</c:f>
              <c:numCache>
                <c:formatCode>0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D$2:$D$3</c:f>
              <c:numCache>
                <c:formatCode>General</c:formatCode>
                <c:ptCount val="2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E$2:$E$3</c:f>
              <c:numCache>
                <c:formatCode>General</c:formatCode>
                <c:ptCount val="2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F$2:$F$3</c:f>
              <c:numCache>
                <c:formatCode>General</c:formatCode>
                <c:ptCount val="2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G$2:$G$3</c:f>
              <c:numCache>
                <c:formatCode>General</c:formatCode>
                <c:ptCount val="2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57487160"/>
        <c:axId val="557486376"/>
      </c:barChart>
      <c:catAx>
        <c:axId val="5574871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57486376"/>
        <c:crosses val="autoZero"/>
        <c:auto val="1"/>
        <c:lblAlgn val="ctr"/>
        <c:lblOffset val="100"/>
        <c:noMultiLvlLbl val="0"/>
      </c:catAx>
      <c:valAx>
        <c:axId val="557486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487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B$2:$B$5</c:f>
              <c:numCache>
                <c:formatCode>0</c:formatCode>
                <c:ptCount val="4"/>
                <c:pt idx="0">
                  <c:v>2</c:v>
                </c:pt>
                <c:pt idx="1">
                  <c:v>1</c:v>
                </c:pt>
                <c:pt idx="2">
                  <c:v>3</c:v>
                </c:pt>
                <c:pt idx="3">
                  <c:v>1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C$2:$C$5</c:f>
              <c:numCache>
                <c:formatCode>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E$2:$E$5</c:f>
              <c:numCache>
                <c:formatCode>General</c:formatCode>
                <c:ptCount val="4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F$2:$F$5</c:f>
              <c:numCache>
                <c:formatCode>General</c:formatCode>
                <c:ptCount val="4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G$2:$G$5</c:f>
              <c:numCache>
                <c:formatCode>General</c:formatCode>
                <c:ptCount val="4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57486768"/>
        <c:axId val="557487552"/>
      </c:barChart>
      <c:catAx>
        <c:axId val="5574867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57487552"/>
        <c:crosses val="autoZero"/>
        <c:auto val="1"/>
        <c:lblAlgn val="ctr"/>
        <c:lblOffset val="100"/>
        <c:noMultiLvlLbl val="0"/>
      </c:catAx>
      <c:valAx>
        <c:axId val="557487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486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B$2:$B$4</c:f>
              <c:numCache>
                <c:formatCode>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3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C$2:$C$4</c:f>
              <c:numCache>
                <c:formatCode>0</c:formatCode>
                <c:ptCount val="3"/>
                <c:pt idx="0">
                  <c:v>0</c:v>
                </c:pt>
                <c:pt idx="1">
                  <c:v>0</c:v>
                </c:pt>
                <c:pt idx="2">
                  <c:v>2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D$2:$D$4</c:f>
              <c:numCache>
                <c:formatCode>General</c:formatCode>
                <c:ptCount val="3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E$2:$E$4</c:f>
              <c:numCache>
                <c:formatCode>General</c:formatCode>
                <c:ptCount val="3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F$2:$F$4</c:f>
              <c:numCache>
                <c:formatCode>General</c:formatCode>
                <c:ptCount val="3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G$2:$G$4</c:f>
              <c:numCache>
                <c:formatCode>General</c:formatCode>
                <c:ptCount val="3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19854824"/>
        <c:axId val="519852080"/>
      </c:barChart>
      <c:catAx>
        <c:axId val="5198548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9852080"/>
        <c:crosses val="autoZero"/>
        <c:auto val="1"/>
        <c:lblAlgn val="ctr"/>
        <c:lblOffset val="100"/>
        <c:noMultiLvlLbl val="0"/>
      </c:catAx>
      <c:valAx>
        <c:axId val="519852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9854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B$2:$B$4</c:f>
              <c:numCache>
                <c:formatCode>0</c:formatCode>
                <c:ptCount val="3"/>
                <c:pt idx="0">
                  <c:v>3</c:v>
                </c:pt>
                <c:pt idx="1">
                  <c:v>1</c:v>
                </c:pt>
                <c:pt idx="2">
                  <c:v>2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C$2:$C$4</c:f>
              <c:numCache>
                <c:formatCode>0</c:formatCode>
                <c:ptCount val="3"/>
                <c:pt idx="0">
                  <c:v>2</c:v>
                </c:pt>
                <c:pt idx="1">
                  <c:v>0</c:v>
                </c:pt>
                <c:pt idx="2">
                  <c:v>1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D$2:$D$4</c:f>
              <c:numCache>
                <c:formatCode>General</c:formatCode>
                <c:ptCount val="3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E$2:$E$4</c:f>
              <c:numCache>
                <c:formatCode>General</c:formatCode>
                <c:ptCount val="3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F$2:$F$4</c:f>
              <c:numCache>
                <c:formatCode>General</c:formatCode>
                <c:ptCount val="3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G$2:$G$4</c:f>
              <c:numCache>
                <c:formatCode>General</c:formatCode>
                <c:ptCount val="3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385039952"/>
        <c:axId val="383672872"/>
      </c:barChart>
      <c:catAx>
        <c:axId val="3850399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83672872"/>
        <c:crosses val="autoZero"/>
        <c:auto val="1"/>
        <c:lblAlgn val="ctr"/>
        <c:lblOffset val="100"/>
        <c:noMultiLvlLbl val="0"/>
      </c:catAx>
      <c:valAx>
        <c:axId val="383672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5039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B$2:$B$4</c:f>
              <c:numCache>
                <c:formatCode>0</c:formatCode>
                <c:ptCount val="3"/>
                <c:pt idx="0">
                  <c:v>3</c:v>
                </c:pt>
                <c:pt idx="1">
                  <c:v>5</c:v>
                </c:pt>
                <c:pt idx="2">
                  <c:v>1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C$2:$C$4</c:f>
              <c:numCache>
                <c:formatCode>0</c:formatCode>
                <c:ptCount val="3"/>
                <c:pt idx="0">
                  <c:v>2</c:v>
                </c:pt>
                <c:pt idx="1">
                  <c:v>3</c:v>
                </c:pt>
                <c:pt idx="2">
                  <c:v>1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D$2:$D$4</c:f>
              <c:numCache>
                <c:formatCode>General</c:formatCode>
                <c:ptCount val="3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E$2:$E$4</c:f>
              <c:numCache>
                <c:formatCode>General</c:formatCode>
                <c:ptCount val="3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F$2:$F$4</c:f>
              <c:numCache>
                <c:formatCode>General</c:formatCode>
                <c:ptCount val="3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G$2:$G$4</c:f>
              <c:numCache>
                <c:formatCode>General</c:formatCode>
                <c:ptCount val="3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390863760"/>
        <c:axId val="524780640"/>
      </c:barChart>
      <c:catAx>
        <c:axId val="3908637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24780640"/>
        <c:crosses val="autoZero"/>
        <c:auto val="1"/>
        <c:lblAlgn val="ctr"/>
        <c:lblOffset val="100"/>
        <c:noMultiLvlLbl val="0"/>
      </c:catAx>
      <c:valAx>
        <c:axId val="524780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0863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B$2:$B$4</c:f>
              <c:numCache>
                <c:formatCode>0</c:formatCode>
                <c:ptCount val="3"/>
                <c:pt idx="0">
                  <c:v>3</c:v>
                </c:pt>
                <c:pt idx="1">
                  <c:v>2</c:v>
                </c:pt>
                <c:pt idx="2">
                  <c:v>0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C$2:$C$4</c:f>
              <c:numCache>
                <c:formatCode>0</c:formatCode>
                <c:ptCount val="3"/>
                <c:pt idx="0">
                  <c:v>2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D$2:$D$4</c:f>
              <c:numCache>
                <c:formatCode>General</c:formatCode>
                <c:ptCount val="3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E$2:$E$4</c:f>
              <c:numCache>
                <c:formatCode>General</c:formatCode>
                <c:ptCount val="3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F$2:$F$4</c:f>
              <c:numCache>
                <c:formatCode>General</c:formatCode>
                <c:ptCount val="3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G$2:$G$4</c:f>
              <c:numCache>
                <c:formatCode>General</c:formatCode>
                <c:ptCount val="3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392181768"/>
        <c:axId val="557478928"/>
      </c:barChart>
      <c:catAx>
        <c:axId val="3921817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57478928"/>
        <c:crosses val="autoZero"/>
        <c:auto val="1"/>
        <c:lblAlgn val="ctr"/>
        <c:lblOffset val="100"/>
        <c:noMultiLvlLbl val="0"/>
      </c:catAx>
      <c:valAx>
        <c:axId val="55747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2181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B$2:$B$3</c:f>
              <c:numCache>
                <c:formatCode>0</c:formatCode>
                <c:ptCount val="2"/>
                <c:pt idx="0">
                  <c:v>3</c:v>
                </c:pt>
                <c:pt idx="1">
                  <c:v>2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C$2:$C$3</c:f>
              <c:numCache>
                <c:formatCode>General</c:formatCode>
                <c:ptCount val="2"/>
                <c:pt idx="0" formatCode="0">
                  <c:v>2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D$2:$D$3</c:f>
              <c:numCache>
                <c:formatCode>General</c:formatCode>
                <c:ptCount val="2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E$2:$E$3</c:f>
              <c:numCache>
                <c:formatCode>General</c:formatCode>
                <c:ptCount val="2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F$2:$F$3</c:f>
              <c:numCache>
                <c:formatCode>General</c:formatCode>
                <c:ptCount val="2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G$2:$G$3</c:f>
              <c:numCache>
                <c:formatCode>General</c:formatCode>
                <c:ptCount val="2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19332208"/>
        <c:axId val="519332600"/>
      </c:barChart>
      <c:catAx>
        <c:axId val="5193322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9332600"/>
        <c:crosses val="autoZero"/>
        <c:auto val="1"/>
        <c:lblAlgn val="ctr"/>
        <c:lblOffset val="100"/>
        <c:noMultiLvlLbl val="0"/>
      </c:catAx>
      <c:valAx>
        <c:axId val="519332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9332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  <c:pt idx="4">
                  <c:v>Action 5</c:v>
                </c:pt>
                <c:pt idx="5">
                  <c:v>Action 6</c:v>
                </c:pt>
              </c:strCache>
            </c:strRef>
          </c:cat>
          <c:val>
            <c:numRef>
              <c:f>Feuil1!$B$2:$B$7</c:f>
              <c:numCache>
                <c:formatCode>0</c:formatCode>
                <c:ptCount val="6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  <c:pt idx="4">
                  <c:v>Action 5</c:v>
                </c:pt>
                <c:pt idx="5">
                  <c:v>Action 6</c:v>
                </c:pt>
              </c:strCache>
            </c:strRef>
          </c:cat>
          <c:val>
            <c:numRef>
              <c:f>Feuil1!$C$2:$C$7</c:f>
              <c:numCache>
                <c:formatCode>0</c:formatCode>
                <c:ptCount val="6"/>
                <c:pt idx="0">
                  <c:v>2</c:v>
                </c:pt>
                <c:pt idx="1">
                  <c:v>3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  <c:pt idx="4">
                  <c:v>Action 5</c:v>
                </c:pt>
                <c:pt idx="5">
                  <c:v>Action 6</c:v>
                </c:pt>
              </c:strCache>
            </c:strRef>
          </c:cat>
          <c:val>
            <c:numRef>
              <c:f>Feuil1!$D$2:$D$7</c:f>
              <c:numCache>
                <c:formatCode>General</c:formatCode>
                <c:ptCount val="6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  <c:pt idx="4">
                  <c:v>Action 5</c:v>
                </c:pt>
                <c:pt idx="5">
                  <c:v>Action 6</c:v>
                </c:pt>
              </c:strCache>
            </c:strRef>
          </c:cat>
          <c:val>
            <c:numRef>
              <c:f>Feuil1!$E$2:$E$7</c:f>
              <c:numCache>
                <c:formatCode>General</c:formatCode>
                <c:ptCount val="6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  <c:pt idx="4">
                  <c:v>Action 5</c:v>
                </c:pt>
                <c:pt idx="5">
                  <c:v>Action 6</c:v>
                </c:pt>
              </c:strCache>
            </c:strRef>
          </c:cat>
          <c:val>
            <c:numRef>
              <c:f>Feuil1!$F$2:$F$7</c:f>
              <c:numCache>
                <c:formatCode>General</c:formatCode>
                <c:ptCount val="6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7</c:f>
              <c:strCache>
                <c:ptCount val="6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  <c:pt idx="4">
                  <c:v>Action 5</c:v>
                </c:pt>
                <c:pt idx="5">
                  <c:v>Action 6</c:v>
                </c:pt>
              </c:strCache>
            </c:strRef>
          </c:cat>
          <c:val>
            <c:numRef>
              <c:f>Feuil1!$G$2:$G$7</c:f>
              <c:numCache>
                <c:formatCode>General</c:formatCode>
                <c:ptCount val="6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19333776"/>
        <c:axId val="519334168"/>
      </c:barChart>
      <c:catAx>
        <c:axId val="5193337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9334168"/>
        <c:crosses val="autoZero"/>
        <c:auto val="1"/>
        <c:lblAlgn val="ctr"/>
        <c:lblOffset val="100"/>
        <c:noMultiLvlLbl val="0"/>
      </c:catAx>
      <c:valAx>
        <c:axId val="519334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9333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B$2:$B$5</c:f>
              <c:numCache>
                <c:formatCode>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C$2:$C$5</c:f>
              <c:numCache>
                <c:formatCode>0</c:formatCode>
                <c:ptCount val="4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D$2:$D$5</c:f>
              <c:numCache>
                <c:formatCode>General</c:formatCode>
                <c:ptCount val="4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E$2:$E$5</c:f>
              <c:numCache>
                <c:formatCode>General</c:formatCode>
                <c:ptCount val="4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F$2:$F$5</c:f>
              <c:numCache>
                <c:formatCode>General</c:formatCode>
                <c:ptCount val="4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  <c:pt idx="3">
                  <c:v>Action 4</c:v>
                </c:pt>
              </c:strCache>
            </c:strRef>
          </c:cat>
          <c:val>
            <c:numRef>
              <c:f>Feuil1!$G$2:$G$5</c:f>
              <c:numCache>
                <c:formatCode>General</c:formatCode>
                <c:ptCount val="4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19334952"/>
        <c:axId val="519335344"/>
      </c:barChart>
      <c:catAx>
        <c:axId val="5193349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9335344"/>
        <c:crosses val="autoZero"/>
        <c:auto val="1"/>
        <c:lblAlgn val="ctr"/>
        <c:lblOffset val="100"/>
        <c:noMultiLvlLbl val="0"/>
      </c:catAx>
      <c:valAx>
        <c:axId val="519335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9334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B$2:$B$4</c:f>
              <c:numCache>
                <c:formatCode>0</c:formatCode>
                <c:ptCount val="3"/>
                <c:pt idx="0">
                  <c:v>3</c:v>
                </c:pt>
                <c:pt idx="1">
                  <c:v>2</c:v>
                </c:pt>
                <c:pt idx="2">
                  <c:v>0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C$2:$C$4</c:f>
              <c:numCache>
                <c:formatCode>0</c:formatCode>
                <c:ptCount val="3"/>
                <c:pt idx="0">
                  <c:v>2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D$2:$D$4</c:f>
              <c:numCache>
                <c:formatCode>General</c:formatCode>
                <c:ptCount val="3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E$2:$E$4</c:f>
              <c:numCache>
                <c:formatCode>General</c:formatCode>
                <c:ptCount val="3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F$2:$F$4</c:f>
              <c:numCache>
                <c:formatCode>General</c:formatCode>
                <c:ptCount val="3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G$2:$G$4</c:f>
              <c:numCache>
                <c:formatCode>General</c:formatCode>
                <c:ptCount val="3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19336128"/>
        <c:axId val="519336912"/>
      </c:barChart>
      <c:catAx>
        <c:axId val="5193361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9336912"/>
        <c:crosses val="autoZero"/>
        <c:auto val="1"/>
        <c:lblAlgn val="ctr"/>
        <c:lblOffset val="100"/>
        <c:noMultiLvlLbl val="0"/>
      </c:catAx>
      <c:valAx>
        <c:axId val="519336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9336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UNICEF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ealth behavious</c:v>
                </c:pt>
                <c:pt idx="3">
                  <c:v>Maternal, neonatal &amp; paedriatric 
health services</c:v>
                </c:pt>
                <c:pt idx="4">
                  <c:v>Micronutrient supplementation</c:v>
                </c:pt>
                <c:pt idx="5">
                  <c:v>Disease prevention &amp; mgt.</c:v>
                </c:pt>
                <c:pt idx="6">
                  <c:v>Market regulation &amp; insurance</c:v>
                </c:pt>
              </c:strCache>
            </c:strRef>
          </c:cat>
          <c:val>
            <c:numRef>
              <c:f>Feuil1!$B$2:$B$8</c:f>
              <c:numCache>
                <c:formatCode>0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3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WFP</c:v>
                </c:pt>
              </c:strCache>
            </c:strRef>
          </c:tx>
          <c:spPr>
            <a:solidFill>
              <a:srgbClr val="CC00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ealth behavious</c:v>
                </c:pt>
                <c:pt idx="3">
                  <c:v>Maternal, neonatal &amp; paedriatric 
health services</c:v>
                </c:pt>
                <c:pt idx="4">
                  <c:v>Micronutrient supplementation</c:v>
                </c:pt>
                <c:pt idx="5">
                  <c:v>Disease prevention &amp; mgt.</c:v>
                </c:pt>
                <c:pt idx="6">
                  <c:v>Market regulation &amp; insurance</c:v>
                </c:pt>
              </c:strCache>
            </c:strRef>
          </c:cat>
          <c:val>
            <c:numRef>
              <c:f>Feuil1!$C$2:$C$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3">
                  <c:v>1</c:v>
                </c:pt>
                <c:pt idx="4">
                  <c:v>1</c:v>
                </c:pt>
                <c:pt idx="6">
                  <c:v>1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WH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ealth behavious</c:v>
                </c:pt>
                <c:pt idx="3">
                  <c:v>Maternal, neonatal &amp; paedriatric 
health services</c:v>
                </c:pt>
                <c:pt idx="4">
                  <c:v>Micronutrient supplementation</c:v>
                </c:pt>
                <c:pt idx="5">
                  <c:v>Disease prevention &amp; mgt.</c:v>
                </c:pt>
                <c:pt idx="6">
                  <c:v>Market regulation &amp; insurance</c:v>
                </c:pt>
              </c:strCache>
            </c:strRef>
          </c:cat>
          <c:val>
            <c:numRef>
              <c:f>Feuil1!$D$2:$D$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  <c:pt idx="0">
                  <c:v>IFAD</c:v>
                </c:pt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ealth behavious</c:v>
                </c:pt>
                <c:pt idx="3">
                  <c:v>Maternal, neonatal &amp; paedriatric 
health services</c:v>
                </c:pt>
                <c:pt idx="4">
                  <c:v>Micronutrient supplementation</c:v>
                </c:pt>
                <c:pt idx="5">
                  <c:v>Disease prevention &amp; mgt.</c:v>
                </c:pt>
                <c:pt idx="6">
                  <c:v>Market regulation &amp; insurance</c:v>
                </c:pt>
              </c:strCache>
            </c:strRef>
          </c:cat>
          <c:val>
            <c:numRef>
              <c:f>Feuil1!$E$2:$E$8</c:f>
              <c:numCache>
                <c:formatCode>General</c:formatCode>
                <c:ptCount val="7"/>
                <c:pt idx="2" formatCode="0">
                  <c:v>1</c:v>
                </c:pt>
                <c:pt idx="5">
                  <c:v>1</c:v>
                </c:pt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  <c:pt idx="0">
                  <c:v>UNFPA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ealth behavious</c:v>
                </c:pt>
                <c:pt idx="3">
                  <c:v>Maternal, neonatal &amp; paedriatric 
health services</c:v>
                </c:pt>
                <c:pt idx="4">
                  <c:v>Micronutrient supplementation</c:v>
                </c:pt>
                <c:pt idx="5">
                  <c:v>Disease prevention &amp; mgt.</c:v>
                </c:pt>
                <c:pt idx="6">
                  <c:v>Market regulation &amp; insurance</c:v>
                </c:pt>
              </c:strCache>
            </c:strRef>
          </c:cat>
          <c:val>
            <c:numRef>
              <c:f>Feuil1!$F$2:$F$8</c:f>
              <c:numCache>
                <c:formatCode>General</c:formatCode>
                <c:ptCount val="7"/>
                <c:pt idx="2" formatCode="0">
                  <c:v>1</c:v>
                </c:pt>
                <c:pt idx="3">
                  <c:v>1</c:v>
                </c:pt>
                <c:pt idx="5">
                  <c:v>1</c:v>
                </c:pt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  <c:pt idx="0">
                  <c:v>FAO</c:v>
                </c:pt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Food processing, fortification &amp; storage</c:v>
                </c:pt>
                <c:pt idx="1">
                  <c:v>Infant &amp; young child feeding</c:v>
                </c:pt>
                <c:pt idx="2">
                  <c:v>Health behavious</c:v>
                </c:pt>
                <c:pt idx="3">
                  <c:v>Maternal, neonatal &amp; paedriatric 
health services</c:v>
                </c:pt>
                <c:pt idx="4">
                  <c:v>Micronutrient supplementation</c:v>
                </c:pt>
                <c:pt idx="5">
                  <c:v>Disease prevention &amp; mgt.</c:v>
                </c:pt>
                <c:pt idx="6">
                  <c:v>Market regulation &amp; insurance</c:v>
                </c:pt>
              </c:strCache>
            </c:strRef>
          </c:cat>
          <c:val>
            <c:numRef>
              <c:f>Feuil1!$G$2:$G$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557130144"/>
        <c:axId val="557130536"/>
      </c:barChart>
      <c:catAx>
        <c:axId val="5571301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130536"/>
        <c:crosses val="autoZero"/>
        <c:auto val="1"/>
        <c:lblAlgn val="ctr"/>
        <c:lblOffset val="100"/>
        <c:noMultiLvlLbl val="0"/>
      </c:catAx>
      <c:valAx>
        <c:axId val="557130536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nextTo"/>
        <c:crossAx val="557130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4.6715667826643541E-2"/>
          <c:y val="3.250966214153269E-2"/>
          <c:w val="0.95328433217335651"/>
          <c:h val="5.46411372599628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UNICEF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Sit. Analysis, Advocacy &amp; Communications</c:v>
                </c:pt>
                <c:pt idx="1">
                  <c:v>Policy Formulation/
Review &amp; Planning </c:v>
                </c:pt>
                <c:pt idx="2">
                  <c:v>Human &amp; Institutional 
Capacity Dev./ 
Training</c:v>
                </c:pt>
                <c:pt idx="3">
                  <c:v>Effectiveness &amp; 
Accountability</c:v>
                </c:pt>
              </c:strCache>
            </c:strRef>
          </c:cat>
          <c:val>
            <c:numRef>
              <c:f>Feuil1!$B$2:$B$5</c:f>
              <c:numCache>
                <c:formatCode>0</c:formatCode>
                <c:ptCount val="4"/>
                <c:pt idx="0">
                  <c:v>6</c:v>
                </c:pt>
                <c:pt idx="1">
                  <c:v>5</c:v>
                </c:pt>
                <c:pt idx="2">
                  <c:v>5</c:v>
                </c:pt>
                <c:pt idx="3">
                  <c:v>3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WFP</c:v>
                </c:pt>
              </c:strCache>
            </c:strRef>
          </c:tx>
          <c:spPr>
            <a:solidFill>
              <a:srgbClr val="CC00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Sit. Analysis, Advocacy &amp; Communications</c:v>
                </c:pt>
                <c:pt idx="1">
                  <c:v>Policy Formulation/
Review &amp; Planning </c:v>
                </c:pt>
                <c:pt idx="2">
                  <c:v>Human &amp; Institutional 
Capacity Dev./ 
Training</c:v>
                </c:pt>
                <c:pt idx="3">
                  <c:v>Effectiveness &amp; 
Accountability</c:v>
                </c:pt>
              </c:strCache>
            </c:strRef>
          </c:cat>
          <c:val>
            <c:numRef>
              <c:f>Feuil1!$C$2:$C$5</c:f>
              <c:numCache>
                <c:formatCode>0</c:formatCode>
                <c:ptCount val="4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WH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Sit. Analysis, Advocacy &amp; Communications</c:v>
                </c:pt>
                <c:pt idx="1">
                  <c:v>Policy Formulation/
Review &amp; Planning </c:v>
                </c:pt>
                <c:pt idx="2">
                  <c:v>Human &amp; Institutional 
Capacity Dev./ 
Training</c:v>
                </c:pt>
                <c:pt idx="3">
                  <c:v>Effectiveness &amp; 
Accountability</c:v>
                </c:pt>
              </c:strCache>
            </c:strRef>
          </c:cat>
          <c:val>
            <c:numRef>
              <c:f>Feuil1!$D$2:$D$5</c:f>
              <c:numCache>
                <c:formatCode>0</c:formatCode>
                <c:ptCount val="4"/>
                <c:pt idx="1">
                  <c:v>6</c:v>
                </c:pt>
                <c:pt idx="2">
                  <c:v>3</c:v>
                </c:pt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  <c:pt idx="0">
                  <c:v>FAO</c:v>
                </c:pt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Sit. Analysis, Advocacy &amp; Communications</c:v>
                </c:pt>
                <c:pt idx="1">
                  <c:v>Policy Formulation/
Review &amp; Planning </c:v>
                </c:pt>
                <c:pt idx="2">
                  <c:v>Human &amp; Institutional 
Capacity Dev./ 
Training</c:v>
                </c:pt>
                <c:pt idx="3">
                  <c:v>Effectiveness &amp; 
Accountability</c:v>
                </c:pt>
              </c:strCache>
            </c:strRef>
          </c:cat>
          <c:val>
            <c:numRef>
              <c:f>Feuil1!$E$2:$E$5</c:f>
              <c:numCache>
                <c:formatCode>0</c:formatCode>
                <c:ptCount val="4"/>
                <c:pt idx="1">
                  <c:v>3</c:v>
                </c:pt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  <c:pt idx="0">
                  <c:v>IFAD</c:v>
                </c:pt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Sit. Analysis, Advocacy &amp; Communications</c:v>
                </c:pt>
                <c:pt idx="1">
                  <c:v>Policy Formulation/
Review &amp; Planning </c:v>
                </c:pt>
                <c:pt idx="2">
                  <c:v>Human &amp; Institutional 
Capacity Dev./ 
Training</c:v>
                </c:pt>
                <c:pt idx="3">
                  <c:v>Effectiveness &amp; 
Accountability</c:v>
                </c:pt>
              </c:strCache>
            </c:strRef>
          </c:cat>
          <c:val>
            <c:numRef>
              <c:f>Feuil1!$F$2:$F$5</c:f>
              <c:numCache>
                <c:formatCode>General</c:formatCode>
                <c:ptCount val="4"/>
                <c:pt idx="2" formatCode="0">
                  <c:v>6</c:v>
                </c:pt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  <c:pt idx="0">
                  <c:v>UNFPA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Sit. Analysis, Advocacy &amp; Communications</c:v>
                </c:pt>
                <c:pt idx="1">
                  <c:v>Policy Formulation/
Review &amp; Planning </c:v>
                </c:pt>
                <c:pt idx="2">
                  <c:v>Human &amp; Institutional 
Capacity Dev./ 
Training</c:v>
                </c:pt>
                <c:pt idx="3">
                  <c:v>Effectiveness &amp; 
Accountability</c:v>
                </c:pt>
              </c:strCache>
            </c:strRef>
          </c:cat>
          <c:val>
            <c:numRef>
              <c:f>Feuil1!$G$2:$G$5</c:f>
              <c:numCache>
                <c:formatCode>General</c:formatCode>
                <c:ptCount val="4"/>
                <c:pt idx="2" formatCode="0">
                  <c:v>3</c:v>
                </c:pt>
                <c:pt idx="3" formatCode="0">
                  <c:v>3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57492256"/>
        <c:axId val="557493824"/>
      </c:barChart>
      <c:catAx>
        <c:axId val="557492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493824"/>
        <c:crosses val="autoZero"/>
        <c:auto val="1"/>
        <c:lblAlgn val="ctr"/>
        <c:lblOffset val="100"/>
        <c:noMultiLvlLbl val="0"/>
      </c:catAx>
      <c:valAx>
        <c:axId val="557493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492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UNICEF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Sit. Analysis, Advocacy &amp; Communications</c:v>
                </c:pt>
                <c:pt idx="1">
                  <c:v>Policy Formulation/
Review &amp; 
Planning</c:v>
                </c:pt>
                <c:pt idx="2">
                  <c:v>Human &amp; Institutional 
Capacity Dev./
Training</c:v>
                </c:pt>
                <c:pt idx="3">
                  <c:v>Effectiveness &amp; 
Accountability</c:v>
                </c:pt>
              </c:strCache>
            </c:strRef>
          </c:cat>
          <c:val>
            <c:numRef>
              <c:f>Feuil1!$B$2:$B$5</c:f>
              <c:numCache>
                <c:formatCode>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WFP</c:v>
                </c:pt>
              </c:strCache>
            </c:strRef>
          </c:tx>
          <c:spPr>
            <a:solidFill>
              <a:srgbClr val="CC00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Sit. Analysis, Advocacy &amp; Communications</c:v>
                </c:pt>
                <c:pt idx="1">
                  <c:v>Policy Formulation/
Review &amp; 
Planning</c:v>
                </c:pt>
                <c:pt idx="2">
                  <c:v>Human &amp; Institutional 
Capacity Dev./
Training</c:v>
                </c:pt>
                <c:pt idx="3">
                  <c:v>Effectiveness &amp; 
Accountability</c:v>
                </c:pt>
              </c:strCache>
            </c:strRef>
          </c:cat>
          <c:val>
            <c:numRef>
              <c:f>Feuil1!$C$2:$C$5</c:f>
              <c:numCache>
                <c:formatCode>0</c:formatCode>
                <c:ptCount val="4"/>
                <c:pt idx="0">
                  <c:v>1</c:v>
                </c:pt>
                <c:pt idx="1">
                  <c:v>1</c:v>
                </c:pt>
                <c:pt idx="3">
                  <c:v>1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WH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Sit. Analysis, Advocacy &amp; Communications</c:v>
                </c:pt>
                <c:pt idx="1">
                  <c:v>Policy Formulation/
Review &amp; 
Planning</c:v>
                </c:pt>
                <c:pt idx="2">
                  <c:v>Human &amp; Institutional 
Capacity Dev./
Training</c:v>
                </c:pt>
                <c:pt idx="3">
                  <c:v>Effectiveness &amp; 
Accountability</c:v>
                </c:pt>
              </c:strCache>
            </c:strRef>
          </c:cat>
          <c:val>
            <c:numRef>
              <c:f>Feuil1!$D$2:$D$5</c:f>
              <c:numCache>
                <c:formatCode>0</c:formatCode>
                <c:ptCount val="4"/>
                <c:pt idx="0">
                  <c:v>1</c:v>
                </c:pt>
                <c:pt idx="1">
                  <c:v>1</c:v>
                </c:pt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  <c:pt idx="0">
                  <c:v>FAO</c:v>
                </c:pt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Sit. Analysis, Advocacy &amp; Communications</c:v>
                </c:pt>
                <c:pt idx="1">
                  <c:v>Policy Formulation/
Review &amp; 
Planning</c:v>
                </c:pt>
                <c:pt idx="2">
                  <c:v>Human &amp; Institutional 
Capacity Dev./
Training</c:v>
                </c:pt>
                <c:pt idx="3">
                  <c:v>Effectiveness &amp; 
Accountability</c:v>
                </c:pt>
              </c:strCache>
            </c:strRef>
          </c:cat>
          <c:val>
            <c:numRef>
              <c:f>Feuil1!$E$2:$E$5</c:f>
              <c:numCache>
                <c:formatCode>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  <c:pt idx="0">
                  <c:v>REACH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Sit. Analysis, Advocacy &amp; Communications</c:v>
                </c:pt>
                <c:pt idx="1">
                  <c:v>Policy Formulation/
Review &amp; 
Planning</c:v>
                </c:pt>
                <c:pt idx="2">
                  <c:v>Human &amp; Institutional 
Capacity Dev./
Training</c:v>
                </c:pt>
                <c:pt idx="3">
                  <c:v>Effectiveness &amp; 
Accountability</c:v>
                </c:pt>
              </c:strCache>
            </c:strRef>
          </c:cat>
          <c:val>
            <c:numRef>
              <c:f>Feuil1!$F$2:$F$5</c:f>
              <c:numCache>
                <c:formatCode>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57489120"/>
        <c:axId val="557484416"/>
      </c:barChart>
      <c:catAx>
        <c:axId val="557489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484416"/>
        <c:crosses val="autoZero"/>
        <c:auto val="1"/>
        <c:lblAlgn val="ctr"/>
        <c:lblOffset val="100"/>
        <c:noMultiLvlLbl val="0"/>
      </c:catAx>
      <c:valAx>
        <c:axId val="557484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489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207139814386966"/>
          <c:y val="4.539527075495333E-2"/>
          <c:w val="0.87792860185613031"/>
          <c:h val="0.909209458490093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UNICEF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34F3A87C-08B0-4E61-8A8D-D47B6D706DA7}" type="VALUE">
                      <a:rPr lang="en-US" sz="1200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B$2</c:f>
              <c:numCache>
                <c:formatCode>0.0%</c:formatCode>
                <c:ptCount val="1"/>
                <c:pt idx="0">
                  <c:v>0.879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WFP</c:v>
                </c:pt>
              </c:strCache>
            </c:strRef>
          </c:tx>
          <c:spPr>
            <a:solidFill>
              <a:srgbClr val="CC0099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A880643C-4A75-4B07-93BD-FDDB6F5EF289}" type="VALUE">
                      <a:rPr lang="en-US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C$2</c:f>
              <c:numCache>
                <c:formatCode>0.0%</c:formatCode>
                <c:ptCount val="1"/>
                <c:pt idx="0">
                  <c:v>0.84199999999999997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FAO</c:v>
                </c:pt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fr-FR"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D$2</c:f>
              <c:numCache>
                <c:formatCode>0.0%</c:formatCode>
                <c:ptCount val="1"/>
                <c:pt idx="0">
                  <c:v>0.85099999999999998</c:v>
                </c:pt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  <c:pt idx="0">
                  <c:v>WH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fr-FR"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E$2</c:f>
              <c:numCache>
                <c:formatCode>0.0%</c:formatCode>
                <c:ptCount val="1"/>
                <c:pt idx="0">
                  <c:v>0.95299999999999996</c:v>
                </c:pt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  <c:pt idx="0">
                  <c:v>IFAD</c:v>
                </c:pt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F$2</c:f>
              <c:numCache>
                <c:formatCode>0.0%</c:formatCode>
                <c:ptCount val="1"/>
                <c:pt idx="0">
                  <c:v>0.78500000000000003</c:v>
                </c:pt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  <c:pt idx="0">
                  <c:v>UNFPA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Catégorie 1</c:v>
                </c:pt>
              </c:strCache>
            </c:strRef>
          </c:cat>
          <c:val>
            <c:numRef>
              <c:f>Feuil1!$G$2</c:f>
              <c:numCache>
                <c:formatCode>0.0%</c:formatCode>
                <c:ptCount val="1"/>
                <c:pt idx="0">
                  <c:v>0.892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86764568"/>
        <c:axId val="586764176"/>
      </c:barChart>
      <c:catAx>
        <c:axId val="5867645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86764176"/>
        <c:crosses val="autoZero"/>
        <c:auto val="1"/>
        <c:lblAlgn val="ctr"/>
        <c:lblOffset val="100"/>
        <c:noMultiLvlLbl val="0"/>
      </c:catAx>
      <c:valAx>
        <c:axId val="58676417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764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Actions</c:v>
                </c:pt>
              </c:strCache>
            </c:strRef>
          </c:tx>
          <c:spPr>
            <a:solidFill>
              <a:srgbClr val="548DD4"/>
            </a:solidFill>
            <a:ln>
              <a:solidFill>
                <a:srgbClr val="E2E2E2"/>
              </a:solidFill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11</c:f>
              <c:strCache>
                <c:ptCount val="10"/>
                <c:pt idx="0">
                  <c:v>SO 3.10 Increase investments in nutrition &amp; food security</c:v>
                </c:pt>
                <c:pt idx="1">
                  <c:v>SO 3.9 Improve quality &amp; quantify of 
information</c:v>
                </c:pt>
                <c:pt idx="2">
                  <c:v>SO 3.8  Improve human capacity</c:v>
                </c:pt>
                <c:pt idx="3">
                  <c:v>SO 3.7  Improve institutional capacity
&amp; coordination</c:v>
                </c:pt>
                <c:pt idx="4">
                  <c:v>SO 2.6 Improve environmental health 
&amp; food safety</c:v>
                </c:pt>
                <c:pt idx="5">
                  <c:v>SO 2.5 Improve mother &amp; child care</c:v>
                </c:pt>
                <c:pt idx="6">
                  <c:v>SO 2.4 Improve access to food</c:v>
                </c:pt>
                <c:pt idx="7">
                  <c:v>SO 2.3 Increase &amp; diversify domenstic 
food production</c:v>
                </c:pt>
                <c:pt idx="8">
                  <c:v>SO 1.2 Prevent &amp; reduce food, water, 
vector-borne infectious diseases</c:v>
                </c:pt>
                <c:pt idx="9">
                  <c:v>SO 1.1 Promote consumption of 
healthy foods &amp; improve nutrient intake</c:v>
                </c:pt>
              </c:strCache>
            </c:strRef>
          </c:cat>
          <c:val>
            <c:numRef>
              <c:f>Feuil1!$B$2:$B$11</c:f>
              <c:numCache>
                <c:formatCode>0</c:formatCode>
                <c:ptCount val="10"/>
                <c:pt idx="0">
                  <c:v>2</c:v>
                </c:pt>
                <c:pt idx="1">
                  <c:v>0</c:v>
                </c:pt>
                <c:pt idx="2">
                  <c:v>4</c:v>
                </c:pt>
                <c:pt idx="3">
                  <c:v>3</c:v>
                </c:pt>
                <c:pt idx="4">
                  <c:v>1</c:v>
                </c:pt>
                <c:pt idx="5">
                  <c:v>2</c:v>
                </c:pt>
                <c:pt idx="6">
                  <c:v>4</c:v>
                </c:pt>
                <c:pt idx="7">
                  <c:v>3</c:v>
                </c:pt>
                <c:pt idx="8">
                  <c:v>6</c:v>
                </c:pt>
                <c:pt idx="9">
                  <c:v>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557141512"/>
        <c:axId val="586763784"/>
      </c:barChart>
      <c:catAx>
        <c:axId val="5571415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763784"/>
        <c:crosses val="autoZero"/>
        <c:auto val="1"/>
        <c:lblAlgn val="ctr"/>
        <c:lblOffset val="100"/>
        <c:noMultiLvlLbl val="0"/>
      </c:catAx>
      <c:valAx>
        <c:axId val="586763784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nextTo"/>
        <c:crossAx val="557141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B$2:$B$4</c:f>
              <c:numCache>
                <c:formatCode>0</c:formatCode>
                <c:ptCount val="3"/>
                <c:pt idx="0">
                  <c:v>4</c:v>
                </c:pt>
                <c:pt idx="1">
                  <c:v>1</c:v>
                </c:pt>
                <c:pt idx="2">
                  <c:v>3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C$2:$C$4</c:f>
              <c:numCache>
                <c:formatCode>0</c:formatCode>
                <c:ptCount val="3"/>
                <c:pt idx="0">
                  <c:v>0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D$2:$D$4</c:f>
              <c:numCache>
                <c:formatCode>General</c:formatCode>
                <c:ptCount val="3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E$2:$E$4</c:f>
              <c:numCache>
                <c:formatCode>General</c:formatCode>
                <c:ptCount val="3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F$2:$F$4</c:f>
              <c:numCache>
                <c:formatCode>General</c:formatCode>
                <c:ptCount val="3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G$2:$G$4</c:f>
              <c:numCache>
                <c:formatCode>General</c:formatCode>
                <c:ptCount val="3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57134848"/>
        <c:axId val="557140336"/>
      </c:barChart>
      <c:catAx>
        <c:axId val="55713484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57140336"/>
        <c:crosses val="autoZero"/>
        <c:auto val="1"/>
        <c:lblAlgn val="ctr"/>
        <c:lblOffset val="100"/>
        <c:noMultiLvlLbl val="0"/>
      </c:catAx>
      <c:valAx>
        <c:axId val="557140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7134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B$2:$B$3</c:f>
              <c:numCache>
                <c:formatCode>0</c:formatCode>
                <c:ptCount val="2"/>
                <c:pt idx="0">
                  <c:v>3</c:v>
                </c:pt>
                <c:pt idx="1">
                  <c:v>1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C$2:$C$3</c:f>
              <c:numCache>
                <c:formatCode>0</c:formatCode>
                <c:ptCount val="2"/>
                <c:pt idx="0">
                  <c:v>2</c:v>
                </c:pt>
                <c:pt idx="1">
                  <c:v>1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D$2:$D$3</c:f>
              <c:numCache>
                <c:formatCode>General</c:formatCode>
                <c:ptCount val="2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E$2:$E$3</c:f>
              <c:numCache>
                <c:formatCode>General</c:formatCode>
                <c:ptCount val="2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F$2:$F$3</c:f>
              <c:numCache>
                <c:formatCode>General</c:formatCode>
                <c:ptCount val="2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G$2:$G$3</c:f>
              <c:numCache>
                <c:formatCode>General</c:formatCode>
                <c:ptCount val="2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86751632"/>
        <c:axId val="586757120"/>
      </c:barChart>
      <c:catAx>
        <c:axId val="5867516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86757120"/>
        <c:crosses val="autoZero"/>
        <c:auto val="1"/>
        <c:lblAlgn val="ctr"/>
        <c:lblOffset val="100"/>
        <c:noMultiLvlLbl val="0"/>
      </c:catAx>
      <c:valAx>
        <c:axId val="586757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751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B$2:$B$3</c:f>
              <c:numCache>
                <c:formatCode>0</c:formatCode>
                <c:ptCount val="2"/>
                <c:pt idx="0">
                  <c:v>3</c:v>
                </c:pt>
                <c:pt idx="1">
                  <c:v>0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C$2:$C$3</c:f>
              <c:numCache>
                <c:formatCode>0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D$2:$D$3</c:f>
              <c:numCache>
                <c:formatCode>General</c:formatCode>
                <c:ptCount val="2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E$2:$E$3</c:f>
              <c:numCache>
                <c:formatCode>General</c:formatCode>
                <c:ptCount val="2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F$2:$F$3</c:f>
              <c:numCache>
                <c:formatCode>General</c:formatCode>
                <c:ptCount val="2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G$2:$G$3</c:f>
              <c:numCache>
                <c:formatCode>General</c:formatCode>
                <c:ptCount val="2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86762216"/>
        <c:axId val="586752808"/>
      </c:barChart>
      <c:catAx>
        <c:axId val="5867622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86752808"/>
        <c:crosses val="autoZero"/>
        <c:auto val="1"/>
        <c:lblAlgn val="ctr"/>
        <c:lblOffset val="100"/>
        <c:noMultiLvlLbl val="0"/>
      </c:catAx>
      <c:valAx>
        <c:axId val="586752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67622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B$2:$B$4</c:f>
              <c:numCache>
                <c:formatCode>0</c:formatCode>
                <c:ptCount val="3"/>
                <c:pt idx="0">
                  <c:v>2</c:v>
                </c:pt>
                <c:pt idx="1">
                  <c:v>4</c:v>
                </c:pt>
                <c:pt idx="2">
                  <c:v>1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C$2:$C$4</c:f>
              <c:numCache>
                <c:formatCode>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0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D$2:$D$4</c:f>
              <c:numCache>
                <c:formatCode>General</c:formatCode>
                <c:ptCount val="3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E$2:$E$4</c:f>
              <c:numCache>
                <c:formatCode>General</c:formatCode>
                <c:ptCount val="3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F$2:$F$4</c:f>
              <c:numCache>
                <c:formatCode>General</c:formatCode>
                <c:ptCount val="3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Action 1</c:v>
                </c:pt>
                <c:pt idx="1">
                  <c:v>Action 2 </c:v>
                </c:pt>
                <c:pt idx="2">
                  <c:v>Action 3</c:v>
                </c:pt>
              </c:strCache>
            </c:strRef>
          </c:cat>
          <c:val>
            <c:numRef>
              <c:f>Feuil1!$G$2:$G$4</c:f>
              <c:numCache>
                <c:formatCode>General</c:formatCode>
                <c:ptCount val="3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34035992"/>
        <c:axId val="534034032"/>
      </c:barChart>
      <c:catAx>
        <c:axId val="5340359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34034032"/>
        <c:crosses val="autoZero"/>
        <c:auto val="1"/>
        <c:lblAlgn val="ctr"/>
        <c:lblOffset val="100"/>
        <c:noMultiLvlLbl val="0"/>
      </c:catAx>
      <c:valAx>
        <c:axId val="534034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4035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Implementation</c:v>
                </c:pt>
              </c:strCache>
            </c:strRef>
          </c:tx>
          <c:spPr>
            <a:solidFill>
              <a:srgbClr val="548DD4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B$2:$B$3</c:f>
              <c:numCache>
                <c:formatCode>0</c:formatCode>
                <c:ptCount val="2"/>
                <c:pt idx="0">
                  <c:v>3</c:v>
                </c:pt>
                <c:pt idx="1">
                  <c:v>0</c:v>
                </c:pt>
              </c:numCache>
            </c:numRef>
          </c:val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Governance</c:v>
                </c:pt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C$2:$C$3</c:f>
              <c:numCache>
                <c:formatCode>0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</c:ser>
        <c:ser>
          <c:idx val="2"/>
          <c:order val="2"/>
          <c:tx>
            <c:strRef>
              <c:f>Feuil1!$D$1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D$2:$D$3</c:f>
              <c:numCache>
                <c:formatCode>General</c:formatCode>
                <c:ptCount val="2"/>
              </c:numCache>
            </c:numRef>
          </c:val>
        </c:ser>
        <c:ser>
          <c:idx val="3"/>
          <c:order val="3"/>
          <c:tx>
            <c:strRef>
              <c:f>Feuil1!$E$1</c:f>
              <c:strCache>
                <c:ptCount val="1"/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E$2:$E$3</c:f>
              <c:numCache>
                <c:formatCode>General</c:formatCode>
                <c:ptCount val="2"/>
              </c:numCache>
            </c:numRef>
          </c:val>
        </c:ser>
        <c:ser>
          <c:idx val="4"/>
          <c:order val="4"/>
          <c:tx>
            <c:strRef>
              <c:f>Feuil1!$F$1</c:f>
              <c:strCache>
                <c:ptCount val="1"/>
              </c:strCache>
            </c:strRef>
          </c:tx>
          <c:spPr>
            <a:solidFill>
              <a:srgbClr val="0033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F$2:$F$3</c:f>
              <c:numCache>
                <c:formatCode>General</c:formatCode>
                <c:ptCount val="2"/>
              </c:numCache>
            </c:numRef>
          </c:val>
        </c:ser>
        <c:ser>
          <c:idx val="5"/>
          <c:order val="5"/>
          <c:tx>
            <c:strRef>
              <c:f>Feuil1!$G$1</c:f>
              <c:strCache>
                <c:ptCount val="1"/>
              </c:strCache>
            </c:strRef>
          </c:tx>
          <c:spPr>
            <a:solidFill>
              <a:srgbClr val="CC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3</c:f>
              <c:strCache>
                <c:ptCount val="2"/>
                <c:pt idx="0">
                  <c:v>Action 1</c:v>
                </c:pt>
                <c:pt idx="1">
                  <c:v>Action 2</c:v>
                </c:pt>
              </c:strCache>
            </c:strRef>
          </c:cat>
          <c:val>
            <c:numRef>
              <c:f>Feuil1!$G$2:$G$3</c:f>
              <c:numCache>
                <c:formatCode>General</c:formatCode>
                <c:ptCount val="2"/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534033640"/>
        <c:axId val="534037168"/>
      </c:barChart>
      <c:catAx>
        <c:axId val="534033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34037168"/>
        <c:crosses val="autoZero"/>
        <c:auto val="1"/>
        <c:lblAlgn val="ctr"/>
        <c:lblOffset val="100"/>
        <c:noMultiLvlLbl val="0"/>
      </c:catAx>
      <c:valAx>
        <c:axId val="534037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4033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2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0E6024-FBAF-4EFF-95A3-81D26803B8F5}" type="datetimeFigureOut">
              <a:rPr lang="en-GB" smtClean="0"/>
              <a:pPr/>
              <a:t>20/01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8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D03C78-98C8-40C6-A368-D26269040B4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9590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2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1F91A6-A195-40C8-9022-1E096AB1047B}" type="datetimeFigureOut">
              <a:rPr lang="en-GB" smtClean="0"/>
              <a:pPr/>
              <a:t>20/01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1225" y="696913"/>
            <a:ext cx="5035550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415792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8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73AA6-E47C-46CD-B987-989C841EB01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2695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3516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1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1459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1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14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1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6584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2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8573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2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6206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2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2620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2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9880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2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14985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2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4697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2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2997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51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z="1500" dirty="0" smtClean="0"/>
          </a:p>
        </p:txBody>
      </p:sp>
      <p:sp>
        <p:nvSpPr>
          <p:cNvPr id="13517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63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763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763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763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763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763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763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763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763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F349B2CA-BEE6-4B1C-84F3-0FE45CECC359}" type="slidenum">
              <a:rPr lang="en-US" altLang="en-US" b="1" smtClean="0">
                <a:solidFill>
                  <a:srgbClr val="000000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3</a:t>
            </a:fld>
            <a:endParaRPr lang="en-US" altLang="en-US" b="1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2314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2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39199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2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31745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2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0449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31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0138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3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57606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3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1185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3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65093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3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99282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36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94354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37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090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87681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38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72672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39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40000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40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34318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41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0541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4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5079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4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03464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4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80120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4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91375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47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77176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48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9138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900" dirty="0" smtClean="0"/>
          </a:p>
        </p:txBody>
      </p:sp>
      <p:sp>
        <p:nvSpPr>
          <p:cNvPr id="137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8C9A687E-EDD6-40B3-BC8B-509EB8E22BAF}" type="slidenum">
              <a:rPr lang="en-GB" altLang="en-US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6</a:t>
            </a:fld>
            <a:endParaRPr lang="en-GB" alt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7077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9A60DC-01DE-9148-AE2B-BAA65577EB08}" type="slidenum">
              <a:rPr lang="fr-FR" smtClean="0">
                <a:solidFill>
                  <a:prstClr val="black"/>
                </a:solidFill>
              </a:rPr>
              <a:pPr/>
              <a:t>50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1361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3098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20422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1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1772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1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9299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73AA6-E47C-46CD-B987-989C841EB010}" type="slidenum">
              <a:rPr lang="en-GB" smtClean="0">
                <a:solidFill>
                  <a:prstClr val="black"/>
                </a:solidFill>
              </a:rPr>
              <a:pPr/>
              <a:t>1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8149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1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7.xml"/><Relationship Id="rId4" Type="http://schemas.openxmlformats.org/officeDocument/2006/relationships/tags" Target="../tags/tag2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1" y="2130428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886200"/>
            <a:ext cx="5136519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2800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9356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62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35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7242" y="6667258"/>
            <a:ext cx="65" cy="17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138" smtClean="0">
              <a:solidFill>
                <a:srgbClr val="000000"/>
              </a:solidFill>
            </a:endParaRPr>
          </a:p>
        </p:txBody>
      </p:sp>
      <p:sp>
        <p:nvSpPr>
          <p:cNvPr id="7" name="Text Box 6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57201" y="1212850"/>
            <a:ext cx="3154363" cy="1009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74295" bIns="74295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363" b="0" smtClean="0">
                <a:solidFill>
                  <a:srgbClr val="FFFFFF"/>
                </a:solidFill>
                <a:latin typeface="Gill Sans MT" pitchFamily="34" charset="0"/>
              </a:rPr>
              <a:t>REACH</a:t>
            </a: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53" y="260423"/>
            <a:ext cx="6048374" cy="429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re 1"/>
          <p:cNvSpPr>
            <a:spLocks noGrp="1"/>
          </p:cNvSpPr>
          <p:nvPr>
            <p:ph type="title"/>
          </p:nvPr>
        </p:nvSpPr>
        <p:spPr>
          <a:xfrm>
            <a:off x="544286" y="4449545"/>
            <a:ext cx="8991600" cy="831850"/>
          </a:xfrm>
        </p:spPr>
        <p:txBody>
          <a:bodyPr anchor="ctr"/>
          <a:lstStyle>
            <a:lvl1pPr>
              <a:defRPr sz="2600" baseline="0">
                <a:solidFill>
                  <a:srgbClr val="4D4D4D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552001" y="4992457"/>
            <a:ext cx="9012238" cy="740686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1"/>
          </p:nvPr>
        </p:nvSpPr>
        <p:spPr>
          <a:xfrm>
            <a:off x="550863" y="5922577"/>
            <a:ext cx="9013825" cy="492125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92949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76038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3" y="1506538"/>
            <a:ext cx="4419600" cy="45894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29200" y="1506538"/>
            <a:ext cx="4419600" cy="45894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7713"/>
            <a:ext cx="8991600" cy="831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44744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lum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738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95301" y="2174875"/>
            <a:ext cx="4376738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032415" y="1535113"/>
            <a:ext cx="4378325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25050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588"/>
            <a:ext cx="8991600" cy="831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574638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821379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Genera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pour modifier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49916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62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67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7242" y="6647092"/>
            <a:ext cx="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7" name="Text Box 6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57200" y="1212850"/>
            <a:ext cx="3154363" cy="119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600" b="0" smtClean="0">
                <a:solidFill>
                  <a:srgbClr val="FFFFFF"/>
                </a:solidFill>
                <a:latin typeface="Gill Sans MT" pitchFamily="34" charset="0"/>
              </a:rPr>
              <a:t>REACH</a:t>
            </a: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52" y="260422"/>
            <a:ext cx="6048375" cy="429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re 1"/>
          <p:cNvSpPr>
            <a:spLocks noGrp="1"/>
          </p:cNvSpPr>
          <p:nvPr>
            <p:ph type="title"/>
          </p:nvPr>
        </p:nvSpPr>
        <p:spPr>
          <a:xfrm>
            <a:off x="544286" y="4449545"/>
            <a:ext cx="8991600" cy="831850"/>
          </a:xfrm>
        </p:spPr>
        <p:txBody>
          <a:bodyPr anchor="ctr"/>
          <a:lstStyle>
            <a:lvl1pPr>
              <a:defRPr sz="3200" baseline="0">
                <a:solidFill>
                  <a:srgbClr val="4D4D4D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552000" y="4992457"/>
            <a:ext cx="9012238" cy="740686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1"/>
          </p:nvPr>
        </p:nvSpPr>
        <p:spPr>
          <a:xfrm>
            <a:off x="550863" y="5922576"/>
            <a:ext cx="9013825" cy="492125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099411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18457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3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29200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7713"/>
            <a:ext cx="8991600" cy="831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63233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11883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lumn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032414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032414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22018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9588"/>
            <a:ext cx="8991600" cy="831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8693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0704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Genera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liquez pour modifier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956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>
          <a:xfrm>
            <a:off x="3" y="765180"/>
            <a:ext cx="9924918" cy="1470025"/>
          </a:xfrm>
          <a:prstGeom prst="rect">
            <a:avLst/>
          </a:prstGeom>
          <a:solidFill>
            <a:srgbClr val="1F497D"/>
          </a:solidFill>
        </p:spPr>
        <p:txBody>
          <a:bodyPr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8458" indent="-10822" algn="l" defTabSz="303011">
              <a:defRPr/>
            </a:pPr>
            <a:r>
              <a:rPr lang="en-US" sz="4090" dirty="0" smtClean="0">
                <a:solidFill>
                  <a:prstClr val="white"/>
                </a:solidFill>
              </a:rPr>
              <a:t>R</a:t>
            </a:r>
            <a:r>
              <a:rPr lang="en-US" sz="2215" dirty="0" smtClean="0">
                <a:solidFill>
                  <a:prstClr val="white"/>
                </a:solidFill>
              </a:rPr>
              <a:t>enewed </a:t>
            </a:r>
            <a:r>
              <a:rPr lang="en-US" sz="4090" dirty="0" smtClean="0">
                <a:solidFill>
                  <a:prstClr val="white"/>
                </a:solidFill>
              </a:rPr>
              <a:t>E</a:t>
            </a:r>
            <a:r>
              <a:rPr lang="en-US" sz="2215" dirty="0" smtClean="0">
                <a:solidFill>
                  <a:prstClr val="white"/>
                </a:solidFill>
              </a:rPr>
              <a:t>fforts </a:t>
            </a:r>
            <a:r>
              <a:rPr lang="en-US" sz="4090" dirty="0" smtClean="0">
                <a:solidFill>
                  <a:prstClr val="white"/>
                </a:solidFill>
              </a:rPr>
              <a:t>A</a:t>
            </a:r>
            <a:r>
              <a:rPr lang="en-US" sz="2215" dirty="0" smtClean="0">
                <a:solidFill>
                  <a:prstClr val="white"/>
                </a:solidFill>
              </a:rPr>
              <a:t>gainst </a:t>
            </a:r>
            <a:r>
              <a:rPr lang="en-US" sz="4090" dirty="0" smtClean="0">
                <a:solidFill>
                  <a:prstClr val="white"/>
                </a:solidFill>
              </a:rPr>
              <a:t>C</a:t>
            </a:r>
            <a:r>
              <a:rPr lang="en-US" sz="2215" dirty="0" smtClean="0">
                <a:solidFill>
                  <a:prstClr val="white"/>
                </a:solidFill>
              </a:rPr>
              <a:t>hild </a:t>
            </a:r>
            <a:r>
              <a:rPr lang="en-US" sz="4090" dirty="0" smtClean="0">
                <a:solidFill>
                  <a:prstClr val="white"/>
                </a:solidFill>
              </a:rPr>
              <a:t>H</a:t>
            </a:r>
            <a:r>
              <a:rPr lang="en-US" sz="2215" dirty="0" smtClean="0">
                <a:solidFill>
                  <a:prstClr val="white"/>
                </a:solidFill>
              </a:rPr>
              <a:t>unger and undernutrition</a:t>
            </a:r>
            <a:endParaRPr lang="en-US" sz="2215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2208218"/>
            <a:ext cx="99060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982960"/>
          </a:xfrm>
        </p:spPr>
        <p:txBody>
          <a:bodyPr/>
          <a:lstStyle>
            <a:lvl1pPr marL="0" indent="0" algn="ctr">
              <a:buNone/>
              <a:defRPr sz="1704" b="1" baseline="0">
                <a:solidFill>
                  <a:schemeClr val="tx1">
                    <a:tint val="75000"/>
                  </a:schemeClr>
                </a:solidFill>
              </a:defRPr>
            </a:lvl1pPr>
            <a:lvl2pPr marL="389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08894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1704" b="1">
                <a:solidFill>
                  <a:srgbClr val="1F497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A9D229-5EC7-4841-A6BE-21182B7CC92D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602F7D6-CCD5-49B6-8A19-1B40C6C800F1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90313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1704" b="1">
                <a:solidFill>
                  <a:srgbClr val="1F497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386">
                <a:latin typeface="Arial" pitchFamily="34" charset="0"/>
                <a:cs typeface="Arial" pitchFamily="34" charset="0"/>
              </a:defRPr>
            </a:lvl1pPr>
            <a:lvl2pPr>
              <a:defRPr sz="2045">
                <a:latin typeface="Arial" pitchFamily="34" charset="0"/>
                <a:cs typeface="Arial" pitchFamily="34" charset="0"/>
              </a:defRPr>
            </a:lvl2pPr>
            <a:lvl3pPr>
              <a:defRPr sz="1704">
                <a:latin typeface="Arial" pitchFamily="34" charset="0"/>
                <a:cs typeface="Arial" pitchFamily="34" charset="0"/>
              </a:defRPr>
            </a:lvl3pPr>
            <a:lvl4pPr>
              <a:defRPr sz="1534">
                <a:latin typeface="Arial" pitchFamily="34" charset="0"/>
                <a:cs typeface="Arial" pitchFamily="34" charset="0"/>
              </a:defRPr>
            </a:lvl4pPr>
            <a:lvl5pPr>
              <a:defRPr sz="1534">
                <a:latin typeface="Arial" pitchFamily="34" charset="0"/>
                <a:cs typeface="Arial" pitchFamily="34" charset="0"/>
              </a:defRPr>
            </a:lvl5pPr>
            <a:lvl6pPr>
              <a:defRPr sz="1534"/>
            </a:lvl6pPr>
            <a:lvl7pPr>
              <a:defRPr sz="1534"/>
            </a:lvl7pPr>
            <a:lvl8pPr>
              <a:defRPr sz="1534"/>
            </a:lvl8pPr>
            <a:lvl9pPr>
              <a:defRPr sz="153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386">
                <a:latin typeface="Arial" pitchFamily="34" charset="0"/>
                <a:cs typeface="Arial" pitchFamily="34" charset="0"/>
              </a:defRPr>
            </a:lvl1pPr>
            <a:lvl2pPr>
              <a:defRPr sz="2045">
                <a:latin typeface="Arial" pitchFamily="34" charset="0"/>
                <a:cs typeface="Arial" pitchFamily="34" charset="0"/>
              </a:defRPr>
            </a:lvl2pPr>
            <a:lvl3pPr>
              <a:defRPr sz="1704">
                <a:latin typeface="Arial" pitchFamily="34" charset="0"/>
                <a:cs typeface="Arial" pitchFamily="34" charset="0"/>
              </a:defRPr>
            </a:lvl3pPr>
            <a:lvl4pPr>
              <a:defRPr sz="1534">
                <a:latin typeface="Arial" pitchFamily="34" charset="0"/>
                <a:cs typeface="Arial" pitchFamily="34" charset="0"/>
              </a:defRPr>
            </a:lvl4pPr>
            <a:lvl5pPr>
              <a:defRPr sz="1534">
                <a:latin typeface="Arial" pitchFamily="34" charset="0"/>
                <a:cs typeface="Arial" pitchFamily="34" charset="0"/>
              </a:defRPr>
            </a:lvl5pPr>
            <a:lvl6pPr>
              <a:defRPr sz="1534"/>
            </a:lvl6pPr>
            <a:lvl7pPr>
              <a:defRPr sz="1534"/>
            </a:lvl7pPr>
            <a:lvl8pPr>
              <a:defRPr sz="1534"/>
            </a:lvl8pPr>
            <a:lvl9pPr>
              <a:defRPr sz="1534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1F71B8-0198-4024-8D6F-740B91E5E99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FAB5FA4-1032-481D-9CDC-FE4BB4A1F03D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78976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1704" b="1">
                <a:solidFill>
                  <a:srgbClr val="1F497D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>
            <a:normAutofit/>
          </a:bodyPr>
          <a:lstStyle>
            <a:lvl1pPr marL="0" indent="0">
              <a:buNone/>
              <a:defRPr sz="1534" b="1">
                <a:latin typeface="Arial" pitchFamily="34" charset="0"/>
                <a:cs typeface="Arial" pitchFamily="34" charset="0"/>
              </a:defRPr>
            </a:lvl1pPr>
            <a:lvl2pPr marL="389586" indent="0">
              <a:buNone/>
              <a:defRPr sz="1704" b="1"/>
            </a:lvl2pPr>
            <a:lvl3pPr marL="779173" indent="0">
              <a:buNone/>
              <a:defRPr sz="1534" b="1"/>
            </a:lvl3pPr>
            <a:lvl4pPr marL="1168759" indent="0">
              <a:buNone/>
              <a:defRPr sz="1363" b="1"/>
            </a:lvl4pPr>
            <a:lvl5pPr marL="1558345" indent="0">
              <a:buNone/>
              <a:defRPr sz="1363" b="1"/>
            </a:lvl5pPr>
            <a:lvl6pPr marL="1947932" indent="0">
              <a:buNone/>
              <a:defRPr sz="1363" b="1"/>
            </a:lvl6pPr>
            <a:lvl7pPr marL="2337518" indent="0">
              <a:buNone/>
              <a:defRPr sz="1363" b="1"/>
            </a:lvl7pPr>
            <a:lvl8pPr marL="2727104" indent="0">
              <a:buNone/>
              <a:defRPr sz="1363" b="1"/>
            </a:lvl8pPr>
            <a:lvl9pPr marL="3116691" indent="0">
              <a:buNone/>
              <a:defRPr sz="136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045">
                <a:latin typeface="Arial" pitchFamily="34" charset="0"/>
                <a:cs typeface="Arial" pitchFamily="34" charset="0"/>
              </a:defRPr>
            </a:lvl1pPr>
            <a:lvl2pPr>
              <a:defRPr sz="1704">
                <a:latin typeface="Arial" pitchFamily="34" charset="0"/>
                <a:cs typeface="Arial" pitchFamily="34" charset="0"/>
              </a:defRPr>
            </a:lvl2pPr>
            <a:lvl3pPr>
              <a:defRPr sz="1534">
                <a:latin typeface="Arial" pitchFamily="34" charset="0"/>
                <a:cs typeface="Arial" pitchFamily="34" charset="0"/>
              </a:defRPr>
            </a:lvl3pPr>
            <a:lvl4pPr>
              <a:defRPr sz="1363">
                <a:latin typeface="Arial" pitchFamily="34" charset="0"/>
                <a:cs typeface="Arial" pitchFamily="34" charset="0"/>
              </a:defRPr>
            </a:lvl4pPr>
            <a:lvl5pPr>
              <a:defRPr sz="1363">
                <a:latin typeface="Arial" pitchFamily="34" charset="0"/>
                <a:cs typeface="Arial" pitchFamily="34" charset="0"/>
              </a:defRPr>
            </a:lvl5pPr>
            <a:lvl6pPr>
              <a:defRPr sz="1363"/>
            </a:lvl6pPr>
            <a:lvl7pPr>
              <a:defRPr sz="1363"/>
            </a:lvl7pPr>
            <a:lvl8pPr>
              <a:defRPr sz="1363"/>
            </a:lvl8pPr>
            <a:lvl9pPr>
              <a:defRPr sz="1363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>
            <a:normAutofit/>
          </a:bodyPr>
          <a:lstStyle>
            <a:lvl1pPr marL="0" indent="0">
              <a:buNone/>
              <a:defRPr sz="1534" b="1">
                <a:latin typeface="Arial" pitchFamily="34" charset="0"/>
                <a:cs typeface="Arial" pitchFamily="34" charset="0"/>
              </a:defRPr>
            </a:lvl1pPr>
            <a:lvl2pPr marL="389586" indent="0">
              <a:buNone/>
              <a:defRPr sz="1704" b="1"/>
            </a:lvl2pPr>
            <a:lvl3pPr marL="779173" indent="0">
              <a:buNone/>
              <a:defRPr sz="1534" b="1"/>
            </a:lvl3pPr>
            <a:lvl4pPr marL="1168759" indent="0">
              <a:buNone/>
              <a:defRPr sz="1363" b="1"/>
            </a:lvl4pPr>
            <a:lvl5pPr marL="1558345" indent="0">
              <a:buNone/>
              <a:defRPr sz="1363" b="1"/>
            </a:lvl5pPr>
            <a:lvl6pPr marL="1947932" indent="0">
              <a:buNone/>
              <a:defRPr sz="1363" b="1"/>
            </a:lvl6pPr>
            <a:lvl7pPr marL="2337518" indent="0">
              <a:buNone/>
              <a:defRPr sz="1363" b="1"/>
            </a:lvl7pPr>
            <a:lvl8pPr marL="2727104" indent="0">
              <a:buNone/>
              <a:defRPr sz="1363" b="1"/>
            </a:lvl8pPr>
            <a:lvl9pPr marL="3116691" indent="0">
              <a:buNone/>
              <a:defRPr sz="136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045">
                <a:latin typeface="Arial" pitchFamily="34" charset="0"/>
                <a:cs typeface="Arial" pitchFamily="34" charset="0"/>
              </a:defRPr>
            </a:lvl1pPr>
            <a:lvl2pPr>
              <a:defRPr sz="1704">
                <a:latin typeface="Arial" pitchFamily="34" charset="0"/>
                <a:cs typeface="Arial" pitchFamily="34" charset="0"/>
              </a:defRPr>
            </a:lvl2pPr>
            <a:lvl3pPr>
              <a:defRPr sz="1534">
                <a:latin typeface="Arial" pitchFamily="34" charset="0"/>
                <a:cs typeface="Arial" pitchFamily="34" charset="0"/>
              </a:defRPr>
            </a:lvl3pPr>
            <a:lvl4pPr>
              <a:defRPr sz="1363">
                <a:latin typeface="Arial" pitchFamily="34" charset="0"/>
                <a:cs typeface="Arial" pitchFamily="34" charset="0"/>
              </a:defRPr>
            </a:lvl4pPr>
            <a:lvl5pPr>
              <a:defRPr sz="1363">
                <a:latin typeface="Arial" pitchFamily="34" charset="0"/>
                <a:cs typeface="Arial" pitchFamily="34" charset="0"/>
              </a:defRPr>
            </a:lvl5pPr>
            <a:lvl6pPr>
              <a:defRPr sz="1363"/>
            </a:lvl6pPr>
            <a:lvl7pPr>
              <a:defRPr sz="1363"/>
            </a:lvl7pPr>
            <a:lvl8pPr>
              <a:defRPr sz="1363"/>
            </a:lvl8pPr>
            <a:lvl9pPr>
              <a:defRPr sz="136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A78A6C-E0F2-4AC2-A96E-140C38A366A5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5A4353B-1920-4AE0-8B9D-2C392B19B69C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63879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1704" b="1">
                <a:solidFill>
                  <a:srgbClr val="1F497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FEFE93-9351-458F-A192-CAB2C046F354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4C173B7-8986-4F6E-A062-E7AC3CF392E5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31624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42C5B9-324F-4BB8-84C3-E2600F7EAFF5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79FF9EE-E4B7-4997-9B1E-F04AC71E1896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9450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78543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0C37B6DA-46CD-470C-B2A9-F5B49E8E0C3F}" type="datetimeFigureOut">
              <a:rPr lang="en-GB" smtClean="0">
                <a:solidFill>
                  <a:srgbClr val="000000"/>
                </a:solidFill>
              </a:rPr>
              <a:pPr/>
              <a:t>20/01/2016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3301DD00-F6B6-4FEC-AAA7-C8ADF65192AD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6464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19" y="3707407"/>
            <a:ext cx="3856281" cy="2747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4053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19" y="3707411"/>
            <a:ext cx="3856281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1" y="2130428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886200"/>
            <a:ext cx="5136519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2933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769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0122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2800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5289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8326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17732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769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0C37B6DA-46CD-470C-B2A9-F5B49E8E0C3F}" type="datetimeFigureOut">
              <a:rPr lang="en-GB" smtClean="0">
                <a:solidFill>
                  <a:srgbClr val="000000"/>
                </a:solidFill>
              </a:rPr>
              <a:pPr/>
              <a:t>20/01/2016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3301DD00-F6B6-4FEC-AAA7-C8ADF65192AD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0646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19" y="3707407"/>
            <a:ext cx="3856281" cy="2747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056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19" y="3707411"/>
            <a:ext cx="3856281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1" y="2130428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886200"/>
            <a:ext cx="5136519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0497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769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7276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2800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9525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77212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25720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0C37B6DA-46CD-470C-B2A9-F5B49E8E0C3F}" type="datetimeFigureOut">
              <a:rPr lang="en-GB" smtClean="0">
                <a:solidFill>
                  <a:srgbClr val="000000"/>
                </a:solidFill>
              </a:rPr>
              <a:pPr/>
              <a:t>20/01/2016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3301DD00-F6B6-4FEC-AAA7-C8ADF65192AD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2300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19" y="3707407"/>
            <a:ext cx="3856281" cy="2747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852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>
          <a:xfrm>
            <a:off x="1" y="765176"/>
            <a:ext cx="9924918" cy="1470025"/>
          </a:xfrm>
          <a:prstGeom prst="rect">
            <a:avLst/>
          </a:prstGeom>
          <a:solidFill>
            <a:srgbClr val="1F497D"/>
          </a:solidFill>
        </p:spPr>
        <p:txBody>
          <a:bodyPr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92075" indent="-12700" algn="l" defTabSz="355600">
              <a:defRPr/>
            </a:pPr>
            <a:r>
              <a:rPr lang="en-US" sz="4800" dirty="0" smtClean="0">
                <a:solidFill>
                  <a:prstClr val="white"/>
                </a:solidFill>
              </a:rPr>
              <a:t>R</a:t>
            </a:r>
            <a:r>
              <a:rPr lang="en-US" sz="2600" dirty="0" smtClean="0">
                <a:solidFill>
                  <a:prstClr val="white"/>
                </a:solidFill>
              </a:rPr>
              <a:t>enewed </a:t>
            </a:r>
            <a:r>
              <a:rPr lang="en-US" sz="4800" dirty="0" smtClean="0">
                <a:solidFill>
                  <a:prstClr val="white"/>
                </a:solidFill>
              </a:rPr>
              <a:t>E</a:t>
            </a:r>
            <a:r>
              <a:rPr lang="en-US" sz="2600" dirty="0" smtClean="0">
                <a:solidFill>
                  <a:prstClr val="white"/>
                </a:solidFill>
              </a:rPr>
              <a:t>fforts </a:t>
            </a:r>
            <a:r>
              <a:rPr lang="en-US" sz="4800" dirty="0" smtClean="0">
                <a:solidFill>
                  <a:prstClr val="white"/>
                </a:solidFill>
              </a:rPr>
              <a:t>A</a:t>
            </a:r>
            <a:r>
              <a:rPr lang="en-US" sz="2600" dirty="0" smtClean="0">
                <a:solidFill>
                  <a:prstClr val="white"/>
                </a:solidFill>
              </a:rPr>
              <a:t>gainst </a:t>
            </a:r>
            <a:r>
              <a:rPr lang="en-US" sz="4800" dirty="0" smtClean="0">
                <a:solidFill>
                  <a:prstClr val="white"/>
                </a:solidFill>
              </a:rPr>
              <a:t>C</a:t>
            </a:r>
            <a:r>
              <a:rPr lang="en-US" sz="2600" dirty="0" smtClean="0">
                <a:solidFill>
                  <a:prstClr val="white"/>
                </a:solidFill>
              </a:rPr>
              <a:t>hild </a:t>
            </a:r>
            <a:r>
              <a:rPr lang="en-US" sz="4800" dirty="0" smtClean="0">
                <a:solidFill>
                  <a:prstClr val="white"/>
                </a:solidFill>
              </a:rPr>
              <a:t>H</a:t>
            </a:r>
            <a:r>
              <a:rPr lang="en-US" sz="2600" dirty="0" smtClean="0">
                <a:solidFill>
                  <a:prstClr val="white"/>
                </a:solidFill>
              </a:rPr>
              <a:t>unger and undernutrition</a:t>
            </a:r>
            <a:endParaRPr lang="en-US" sz="2600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2208214"/>
            <a:ext cx="99060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982960"/>
          </a:xfrm>
        </p:spPr>
        <p:txBody>
          <a:bodyPr/>
          <a:lstStyle>
            <a:lvl1pPr marL="0" indent="0" algn="ctr">
              <a:buNone/>
              <a:defRPr sz="2000" b="1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0469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2800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2000" b="1">
                <a:solidFill>
                  <a:srgbClr val="1F497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A9D229-5EC7-4841-A6BE-21182B7CC92D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602F7D6-CCD5-49B6-8A19-1B40C6C800F1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4211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2000" b="1">
                <a:solidFill>
                  <a:srgbClr val="1F497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1F71B8-0198-4024-8D6F-740B91E5E99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FAB5FA4-1032-481D-9CDC-FE4BB4A1F03D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3120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2000" b="1">
                <a:solidFill>
                  <a:srgbClr val="1F497D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A78A6C-E0F2-4AC2-A96E-140C38A366A5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5A4353B-1920-4AE0-8B9D-2C392B19B69C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1537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2000" b="1">
                <a:solidFill>
                  <a:srgbClr val="1F497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FEFE93-9351-458F-A192-CAB2C046F354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4C173B7-8986-4F6E-A062-E7AC3CF392E5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1327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42C5B9-324F-4BB8-84C3-E2600F7EAFF5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79FF9EE-E4B7-4997-9B1E-F04AC71E1896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80503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REACH LogoNEW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4483" y="3706813"/>
            <a:ext cx="3855773" cy="274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05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3" y="2130431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57201" y="3886200"/>
            <a:ext cx="513652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46798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1540" y="1508760"/>
            <a:ext cx="9342920" cy="4590288"/>
          </a:xfrm>
        </p:spPr>
        <p:txBody>
          <a:bodyPr/>
          <a:lstStyle>
            <a:lvl1pPr>
              <a:spcBef>
                <a:spcPts val="288"/>
              </a:spcBef>
              <a:defRPr/>
            </a:lvl1pPr>
            <a:lvl2pPr marL="342900" indent="-172800">
              <a:spcBef>
                <a:spcPts val="288"/>
              </a:spcBef>
              <a:defRPr/>
            </a:lvl2pPr>
            <a:lvl3pPr marL="685800" indent="-172800">
              <a:spcBef>
                <a:spcPts val="288"/>
              </a:spcBef>
              <a:defRPr/>
            </a:lvl3pPr>
            <a:lvl4pPr marL="1031400" indent="-1755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68241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81540" y="1508400"/>
            <a:ext cx="9342921" cy="4590000"/>
          </a:xfrm>
          <a:prstGeom prst="rect">
            <a:avLst/>
          </a:prstGeom>
        </p:spPr>
        <p:txBody>
          <a:bodyPr/>
          <a:lstStyle>
            <a:lvl1pPr marL="0" indent="-129600">
              <a:spcBef>
                <a:spcPts val="288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472500" indent="-172800">
              <a:spcBef>
                <a:spcPts val="288"/>
              </a:spcBef>
              <a:buFont typeface="Arial" pitchFamily="34" charset="0"/>
              <a:buChar char="–"/>
              <a:defRPr/>
            </a:lvl2pPr>
            <a:lvl3pPr marL="807300" indent="-172800">
              <a:spcBef>
                <a:spcPts val="288"/>
              </a:spcBef>
              <a:defRPr/>
            </a:lvl3pPr>
            <a:lvl4pPr marL="1158300" indent="-1728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4261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2238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9520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3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29200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85712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3023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05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20" y="3707414"/>
            <a:ext cx="3856281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3" y="2130431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1" y="3886200"/>
            <a:ext cx="513652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5090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1540" y="1508760"/>
            <a:ext cx="9342920" cy="4590288"/>
          </a:xfrm>
        </p:spPr>
        <p:txBody>
          <a:bodyPr lIns="0" tIns="0" rIns="0" bIns="0"/>
          <a:lstStyle>
            <a:lvl1pPr>
              <a:spcBef>
                <a:spcPts val="288"/>
              </a:spcBef>
              <a:defRPr/>
            </a:lvl1pPr>
            <a:lvl2pPr marL="342900" indent="-172800">
              <a:spcBef>
                <a:spcPts val="288"/>
              </a:spcBef>
              <a:defRPr/>
            </a:lvl2pPr>
            <a:lvl3pPr marL="685800" indent="-172800">
              <a:spcBef>
                <a:spcPts val="288"/>
              </a:spcBef>
              <a:defRPr/>
            </a:lvl3pPr>
            <a:lvl4pPr marL="1031400" indent="-1755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4670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81540" y="1508400"/>
            <a:ext cx="9342921" cy="4590000"/>
          </a:xfrm>
          <a:prstGeom prst="rect">
            <a:avLst/>
          </a:prstGeom>
        </p:spPr>
        <p:txBody>
          <a:bodyPr lIns="0" tIns="0" rIns="0" bIns="0"/>
          <a:lstStyle>
            <a:lvl1pPr marL="0" indent="-129600">
              <a:spcBef>
                <a:spcPts val="288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472500" indent="-172800">
              <a:spcBef>
                <a:spcPts val="288"/>
              </a:spcBef>
              <a:buFont typeface="Arial" pitchFamily="34" charset="0"/>
              <a:buChar char="–"/>
              <a:defRPr/>
            </a:lvl2pPr>
            <a:lvl3pPr marL="807300" indent="-172800">
              <a:spcBef>
                <a:spcPts val="288"/>
              </a:spcBef>
              <a:defRPr/>
            </a:lvl3pPr>
            <a:lvl4pPr marL="1158300" indent="-1728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4180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98677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04807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3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29200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1659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8753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05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20" y="3707414"/>
            <a:ext cx="3856281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3" y="2130431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1" y="3886200"/>
            <a:ext cx="513652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6975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1540" y="1508760"/>
            <a:ext cx="9342920" cy="4590288"/>
          </a:xfrm>
        </p:spPr>
        <p:txBody>
          <a:bodyPr lIns="0" tIns="0" rIns="0" bIns="0"/>
          <a:lstStyle>
            <a:lvl1pPr>
              <a:spcBef>
                <a:spcPts val="288"/>
              </a:spcBef>
              <a:defRPr/>
            </a:lvl1pPr>
            <a:lvl2pPr marL="342900" indent="-172800">
              <a:spcBef>
                <a:spcPts val="288"/>
              </a:spcBef>
              <a:defRPr/>
            </a:lvl2pPr>
            <a:lvl3pPr marL="685800" indent="-172800">
              <a:spcBef>
                <a:spcPts val="288"/>
              </a:spcBef>
              <a:defRPr/>
            </a:lvl3pPr>
            <a:lvl4pPr marL="1031400" indent="-1755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7556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81540" y="1508400"/>
            <a:ext cx="9342921" cy="4590000"/>
          </a:xfrm>
          <a:prstGeom prst="rect">
            <a:avLst/>
          </a:prstGeom>
        </p:spPr>
        <p:txBody>
          <a:bodyPr lIns="0" tIns="0" rIns="0" bIns="0"/>
          <a:lstStyle>
            <a:lvl1pPr marL="0" indent="-129600">
              <a:spcBef>
                <a:spcPts val="288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472500" indent="-172800">
              <a:spcBef>
                <a:spcPts val="288"/>
              </a:spcBef>
              <a:buFont typeface="Arial" pitchFamily="34" charset="0"/>
              <a:buChar char="–"/>
              <a:defRPr/>
            </a:lvl2pPr>
            <a:lvl3pPr marL="807300" indent="-172800">
              <a:spcBef>
                <a:spcPts val="288"/>
              </a:spcBef>
              <a:defRPr/>
            </a:lvl3pPr>
            <a:lvl4pPr marL="1158300" indent="-1728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6458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12673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52568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3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29200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7291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3350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05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20" y="3707414"/>
            <a:ext cx="3856281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3" y="2130431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1" y="3886200"/>
            <a:ext cx="513652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8343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1540" y="1508760"/>
            <a:ext cx="9342920" cy="4590288"/>
          </a:xfrm>
        </p:spPr>
        <p:txBody>
          <a:bodyPr lIns="0" tIns="0" rIns="0" bIns="0"/>
          <a:lstStyle>
            <a:lvl1pPr>
              <a:spcBef>
                <a:spcPts val="288"/>
              </a:spcBef>
              <a:defRPr/>
            </a:lvl1pPr>
            <a:lvl2pPr marL="342900" indent="-172800">
              <a:spcBef>
                <a:spcPts val="288"/>
              </a:spcBef>
              <a:defRPr/>
            </a:lvl2pPr>
            <a:lvl3pPr marL="685800" indent="-172800">
              <a:spcBef>
                <a:spcPts val="288"/>
              </a:spcBef>
              <a:defRPr/>
            </a:lvl3pPr>
            <a:lvl4pPr marL="1031400" indent="-1755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119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81540" y="1508400"/>
            <a:ext cx="9342921" cy="4590000"/>
          </a:xfrm>
          <a:prstGeom prst="rect">
            <a:avLst/>
          </a:prstGeom>
        </p:spPr>
        <p:txBody>
          <a:bodyPr lIns="0" tIns="0" rIns="0" bIns="0"/>
          <a:lstStyle>
            <a:lvl1pPr marL="0" indent="-129600">
              <a:spcBef>
                <a:spcPts val="288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472500" indent="-172800">
              <a:spcBef>
                <a:spcPts val="288"/>
              </a:spcBef>
              <a:buFont typeface="Arial" pitchFamily="34" charset="0"/>
              <a:buChar char="–"/>
              <a:defRPr/>
            </a:lvl2pPr>
            <a:lvl3pPr marL="807300" indent="-172800">
              <a:spcBef>
                <a:spcPts val="288"/>
              </a:spcBef>
              <a:defRPr/>
            </a:lvl3pPr>
            <a:lvl4pPr marL="1158300" indent="-1728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5362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09809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0C37B6DA-46CD-470C-B2A9-F5B49E8E0C3F}" type="datetimeFigureOut">
              <a:rPr lang="en-GB" smtClean="0"/>
              <a:pPr/>
              <a:t>20/0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3301DD00-F6B6-4FEC-AAA7-C8ADF65192A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66307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408534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3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29200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79377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9967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>
          <a:xfrm>
            <a:off x="1" y="765176"/>
            <a:ext cx="9924918" cy="1470025"/>
          </a:xfrm>
          <a:prstGeom prst="rect">
            <a:avLst/>
          </a:prstGeom>
          <a:solidFill>
            <a:srgbClr val="1F497D"/>
          </a:solidFill>
        </p:spPr>
        <p:txBody>
          <a:bodyPr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92075" indent="-12700" algn="l" defTabSz="355600">
              <a:defRPr/>
            </a:pPr>
            <a:r>
              <a:rPr lang="en-US" sz="4800" dirty="0" smtClean="0">
                <a:solidFill>
                  <a:prstClr val="white"/>
                </a:solidFill>
              </a:rPr>
              <a:t>R</a:t>
            </a:r>
            <a:r>
              <a:rPr lang="en-US" sz="2600" dirty="0" smtClean="0">
                <a:solidFill>
                  <a:prstClr val="white"/>
                </a:solidFill>
              </a:rPr>
              <a:t>enewed </a:t>
            </a:r>
            <a:r>
              <a:rPr lang="en-US" sz="4800" dirty="0" smtClean="0">
                <a:solidFill>
                  <a:prstClr val="white"/>
                </a:solidFill>
              </a:rPr>
              <a:t>E</a:t>
            </a:r>
            <a:r>
              <a:rPr lang="en-US" sz="2600" dirty="0" smtClean="0">
                <a:solidFill>
                  <a:prstClr val="white"/>
                </a:solidFill>
              </a:rPr>
              <a:t>fforts </a:t>
            </a:r>
            <a:r>
              <a:rPr lang="en-US" sz="4800" dirty="0" smtClean="0">
                <a:solidFill>
                  <a:prstClr val="white"/>
                </a:solidFill>
              </a:rPr>
              <a:t>A</a:t>
            </a:r>
            <a:r>
              <a:rPr lang="en-US" sz="2600" dirty="0" smtClean="0">
                <a:solidFill>
                  <a:prstClr val="white"/>
                </a:solidFill>
              </a:rPr>
              <a:t>gainst </a:t>
            </a:r>
            <a:r>
              <a:rPr lang="en-US" sz="4800" dirty="0" smtClean="0">
                <a:solidFill>
                  <a:prstClr val="white"/>
                </a:solidFill>
              </a:rPr>
              <a:t>C</a:t>
            </a:r>
            <a:r>
              <a:rPr lang="en-US" sz="2600" dirty="0" smtClean="0">
                <a:solidFill>
                  <a:prstClr val="white"/>
                </a:solidFill>
              </a:rPr>
              <a:t>hild </a:t>
            </a:r>
            <a:r>
              <a:rPr lang="en-US" sz="4800" dirty="0" smtClean="0">
                <a:solidFill>
                  <a:prstClr val="white"/>
                </a:solidFill>
              </a:rPr>
              <a:t>H</a:t>
            </a:r>
            <a:r>
              <a:rPr lang="en-US" sz="2600" dirty="0" smtClean="0">
                <a:solidFill>
                  <a:prstClr val="white"/>
                </a:solidFill>
              </a:rPr>
              <a:t>unger and undernutrition</a:t>
            </a:r>
            <a:endParaRPr lang="en-US" sz="2600" dirty="0" smtClean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2208214"/>
            <a:ext cx="99060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982960"/>
          </a:xfrm>
        </p:spPr>
        <p:txBody>
          <a:bodyPr/>
          <a:lstStyle>
            <a:lvl1pPr marL="0" indent="0" algn="ctr">
              <a:buNone/>
              <a:defRPr sz="2000" b="1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40038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2000" b="1">
                <a:solidFill>
                  <a:srgbClr val="1F497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A9D229-5EC7-4841-A6BE-21182B7CC92D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602F7D6-CCD5-49B6-8A19-1B40C6C800F1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918325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2000" b="1">
                <a:solidFill>
                  <a:srgbClr val="1F497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1F71B8-0198-4024-8D6F-740B91E5E99F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FAB5FA4-1032-481D-9CDC-FE4BB4A1F03D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35432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2000" b="1">
                <a:solidFill>
                  <a:srgbClr val="1F497D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A78A6C-E0F2-4AC2-A96E-140C38A366A5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5A4353B-1920-4AE0-8B9D-2C392B19B69C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6009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-27384"/>
            <a:ext cx="9410700" cy="1017984"/>
          </a:xfrm>
        </p:spPr>
        <p:txBody>
          <a:bodyPr anchor="b">
            <a:normAutofit/>
          </a:bodyPr>
          <a:lstStyle>
            <a:lvl1pPr algn="l">
              <a:defRPr sz="2000" b="1">
                <a:solidFill>
                  <a:srgbClr val="1F497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FEFE93-9351-458F-A192-CAB2C046F354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4C173B7-8986-4F6E-A062-E7AC3CF392E5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727448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42C5B9-324F-4BB8-84C3-E2600F7EAFF5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79FF9EE-E4B7-4997-9B1E-F04AC71E1896}" type="slidenum">
              <a:rPr lang="en-GB" altLang="en-US">
                <a:solidFill>
                  <a:prstClr val="black"/>
                </a:solidFill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6556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05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20" y="3707414"/>
            <a:ext cx="3856281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3" y="2130431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1" y="3886200"/>
            <a:ext cx="513652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5221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19" y="3707407"/>
            <a:ext cx="3856281" cy="2747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0474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1540" y="1508760"/>
            <a:ext cx="9342920" cy="4590288"/>
          </a:xfrm>
        </p:spPr>
        <p:txBody>
          <a:bodyPr lIns="0" tIns="0" rIns="0" bIns="0"/>
          <a:lstStyle>
            <a:lvl1pPr>
              <a:spcBef>
                <a:spcPts val="288"/>
              </a:spcBef>
              <a:defRPr/>
            </a:lvl1pPr>
            <a:lvl2pPr marL="342900" indent="-172800">
              <a:spcBef>
                <a:spcPts val="288"/>
              </a:spcBef>
              <a:defRPr/>
            </a:lvl2pPr>
            <a:lvl3pPr marL="685800" indent="-172800">
              <a:spcBef>
                <a:spcPts val="288"/>
              </a:spcBef>
              <a:defRPr/>
            </a:lvl3pPr>
            <a:lvl4pPr marL="1031400" indent="-1755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5493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81540" y="1508400"/>
            <a:ext cx="9342921" cy="4590000"/>
          </a:xfrm>
          <a:prstGeom prst="rect">
            <a:avLst/>
          </a:prstGeom>
        </p:spPr>
        <p:txBody>
          <a:bodyPr lIns="0" tIns="0" rIns="0" bIns="0"/>
          <a:lstStyle>
            <a:lvl1pPr marL="0" indent="-129600">
              <a:spcBef>
                <a:spcPts val="288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472500" indent="-172800">
              <a:spcBef>
                <a:spcPts val="288"/>
              </a:spcBef>
              <a:buFont typeface="Arial" pitchFamily="34" charset="0"/>
              <a:buChar char="–"/>
              <a:defRPr/>
            </a:lvl2pPr>
            <a:lvl3pPr marL="807300" indent="-172800">
              <a:spcBef>
                <a:spcPts val="288"/>
              </a:spcBef>
              <a:defRPr/>
            </a:lvl3pPr>
            <a:lvl4pPr marL="1158300" indent="-1728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609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312374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58868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3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029200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97450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64933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19" y="3707413"/>
            <a:ext cx="3856281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2" y="2130430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886200"/>
            <a:ext cx="5136519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3621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769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4858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2800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307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5149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19" y="3707411"/>
            <a:ext cx="3856281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1" y="2130428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886200"/>
            <a:ext cx="5136519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9921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39546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0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19" y="3707409"/>
            <a:ext cx="3856281" cy="2747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7525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292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19" y="3707413"/>
            <a:ext cx="3856281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2" y="2130430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886200"/>
            <a:ext cx="5136519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  <p:pic>
        <p:nvPicPr>
          <p:cNvPr id="97281" name="Picture 1" descr="SI_Logo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6" y="682774"/>
            <a:ext cx="2705100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7504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7697" cy="4590288"/>
          </a:xfrm>
        </p:spPr>
        <p:txBody>
          <a:bodyPr lIns="0" tIns="0" rIns="0" bIns="0"/>
          <a:lstStyle>
            <a:lvl1pPr>
              <a:spcBef>
                <a:spcPts val="354"/>
              </a:spcBef>
              <a:defRPr/>
            </a:lvl1pPr>
            <a:lvl2pPr marL="422041" indent="-212682">
              <a:spcBef>
                <a:spcPts val="354"/>
              </a:spcBef>
              <a:defRPr/>
            </a:lvl2pPr>
            <a:lvl3pPr marL="844083" indent="-212682">
              <a:spcBef>
                <a:spcPts val="354"/>
              </a:spcBef>
              <a:defRPr/>
            </a:lvl3pPr>
            <a:lvl4pPr marL="1269447" indent="-216005">
              <a:spcBef>
                <a:spcPts val="354"/>
              </a:spcBef>
              <a:defRPr/>
            </a:lvl4pPr>
            <a:lvl5pPr marL="1900848" indent="-212682">
              <a:spcBef>
                <a:spcPts val="35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7821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0" indent="-159512">
              <a:spcBef>
                <a:spcPts val="354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/>
            </a:lvl2pPr>
            <a:lvl3pPr marL="993625" indent="-212682">
              <a:spcBef>
                <a:spcPts val="354"/>
              </a:spcBef>
              <a:defRPr/>
            </a:lvl3pPr>
            <a:lvl4pPr marL="1425636" indent="-212682">
              <a:spcBef>
                <a:spcPts val="354"/>
              </a:spcBef>
              <a:defRPr/>
            </a:lvl4pPr>
            <a:lvl5pPr marL="1900848" indent="-212682">
              <a:spcBef>
                <a:spcPts val="35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94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213531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157891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05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20" y="3707414"/>
            <a:ext cx="3856281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3" y="2130431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1" y="3886200"/>
            <a:ext cx="513652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432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1540" y="1508760"/>
            <a:ext cx="9342920" cy="4590288"/>
          </a:xfrm>
        </p:spPr>
        <p:txBody>
          <a:bodyPr lIns="0" tIns="0" rIns="0" bIns="0"/>
          <a:lstStyle>
            <a:lvl1pPr>
              <a:spcBef>
                <a:spcPts val="288"/>
              </a:spcBef>
              <a:defRPr/>
            </a:lvl1pPr>
            <a:lvl2pPr marL="342900" indent="-172800">
              <a:spcBef>
                <a:spcPts val="288"/>
              </a:spcBef>
              <a:defRPr/>
            </a:lvl2pPr>
            <a:lvl3pPr marL="685800" indent="-172800">
              <a:spcBef>
                <a:spcPts val="288"/>
              </a:spcBef>
              <a:defRPr/>
            </a:lvl3pPr>
            <a:lvl4pPr marL="1031400" indent="-1755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6632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769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5380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81540" y="1508400"/>
            <a:ext cx="9342921" cy="4590000"/>
          </a:xfrm>
          <a:prstGeom prst="rect">
            <a:avLst/>
          </a:prstGeom>
        </p:spPr>
        <p:txBody>
          <a:bodyPr lIns="0" tIns="0" rIns="0" bIns="0"/>
          <a:lstStyle>
            <a:lvl1pPr marL="0" indent="-129600">
              <a:spcBef>
                <a:spcPts val="288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472500" indent="-172800">
              <a:spcBef>
                <a:spcPts val="288"/>
              </a:spcBef>
              <a:buFont typeface="Arial" pitchFamily="34" charset="0"/>
              <a:buChar char="–"/>
              <a:defRPr/>
            </a:lvl2pPr>
            <a:lvl3pPr marL="807300" indent="-172800">
              <a:spcBef>
                <a:spcPts val="288"/>
              </a:spcBef>
              <a:defRPr/>
            </a:lvl3pPr>
            <a:lvl4pPr marL="1158300" indent="-1728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9970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019657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147415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78645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51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292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mtClean="0"/>
              <a:t>Placeholder for client logo</a:t>
            </a:r>
            <a:endParaRPr lang="de-DE" dirty="0"/>
          </a:p>
        </p:txBody>
      </p:sp>
      <p:pic>
        <p:nvPicPr>
          <p:cNvPr id="9" name="Picture 8" descr="REACH LogoNEW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3719" y="3707413"/>
            <a:ext cx="3856281" cy="2747805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57202" y="2130430"/>
            <a:ext cx="8864285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886200"/>
            <a:ext cx="5136519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Location, Date 2013</a:t>
            </a:r>
            <a:endParaRPr lang="en-GB" dirty="0"/>
          </a:p>
        </p:txBody>
      </p:sp>
      <p:pic>
        <p:nvPicPr>
          <p:cNvPr id="97281" name="Picture 1" descr="SI_Logo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6" y="682774"/>
            <a:ext cx="2705100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09224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7697" cy="4590288"/>
          </a:xfrm>
        </p:spPr>
        <p:txBody>
          <a:bodyPr lIns="0" tIns="0" rIns="0" bIns="0"/>
          <a:lstStyle>
            <a:lvl1pPr>
              <a:spcBef>
                <a:spcPts val="354"/>
              </a:spcBef>
              <a:defRPr/>
            </a:lvl1pPr>
            <a:lvl2pPr marL="422041" indent="-212682">
              <a:spcBef>
                <a:spcPts val="354"/>
              </a:spcBef>
              <a:defRPr/>
            </a:lvl2pPr>
            <a:lvl3pPr marL="844083" indent="-212682">
              <a:spcBef>
                <a:spcPts val="354"/>
              </a:spcBef>
              <a:defRPr/>
            </a:lvl3pPr>
            <a:lvl4pPr marL="1269447" indent="-216005">
              <a:spcBef>
                <a:spcPts val="354"/>
              </a:spcBef>
              <a:defRPr/>
            </a:lvl4pPr>
            <a:lvl5pPr marL="1900848" indent="-212682">
              <a:spcBef>
                <a:spcPts val="35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1472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0" indent="-159512">
              <a:spcBef>
                <a:spcPts val="354"/>
              </a:spcBef>
              <a:buClr>
                <a:srgbClr val="0070C0"/>
              </a:buClr>
              <a:buFont typeface="Arial" pitchFamily="34" charset="0"/>
              <a:buChar char="•"/>
              <a:tabLst/>
              <a:defRPr b="0"/>
            </a:lvl1pPr>
            <a:lvl2pPr marL="581553" indent="-212682">
              <a:spcBef>
                <a:spcPts val="354"/>
              </a:spcBef>
              <a:buFont typeface="Arial" pitchFamily="34" charset="0"/>
              <a:buChar char="–"/>
              <a:defRPr/>
            </a:lvl2pPr>
            <a:lvl3pPr marL="993625" indent="-212682">
              <a:spcBef>
                <a:spcPts val="354"/>
              </a:spcBef>
              <a:defRPr/>
            </a:lvl3pPr>
            <a:lvl4pPr marL="1425636" indent="-212682">
              <a:spcBef>
                <a:spcPts val="354"/>
              </a:spcBef>
              <a:defRPr/>
            </a:lvl4pPr>
            <a:lvl5pPr marL="1900848" indent="-212682">
              <a:spcBef>
                <a:spcPts val="35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3621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0762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164473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4952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Relationship Id="rId9" Type="http://schemas.openxmlformats.org/officeDocument/2006/relationships/image" Target="../media/image3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78.xml"/><Relationship Id="rId7" Type="http://schemas.openxmlformats.org/officeDocument/2006/relationships/theme" Target="../theme/theme12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80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79.xml"/><Relationship Id="rId9" Type="http://schemas.openxmlformats.org/officeDocument/2006/relationships/tags" Target="../tags/tag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84.xml"/><Relationship Id="rId7" Type="http://schemas.openxmlformats.org/officeDocument/2006/relationships/theme" Target="../theme/theme13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86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85.xml"/><Relationship Id="rId9" Type="http://schemas.openxmlformats.org/officeDocument/2006/relationships/tags" Target="../tags/tag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90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5" Type="http://schemas.openxmlformats.org/officeDocument/2006/relationships/slideLayout" Target="../slideLayouts/slideLayout92.xml"/><Relationship Id="rId4" Type="http://schemas.openxmlformats.org/officeDocument/2006/relationships/slideLayout" Target="../slideLayouts/slideLayout9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3" Type="http://schemas.openxmlformats.org/officeDocument/2006/relationships/slideLayout" Target="../slideLayouts/slideLayout96.xml"/><Relationship Id="rId7" Type="http://schemas.openxmlformats.org/officeDocument/2006/relationships/theme" Target="../theme/theme15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98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97.xml"/><Relationship Id="rId9" Type="http://schemas.openxmlformats.org/officeDocument/2006/relationships/tags" Target="../tags/tag8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104.xml"/><Relationship Id="rId15" Type="http://schemas.openxmlformats.org/officeDocument/2006/relationships/image" Target="../media/image3.emf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103.xml"/><Relationship Id="rId9" Type="http://schemas.openxmlformats.org/officeDocument/2006/relationships/vmlDrawing" Target="../drawings/vmlDrawing6.vml"/><Relationship Id="rId14" Type="http://schemas.openxmlformats.org/officeDocument/2006/relationships/oleObject" Target="../embeddings/oleObject6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13" Type="http://schemas.openxmlformats.org/officeDocument/2006/relationships/tags" Target="../tags/tag19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tags" Target="../tags/tag18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11.xml"/><Relationship Id="rId15" Type="http://schemas.openxmlformats.org/officeDocument/2006/relationships/image" Target="../media/image3.emf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110.xml"/><Relationship Id="rId9" Type="http://schemas.openxmlformats.org/officeDocument/2006/relationships/vmlDrawing" Target="../drawings/vmlDrawing8.vml"/><Relationship Id="rId14" Type="http://schemas.openxmlformats.org/officeDocument/2006/relationships/oleObject" Target="../embeddings/oleObject8.bin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6.xml"/><Relationship Id="rId7" Type="http://schemas.openxmlformats.org/officeDocument/2006/relationships/theme" Target="../theme/theme18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8.xml"/><Relationship Id="rId9" Type="http://schemas.openxmlformats.org/officeDocument/2006/relationships/vmlDrawing" Target="../drawings/vmlDrawing2.vml"/><Relationship Id="rId14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3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3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Relationship Id="rId9" Type="http://schemas.openxmlformats.org/officeDocument/2006/relationships/image" Target="../media/image3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image" Target="../media/image5.jpeg"/><Relationship Id="rId5" Type="http://schemas.openxmlformats.org/officeDocument/2006/relationships/slideLayout" Target="../slideLayouts/slideLayout60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162000"/>
            <a:ext cx="89925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9" r:id="rId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4403FCB-1241-45D8-96CC-323828033F27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518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1540" y="162000"/>
            <a:ext cx="9342921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2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de-DE" sz="525" dirty="0" smtClean="0">
                <a:solidFill>
                  <a:srgbClr val="808080"/>
                </a:solidFill>
              </a:rPr>
              <a:t>REACH Policy Overview</a:t>
            </a:r>
            <a:endParaRPr lang="de-DE" sz="525" dirty="0">
              <a:solidFill>
                <a:srgbClr val="80808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281540" y="1508760"/>
            <a:ext cx="9342920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9906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</p:spTree>
    <p:extLst>
      <p:ext uri="{BB962C8B-B14F-4D97-AF65-F5344CB8AC3E}">
        <p14:creationId xmlns:p14="http://schemas.microsoft.com/office/powerpoint/2010/main" val="3002161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88"/>
        </a:spcBef>
        <a:buFontTx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272" indent="-175022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241" indent="-172641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4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3" y="162000"/>
            <a:ext cx="89925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9906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838715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6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3" y="162000"/>
            <a:ext cx="89925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9906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825784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</p:sldLayoutIdLst>
  <p:timing>
    <p:tnLst>
      <p:par>
        <p:cTn id="1" dur="indefinite" restart="never" nodeType="tmRoot"/>
      </p:par>
    </p:tnLst>
  </p:timing>
  <p:txStyles>
    <p:titleStyle>
      <a:lvl1pPr algn="l" defTabSz="844083" rtl="0" eaLnBrk="1" latinLnBrk="0" hangingPunct="1">
        <a:spcBef>
          <a:spcPct val="0"/>
        </a:spcBef>
        <a:buNone/>
        <a:defRPr sz="221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70C0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70C0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70C0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70C0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1540" y="162000"/>
            <a:ext cx="9342921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281540" y="1508760"/>
            <a:ext cx="9342920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9906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594427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88"/>
        </a:spcBef>
        <a:buFontTx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272" indent="-175022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241" indent="-172641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2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3" y="162000"/>
            <a:ext cx="89925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9906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730827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</p:sldLayoutIdLst>
  <p:timing>
    <p:tnLst>
      <p:par>
        <p:cTn id="1" dur="indefinite" restart="never" nodeType="tmRoot"/>
      </p:par>
    </p:tnLst>
  </p:timing>
  <p:txStyles>
    <p:titleStyle>
      <a:lvl1pPr algn="l" defTabSz="844083" rtl="0" eaLnBrk="1" latinLnBrk="0" hangingPunct="1">
        <a:spcBef>
          <a:spcPct val="0"/>
        </a:spcBef>
        <a:buNone/>
        <a:defRPr sz="221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spcBef>
          <a:spcPts val="354"/>
        </a:spcBef>
        <a:buFontTx/>
        <a:buNone/>
        <a:defRPr sz="147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indent="-211021" algn="l" defTabSz="844083" rtl="0" eaLnBrk="1" latinLnBrk="0" hangingPunct="1">
        <a:spcBef>
          <a:spcPts val="354"/>
        </a:spcBef>
        <a:buClr>
          <a:srgbClr val="0070C0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indent="-211021" algn="l" defTabSz="844083" rtl="0" eaLnBrk="1" latinLnBrk="0" hangingPunct="1">
        <a:spcBef>
          <a:spcPts val="354"/>
        </a:spcBef>
        <a:buClr>
          <a:srgbClr val="0070C0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3pPr>
      <a:lvl4pPr marL="1270521" indent="-215416" algn="l" defTabSz="844083" rtl="0" eaLnBrk="1" latinLnBrk="0" hangingPunct="1">
        <a:spcBef>
          <a:spcPts val="354"/>
        </a:spcBef>
        <a:buClr>
          <a:srgbClr val="0070C0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4pPr>
      <a:lvl5pPr marL="1900652" indent="-212487" algn="l" defTabSz="844083" rtl="0" eaLnBrk="1" latinLnBrk="0" hangingPunct="1">
        <a:spcBef>
          <a:spcPts val="354"/>
        </a:spcBef>
        <a:buClr>
          <a:srgbClr val="0070C0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62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11" r:id="rId14" imgW="0" imgH="0" progId="">
                  <p:embed/>
                </p:oleObj>
              </mc:Choice>
              <mc:Fallback>
                <p:oleObj r:id="rId1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457200" y="112713"/>
            <a:ext cx="89916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Slide title</a:t>
            </a:r>
          </a:p>
        </p:txBody>
      </p:sp>
      <p:sp>
        <p:nvSpPr>
          <p:cNvPr id="1028" name="Rectangle 10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457200" y="1506538"/>
            <a:ext cx="8991600" cy="458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First level</a:t>
            </a:r>
          </a:p>
          <a:p>
            <a:pPr lvl="2"/>
            <a:r>
              <a:rPr lang="en-US" smtClean="0"/>
              <a:t>Second level</a:t>
            </a:r>
          </a:p>
          <a:p>
            <a:pPr lvl="3"/>
            <a:r>
              <a:rPr lang="en-US" smtClean="0"/>
              <a:t>Third level</a:t>
            </a:r>
          </a:p>
          <a:p>
            <a:pPr lvl="4"/>
            <a:r>
              <a:rPr lang="en-US" smtClean="0"/>
              <a:t>Quotation level</a:t>
            </a:r>
          </a:p>
        </p:txBody>
      </p:sp>
      <p:sp>
        <p:nvSpPr>
          <p:cNvPr id="1029" name="FooterSimple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57242" y="6667258"/>
            <a:ext cx="65" cy="17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138" smtClean="0">
              <a:solidFill>
                <a:srgbClr val="000000"/>
              </a:solidFill>
            </a:endParaRPr>
          </a:p>
        </p:txBody>
      </p:sp>
      <p:sp>
        <p:nvSpPr>
          <p:cNvPr id="1030" name="Rectangle 9"/>
          <p:cNvSpPr>
            <a:spLocks noChangeArrowheads="1"/>
          </p:cNvSpPr>
          <p:nvPr/>
        </p:nvSpPr>
        <p:spPr bwMode="auto">
          <a:xfrm>
            <a:off x="0" y="995365"/>
            <a:ext cx="9906000" cy="92075"/>
          </a:xfrm>
          <a:prstGeom prst="rect">
            <a:avLst/>
          </a:prstGeom>
          <a:solidFill>
            <a:srgbClr val="655FD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 type="none" w="lg" len="lg"/>
                <a:tailEnd type="none" w="lg" len="lg"/>
              </a14:hiddenLine>
            </a:ext>
          </a:extLst>
        </p:spPr>
        <p:txBody>
          <a:bodyPr wrap="none" tIns="74295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 smtClean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/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1" y="991553"/>
            <a:ext cx="9906001" cy="9525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9" name="TextBox 5"/>
          <p:cNvSpPr txBox="1"/>
          <p:nvPr userDrawn="1"/>
        </p:nvSpPr>
        <p:spPr>
          <a:xfrm>
            <a:off x="4515439" y="-12938"/>
            <a:ext cx="5394071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371475"/>
            <a:r>
              <a:rPr lang="en-GB" sz="894" b="1" dirty="0" smtClean="0">
                <a:solidFill>
                  <a:srgbClr val="FF0000"/>
                </a:solidFill>
              </a:rPr>
              <a:t>DRAFT</a:t>
            </a:r>
            <a:endParaRPr lang="en-GB" sz="894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8620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</p:sldLayoutIdLst>
  <p:txStyles>
    <p:titleStyle>
      <a:lvl1pPr algn="l" rtl="0" eaLnBrk="0" fontAlgn="base" hangingPunct="0">
        <a:lnSpc>
          <a:spcPts val="2113"/>
        </a:lnSpc>
        <a:spcBef>
          <a:spcPct val="0"/>
        </a:spcBef>
        <a:spcAft>
          <a:spcPct val="0"/>
        </a:spcAft>
        <a:defRPr sz="1950" b="1">
          <a:solidFill>
            <a:srgbClr val="24216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113"/>
        </a:lnSpc>
        <a:spcBef>
          <a:spcPct val="0"/>
        </a:spcBef>
        <a:spcAft>
          <a:spcPct val="0"/>
        </a:spcAft>
        <a:defRPr sz="1950" b="1">
          <a:solidFill>
            <a:srgbClr val="24216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ts val="2113"/>
        </a:lnSpc>
        <a:spcBef>
          <a:spcPct val="0"/>
        </a:spcBef>
        <a:spcAft>
          <a:spcPct val="0"/>
        </a:spcAft>
        <a:defRPr sz="1950" b="1">
          <a:solidFill>
            <a:srgbClr val="24216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ts val="2113"/>
        </a:lnSpc>
        <a:spcBef>
          <a:spcPct val="0"/>
        </a:spcBef>
        <a:spcAft>
          <a:spcPct val="0"/>
        </a:spcAft>
        <a:defRPr sz="1950" b="1">
          <a:solidFill>
            <a:srgbClr val="24216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ts val="2113"/>
        </a:lnSpc>
        <a:spcBef>
          <a:spcPct val="0"/>
        </a:spcBef>
        <a:spcAft>
          <a:spcPct val="0"/>
        </a:spcAft>
        <a:defRPr sz="1950" b="1">
          <a:solidFill>
            <a:srgbClr val="242161"/>
          </a:solidFill>
          <a:latin typeface="Arial" pitchFamily="34" charset="0"/>
          <a:cs typeface="Arial" pitchFamily="34" charset="0"/>
        </a:defRPr>
      </a:lvl5pPr>
      <a:lvl6pPr marL="371475" algn="l" rtl="0" fontAlgn="base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742950" algn="l" rtl="0" fontAlgn="base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114425" algn="l" rtl="0" fontAlgn="base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485900" algn="l" rtl="0" fontAlgn="base"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278606" indent="-278606" algn="l" rtl="0" eaLnBrk="0" fontAlgn="base" hangingPunct="0">
        <a:spcBef>
          <a:spcPct val="20000"/>
        </a:spcBef>
        <a:spcAft>
          <a:spcPct val="0"/>
        </a:spcAft>
        <a:defRPr sz="1625" b="1">
          <a:solidFill>
            <a:srgbClr val="333333"/>
          </a:solidFill>
          <a:latin typeface="+mn-lt"/>
          <a:ea typeface="+mn-ea"/>
          <a:cs typeface="+mn-cs"/>
        </a:defRPr>
      </a:lvl1pPr>
      <a:lvl2pPr marL="371475" indent="-185738" algn="l" rtl="0" eaLnBrk="0" fontAlgn="base" hangingPunct="0">
        <a:spcBef>
          <a:spcPct val="20000"/>
        </a:spcBef>
        <a:spcAft>
          <a:spcPct val="0"/>
        </a:spcAft>
        <a:buClr>
          <a:srgbClr val="BC5D16"/>
        </a:buClr>
        <a:buFont typeface="Arial" charset="0"/>
        <a:buChar char="•"/>
        <a:defRPr sz="1625">
          <a:solidFill>
            <a:srgbClr val="333333"/>
          </a:solidFill>
          <a:latin typeface="+mn-lt"/>
          <a:cs typeface="+mn-cs"/>
        </a:defRPr>
      </a:lvl2pPr>
      <a:lvl3pPr marL="742950" indent="-18573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300">
          <a:solidFill>
            <a:srgbClr val="333333"/>
          </a:solidFill>
          <a:latin typeface="+mn-lt"/>
          <a:cs typeface="+mn-cs"/>
        </a:defRPr>
      </a:lvl3pPr>
      <a:lvl4pPr marL="1118295" indent="-189607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300">
          <a:solidFill>
            <a:srgbClr val="333333"/>
          </a:solidFill>
          <a:latin typeface="+mn-lt"/>
          <a:cs typeface="+mn-cs"/>
        </a:defRPr>
      </a:lvl4pPr>
      <a:lvl5pPr marL="1672928" indent="-18702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300">
          <a:solidFill>
            <a:srgbClr val="333333"/>
          </a:solidFill>
          <a:latin typeface="+mn-lt"/>
          <a:cs typeface="+mn-cs"/>
        </a:defRPr>
      </a:lvl5pPr>
      <a:lvl6pPr marL="2044403" indent="-18702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6pPr>
      <a:lvl7pPr marL="2415878" indent="-18702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7pPr>
      <a:lvl8pPr marL="2787353" indent="-18702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8pPr>
      <a:lvl9pPr marL="3158828" indent="-18702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3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62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43" r:id="rId14" imgW="0" imgH="0" progId="">
                  <p:embed/>
                </p:oleObj>
              </mc:Choice>
              <mc:Fallback>
                <p:oleObj r:id="rId1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457200" y="112713"/>
            <a:ext cx="89916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Slide title</a:t>
            </a:r>
          </a:p>
        </p:txBody>
      </p:sp>
      <p:sp>
        <p:nvSpPr>
          <p:cNvPr id="1028" name="Rectangle 10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457200" y="1506538"/>
            <a:ext cx="8991600" cy="458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First level</a:t>
            </a:r>
          </a:p>
          <a:p>
            <a:pPr lvl="2"/>
            <a:r>
              <a:rPr lang="en-US" smtClean="0"/>
              <a:t>Second level</a:t>
            </a:r>
          </a:p>
          <a:p>
            <a:pPr lvl="3"/>
            <a:r>
              <a:rPr lang="en-US" smtClean="0"/>
              <a:t>Third level</a:t>
            </a:r>
          </a:p>
          <a:p>
            <a:pPr lvl="4"/>
            <a:r>
              <a:rPr lang="en-US" smtClean="0"/>
              <a:t>Quotation level</a:t>
            </a:r>
          </a:p>
        </p:txBody>
      </p:sp>
      <p:sp>
        <p:nvSpPr>
          <p:cNvPr id="1029" name="FooterSimple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57242" y="6647092"/>
            <a:ext cx="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030" name="Rectangle 9"/>
          <p:cNvSpPr>
            <a:spLocks noChangeArrowheads="1"/>
          </p:cNvSpPr>
          <p:nvPr/>
        </p:nvSpPr>
        <p:spPr bwMode="auto">
          <a:xfrm>
            <a:off x="0" y="995365"/>
            <a:ext cx="9906000" cy="92075"/>
          </a:xfrm>
          <a:prstGeom prst="rect">
            <a:avLst/>
          </a:prstGeom>
          <a:solidFill>
            <a:srgbClr val="655FD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 type="none" w="lg" len="lg"/>
                <a:tailEnd type="none" w="lg" len="lg"/>
              </a14:hiddenLine>
            </a:ext>
          </a:extLst>
        </p:spPr>
        <p:txBody>
          <a:bodyPr wrap="none" t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/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1" y="991553"/>
            <a:ext cx="9906001" cy="9525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9" name="TextBox 5"/>
          <p:cNvSpPr txBox="1"/>
          <p:nvPr userDrawn="1"/>
        </p:nvSpPr>
        <p:spPr>
          <a:xfrm>
            <a:off x="4515439" y="-12938"/>
            <a:ext cx="53940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en-GB" sz="1100" b="1" dirty="0" smtClean="0">
                <a:solidFill>
                  <a:srgbClr val="FF0000"/>
                </a:solidFill>
              </a:rPr>
              <a:t>DRAFT</a:t>
            </a:r>
            <a:endParaRPr lang="en-GB" sz="11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680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</p:sldLayoutIdLst>
  <p:txStyles>
    <p:titleStyle>
      <a:lvl1pPr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400" b="1">
          <a:solidFill>
            <a:srgbClr val="24216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400" b="1">
          <a:solidFill>
            <a:srgbClr val="24216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400" b="1">
          <a:solidFill>
            <a:srgbClr val="24216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400" b="1">
          <a:solidFill>
            <a:srgbClr val="24216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400" b="1">
          <a:solidFill>
            <a:srgbClr val="242161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rgbClr val="BC5D16"/>
        </a:buClr>
        <a:buFont typeface="Arial" charset="0"/>
        <a:buChar char="•"/>
        <a:defRPr sz="2000">
          <a:solidFill>
            <a:srgbClr val="333333"/>
          </a:solidFill>
          <a:latin typeface="+mn-lt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rgbClr val="333333"/>
          </a:solidFill>
          <a:latin typeface="+mn-lt"/>
          <a:cs typeface="+mn-cs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rgbClr val="333333"/>
          </a:solidFill>
          <a:latin typeface="+mn-lt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rgbClr val="333333"/>
          </a:solidFill>
          <a:latin typeface="+mn-lt"/>
          <a:cs typeface="+mn-cs"/>
        </a:defRPr>
      </a:lvl5pPr>
      <a:lvl6pPr marL="25161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733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305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877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5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23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4403FCB-1241-45D8-96CC-323828033F27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23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840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75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75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75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75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750">
          <a:solidFill>
            <a:schemeClr val="tx1"/>
          </a:solidFill>
          <a:latin typeface="Calibri" pitchFamily="34" charset="0"/>
        </a:defRPr>
      </a:lvl5pPr>
      <a:lvl6pPr marL="389586" algn="ctr" rtl="0" fontAlgn="base">
        <a:spcBef>
          <a:spcPct val="0"/>
        </a:spcBef>
        <a:spcAft>
          <a:spcPct val="0"/>
        </a:spcAft>
        <a:defRPr sz="3750">
          <a:solidFill>
            <a:schemeClr val="tx1"/>
          </a:solidFill>
          <a:latin typeface="Calibri" pitchFamily="34" charset="0"/>
        </a:defRPr>
      </a:lvl6pPr>
      <a:lvl7pPr marL="779173" algn="ctr" rtl="0" fontAlgn="base">
        <a:spcBef>
          <a:spcPct val="0"/>
        </a:spcBef>
        <a:spcAft>
          <a:spcPct val="0"/>
        </a:spcAft>
        <a:defRPr sz="3750">
          <a:solidFill>
            <a:schemeClr val="tx1"/>
          </a:solidFill>
          <a:latin typeface="Calibri" pitchFamily="34" charset="0"/>
        </a:defRPr>
      </a:lvl7pPr>
      <a:lvl8pPr marL="1168759" algn="ctr" rtl="0" fontAlgn="base">
        <a:spcBef>
          <a:spcPct val="0"/>
        </a:spcBef>
        <a:spcAft>
          <a:spcPct val="0"/>
        </a:spcAft>
        <a:defRPr sz="3750">
          <a:solidFill>
            <a:schemeClr val="tx1"/>
          </a:solidFill>
          <a:latin typeface="Calibri" pitchFamily="34" charset="0"/>
        </a:defRPr>
      </a:lvl8pPr>
      <a:lvl9pPr marL="1558345" algn="ctr" rtl="0" fontAlgn="base">
        <a:spcBef>
          <a:spcPct val="0"/>
        </a:spcBef>
        <a:spcAft>
          <a:spcPct val="0"/>
        </a:spcAft>
        <a:defRPr sz="3750">
          <a:solidFill>
            <a:schemeClr val="tx1"/>
          </a:solidFill>
          <a:latin typeface="Calibri" pitchFamily="34" charset="0"/>
        </a:defRPr>
      </a:lvl9pPr>
    </p:titleStyle>
    <p:bodyStyle>
      <a:lvl1pPr marL="292190" indent="-2921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727" kern="1200">
          <a:solidFill>
            <a:schemeClr val="tx1"/>
          </a:solidFill>
          <a:latin typeface="+mn-lt"/>
          <a:ea typeface="+mn-ea"/>
          <a:cs typeface="+mn-cs"/>
        </a:defRPr>
      </a:lvl1pPr>
      <a:lvl2pPr marL="633078" indent="-2434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386" kern="1200">
          <a:solidFill>
            <a:schemeClr val="tx1"/>
          </a:solidFill>
          <a:latin typeface="+mn-lt"/>
          <a:ea typeface="+mn-ea"/>
          <a:cs typeface="+mn-cs"/>
        </a:defRPr>
      </a:lvl2pPr>
      <a:lvl3pPr marL="973966" indent="-19479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45" kern="1200">
          <a:solidFill>
            <a:schemeClr val="tx1"/>
          </a:solidFill>
          <a:latin typeface="+mn-lt"/>
          <a:ea typeface="+mn-ea"/>
          <a:cs typeface="+mn-cs"/>
        </a:defRPr>
      </a:lvl3pPr>
      <a:lvl4pPr marL="1363553" indent="-19479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704" kern="1200">
          <a:solidFill>
            <a:schemeClr val="tx1"/>
          </a:solidFill>
          <a:latin typeface="+mn-lt"/>
          <a:ea typeface="+mn-ea"/>
          <a:cs typeface="+mn-cs"/>
        </a:defRPr>
      </a:lvl4pPr>
      <a:lvl5pPr marL="1753139" indent="-19479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704" kern="1200">
          <a:solidFill>
            <a:schemeClr val="tx1"/>
          </a:solidFill>
          <a:latin typeface="+mn-lt"/>
          <a:ea typeface="+mn-ea"/>
          <a:cs typeface="+mn-cs"/>
        </a:defRPr>
      </a:lvl5pPr>
      <a:lvl6pPr marL="2142725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6pPr>
      <a:lvl7pPr marL="2532312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7pPr>
      <a:lvl8pPr marL="2921898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8pPr>
      <a:lvl9pPr marL="3311484" indent="-194793" algn="l" defTabSz="779173" rtl="0" eaLnBrk="1" latinLnBrk="0" hangingPunct="1">
        <a:spcBef>
          <a:spcPct val="20000"/>
        </a:spcBef>
        <a:buFont typeface="Arial" pitchFamily="34" charset="0"/>
        <a:buChar char="•"/>
        <a:defRPr sz="17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1pPr>
      <a:lvl2pPr marL="389586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2pPr>
      <a:lvl3pPr marL="779173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3pPr>
      <a:lvl4pPr marL="1168759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4pPr>
      <a:lvl5pPr marL="1558345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5pPr>
      <a:lvl6pPr marL="1947932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6pPr>
      <a:lvl7pPr marL="2337518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7pPr>
      <a:lvl8pPr marL="2727104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8pPr>
      <a:lvl9pPr marL="3116691" algn="l" defTabSz="779173" rtl="0" eaLnBrk="1" latinLnBrk="0" hangingPunct="1">
        <a:defRPr sz="15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1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162000"/>
            <a:ext cx="89925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de-DE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9906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651291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4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162000"/>
            <a:ext cx="89925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de-DE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de-DE" sz="900" smtClean="0">
              <a:solidFill>
                <a:srgbClr val="000000"/>
              </a:solidFill>
            </a:endParaRPr>
          </a:p>
          <a:p>
            <a:endParaRPr lang="de-DE" sz="9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9906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" name="Picture 13" descr="REACH LogoNEW2.jpg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78" b="25552"/>
          <a:stretch/>
        </p:blipFill>
        <p:spPr>
          <a:xfrm>
            <a:off x="8421497" y="6644333"/>
            <a:ext cx="64490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050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162000"/>
            <a:ext cx="89925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de-DE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de-DE" sz="900" smtClean="0">
              <a:solidFill>
                <a:srgbClr val="000000"/>
              </a:solidFill>
            </a:endParaRPr>
          </a:p>
          <a:p>
            <a:endParaRPr lang="de-DE" sz="9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9906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983091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70C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4403FCB-1241-45D8-96CC-323828033F27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/01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09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auto">
          <a:xfrm>
            <a:off x="282046" y="161925"/>
            <a:ext cx="934190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de-DE" altLang="en-US" smtClean="0"/>
          </a:p>
        </p:txBody>
      </p:sp>
      <p:sp>
        <p:nvSpPr>
          <p:cNvPr id="11268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282046" y="1508125"/>
            <a:ext cx="9341908" cy="459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de-DE" altLang="en-US" smtClean="0"/>
          </a:p>
        </p:txBody>
      </p:sp>
      <p:sp>
        <p:nvSpPr>
          <p:cNvPr id="11270" name="DraftStamp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337376" y="764704"/>
            <a:ext cx="144270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altLang="en-US" sz="900" b="1" dirty="0" smtClean="0">
                <a:solidFill>
                  <a:srgbClr val="C41300"/>
                </a:solidFill>
                <a:latin typeface="Arial" panose="020B0604020202020204" pitchFamily="34" charset="0"/>
              </a:rPr>
              <a:t>Draft—for discussion only</a:t>
            </a:r>
          </a:p>
        </p:txBody>
      </p:sp>
      <p:pic>
        <p:nvPicPr>
          <p:cNvPr id="2" name="Picture 1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" r="3773" b="75430"/>
          <a:stretch>
            <a:fillRect/>
          </a:stretch>
        </p:blipFill>
        <p:spPr bwMode="auto">
          <a:xfrm>
            <a:off x="0" y="990600"/>
            <a:ext cx="9906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4856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0" fontAlgn="base" hangingPunct="0">
        <a:spcBef>
          <a:spcPct val="0"/>
        </a:spcBef>
        <a:spcAft>
          <a:spcPct val="0"/>
        </a:spcAft>
        <a:defRPr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</a:defRPr>
      </a:lvl2pPr>
      <a:lvl3pPr algn="l" defTabSz="685800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</a:defRPr>
      </a:lvl3pPr>
      <a:lvl4pPr algn="l" defTabSz="685800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</a:defRPr>
      </a:lvl4pPr>
      <a:lvl5pPr algn="l" defTabSz="685800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</a:defRPr>
      </a:lvl5pPr>
      <a:lvl6pPr marL="457200" algn="l" defTabSz="685800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</a:defRPr>
      </a:lvl6pPr>
      <a:lvl7pPr marL="914400" algn="l" defTabSz="685800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</a:defRPr>
      </a:lvl7pPr>
      <a:lvl8pPr marL="1371600" algn="l" defTabSz="685800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</a:defRPr>
      </a:lvl8pPr>
      <a:lvl9pPr marL="1828800" algn="l" defTabSz="685800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algn="l" defTabSz="685800" rtl="0" eaLnBrk="0" fontAlgn="base" hangingPunct="0">
        <a:spcBef>
          <a:spcPts val="288"/>
        </a:spcBef>
        <a:spcAft>
          <a:spcPct val="0"/>
        </a:spcAft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0" fontAlgn="base" hangingPunct="0">
        <a:spcBef>
          <a:spcPts val="288"/>
        </a:spcBef>
        <a:spcAft>
          <a:spcPct val="0"/>
        </a:spcAft>
        <a:buClr>
          <a:srgbClr val="0070C0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685800" rtl="0" eaLnBrk="0" fontAlgn="base" hangingPunct="0">
        <a:spcBef>
          <a:spcPts val="288"/>
        </a:spcBef>
        <a:spcAft>
          <a:spcPct val="0"/>
        </a:spcAft>
        <a:buClr>
          <a:srgbClr val="0070C0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875" indent="-174625" algn="l" defTabSz="685800" rtl="0" eaLnBrk="0" fontAlgn="base" hangingPunct="0">
        <a:spcBef>
          <a:spcPts val="288"/>
        </a:spcBef>
        <a:spcAft>
          <a:spcPct val="0"/>
        </a:spcAft>
        <a:buClr>
          <a:srgbClr val="0070C0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spcBef>
          <a:spcPts val="288"/>
        </a:spcBef>
        <a:spcAft>
          <a:spcPct val="0"/>
        </a:spcAft>
        <a:buClr>
          <a:srgbClr val="0070C0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1540" y="162000"/>
            <a:ext cx="9342921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2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de-DE" sz="525" dirty="0" smtClean="0">
                <a:solidFill>
                  <a:srgbClr val="808080"/>
                </a:solidFill>
              </a:rPr>
              <a:t>REACH Policy Overview</a:t>
            </a:r>
            <a:endParaRPr lang="de-DE" sz="525" dirty="0">
              <a:solidFill>
                <a:srgbClr val="80808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281540" y="1508760"/>
            <a:ext cx="9342920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9906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64342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88"/>
        </a:spcBef>
        <a:buFontTx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272" indent="-175022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241" indent="-172641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1540" y="162000"/>
            <a:ext cx="9342921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2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de-DE" sz="525" dirty="0" smtClean="0">
                <a:solidFill>
                  <a:srgbClr val="808080"/>
                </a:solidFill>
              </a:rPr>
              <a:t>REACH Policy Overview</a:t>
            </a:r>
            <a:endParaRPr lang="de-DE" sz="525" dirty="0">
              <a:solidFill>
                <a:srgbClr val="80808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281540" y="1508760"/>
            <a:ext cx="9342920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pic>
        <p:nvPicPr>
          <p:cNvPr id="12" name="Picture 11"/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9906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47824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88"/>
        </a:spcBef>
        <a:buFontTx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272" indent="-175022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241" indent="-172641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1540" y="162000"/>
            <a:ext cx="9342921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de-DE" noProof="0" dirty="0"/>
          </a:p>
        </p:txBody>
      </p:sp>
      <p:sp>
        <p:nvSpPr>
          <p:cNvPr id="7" name="FooterSimple"/>
          <p:cNvSpPr/>
          <p:nvPr/>
        </p:nvSpPr>
        <p:spPr>
          <a:xfrm>
            <a:off x="457202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de-DE" sz="525" dirty="0" smtClean="0">
                <a:solidFill>
                  <a:srgbClr val="808080"/>
                </a:solidFill>
              </a:rPr>
              <a:t>REACH Policy Overview</a:t>
            </a:r>
            <a:endParaRPr lang="de-DE" sz="525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685800">
              <a:defRPr/>
            </a:pPr>
            <a:fld id="{9D53E389-1311-4796-9190-1F74A8EADEA2}" type="slidenum">
              <a:rPr lang="de-DE" sz="675" smtClean="0">
                <a:solidFill>
                  <a:srgbClr val="000000"/>
                </a:solidFill>
              </a:rPr>
              <a:pPr algn="r" defTabSz="685800">
                <a:defRPr/>
              </a:pPr>
              <a:t>‹#›</a:t>
            </a:fld>
            <a:endParaRPr lang="de-DE" sz="675" smtClean="0">
              <a:solidFill>
                <a:srgbClr val="000000"/>
              </a:solidFill>
            </a:endParaRPr>
          </a:p>
          <a:p>
            <a:endParaRPr lang="de-DE" sz="675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281540" y="1508760"/>
            <a:ext cx="9342920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9" name="DraftStamp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582921" y="6642002"/>
            <a:ext cx="1442703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de-DE" sz="900" b="1" dirty="0" smtClean="0">
                <a:solidFill>
                  <a:srgbClr val="C41300"/>
                </a:solidFill>
              </a:rPr>
              <a:t>Draft—for discussion only</a:t>
            </a:r>
            <a:endParaRPr lang="de-DE" sz="900" b="1" dirty="0">
              <a:solidFill>
                <a:srgbClr val="C41300"/>
              </a:solidFill>
              <a:cs typeface="Arial" pitchFamily="34" charset="0"/>
            </a:endParaRPr>
          </a:p>
        </p:txBody>
      </p:sp>
      <p:pic>
        <p:nvPicPr>
          <p:cNvPr id="12" name="Picture 11"/>
          <p:cNvPicPr/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0" r="3774" b="75431"/>
          <a:stretch/>
        </p:blipFill>
        <p:spPr bwMode="auto">
          <a:xfrm>
            <a:off x="0" y="990600"/>
            <a:ext cx="9906000" cy="762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" name="Picture 13" descr="REACH LogoNEW2.jpg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78" b="25552"/>
          <a:stretch/>
        </p:blipFill>
        <p:spPr>
          <a:xfrm>
            <a:off x="8421498" y="6644333"/>
            <a:ext cx="64490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574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88"/>
        </a:spcBef>
        <a:buFontTx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272" indent="-175022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241" indent="-172641" algn="l" defTabSz="685800" rtl="0" eaLnBrk="1" latinLnBrk="0" hangingPunct="1">
        <a:spcBef>
          <a:spcPts val="288"/>
        </a:spcBef>
        <a:buClr>
          <a:srgbClr val="0070C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1.xml"/><Relationship Id="rId4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2.xml"/><Relationship Id="rId4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jpeg"/><Relationship Id="rId18" Type="http://schemas.openxmlformats.org/officeDocument/2006/relationships/image" Target="../media/image33.jpeg"/><Relationship Id="rId3" Type="http://schemas.openxmlformats.org/officeDocument/2006/relationships/image" Target="../media/image18.jpeg"/><Relationship Id="rId21" Type="http://schemas.openxmlformats.org/officeDocument/2006/relationships/image" Target="../media/image36.jpeg"/><Relationship Id="rId7" Type="http://schemas.openxmlformats.org/officeDocument/2006/relationships/image" Target="../media/image22.jpeg"/><Relationship Id="rId12" Type="http://schemas.openxmlformats.org/officeDocument/2006/relationships/image" Target="../media/image27.jpeg"/><Relationship Id="rId17" Type="http://schemas.openxmlformats.org/officeDocument/2006/relationships/image" Target="../media/image32.jpeg"/><Relationship Id="rId2" Type="http://schemas.openxmlformats.org/officeDocument/2006/relationships/image" Target="../media/image17.png"/><Relationship Id="rId16" Type="http://schemas.openxmlformats.org/officeDocument/2006/relationships/image" Target="../media/image31.jpe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5" Type="http://schemas.openxmlformats.org/officeDocument/2006/relationships/image" Target="../media/image30.jpeg"/><Relationship Id="rId10" Type="http://schemas.openxmlformats.org/officeDocument/2006/relationships/image" Target="../media/image25.jpeg"/><Relationship Id="rId19" Type="http://schemas.openxmlformats.org/officeDocument/2006/relationships/image" Target="../media/image34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Relationship Id="rId14" Type="http://schemas.openxmlformats.org/officeDocument/2006/relationships/image" Target="../media/image29.jpeg"/><Relationship Id="rId22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35.png"/><Relationship Id="rId7" Type="http://schemas.openxmlformats.org/officeDocument/2006/relationships/image" Target="../media/image3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8.jpeg"/><Relationship Id="rId5" Type="http://schemas.openxmlformats.org/officeDocument/2006/relationships/image" Target="../media/image20.jpe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notesSlide" Target="../notesSlides/notesSlide10.xml"/><Relationship Id="rId3" Type="http://schemas.openxmlformats.org/officeDocument/2006/relationships/tags" Target="../tags/tag95.xml"/><Relationship Id="rId21" Type="http://schemas.openxmlformats.org/officeDocument/2006/relationships/image" Target="../media/image42.png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slideLayout" Target="../slideLayouts/slideLayout11.xml"/><Relationship Id="rId25" Type="http://schemas.openxmlformats.org/officeDocument/2006/relationships/image" Target="../media/image37.png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0" Type="http://schemas.openxmlformats.org/officeDocument/2006/relationships/image" Target="../media/image41.jpeg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24" Type="http://schemas.openxmlformats.org/officeDocument/2006/relationships/image" Target="../media/image44.png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23" Type="http://schemas.openxmlformats.org/officeDocument/2006/relationships/image" Target="../media/image17.png"/><Relationship Id="rId10" Type="http://schemas.openxmlformats.org/officeDocument/2006/relationships/tags" Target="../tags/tag102.xml"/><Relationship Id="rId19" Type="http://schemas.openxmlformats.org/officeDocument/2006/relationships/image" Target="../media/image40.jpeg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slide" Target="slide48.xml"/><Relationship Id="rId4" Type="http://schemas.openxmlformats.org/officeDocument/2006/relationships/tags" Target="../tags/tag25.xml"/><Relationship Id="rId9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chart" Target="../charts/chart3.xml"/><Relationship Id="rId4" Type="http://schemas.openxmlformats.org/officeDocument/2006/relationships/notesSlide" Target="../notesSlides/notesSlide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1.xml"/><Relationship Id="rId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chart" Target="../charts/chart5.xml"/><Relationship Id="rId4" Type="http://schemas.openxmlformats.org/officeDocument/2006/relationships/notesSlide" Target="../notesSlides/notesSlide2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chart" Target="../charts/chart6.xml"/><Relationship Id="rId4" Type="http://schemas.openxmlformats.org/officeDocument/2006/relationships/notesSlide" Target="../notesSlides/notesSlide2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chart" Target="../charts/chart7.xml"/><Relationship Id="rId4" Type="http://schemas.openxmlformats.org/officeDocument/2006/relationships/notesSlide" Target="../notesSlides/notesSlide2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chart" Target="../charts/chart8.xml"/><Relationship Id="rId4" Type="http://schemas.openxmlformats.org/officeDocument/2006/relationships/notesSlide" Target="../notesSlides/notesSlide2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chart" Target="../charts/chart9.xml"/><Relationship Id="rId4" Type="http://schemas.openxmlformats.org/officeDocument/2006/relationships/notesSlide" Target="../notesSlides/notesSlide2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chart" Target="../charts/chart10.xml"/><Relationship Id="rId4" Type="http://schemas.openxmlformats.org/officeDocument/2006/relationships/notesSlide" Target="../notesSlides/notesSlide2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chart" Target="../charts/chart11.xml"/><Relationship Id="rId4" Type="http://schemas.openxmlformats.org/officeDocument/2006/relationships/notesSlide" Target="../notesSlides/notesSlide2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chart" Target="../charts/chart12.xml"/><Relationship Id="rId4" Type="http://schemas.openxmlformats.org/officeDocument/2006/relationships/notesSlide" Target="../notesSlides/notesSlide3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chart" Target="../charts/chart13.xml"/><Relationship Id="rId4" Type="http://schemas.openxmlformats.org/officeDocument/2006/relationships/notesSlide" Target="../notesSlides/notesSlide31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9" Type="http://schemas.openxmlformats.org/officeDocument/2006/relationships/tags" Target="../tags/tag65.xml"/><Relationship Id="rId21" Type="http://schemas.openxmlformats.org/officeDocument/2006/relationships/tags" Target="../tags/tag47.xml"/><Relationship Id="rId34" Type="http://schemas.openxmlformats.org/officeDocument/2006/relationships/tags" Target="../tags/tag60.xml"/><Relationship Id="rId42" Type="http://schemas.openxmlformats.org/officeDocument/2006/relationships/tags" Target="../tags/tag68.xml"/><Relationship Id="rId47" Type="http://schemas.openxmlformats.org/officeDocument/2006/relationships/tags" Target="../tags/tag73.xml"/><Relationship Id="rId50" Type="http://schemas.openxmlformats.org/officeDocument/2006/relationships/tags" Target="../tags/tag76.xml"/><Relationship Id="rId55" Type="http://schemas.openxmlformats.org/officeDocument/2006/relationships/slideLayout" Target="../slideLayouts/slideLayout11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33" Type="http://schemas.openxmlformats.org/officeDocument/2006/relationships/tags" Target="../tags/tag59.xml"/><Relationship Id="rId38" Type="http://schemas.openxmlformats.org/officeDocument/2006/relationships/tags" Target="../tags/tag64.xml"/><Relationship Id="rId46" Type="http://schemas.openxmlformats.org/officeDocument/2006/relationships/tags" Target="../tags/tag72.xml"/><Relationship Id="rId59" Type="http://schemas.openxmlformats.org/officeDocument/2006/relationships/image" Target="../media/image11.png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29" Type="http://schemas.openxmlformats.org/officeDocument/2006/relationships/tags" Target="../tags/tag55.xml"/><Relationship Id="rId41" Type="http://schemas.openxmlformats.org/officeDocument/2006/relationships/tags" Target="../tags/tag67.xml"/><Relationship Id="rId54" Type="http://schemas.openxmlformats.org/officeDocument/2006/relationships/tags" Target="../tags/tag80.xml"/><Relationship Id="rId1" Type="http://schemas.openxmlformats.org/officeDocument/2006/relationships/vmlDrawing" Target="../drawings/vmlDrawing11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tags" Target="../tags/tag58.xml"/><Relationship Id="rId37" Type="http://schemas.openxmlformats.org/officeDocument/2006/relationships/tags" Target="../tags/tag63.xml"/><Relationship Id="rId40" Type="http://schemas.openxmlformats.org/officeDocument/2006/relationships/tags" Target="../tags/tag66.xml"/><Relationship Id="rId45" Type="http://schemas.openxmlformats.org/officeDocument/2006/relationships/tags" Target="../tags/tag71.xml"/><Relationship Id="rId53" Type="http://schemas.openxmlformats.org/officeDocument/2006/relationships/tags" Target="../tags/tag79.xml"/><Relationship Id="rId58" Type="http://schemas.openxmlformats.org/officeDocument/2006/relationships/image" Target="../media/image10.emf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36" Type="http://schemas.openxmlformats.org/officeDocument/2006/relationships/tags" Target="../tags/tag62.xml"/><Relationship Id="rId49" Type="http://schemas.openxmlformats.org/officeDocument/2006/relationships/tags" Target="../tags/tag75.xml"/><Relationship Id="rId57" Type="http://schemas.openxmlformats.org/officeDocument/2006/relationships/oleObject" Target="../embeddings/oleObject11.bin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tags" Target="../tags/tag57.xml"/><Relationship Id="rId44" Type="http://schemas.openxmlformats.org/officeDocument/2006/relationships/tags" Target="../tags/tag70.xml"/><Relationship Id="rId52" Type="http://schemas.openxmlformats.org/officeDocument/2006/relationships/tags" Target="../tags/tag78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tags" Target="../tags/tag56.xml"/><Relationship Id="rId35" Type="http://schemas.openxmlformats.org/officeDocument/2006/relationships/tags" Target="../tags/tag61.xml"/><Relationship Id="rId43" Type="http://schemas.openxmlformats.org/officeDocument/2006/relationships/tags" Target="../tags/tag69.xml"/><Relationship Id="rId48" Type="http://schemas.openxmlformats.org/officeDocument/2006/relationships/tags" Target="../tags/tag74.xml"/><Relationship Id="rId56" Type="http://schemas.openxmlformats.org/officeDocument/2006/relationships/notesSlide" Target="../notesSlides/notesSlide3.xml"/><Relationship Id="rId8" Type="http://schemas.openxmlformats.org/officeDocument/2006/relationships/tags" Target="../tags/tag34.xml"/><Relationship Id="rId51" Type="http://schemas.openxmlformats.org/officeDocument/2006/relationships/tags" Target="../tags/tag77.xml"/><Relationship Id="rId3" Type="http://schemas.openxmlformats.org/officeDocument/2006/relationships/tags" Target="../tags/tag2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chart" Target="../charts/chart14.xml"/><Relationship Id="rId4" Type="http://schemas.openxmlformats.org/officeDocument/2006/relationships/notesSlide" Target="../notesSlides/notesSlide3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chart" Target="../charts/chart15.xml"/><Relationship Id="rId4" Type="http://schemas.openxmlformats.org/officeDocument/2006/relationships/notesSlide" Target="../notesSlides/notesSlide3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chart" Target="../charts/chart16.xml"/><Relationship Id="rId4" Type="http://schemas.openxmlformats.org/officeDocument/2006/relationships/notesSlide" Target="../notesSlides/notesSlide3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chart" Target="../charts/chart17.xml"/><Relationship Id="rId4" Type="http://schemas.openxmlformats.org/officeDocument/2006/relationships/notesSlide" Target="../notesSlides/notesSlide3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chart" Target="../charts/chart18.xml"/><Relationship Id="rId4" Type="http://schemas.openxmlformats.org/officeDocument/2006/relationships/notesSlide" Target="../notesSlides/notesSlide3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chart" Target="../charts/chart19.xml"/><Relationship Id="rId4" Type="http://schemas.openxmlformats.org/officeDocument/2006/relationships/notesSlide" Target="../notesSlides/notesSlide3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slideLayout" Target="../slideLayouts/slideLayout113.xml"/><Relationship Id="rId7" Type="http://schemas.openxmlformats.org/officeDocument/2006/relationships/image" Target="../media/image47.png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10" Type="http://schemas.openxmlformats.org/officeDocument/2006/relationships/image" Target="../media/image49.png"/><Relationship Id="rId4" Type="http://schemas.openxmlformats.org/officeDocument/2006/relationships/notesSlide" Target="../notesSlides/notesSlide38.xml"/><Relationship Id="rId9" Type="http://schemas.openxmlformats.org/officeDocument/2006/relationships/image" Target="../media/image3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chart" Target="../charts/chart21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chart" Target="../charts/chart20.xml"/><Relationship Id="rId5" Type="http://schemas.openxmlformats.org/officeDocument/2006/relationships/notesSlide" Target="../notesSlides/notesSlide39.xml"/><Relationship Id="rId4" Type="http://schemas.openxmlformats.org/officeDocument/2006/relationships/slideLayout" Target="../slideLayouts/slideLayout113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48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51.xml"/><Relationship Id="rId5" Type="http://schemas.openxmlformats.org/officeDocument/2006/relationships/tags" Target="../tags/tag150.xml"/><Relationship Id="rId10" Type="http://schemas.openxmlformats.org/officeDocument/2006/relationships/slide" Target="slide48.xml"/><Relationship Id="rId4" Type="http://schemas.openxmlformats.org/officeDocument/2006/relationships/tags" Target="../tags/tag149.xml"/><Relationship Id="rId9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slideLayout" Target="../slideLayouts/slideLayout115.xml"/><Relationship Id="rId4" Type="http://schemas.openxmlformats.org/officeDocument/2006/relationships/tags" Target="../tags/tag8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86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10" Type="http://schemas.openxmlformats.org/officeDocument/2006/relationships/slide" Target="slide48.xml"/><Relationship Id="rId4" Type="http://schemas.openxmlformats.org/officeDocument/2006/relationships/tags" Target="../tags/tag87.xml"/><Relationship Id="rId9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5.jpe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0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800" dirty="0" smtClean="0"/>
              <a:t>Inventory of </a:t>
            </a:r>
            <a:r>
              <a:rPr lang="en-US" sz="2800" dirty="0"/>
              <a:t>UN Nutrition </a:t>
            </a:r>
            <a:r>
              <a:rPr lang="en-US" sz="2800" dirty="0" smtClean="0"/>
              <a:t>Actions</a:t>
            </a:r>
            <a:r>
              <a:rPr lang="en-US" sz="2800" b="0" dirty="0"/>
              <a:t>	</a:t>
            </a:r>
            <a:r>
              <a:rPr lang="en-GB" sz="1600" b="0" dirty="0" smtClean="0"/>
              <a:t/>
            </a:r>
            <a:br>
              <a:rPr lang="en-GB" sz="1600" b="0" dirty="0" smtClean="0"/>
            </a:b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886200"/>
            <a:ext cx="5863952" cy="1752600"/>
          </a:xfrm>
        </p:spPr>
        <p:txBody>
          <a:bodyPr/>
          <a:lstStyle/>
          <a:p>
            <a:r>
              <a:rPr lang="en-US" dirty="0" smtClean="0"/>
              <a:t>A summary of the findings – NAME OF COUNTRY </a:t>
            </a:r>
          </a:p>
          <a:p>
            <a:endParaRPr lang="en-GB" dirty="0" smtClean="0"/>
          </a:p>
          <a:p>
            <a:r>
              <a:rPr lang="en-GB" dirty="0" smtClean="0"/>
              <a:t>Location, DD Month YYYY</a:t>
            </a:r>
            <a:endParaRPr lang="en-GB" dirty="0"/>
          </a:p>
        </p:txBody>
      </p:sp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1203" y="260648"/>
            <a:ext cx="1552317" cy="934591"/>
          </a:xfrm>
          <a:prstGeom prst="rect">
            <a:avLst/>
          </a:prstGeom>
        </p:spPr>
      </p:pic>
      <p:pic>
        <p:nvPicPr>
          <p:cNvPr id="7" name="Picture 6" descr="REACH LogoNEW2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5722" y="4730686"/>
            <a:ext cx="2337798" cy="1665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647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420888"/>
            <a:ext cx="9906000" cy="797311"/>
          </a:xfrm>
          <a:prstGeom prst="rect">
            <a:avLst/>
          </a:prstGeom>
          <a:solidFill>
            <a:srgbClr val="548DD4"/>
          </a:solidFill>
          <a:ln w="25400">
            <a:solidFill>
              <a:srgbClr val="548DD4"/>
            </a:solidFill>
          </a:ln>
        </p:spPr>
        <p:txBody>
          <a:bodyPr wrap="square" lIns="274320" tIns="90000" bIns="90000" rtlCol="0" anchor="t">
            <a:spAutoFit/>
          </a:bodyPr>
          <a:lstStyle/>
          <a:p>
            <a:pPr lvl="0">
              <a:spcBef>
                <a:spcPct val="0"/>
              </a:spcBef>
              <a:spcAft>
                <a:spcPts val="1200"/>
              </a:spcAft>
            </a:pPr>
            <a:r>
              <a:rPr lang="en-US" sz="4000" b="1" dirty="0" smtClean="0">
                <a:solidFill>
                  <a:schemeClr val="bg1"/>
                </a:solidFill>
              </a:rPr>
              <a:t>Sectoral Nutrition Actions </a:t>
            </a:r>
          </a:p>
        </p:txBody>
      </p:sp>
      <p:sp>
        <p:nvSpPr>
          <p:cNvPr id="3" name="Rectangle 2"/>
          <p:cNvSpPr/>
          <p:nvPr/>
        </p:nvSpPr>
        <p:spPr>
          <a:xfrm>
            <a:off x="3396445" y="3348281"/>
            <a:ext cx="200728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en-US" sz="3200" b="1" i="1" dirty="0" smtClean="0">
                <a:solidFill>
                  <a:srgbClr val="548DD4"/>
                </a:solidFill>
              </a:rPr>
              <a:t>Overview</a:t>
            </a:r>
            <a:endParaRPr lang="en-US" sz="3200" b="1" i="1" dirty="0">
              <a:solidFill>
                <a:srgbClr val="548DD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957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>
            <a:off x="292963" y="6661718"/>
            <a:ext cx="658087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</a:t>
            </a:r>
            <a:r>
              <a:rPr lang="en-US" sz="800" dirty="0" smtClean="0">
                <a:solidFill>
                  <a:srgbClr val="000000"/>
                </a:solidFill>
              </a:rPr>
              <a:t>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graphicFrame>
        <p:nvGraphicFramePr>
          <p:cNvPr id="35" name="Espace réservé du contenu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0146842"/>
              </p:ext>
            </p:extLst>
          </p:nvPr>
        </p:nvGraphicFramePr>
        <p:xfrm>
          <a:off x="2504728" y="1700808"/>
          <a:ext cx="4865327" cy="4471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Rectangle 3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05138" y="1124744"/>
            <a:ext cx="5544616" cy="55399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200" b="1" kern="0" dirty="0" smtClean="0">
                <a:solidFill>
                  <a:prstClr val="black"/>
                </a:solidFill>
                <a:cs typeface="Arial"/>
              </a:rPr>
              <a:t>There are XX thematic areas in which 3 or more agencies are concurrently supporting the IMPLEMENTATION of nutrition-related actions</a:t>
            </a:r>
          </a:p>
        </p:txBody>
      </p:sp>
      <p:sp>
        <p:nvSpPr>
          <p:cNvPr id="37" name="ZoneTexte 6"/>
          <p:cNvSpPr txBox="1"/>
          <p:nvPr/>
        </p:nvSpPr>
        <p:spPr>
          <a:xfrm>
            <a:off x="2734968" y="1700808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# actions</a:t>
            </a:r>
            <a:endParaRPr lang="en-US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2" name="Rounded Rectangular Callout 11"/>
          <p:cNvSpPr/>
          <p:nvPr/>
        </p:nvSpPr>
        <p:spPr>
          <a:xfrm>
            <a:off x="7749754" y="1564400"/>
            <a:ext cx="2090766" cy="1212033"/>
          </a:xfrm>
          <a:prstGeom prst="wedgeRoundRectCallout">
            <a:avLst>
              <a:gd name="adj1" fmla="val -95739"/>
              <a:gd name="adj2" fmla="val 3911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n this chart, include  only those thematic areas for which 3 or more agencies are supporting implementation. For each agency, indicate the number of actions they are conducting in that thematic area.</a:t>
            </a:r>
          </a:p>
        </p:txBody>
      </p:sp>
      <p:sp>
        <p:nvSpPr>
          <p:cNvPr id="4" name="Right Brace 3"/>
          <p:cNvSpPr/>
          <p:nvPr/>
        </p:nvSpPr>
        <p:spPr>
          <a:xfrm>
            <a:off x="6784305" y="2336743"/>
            <a:ext cx="154635" cy="1368152"/>
          </a:xfrm>
          <a:prstGeom prst="rightBrace">
            <a:avLst/>
          </a:prstGeom>
          <a:ln w="31750">
            <a:solidFill>
              <a:srgbClr val="5F5F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ular Callout 15"/>
          <p:cNvSpPr/>
          <p:nvPr/>
        </p:nvSpPr>
        <p:spPr>
          <a:xfrm>
            <a:off x="632520" y="1501807"/>
            <a:ext cx="1872208" cy="703057"/>
          </a:xfrm>
          <a:prstGeom prst="wedgeRoundRectCallout">
            <a:avLst>
              <a:gd name="adj1" fmla="val 77610"/>
              <a:gd name="adj2" fmla="val -7114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Number of thematic areas to be identified according to country-specific data </a:t>
            </a:r>
          </a:p>
        </p:txBody>
      </p:sp>
      <p:sp>
        <p:nvSpPr>
          <p:cNvPr id="18" name="ZoneTexte 8"/>
          <p:cNvSpPr txBox="1"/>
          <p:nvPr/>
        </p:nvSpPr>
        <p:spPr>
          <a:xfrm>
            <a:off x="6976946" y="2840799"/>
            <a:ext cx="2088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black"/>
                </a:solidFill>
              </a:rPr>
              <a:t>Health-based actions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19" name="Right Brace 18"/>
          <p:cNvSpPr/>
          <p:nvPr/>
        </p:nvSpPr>
        <p:spPr>
          <a:xfrm>
            <a:off x="6784305" y="3920919"/>
            <a:ext cx="154635" cy="1368152"/>
          </a:xfrm>
          <a:prstGeom prst="rightBrace">
            <a:avLst/>
          </a:prstGeom>
          <a:ln w="31750">
            <a:solidFill>
              <a:srgbClr val="5F5F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ZoneTexte 8"/>
          <p:cNvSpPr txBox="1"/>
          <p:nvPr/>
        </p:nvSpPr>
        <p:spPr>
          <a:xfrm>
            <a:off x="6976945" y="4424975"/>
            <a:ext cx="27441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black"/>
                </a:solidFill>
              </a:rPr>
              <a:t>Maternal &amp; Child Care actions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21" name="Right Brace 20"/>
          <p:cNvSpPr/>
          <p:nvPr/>
        </p:nvSpPr>
        <p:spPr>
          <a:xfrm>
            <a:off x="6784305" y="5571383"/>
            <a:ext cx="154635" cy="365760"/>
          </a:xfrm>
          <a:prstGeom prst="rightBrace">
            <a:avLst/>
          </a:prstGeom>
          <a:ln w="31750">
            <a:solidFill>
              <a:srgbClr val="5F5F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ZoneTexte 8"/>
          <p:cNvSpPr txBox="1"/>
          <p:nvPr/>
        </p:nvSpPr>
        <p:spPr>
          <a:xfrm>
            <a:off x="6976946" y="5577103"/>
            <a:ext cx="3088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black"/>
                </a:solidFill>
              </a:rPr>
              <a:t>Food, Agriculture &amp; Diet actions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23" name="Rectangle 71"/>
          <p:cNvSpPr>
            <a:spLocks noChangeArrowheads="1"/>
          </p:cNvSpPr>
          <p:nvPr/>
        </p:nvSpPr>
        <p:spPr bwMode="gray">
          <a:xfrm>
            <a:off x="1388965" y="6126641"/>
            <a:ext cx="7327900" cy="5318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  <a:extLst/>
        </p:spPr>
        <p:txBody>
          <a:bodyPr anchor="ctr" anchorCtr="1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00" b="1" dirty="0" smtClean="0">
                <a:solidFill>
                  <a:srgbClr val="FFFFFF"/>
                </a:solidFill>
              </a:rPr>
              <a:t>Achieving increased efficiency is key for a coherent, well-functioning                       UN Network, particularly in resource-constrained contexts</a:t>
            </a:r>
            <a:endParaRPr lang="en-GB" altLang="en-US" sz="1600" b="1" dirty="0">
              <a:solidFill>
                <a:srgbClr val="FFFFFF"/>
              </a:solidFill>
            </a:endParaRPr>
          </a:p>
        </p:txBody>
      </p:sp>
      <p:sp>
        <p:nvSpPr>
          <p:cNvPr id="225" name="Rectangle 224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24" name="Rounded Rectangular Callout 23"/>
          <p:cNvSpPr/>
          <p:nvPr/>
        </p:nvSpPr>
        <p:spPr>
          <a:xfrm>
            <a:off x="332930" y="5165053"/>
            <a:ext cx="1872208" cy="703057"/>
          </a:xfrm>
          <a:prstGeom prst="wedgeRoundRectCallout">
            <a:avLst>
              <a:gd name="adj1" fmla="val 14404"/>
              <a:gd name="adj2" fmla="val 7804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s box does not need to be modified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>
                <a:solidFill>
                  <a:srgbClr val="000000"/>
                </a:solidFill>
                <a:cs typeface="Arial" pitchFamily="34" charset="0"/>
              </a:rPr>
              <a:t>Identifying the thematic areas in which multiple UN agencies are engaged helps minimize duplication of efforts, ensure complementarity and exploit </a:t>
            </a:r>
            <a:r>
              <a:rPr lang="en-GB" sz="1800" dirty="0" smtClean="0">
                <a:solidFill>
                  <a:srgbClr val="000000"/>
                </a:solidFill>
                <a:cs typeface="Arial" pitchFamily="34" charset="0"/>
              </a:rPr>
              <a:t>synergies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199188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>
            <a:off x="292963" y="6661718"/>
            <a:ext cx="658087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</a:t>
            </a:r>
            <a:r>
              <a:rPr lang="en-US" sz="800" dirty="0" smtClean="0">
                <a:solidFill>
                  <a:srgbClr val="000000"/>
                </a:solidFill>
              </a:rPr>
              <a:t>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25" name="Rectangle 224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graphicFrame>
        <p:nvGraphicFramePr>
          <p:cNvPr id="35" name="Espace réservé du contenu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1637283"/>
              </p:ext>
            </p:extLst>
          </p:nvPr>
        </p:nvGraphicFramePr>
        <p:xfrm>
          <a:off x="2504728" y="1700808"/>
          <a:ext cx="4865327" cy="4471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Rectangle 3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60712" y="1124744"/>
            <a:ext cx="5328592" cy="55399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200" b="1" kern="0" dirty="0" smtClean="0">
                <a:solidFill>
                  <a:prstClr val="black"/>
                </a:solidFill>
                <a:cs typeface="Arial"/>
              </a:rPr>
              <a:t>There are </a:t>
            </a:r>
            <a:r>
              <a:rPr lang="en-US" sz="1200" b="1" kern="0" dirty="0">
                <a:solidFill>
                  <a:prstClr val="black"/>
                </a:solidFill>
                <a:cs typeface="Arial"/>
              </a:rPr>
              <a:t>XX thematic areas in which 3 or more agencies are concurrently supporting the </a:t>
            </a:r>
            <a:r>
              <a:rPr lang="en-US" sz="1200" b="1" kern="0" dirty="0" smtClean="0">
                <a:solidFill>
                  <a:prstClr val="black"/>
                </a:solidFill>
                <a:cs typeface="Arial"/>
              </a:rPr>
              <a:t>GOVERNANCE of </a:t>
            </a:r>
            <a:r>
              <a:rPr lang="en-US" sz="1200" b="1" kern="0" dirty="0">
                <a:solidFill>
                  <a:prstClr val="black"/>
                </a:solidFill>
                <a:cs typeface="Arial"/>
              </a:rPr>
              <a:t>nutrition-related </a:t>
            </a:r>
            <a:r>
              <a:rPr lang="en-US" sz="1200" b="1" kern="0" dirty="0" smtClean="0">
                <a:solidFill>
                  <a:prstClr val="black"/>
                </a:solidFill>
                <a:cs typeface="Arial"/>
              </a:rPr>
              <a:t>actions</a:t>
            </a:r>
          </a:p>
        </p:txBody>
      </p:sp>
      <p:sp>
        <p:nvSpPr>
          <p:cNvPr id="37" name="ZoneTexte 6"/>
          <p:cNvSpPr txBox="1"/>
          <p:nvPr/>
        </p:nvSpPr>
        <p:spPr>
          <a:xfrm>
            <a:off x="2734968" y="1700808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# actions</a:t>
            </a:r>
            <a:endParaRPr lang="en-US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4" name="Right Brace 3"/>
          <p:cNvSpPr/>
          <p:nvPr/>
        </p:nvSpPr>
        <p:spPr>
          <a:xfrm>
            <a:off x="6784305" y="2776433"/>
            <a:ext cx="154635" cy="928462"/>
          </a:xfrm>
          <a:prstGeom prst="rightBrace">
            <a:avLst/>
          </a:prstGeom>
          <a:ln w="31750">
            <a:solidFill>
              <a:srgbClr val="5F5F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ZoneTexte 8"/>
          <p:cNvSpPr txBox="1"/>
          <p:nvPr/>
        </p:nvSpPr>
        <p:spPr>
          <a:xfrm>
            <a:off x="6976946" y="3068960"/>
            <a:ext cx="2088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black"/>
                </a:solidFill>
              </a:rPr>
              <a:t>Health-based actions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19" name="Right Brace 18"/>
          <p:cNvSpPr/>
          <p:nvPr/>
        </p:nvSpPr>
        <p:spPr>
          <a:xfrm>
            <a:off x="6784305" y="3920919"/>
            <a:ext cx="154635" cy="1368152"/>
          </a:xfrm>
          <a:prstGeom prst="rightBrace">
            <a:avLst/>
          </a:prstGeom>
          <a:ln w="31750">
            <a:solidFill>
              <a:srgbClr val="5F5F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ZoneTexte 8"/>
          <p:cNvSpPr txBox="1"/>
          <p:nvPr/>
        </p:nvSpPr>
        <p:spPr>
          <a:xfrm>
            <a:off x="6976945" y="4424975"/>
            <a:ext cx="27441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black"/>
                </a:solidFill>
              </a:rPr>
              <a:t>Maternal &amp; Child Care actions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21" name="Right Brace 20"/>
          <p:cNvSpPr/>
          <p:nvPr/>
        </p:nvSpPr>
        <p:spPr>
          <a:xfrm>
            <a:off x="6784305" y="5571383"/>
            <a:ext cx="154635" cy="365760"/>
          </a:xfrm>
          <a:prstGeom prst="rightBrace">
            <a:avLst/>
          </a:prstGeom>
          <a:ln w="31750">
            <a:solidFill>
              <a:srgbClr val="5F5F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2" name="ZoneTexte 8"/>
          <p:cNvSpPr txBox="1"/>
          <p:nvPr/>
        </p:nvSpPr>
        <p:spPr>
          <a:xfrm>
            <a:off x="6976946" y="5577103"/>
            <a:ext cx="3088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black"/>
                </a:solidFill>
              </a:rPr>
              <a:t>Food, Agriculture &amp; Diet actions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23" name="Rectangle 71"/>
          <p:cNvSpPr>
            <a:spLocks noChangeArrowheads="1"/>
          </p:cNvSpPr>
          <p:nvPr/>
        </p:nvSpPr>
        <p:spPr bwMode="gray">
          <a:xfrm>
            <a:off x="1297508" y="6065540"/>
            <a:ext cx="7327900" cy="53181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  <a:extLst/>
        </p:spPr>
        <p:txBody>
          <a:bodyPr anchor="ctr" anchorCtr="1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00" b="1" dirty="0" smtClean="0">
                <a:solidFill>
                  <a:srgbClr val="FFFFFF"/>
                </a:solidFill>
              </a:rPr>
              <a:t>Achieving increased efficiency is key for a coherent, well-functioning                       UN Network, particularly in resource-constrained contexts</a:t>
            </a:r>
            <a:endParaRPr lang="en-GB" altLang="en-US" sz="1600" b="1" dirty="0">
              <a:solidFill>
                <a:srgbClr val="FFFFFF"/>
              </a:solidFill>
            </a:endParaRPr>
          </a:p>
        </p:txBody>
      </p:sp>
      <p:sp>
        <p:nvSpPr>
          <p:cNvPr id="24" name="Right Brace 23"/>
          <p:cNvSpPr/>
          <p:nvPr/>
        </p:nvSpPr>
        <p:spPr>
          <a:xfrm>
            <a:off x="6784305" y="2271152"/>
            <a:ext cx="154635" cy="365760"/>
          </a:xfrm>
          <a:prstGeom prst="rightBrace">
            <a:avLst/>
          </a:prstGeom>
          <a:ln w="31750">
            <a:solidFill>
              <a:srgbClr val="5F5F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5" name="ZoneTexte 8"/>
          <p:cNvSpPr txBox="1"/>
          <p:nvPr/>
        </p:nvSpPr>
        <p:spPr>
          <a:xfrm>
            <a:off x="6976946" y="2276872"/>
            <a:ext cx="30886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black"/>
                </a:solidFill>
              </a:rPr>
              <a:t>Social Protection</a:t>
            </a:r>
            <a:endParaRPr lang="en-US" sz="1400" b="1" dirty="0">
              <a:solidFill>
                <a:prstClr val="black"/>
              </a:solidFill>
            </a:endParaRPr>
          </a:p>
        </p:txBody>
      </p:sp>
      <p:sp>
        <p:nvSpPr>
          <p:cNvPr id="26" name="Rounded Rectangular Callout 25"/>
          <p:cNvSpPr/>
          <p:nvPr/>
        </p:nvSpPr>
        <p:spPr>
          <a:xfrm>
            <a:off x="7740862" y="1372616"/>
            <a:ext cx="2090766" cy="1212033"/>
          </a:xfrm>
          <a:prstGeom prst="wedgeRoundRectCallout">
            <a:avLst>
              <a:gd name="adj1" fmla="val -95739"/>
              <a:gd name="adj2" fmla="val 3911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n this chart, include  only those thematic areas for which 3 or more agencies are </a:t>
            </a:r>
            <a:r>
              <a:rPr lang="en-GB" sz="1000" smtClean="0">
                <a:solidFill>
                  <a:srgbClr val="FFFFFF"/>
                </a:solidFill>
                <a:cs typeface="Arial" pitchFamily="34" charset="0"/>
              </a:rPr>
              <a:t>supporting governance.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or each agency, indicate the number of actions they are conducting in that thematic area.</a:t>
            </a:r>
          </a:p>
        </p:txBody>
      </p:sp>
      <p:sp>
        <p:nvSpPr>
          <p:cNvPr id="27" name="Rounded Rectangular Callout 26"/>
          <p:cNvSpPr/>
          <p:nvPr/>
        </p:nvSpPr>
        <p:spPr>
          <a:xfrm>
            <a:off x="623628" y="1310023"/>
            <a:ext cx="1872208" cy="703057"/>
          </a:xfrm>
          <a:prstGeom prst="wedgeRoundRectCallout">
            <a:avLst>
              <a:gd name="adj1" fmla="val 77610"/>
              <a:gd name="adj2" fmla="val -7114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Number of thematic areas to be identified according to country-specific data </a:t>
            </a:r>
          </a:p>
        </p:txBody>
      </p:sp>
      <p:sp>
        <p:nvSpPr>
          <p:cNvPr id="28" name="Rounded Rectangular Callout 27"/>
          <p:cNvSpPr/>
          <p:nvPr/>
        </p:nvSpPr>
        <p:spPr>
          <a:xfrm>
            <a:off x="324038" y="4973269"/>
            <a:ext cx="1872208" cy="703057"/>
          </a:xfrm>
          <a:prstGeom prst="wedgeRoundRectCallout">
            <a:avLst>
              <a:gd name="adj1" fmla="val 14404"/>
              <a:gd name="adj2" fmla="val 7804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s box does not need to be modified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>
                <a:solidFill>
                  <a:srgbClr val="000000"/>
                </a:solidFill>
                <a:cs typeface="Arial" pitchFamily="34" charset="0"/>
              </a:rPr>
              <a:t>Identifying the thematic areas in which multiple UN agencies are engaged helps minimize duplication of efforts, ensure complementarity and exploit </a:t>
            </a:r>
            <a:r>
              <a:rPr lang="en-GB" sz="1800" dirty="0" smtClean="0">
                <a:solidFill>
                  <a:srgbClr val="000000"/>
                </a:solidFill>
                <a:cs typeface="Arial" pitchFamily="34" charset="0"/>
              </a:rPr>
              <a:t>synergies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1884642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420888"/>
            <a:ext cx="9906000" cy="797311"/>
          </a:xfrm>
          <a:prstGeom prst="rect">
            <a:avLst/>
          </a:prstGeom>
          <a:solidFill>
            <a:srgbClr val="548DD4"/>
          </a:solidFill>
          <a:ln w="25400">
            <a:solidFill>
              <a:srgbClr val="548DD4"/>
            </a:solidFill>
          </a:ln>
        </p:spPr>
        <p:txBody>
          <a:bodyPr wrap="square" lIns="274320" tIns="90000" bIns="90000" rtlCol="0" anchor="t">
            <a:spAutoFit/>
          </a:bodyPr>
          <a:lstStyle/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4000" b="1" dirty="0" smtClean="0">
                <a:solidFill>
                  <a:srgbClr val="FFFFFF"/>
                </a:solidFill>
              </a:rPr>
              <a:t>Sectoral Nutrition Actions </a:t>
            </a:r>
          </a:p>
        </p:txBody>
      </p:sp>
      <p:sp>
        <p:nvSpPr>
          <p:cNvPr id="3" name="Rectangle 2"/>
          <p:cNvSpPr/>
          <p:nvPr/>
        </p:nvSpPr>
        <p:spPr>
          <a:xfrm>
            <a:off x="3136378" y="3348281"/>
            <a:ext cx="368883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en-US" sz="3200" b="1" i="1" dirty="0" smtClean="0">
                <a:solidFill>
                  <a:srgbClr val="548DD4"/>
                </a:solidFill>
              </a:rPr>
              <a:t>Sub-national level</a:t>
            </a:r>
            <a:endParaRPr lang="en-US" sz="3200" b="1" i="1" dirty="0">
              <a:solidFill>
                <a:srgbClr val="548DD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116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Picture 9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91" t="49725" r="22049" b="39633"/>
          <a:stretch/>
        </p:blipFill>
        <p:spPr bwMode="auto">
          <a:xfrm>
            <a:off x="298690" y="1081620"/>
            <a:ext cx="1582784" cy="53281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5" name="Rectangle 94"/>
          <p:cNvSpPr/>
          <p:nvPr/>
        </p:nvSpPr>
        <p:spPr>
          <a:xfrm>
            <a:off x="115770" y="3278555"/>
            <a:ext cx="3648921" cy="1411281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119237" y="2912900"/>
            <a:ext cx="3605102" cy="163548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39743" y="1543676"/>
            <a:ext cx="3614249" cy="1022036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9" name="Text Placeholder 2"/>
          <p:cNvSpPr txBox="1">
            <a:spLocks/>
          </p:cNvSpPr>
          <p:nvPr/>
        </p:nvSpPr>
        <p:spPr>
          <a:xfrm>
            <a:off x="261179" y="1574646"/>
            <a:ext cx="3734504" cy="515157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Fortification </a:t>
            </a:r>
            <a:r>
              <a:rPr lang="en-US" sz="1000" dirty="0">
                <a:solidFill>
                  <a:srgbClr val="7030A0"/>
                </a:solidFill>
              </a:rPr>
              <a:t>(incl. salt iodization)</a:t>
            </a:r>
            <a:endParaRPr lang="en-GB" sz="1000" dirty="0">
              <a:solidFill>
                <a:srgbClr val="7030A0"/>
              </a:solidFill>
            </a:endParaRP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Protection, promotion &amp; support of optimal breastfeeding </a:t>
            </a:r>
            <a:r>
              <a:rPr lang="en-GB" sz="1000" dirty="0" smtClean="0">
                <a:solidFill>
                  <a:srgbClr val="7030A0"/>
                </a:solidFill>
              </a:rPr>
              <a:t>practices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Improvement of complementary </a:t>
            </a:r>
            <a:r>
              <a:rPr lang="en-GB" sz="1000" dirty="0" smtClean="0">
                <a:solidFill>
                  <a:srgbClr val="7030A0"/>
                </a:solidFill>
              </a:rPr>
              <a:t>feeding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Hand-washing </a:t>
            </a:r>
            <a:endParaRPr lang="en-GB" sz="1000" dirty="0" smtClean="0">
              <a:solidFill>
                <a:srgbClr val="7030A0"/>
              </a:solidFill>
            </a:endParaRP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Household water treatment &amp; </a:t>
            </a:r>
            <a:r>
              <a:rPr lang="en-GB" sz="1000" dirty="0" smtClean="0">
                <a:solidFill>
                  <a:srgbClr val="7030A0"/>
                </a:solidFill>
              </a:rPr>
              <a:t>storage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7030A0"/>
                </a:solidFill>
              </a:rPr>
              <a:t>Food hygiene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Sanitation </a:t>
            </a:r>
            <a:r>
              <a:rPr lang="en-GB" sz="1000" dirty="0" smtClean="0">
                <a:solidFill>
                  <a:srgbClr val="7030A0"/>
                </a:solidFill>
              </a:rPr>
              <a:t>management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Care to pregnant/lactating </a:t>
            </a:r>
            <a:r>
              <a:rPr lang="en-GB" sz="1000" dirty="0" smtClean="0">
                <a:solidFill>
                  <a:srgbClr val="7030A0"/>
                </a:solidFill>
              </a:rPr>
              <a:t>women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Childcare support/caregiver </a:t>
            </a:r>
            <a:r>
              <a:rPr lang="en-GB" sz="1000" dirty="0" smtClean="0">
                <a:solidFill>
                  <a:srgbClr val="7030A0"/>
                </a:solidFill>
              </a:rPr>
              <a:t>workload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Health-seeking </a:t>
            </a:r>
            <a:r>
              <a:rPr lang="en-GB" sz="1000" dirty="0" smtClean="0">
                <a:solidFill>
                  <a:srgbClr val="7030A0"/>
                </a:solidFill>
              </a:rPr>
              <a:t>behaviour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Insecticide treated </a:t>
            </a:r>
            <a:r>
              <a:rPr lang="en-GB" sz="1000" dirty="0" smtClean="0">
                <a:solidFill>
                  <a:srgbClr val="7030A0"/>
                </a:solidFill>
              </a:rPr>
              <a:t>nets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Family Planning behaviour (incl. adolescent girls</a:t>
            </a:r>
            <a:r>
              <a:rPr lang="en-GB" sz="1000" dirty="0" smtClean="0">
                <a:solidFill>
                  <a:srgbClr val="7030A0"/>
                </a:solidFill>
              </a:rPr>
              <a:t>)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Antenatal &amp; postnatal </a:t>
            </a:r>
            <a:r>
              <a:rPr lang="en-GB" sz="1000" dirty="0" smtClean="0">
                <a:solidFill>
                  <a:srgbClr val="7030A0"/>
                </a:solidFill>
              </a:rPr>
              <a:t>care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Health professional-assisted </a:t>
            </a:r>
            <a:r>
              <a:rPr lang="en-GB" sz="1000" dirty="0" smtClean="0">
                <a:solidFill>
                  <a:srgbClr val="7030A0"/>
                </a:solidFill>
              </a:rPr>
              <a:t>delivery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Basic paediatric health </a:t>
            </a:r>
            <a:r>
              <a:rPr lang="en-GB" sz="1000" dirty="0" smtClean="0">
                <a:solidFill>
                  <a:srgbClr val="7030A0"/>
                </a:solidFill>
              </a:rPr>
              <a:t>services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Iron or iron/folic acid supplementation </a:t>
            </a:r>
            <a:endParaRPr lang="en-GB" sz="1000" dirty="0" smtClean="0">
              <a:solidFill>
                <a:srgbClr val="7030A0"/>
              </a:solidFill>
            </a:endParaRP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Supplementation of vitamins </a:t>
            </a:r>
            <a:r>
              <a:rPr lang="en-GB" sz="1000" dirty="0" smtClean="0">
                <a:solidFill>
                  <a:srgbClr val="7030A0"/>
                </a:solidFill>
              </a:rPr>
              <a:t>A/D/calcium/zinc/iodine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Multiple micronutrient </a:t>
            </a:r>
            <a:r>
              <a:rPr lang="en-GB" sz="1000" dirty="0" smtClean="0">
                <a:solidFill>
                  <a:srgbClr val="7030A0"/>
                </a:solidFill>
              </a:rPr>
              <a:t>supplementation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 err="1">
                <a:solidFill>
                  <a:srgbClr val="7030A0"/>
                </a:solidFill>
              </a:rPr>
              <a:t>Mgt</a:t>
            </a:r>
            <a:r>
              <a:rPr lang="en-GB" sz="1000" dirty="0">
                <a:solidFill>
                  <a:srgbClr val="7030A0"/>
                </a:solidFill>
              </a:rPr>
              <a:t> of severe acute malnutrition (SAM</a:t>
            </a:r>
            <a:r>
              <a:rPr lang="en-GB" sz="1000" dirty="0" smtClean="0">
                <a:solidFill>
                  <a:srgbClr val="7030A0"/>
                </a:solidFill>
              </a:rPr>
              <a:t>)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 err="1">
                <a:solidFill>
                  <a:srgbClr val="7030A0"/>
                </a:solidFill>
              </a:rPr>
              <a:t>Mgt</a:t>
            </a:r>
            <a:r>
              <a:rPr lang="en-GB" sz="1000" dirty="0">
                <a:solidFill>
                  <a:srgbClr val="7030A0"/>
                </a:solidFill>
              </a:rPr>
              <a:t> of moderate acute malnutrition (MAM</a:t>
            </a:r>
            <a:r>
              <a:rPr lang="en-GB" sz="1000" dirty="0" smtClean="0">
                <a:solidFill>
                  <a:srgbClr val="7030A0"/>
                </a:solidFill>
              </a:rPr>
              <a:t>)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7030A0"/>
                </a:solidFill>
              </a:rPr>
              <a:t>Anti-malaria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Diarrhoea </a:t>
            </a:r>
            <a:r>
              <a:rPr lang="en-GB" sz="1000" dirty="0" smtClean="0">
                <a:solidFill>
                  <a:srgbClr val="7030A0"/>
                </a:solidFill>
              </a:rPr>
              <a:t>management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7030A0"/>
                </a:solidFill>
              </a:rPr>
              <a:t>Vaccinations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7030A0"/>
                </a:solidFill>
              </a:rPr>
              <a:t>HIV management and PMTCT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7030A0"/>
                </a:solidFill>
              </a:rPr>
              <a:t>Management of tuberculosis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Management of respiratory </a:t>
            </a:r>
            <a:r>
              <a:rPr lang="en-GB" sz="1000" dirty="0" smtClean="0">
                <a:solidFill>
                  <a:srgbClr val="7030A0"/>
                </a:solidFill>
              </a:rPr>
              <a:t>infections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Improvement of water supply </a:t>
            </a:r>
            <a:r>
              <a:rPr lang="en-GB" sz="1000" dirty="0" smtClean="0">
                <a:solidFill>
                  <a:srgbClr val="7030A0"/>
                </a:solidFill>
              </a:rPr>
              <a:t>&amp; source quality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7030A0"/>
                </a:solidFill>
              </a:rPr>
              <a:t>Sanitation facilities management</a:t>
            </a:r>
            <a:endParaRPr lang="en-GB" sz="1000" dirty="0" smtClean="0">
              <a:solidFill>
                <a:srgbClr val="7030A0"/>
              </a:solidFill>
            </a:endParaRP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50788" r="51308" b="40087"/>
          <a:stretch/>
        </p:blipFill>
        <p:spPr bwMode="auto">
          <a:xfrm>
            <a:off x="6026541" y="1063565"/>
            <a:ext cx="1269912" cy="43487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6026541" y="1479778"/>
            <a:ext cx="3652163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Fortification (incl. salt iodiz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Protection</a:t>
            </a:r>
            <a:r>
              <a:rPr lang="en-US" sz="1000" b="1" dirty="0">
                <a:solidFill>
                  <a:srgbClr val="548DD4"/>
                </a:solidFill>
              </a:rPr>
              <a:t>, promotion &amp; support of optimal breastfeeding pract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548DD4"/>
                </a:solidFill>
              </a:rPr>
              <a:t>Improvement of complementary </a:t>
            </a:r>
            <a:r>
              <a:rPr lang="en-US" sz="1000" b="1" dirty="0" smtClean="0">
                <a:solidFill>
                  <a:srgbClr val="548DD4"/>
                </a:solidFill>
              </a:rPr>
              <a:t>fee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Hand was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Health-seeking </a:t>
            </a:r>
            <a:r>
              <a:rPr lang="en-US" sz="1000" b="1" dirty="0" err="1" smtClean="0">
                <a:solidFill>
                  <a:srgbClr val="548DD4"/>
                </a:solidFill>
              </a:rPr>
              <a:t>behaviour</a:t>
            </a:r>
            <a:endParaRPr lang="en-US" sz="1000" b="1" dirty="0" smtClean="0">
              <a:solidFill>
                <a:srgbClr val="548DD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Insecticide treated </a:t>
            </a:r>
            <a:r>
              <a:rPr lang="en-US" sz="1000" b="1" dirty="0" err="1" smtClean="0">
                <a:solidFill>
                  <a:srgbClr val="548DD4"/>
                </a:solidFill>
              </a:rPr>
              <a:t>bednets</a:t>
            </a:r>
            <a:endParaRPr lang="en-US" sz="1000" b="1" dirty="0" smtClean="0">
              <a:solidFill>
                <a:srgbClr val="548DD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Family planning </a:t>
            </a:r>
            <a:r>
              <a:rPr lang="en-US" sz="1000" b="1" dirty="0" err="1" smtClean="0">
                <a:solidFill>
                  <a:srgbClr val="548DD4"/>
                </a:solidFill>
              </a:rPr>
              <a:t>behaviour</a:t>
            </a:r>
            <a:r>
              <a:rPr lang="en-US" sz="1000" b="1" dirty="0" smtClean="0">
                <a:solidFill>
                  <a:srgbClr val="548DD4"/>
                </a:solidFill>
              </a:rPr>
              <a:t> (incl. adolescent girl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548DD4"/>
                </a:solidFill>
              </a:rPr>
              <a:t>Antenatal &amp; postnatal </a:t>
            </a:r>
            <a:r>
              <a:rPr lang="en-US" sz="1000" b="1" dirty="0" smtClean="0">
                <a:solidFill>
                  <a:srgbClr val="548DD4"/>
                </a:solidFill>
              </a:rPr>
              <a:t>c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Health professional assisted deliv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Basic pediatric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Iron or iron/folic acid sup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>
                <a:solidFill>
                  <a:srgbClr val="548DD4"/>
                </a:solidFill>
              </a:rPr>
              <a:t>Supplementation of vitamins </a:t>
            </a:r>
            <a:r>
              <a:rPr lang="en-US" sz="1000" b="1" dirty="0" smtClean="0">
                <a:solidFill>
                  <a:srgbClr val="548DD4"/>
                </a:solidFill>
              </a:rPr>
              <a:t>A/D/calcium/zinc/iod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Anti-malar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Diarrhea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Vaccina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HIV management and PMT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Management of respiratory infec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Poverty </a:t>
            </a:r>
            <a:r>
              <a:rPr lang="en-US" sz="1000" b="1" dirty="0">
                <a:solidFill>
                  <a:srgbClr val="548DD4"/>
                </a:solidFill>
              </a:rPr>
              <a:t>reduction &amp;/or emergency risk </a:t>
            </a:r>
            <a:r>
              <a:rPr lang="en-US" sz="1000" b="1" dirty="0" smtClean="0">
                <a:solidFill>
                  <a:srgbClr val="548DD4"/>
                </a:solidFill>
              </a:rPr>
              <a:t>mitig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b="1" dirty="0" smtClean="0">
                <a:solidFill>
                  <a:srgbClr val="548DD4"/>
                </a:solidFill>
              </a:rPr>
              <a:t>Minimum maternity protection </a:t>
            </a:r>
            <a:endParaRPr lang="en-US" sz="1000" b="1" dirty="0">
              <a:solidFill>
                <a:srgbClr val="548DD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cs typeface="Arial" pitchFamily="34" charset="0"/>
              </a:rPr>
              <a:t>At national level, the overlap of actions supported by the surveyed UN agencies highlights opportunities to work better </a:t>
            </a:r>
            <a:r>
              <a:rPr lang="en-GB" dirty="0" smtClean="0">
                <a:solidFill>
                  <a:srgbClr val="000000"/>
                </a:solidFill>
                <a:cs typeface="Arial" pitchFamily="34" charset="0"/>
              </a:rPr>
              <a:t>together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931025" y="4805363"/>
            <a:ext cx="2974975" cy="428625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009900"/>
                </a:solidFill>
              </a:rPr>
              <a:t>Poverty reduction &amp;/or emergency risk mitigation</a:t>
            </a:r>
          </a:p>
        </p:txBody>
      </p:sp>
      <p:pic>
        <p:nvPicPr>
          <p:cNvPr id="5" name="Picture 4" descr="Ayeyawaddy-w.jpg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71679" y="4129289"/>
            <a:ext cx="481722" cy="706790"/>
          </a:xfrm>
          <a:prstGeom prst="rect">
            <a:avLst/>
          </a:prstGeom>
        </p:spPr>
      </p:pic>
      <p:pic>
        <p:nvPicPr>
          <p:cNvPr id="6" name="Picture 5" descr="Bago W-w.jpg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5624" y="3957434"/>
            <a:ext cx="383009" cy="442237"/>
          </a:xfrm>
          <a:prstGeom prst="rect">
            <a:avLst/>
          </a:prstGeom>
        </p:spPr>
      </p:pic>
      <p:pic>
        <p:nvPicPr>
          <p:cNvPr id="7" name="Picture 6" descr="Kachin-w.jpg"/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8823" y="1877102"/>
            <a:ext cx="667304" cy="1093747"/>
          </a:xfrm>
          <a:prstGeom prst="rect">
            <a:avLst/>
          </a:prstGeom>
        </p:spPr>
      </p:pic>
      <p:pic>
        <p:nvPicPr>
          <p:cNvPr id="8" name="Picture 7" descr="Kayin-w.jpg"/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4689" y="3882657"/>
            <a:ext cx="627819" cy="1054262"/>
          </a:xfrm>
          <a:prstGeom prst="rect">
            <a:avLst/>
          </a:prstGeom>
        </p:spPr>
      </p:pic>
      <p:pic>
        <p:nvPicPr>
          <p:cNvPr id="9" name="Picture 8" descr="Magway-w.jpg"/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00769" y="3129493"/>
            <a:ext cx="497517" cy="931857"/>
          </a:xfrm>
          <a:prstGeom prst="rect">
            <a:avLst/>
          </a:prstGeom>
        </p:spPr>
      </p:pic>
      <p:pic>
        <p:nvPicPr>
          <p:cNvPr id="10" name="Picture 9" descr="Mandalay-w.jpg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7193" y="2945616"/>
            <a:ext cx="498639" cy="977951"/>
          </a:xfrm>
          <a:prstGeom prst="rect">
            <a:avLst/>
          </a:prstGeom>
        </p:spPr>
      </p:pic>
      <p:pic>
        <p:nvPicPr>
          <p:cNvPr id="11" name="Picture 10" descr="Mon-w.jpg"/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9735" y="4325412"/>
            <a:ext cx="344022" cy="711237"/>
          </a:xfrm>
          <a:prstGeom prst="rect">
            <a:avLst/>
          </a:prstGeom>
        </p:spPr>
      </p:pic>
      <p:pic>
        <p:nvPicPr>
          <p:cNvPr id="12" name="Picture 11" descr="Rakhine-w.jpg"/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7452" y="3419873"/>
            <a:ext cx="667304" cy="1006879"/>
          </a:xfrm>
          <a:prstGeom prst="rect">
            <a:avLst/>
          </a:prstGeom>
        </p:spPr>
      </p:pic>
      <p:pic>
        <p:nvPicPr>
          <p:cNvPr id="13" name="Picture 12" descr="Sagaing-w.jpg"/>
          <p:cNvPicPr>
            <a:picLocks noChangeAspect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46071" y="2128185"/>
            <a:ext cx="698892" cy="1283277"/>
          </a:xfrm>
          <a:prstGeom prst="rect">
            <a:avLst/>
          </a:prstGeom>
        </p:spPr>
      </p:pic>
      <p:pic>
        <p:nvPicPr>
          <p:cNvPr id="14" name="Picture 13" descr="Shan E-w.jpg"/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9735" y="2928662"/>
            <a:ext cx="980652" cy="922048"/>
          </a:xfrm>
          <a:prstGeom prst="rect">
            <a:avLst/>
          </a:prstGeom>
        </p:spPr>
      </p:pic>
      <p:pic>
        <p:nvPicPr>
          <p:cNvPr id="15" name="Picture 14" descr="Shan N-w.jpg"/>
          <p:cNvPicPr>
            <a:picLocks noChangeAspect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9504" y="2824915"/>
            <a:ext cx="785760" cy="627819"/>
          </a:xfrm>
          <a:prstGeom prst="rect">
            <a:avLst/>
          </a:prstGeom>
        </p:spPr>
      </p:pic>
      <p:pic>
        <p:nvPicPr>
          <p:cNvPr id="16" name="Picture 15" descr="Shan S-w.jpg"/>
          <p:cNvPicPr>
            <a:picLocks noChangeAspect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45704" y="3249935"/>
            <a:ext cx="610736" cy="688045"/>
          </a:xfrm>
          <a:prstGeom prst="rect">
            <a:avLst/>
          </a:prstGeom>
        </p:spPr>
      </p:pic>
      <p:pic>
        <p:nvPicPr>
          <p:cNvPr id="17" name="Picture 16" descr="Taninthayi-w.jpg"/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8327" y="4945330"/>
            <a:ext cx="497517" cy="1389888"/>
          </a:xfrm>
          <a:prstGeom prst="rect">
            <a:avLst/>
          </a:prstGeom>
        </p:spPr>
      </p:pic>
      <p:pic>
        <p:nvPicPr>
          <p:cNvPr id="18" name="Picture 17" descr="Yangon-w.jpg"/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32004" y="4302383"/>
            <a:ext cx="296141" cy="371163"/>
          </a:xfrm>
          <a:prstGeom prst="rect">
            <a:avLst/>
          </a:prstGeom>
        </p:spPr>
      </p:pic>
      <p:pic>
        <p:nvPicPr>
          <p:cNvPr id="19" name="Picture 18" descr="Kayar-w.jpg"/>
          <p:cNvPicPr>
            <a:picLocks/>
          </p:cNvPicPr>
          <p:nvPr/>
        </p:nvPicPr>
        <p:blipFill rotWithShape="1"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286551">
            <a:off x="4801844" y="3761986"/>
            <a:ext cx="248717" cy="374447"/>
          </a:xfrm>
          <a:prstGeom prst="rect">
            <a:avLst/>
          </a:prstGeom>
        </p:spPr>
      </p:pic>
      <p:pic>
        <p:nvPicPr>
          <p:cNvPr id="20" name="Picture 19" descr="Chin-w.jpg"/>
          <p:cNvPicPr>
            <a:picLocks noChangeAspect="1"/>
          </p:cNvPicPr>
          <p:nvPr/>
        </p:nvPicPr>
        <p:blipFill rotWithShape="1"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07880" y="2726661"/>
            <a:ext cx="367215" cy="805503"/>
          </a:xfrm>
          <a:prstGeom prst="rect">
            <a:avLst/>
          </a:prstGeom>
        </p:spPr>
      </p:pic>
      <p:pic>
        <p:nvPicPr>
          <p:cNvPr id="21" name="Picture 20" descr="Bago E-w.jpg"/>
          <p:cNvPicPr>
            <a:picLocks noChangeAspect="1"/>
          </p:cNvPicPr>
          <p:nvPr/>
        </p:nvPicPr>
        <p:blipFill rotWithShape="1"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8668" y="3887435"/>
            <a:ext cx="359318" cy="659407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3618355" y="3274565"/>
            <a:ext cx="708838" cy="23803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>
                <a:solidFill>
                  <a:srgbClr val="000000"/>
                </a:solidFill>
                <a:cs typeface="Arial" pitchFamily="34" charset="0"/>
              </a:rPr>
              <a:t>Chin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037168" y="2739873"/>
            <a:ext cx="778114" cy="19186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 err="1">
                <a:solidFill>
                  <a:srgbClr val="000000"/>
                </a:solidFill>
                <a:cs typeface="Arial" pitchFamily="34" charset="0"/>
              </a:rPr>
              <a:t>Sagaing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14345" y="2280997"/>
            <a:ext cx="642421" cy="21526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 err="1">
                <a:solidFill>
                  <a:srgbClr val="000000"/>
                </a:solidFill>
                <a:cs typeface="Arial" pitchFamily="34" charset="0"/>
              </a:rPr>
              <a:t>Kachin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753812" y="3094565"/>
            <a:ext cx="585720" cy="180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>
                <a:solidFill>
                  <a:srgbClr val="000000"/>
                </a:solidFill>
                <a:cs typeface="Arial" pitchFamily="34" charset="0"/>
              </a:rPr>
              <a:t>Shan N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195735" y="3388614"/>
            <a:ext cx="738851" cy="180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>
                <a:solidFill>
                  <a:srgbClr val="000000"/>
                </a:solidFill>
                <a:cs typeface="Arial" pitchFamily="34" charset="0"/>
              </a:rPr>
              <a:t>Mandalay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671047" y="3540415"/>
            <a:ext cx="585720" cy="180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>
                <a:solidFill>
                  <a:srgbClr val="000000"/>
                </a:solidFill>
                <a:cs typeface="Arial" pitchFamily="34" charset="0"/>
              </a:rPr>
              <a:t>Shan S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765501" y="4054652"/>
            <a:ext cx="657997" cy="20793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 err="1">
                <a:solidFill>
                  <a:srgbClr val="000000"/>
                </a:solidFill>
                <a:cs typeface="Arial" pitchFamily="34" charset="0"/>
              </a:rPr>
              <a:t>Rakhine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982290" y="3644828"/>
            <a:ext cx="726099" cy="13901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 err="1">
                <a:solidFill>
                  <a:srgbClr val="000000"/>
                </a:solidFill>
                <a:cs typeface="Arial" pitchFamily="34" charset="0"/>
              </a:rPr>
              <a:t>Magway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458904" y="2970849"/>
            <a:ext cx="585720" cy="180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>
                <a:solidFill>
                  <a:srgbClr val="000000"/>
                </a:solidFill>
                <a:cs typeface="Arial" pitchFamily="34" charset="0"/>
              </a:rPr>
              <a:t>Shan E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773417" y="3839924"/>
            <a:ext cx="542007" cy="180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 err="1" smtClean="0">
                <a:solidFill>
                  <a:srgbClr val="000000"/>
                </a:solidFill>
                <a:cs typeface="Arial" pitchFamily="34" charset="0"/>
              </a:rPr>
              <a:t>Kayah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354262" y="4377200"/>
            <a:ext cx="632486" cy="11651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>
                <a:solidFill>
                  <a:srgbClr val="000000"/>
                </a:solidFill>
                <a:cs typeface="Arial" pitchFamily="34" charset="0"/>
              </a:rPr>
              <a:t>Yangon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197438" y="3983390"/>
            <a:ext cx="547691" cy="20495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 err="1">
                <a:solidFill>
                  <a:srgbClr val="000000"/>
                </a:solidFill>
                <a:cs typeface="Arial" pitchFamily="34" charset="0"/>
              </a:rPr>
              <a:t>Bago</a:t>
            </a:r>
            <a:r>
              <a:rPr lang="en-US" sz="1000" dirty="0">
                <a:solidFill>
                  <a:srgbClr val="000000"/>
                </a:solidFill>
                <a:cs typeface="Arial" pitchFamily="34" charset="0"/>
              </a:rPr>
              <a:t> W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483622" y="4102969"/>
            <a:ext cx="571302" cy="204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 err="1">
                <a:solidFill>
                  <a:srgbClr val="000000"/>
                </a:solidFill>
                <a:cs typeface="Arial" pitchFamily="34" charset="0"/>
              </a:rPr>
              <a:t>Bago</a:t>
            </a:r>
            <a:r>
              <a:rPr lang="en-US" sz="1000" dirty="0">
                <a:solidFill>
                  <a:srgbClr val="000000"/>
                </a:solidFill>
                <a:cs typeface="Arial" pitchFamily="34" charset="0"/>
              </a:rPr>
              <a:t> E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919822" y="4407017"/>
            <a:ext cx="527732" cy="180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 err="1">
                <a:solidFill>
                  <a:srgbClr val="000000"/>
                </a:solidFill>
                <a:cs typeface="Arial" pitchFamily="34" charset="0"/>
              </a:rPr>
              <a:t>Kayin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955324" y="5595933"/>
            <a:ext cx="775640" cy="180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 err="1">
                <a:solidFill>
                  <a:srgbClr val="000000"/>
                </a:solidFill>
                <a:cs typeface="Arial" pitchFamily="34" charset="0"/>
              </a:rPr>
              <a:t>Taninthayi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753812" y="4806624"/>
            <a:ext cx="439414" cy="1800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>
                <a:solidFill>
                  <a:srgbClr val="000000"/>
                </a:solidFill>
                <a:cs typeface="Arial" pitchFamily="34" charset="0"/>
              </a:rPr>
              <a:t>M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994339" y="4696405"/>
            <a:ext cx="1010318" cy="4571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1000" dirty="0" err="1">
                <a:solidFill>
                  <a:srgbClr val="000000"/>
                </a:solidFill>
                <a:cs typeface="Arial" pitchFamily="34" charset="0"/>
              </a:rPr>
              <a:t>Ayeyawaddy</a:t>
            </a:r>
            <a:endParaRPr lang="de-DE" sz="10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 flipH="1">
            <a:off x="5538543" y="3076397"/>
            <a:ext cx="90312" cy="376335"/>
          </a:xfrm>
          <a:prstGeom prst="line">
            <a:avLst/>
          </a:prstGeom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H="1" flipV="1">
            <a:off x="4925591" y="3012976"/>
            <a:ext cx="690447" cy="56685"/>
          </a:xfrm>
          <a:prstGeom prst="line">
            <a:avLst/>
          </a:prstGeom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0" t="48928" r="85210" b="39639"/>
          <a:stretch/>
        </p:blipFill>
        <p:spPr bwMode="auto">
          <a:xfrm>
            <a:off x="5864439" y="4716374"/>
            <a:ext cx="583651" cy="58043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6" name="Text Placeholder 2"/>
          <p:cNvSpPr txBox="1">
            <a:spLocks/>
          </p:cNvSpPr>
          <p:nvPr/>
        </p:nvSpPr>
        <p:spPr>
          <a:xfrm>
            <a:off x="6651477" y="5466065"/>
            <a:ext cx="3109382" cy="6191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CC0099"/>
                </a:solidFill>
              </a:rPr>
              <a:t>Fortification (incl. salt iodization)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CC0099"/>
                </a:solidFill>
              </a:rPr>
              <a:t>Household </a:t>
            </a:r>
            <a:r>
              <a:rPr lang="en-GB" sz="1000" dirty="0">
                <a:solidFill>
                  <a:srgbClr val="CC0099"/>
                </a:solidFill>
              </a:rPr>
              <a:t>water treatment &amp; </a:t>
            </a:r>
            <a:r>
              <a:rPr lang="en-GB" sz="1000" dirty="0" smtClean="0">
                <a:solidFill>
                  <a:srgbClr val="CC0099"/>
                </a:solidFill>
              </a:rPr>
              <a:t>storage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CC0099"/>
                </a:solidFill>
              </a:rPr>
              <a:t>Management of tuberculosis</a:t>
            </a: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6869" y="5435972"/>
            <a:ext cx="544468" cy="662220"/>
          </a:xfrm>
          <a:prstGeom prst="rect">
            <a:avLst/>
          </a:prstGeom>
        </p:spPr>
      </p:pic>
      <p:sp>
        <p:nvSpPr>
          <p:cNvPr id="60" name="Text Placeholder 2"/>
          <p:cNvSpPr txBox="1">
            <a:spLocks/>
          </p:cNvSpPr>
          <p:nvPr/>
        </p:nvSpPr>
        <p:spPr>
          <a:xfrm>
            <a:off x="6669692" y="6211703"/>
            <a:ext cx="3109382" cy="5145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rgbClr val="0070C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CC6600"/>
                </a:solidFill>
              </a:rPr>
              <a:t>Care to pregnant/lactating women</a:t>
            </a:r>
            <a:endParaRPr lang="en-GB" sz="1000" dirty="0" smtClean="0">
              <a:solidFill>
                <a:srgbClr val="CC6600"/>
              </a:solidFill>
            </a:endParaRP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CC6600"/>
                </a:solidFill>
              </a:rPr>
              <a:t>Health-seeking behaviour</a:t>
            </a:r>
          </a:p>
          <a:p>
            <a:pPr marL="285750" indent="-285750">
              <a:lnSpc>
                <a:spcPts val="1000"/>
              </a:lnSpc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rgbClr val="CC6600"/>
                </a:solidFill>
              </a:rPr>
              <a:t>Iron or iron/folic acid supplementation 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7584" y="6315021"/>
            <a:ext cx="754215" cy="342455"/>
          </a:xfrm>
          <a:prstGeom prst="rect">
            <a:avLst/>
          </a:prstGeom>
        </p:spPr>
      </p:pic>
      <p:sp>
        <p:nvSpPr>
          <p:cNvPr id="89" name="Rectangle 88"/>
          <p:cNvSpPr/>
          <p:nvPr/>
        </p:nvSpPr>
        <p:spPr>
          <a:xfrm>
            <a:off x="5984692" y="1479779"/>
            <a:ext cx="3650749" cy="2937986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6522313" y="4776339"/>
            <a:ext cx="3113128" cy="350161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6522313" y="5383095"/>
            <a:ext cx="3113128" cy="638193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6522313" y="6168211"/>
            <a:ext cx="3113128" cy="563278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119237" y="5200572"/>
            <a:ext cx="3648921" cy="109617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8" name="Rounded Rectangular Callout 57"/>
          <p:cNvSpPr/>
          <p:nvPr/>
        </p:nvSpPr>
        <p:spPr>
          <a:xfrm>
            <a:off x="3019882" y="1276218"/>
            <a:ext cx="2333081" cy="1031332"/>
          </a:xfrm>
          <a:prstGeom prst="wedgeRoundRectCallout">
            <a:avLst>
              <a:gd name="adj1" fmla="val -63709"/>
              <a:gd name="adj2" fmla="val -3992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Under each agency’s logo, list all the actions (governance and implementation) being undertaken at </a:t>
            </a:r>
            <a:r>
              <a:rPr lang="en-GB" sz="1000" b="1" dirty="0" smtClean="0">
                <a:solidFill>
                  <a:srgbClr val="FFFFFF"/>
                </a:solidFill>
                <a:cs typeface="Arial" pitchFamily="34" charset="0"/>
              </a:rPr>
              <a:t>national level. </a:t>
            </a:r>
            <a:endParaRPr lang="en-GB" sz="1000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2" name="Rounded Rectangular Callout 61"/>
          <p:cNvSpPr/>
          <p:nvPr/>
        </p:nvSpPr>
        <p:spPr>
          <a:xfrm>
            <a:off x="3251864" y="5403634"/>
            <a:ext cx="1931824" cy="723932"/>
          </a:xfrm>
          <a:prstGeom prst="wedgeRoundRectCallout">
            <a:avLst>
              <a:gd name="adj1" fmla="val -39699"/>
              <a:gd name="adj2" fmla="val -69213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Add a grey box around the actions that are also being supported by another agency, to highlight overlaps. </a:t>
            </a:r>
          </a:p>
        </p:txBody>
      </p:sp>
      <p:sp>
        <p:nvSpPr>
          <p:cNvPr id="64" name="Rounded Rectangular Callout 63"/>
          <p:cNvSpPr/>
          <p:nvPr/>
        </p:nvSpPr>
        <p:spPr>
          <a:xfrm>
            <a:off x="4169590" y="3370868"/>
            <a:ext cx="1440703" cy="1031332"/>
          </a:xfrm>
          <a:prstGeom prst="wedgeRoundRectCallout">
            <a:avLst>
              <a:gd name="adj1" fmla="val -11887"/>
              <a:gd name="adj2" fmla="val -81300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Place a map of the whole country in the </a:t>
            </a:r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center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.</a:t>
            </a:r>
          </a:p>
        </p:txBody>
      </p:sp>
      <p:sp>
        <p:nvSpPr>
          <p:cNvPr id="65" name="Rectangle 64"/>
          <p:cNvSpPr/>
          <p:nvPr/>
        </p:nvSpPr>
        <p:spPr>
          <a:xfrm>
            <a:off x="62100" y="6634926"/>
            <a:ext cx="658087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</a:t>
            </a:r>
            <a:r>
              <a:rPr lang="en-US" sz="800" dirty="0" smtClean="0">
                <a:solidFill>
                  <a:srgbClr val="000000"/>
                </a:solidFill>
              </a:rPr>
              <a:t>: UN Inventory Tool</a:t>
            </a: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00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0" t="48928" r="85210" b="39639"/>
          <a:stretch/>
        </p:blipFill>
        <p:spPr bwMode="auto">
          <a:xfrm>
            <a:off x="6657469" y="5215595"/>
            <a:ext cx="631532" cy="66167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469" y="3120788"/>
            <a:ext cx="975827" cy="443079"/>
          </a:xfrm>
          <a:prstGeom prst="rect">
            <a:avLst/>
          </a:prstGeom>
        </p:spPr>
      </p:pic>
      <p:sp>
        <p:nvSpPr>
          <p:cNvPr id="225" name="Rectangle 224"/>
          <p:cNvSpPr/>
          <p:nvPr/>
        </p:nvSpPr>
        <p:spPr>
          <a:xfrm>
            <a:off x="7689304" y="815168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60818" y="6225856"/>
            <a:ext cx="48189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prstClr val="black"/>
                </a:solidFill>
              </a:rPr>
              <a:t>MAM = moderate acute malnutrition</a:t>
            </a:r>
          </a:p>
          <a:p>
            <a:r>
              <a:rPr lang="en-US" sz="800" dirty="0" smtClean="0">
                <a:solidFill>
                  <a:prstClr val="black"/>
                </a:solidFill>
              </a:rPr>
              <a:t>SAM = severe acute malnutrition</a:t>
            </a:r>
          </a:p>
          <a:p>
            <a:endParaRPr lang="en-US" sz="800" dirty="0">
              <a:solidFill>
                <a:prstClr val="black"/>
              </a:solidFill>
            </a:endParaRPr>
          </a:p>
          <a:p>
            <a:r>
              <a:rPr lang="en-US" sz="800" dirty="0" smtClean="0">
                <a:solidFill>
                  <a:prstClr val="black"/>
                </a:solidFill>
              </a:rPr>
              <a:t>Source: UN Inventory Tool</a:t>
            </a:r>
            <a:endParaRPr lang="en-US" sz="800" dirty="0">
              <a:solidFill>
                <a:prstClr val="black"/>
              </a:solidFill>
            </a:endParaRPr>
          </a:p>
        </p:txBody>
      </p:sp>
      <p:pic>
        <p:nvPicPr>
          <p:cNvPr id="19" name="Picture 18" descr="Kachin-w.jpg"/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CCCCC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36438" y="2539582"/>
            <a:ext cx="1815095" cy="2975038"/>
          </a:xfrm>
          <a:prstGeom prst="rect">
            <a:avLst/>
          </a:prstGeom>
        </p:spPr>
      </p:pic>
      <p:sp>
        <p:nvSpPr>
          <p:cNvPr id="36" name="Rectangle 35"/>
          <p:cNvSpPr/>
          <p:nvPr/>
        </p:nvSpPr>
        <p:spPr>
          <a:xfrm>
            <a:off x="4475085" y="3558189"/>
            <a:ext cx="1094317" cy="30285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defTabSz="457200"/>
            <a:r>
              <a:rPr lang="en-US" sz="2000" dirty="0" err="1">
                <a:solidFill>
                  <a:srgbClr val="000000"/>
                </a:solidFill>
                <a:cs typeface="Arial" pitchFamily="34" charset="0"/>
              </a:rPr>
              <a:t>Kachin</a:t>
            </a:r>
            <a:endParaRPr lang="de-DE" sz="2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469" y="1236472"/>
            <a:ext cx="988288" cy="5050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634" y="1070091"/>
            <a:ext cx="594178" cy="722680"/>
          </a:xfrm>
          <a:prstGeom prst="rect">
            <a:avLst/>
          </a:prstGeom>
        </p:spPr>
      </p:pic>
      <p:sp>
        <p:nvSpPr>
          <p:cNvPr id="60" name="Rounded Rectangular Callout 59"/>
          <p:cNvSpPr/>
          <p:nvPr/>
        </p:nvSpPr>
        <p:spPr>
          <a:xfrm>
            <a:off x="4282096" y="4640070"/>
            <a:ext cx="1341807" cy="1893157"/>
          </a:xfrm>
          <a:prstGeom prst="wedgeRoundRectCallout">
            <a:avLst>
              <a:gd name="adj1" fmla="val -8404"/>
              <a:gd name="adj2" fmla="val -7932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s slide should be replicated for each province/state/region in the country where the UN has the strongest presence, or where there is a strong need. 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67628" y="3851233"/>
            <a:ext cx="373380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548DD4"/>
                </a:solidFill>
              </a:rPr>
              <a:t>Breastfeeding promotion/sup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548DD4"/>
                </a:solidFill>
              </a:rPr>
              <a:t>Improvement of complementary fee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548DD4"/>
                </a:solidFill>
              </a:rPr>
              <a:t>Hand-was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548DD4"/>
                </a:solidFill>
              </a:rPr>
              <a:t>Health-seeking behavio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err="1" smtClean="0">
                <a:solidFill>
                  <a:srgbClr val="548DD4"/>
                </a:solidFill>
              </a:rPr>
              <a:t>Insectide</a:t>
            </a:r>
            <a:r>
              <a:rPr lang="en-GB" sz="1200" b="1" dirty="0" smtClean="0">
                <a:solidFill>
                  <a:srgbClr val="548DD4"/>
                </a:solidFill>
              </a:rPr>
              <a:t>-treated bed n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548DD4"/>
                </a:solidFill>
              </a:rPr>
              <a:t>Ante- &amp; post-natal c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548DD4"/>
                </a:solidFill>
              </a:rPr>
              <a:t>Iron/folic acid sup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548DD4"/>
                </a:solidFill>
              </a:rPr>
              <a:t>Multiple micronutrient sup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548DD4"/>
                </a:solidFill>
              </a:rPr>
              <a:t>Management of S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548DD4"/>
                </a:solidFill>
              </a:rPr>
              <a:t>XXXXXX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6541722" y="3601946"/>
            <a:ext cx="297359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FF9900"/>
                </a:solidFill>
              </a:rPr>
              <a:t>Family planning behaviour                                                          (incl. adolescent girl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FF9900"/>
                </a:solidFill>
              </a:rPr>
              <a:t>Health-seeking behavio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FF9900"/>
                </a:solidFill>
              </a:rPr>
              <a:t>Ante- &amp; post-natal c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FF9900"/>
                </a:solidFill>
              </a:rPr>
              <a:t>Health professional-assisted deliv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FF9900"/>
                </a:solidFill>
              </a:rPr>
              <a:t>XXXXX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6553792" y="5810357"/>
            <a:ext cx="28096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009900"/>
                </a:solidFill>
              </a:rPr>
              <a:t>Improvement of local reci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smtClean="0">
                <a:solidFill>
                  <a:srgbClr val="009900"/>
                </a:solidFill>
              </a:rPr>
              <a:t>Animal husbandry, fisheries </a:t>
            </a:r>
            <a:r>
              <a:rPr lang="en-GB" sz="1200" b="1" dirty="0" smtClean="0">
                <a:solidFill>
                  <a:srgbClr val="009900"/>
                </a:solidFill>
              </a:rPr>
              <a:t>&amp; insect far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009900"/>
                </a:solidFill>
              </a:rPr>
              <a:t>XXXXX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6541722" y="1784489"/>
            <a:ext cx="3413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7030A0"/>
                </a:solidFill>
              </a:rPr>
              <a:t>Improvement of local reci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smtClean="0">
                <a:solidFill>
                  <a:srgbClr val="7030A0"/>
                </a:solidFill>
              </a:rPr>
              <a:t>Animal </a:t>
            </a:r>
            <a:r>
              <a:rPr lang="en-GB" sz="1200" b="1">
                <a:solidFill>
                  <a:srgbClr val="7030A0"/>
                </a:solidFill>
              </a:rPr>
              <a:t>husbandry, fisheries &amp; </a:t>
            </a:r>
            <a:r>
              <a:rPr lang="en-GB" sz="1200" b="1" smtClean="0">
                <a:solidFill>
                  <a:srgbClr val="7030A0"/>
                </a:solidFill>
              </a:rPr>
              <a:t>insect farming</a:t>
            </a:r>
            <a:endParaRPr lang="en-GB" sz="1200" b="1" dirty="0" smtClean="0">
              <a:solidFill>
                <a:srgbClr val="7030A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7030A0"/>
                </a:solidFill>
              </a:rPr>
              <a:t>Food proces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7030A0"/>
                </a:solidFill>
              </a:rPr>
              <a:t>Food hygie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7030A0"/>
                </a:solidFill>
              </a:rPr>
              <a:t>XXXX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267628" y="1755002"/>
            <a:ext cx="347574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CC0099"/>
                </a:solidFill>
              </a:rPr>
              <a:t>Fortif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CC0099"/>
                </a:solidFill>
              </a:rPr>
              <a:t>Multiple micronutrient sup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CC0099"/>
                </a:solidFill>
              </a:rPr>
              <a:t>Management of M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CC0099"/>
                </a:solidFill>
              </a:rPr>
              <a:t>Food technology support for specialized nutritious foo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CC0099"/>
                </a:solidFill>
              </a:rPr>
              <a:t>School-based social safety n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b="1" dirty="0" smtClean="0">
                <a:solidFill>
                  <a:srgbClr val="CC0099"/>
                </a:solidFill>
              </a:rPr>
              <a:t>XXXX</a:t>
            </a:r>
          </a:p>
        </p:txBody>
      </p:sp>
      <p:sp>
        <p:nvSpPr>
          <p:cNvPr id="76" name="Rectangle 75"/>
          <p:cNvSpPr/>
          <p:nvPr/>
        </p:nvSpPr>
        <p:spPr>
          <a:xfrm>
            <a:off x="6494042" y="1834325"/>
            <a:ext cx="3250384" cy="16371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319634" y="1968301"/>
            <a:ext cx="3287303" cy="217921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325135" y="5168334"/>
            <a:ext cx="3330637" cy="207416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3535516" y="1958708"/>
            <a:ext cx="360040" cy="237109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79" name="Oval 78"/>
          <p:cNvSpPr/>
          <p:nvPr/>
        </p:nvSpPr>
        <p:spPr>
          <a:xfrm>
            <a:off x="-37435" y="5141489"/>
            <a:ext cx="360040" cy="237109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80" name="Oval 79"/>
          <p:cNvSpPr/>
          <p:nvPr/>
        </p:nvSpPr>
        <p:spPr>
          <a:xfrm>
            <a:off x="6102966" y="1792771"/>
            <a:ext cx="360040" cy="237109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</a:t>
            </a:r>
            <a:endParaRPr lang="en-US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Oval 80"/>
          <p:cNvSpPr/>
          <p:nvPr/>
        </p:nvSpPr>
        <p:spPr>
          <a:xfrm>
            <a:off x="6156581" y="5840288"/>
            <a:ext cx="360040" cy="237109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</a:t>
            </a:r>
            <a:endParaRPr lang="en-US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594216" y="4224754"/>
            <a:ext cx="2537904" cy="15488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6201055" y="4175888"/>
            <a:ext cx="360040" cy="237109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</a:t>
            </a:r>
            <a:endParaRPr lang="en-US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38395" y="4800561"/>
            <a:ext cx="2710868" cy="18638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-49485" y="4420685"/>
            <a:ext cx="360040" cy="237109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50788" r="51308" b="40087"/>
          <a:stretch/>
        </p:blipFill>
        <p:spPr bwMode="auto">
          <a:xfrm>
            <a:off x="319634" y="3367538"/>
            <a:ext cx="1533724" cy="52521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5" name="Rounded Rectangular Callout 74"/>
          <p:cNvSpPr/>
          <p:nvPr/>
        </p:nvSpPr>
        <p:spPr>
          <a:xfrm>
            <a:off x="8197162" y="2447121"/>
            <a:ext cx="1628398" cy="1109096"/>
          </a:xfrm>
          <a:prstGeom prst="wedgeRoundRectCallout">
            <a:avLst>
              <a:gd name="adj1" fmla="val 11729"/>
              <a:gd name="adj2" fmla="val 5900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Be sure to flag any area of duplication with a view to fostering synergies with a grey square</a:t>
            </a:r>
          </a:p>
        </p:txBody>
      </p:sp>
      <p:sp>
        <p:nvSpPr>
          <p:cNvPr id="40" name="Rounded Rectangular Callout 39"/>
          <p:cNvSpPr/>
          <p:nvPr/>
        </p:nvSpPr>
        <p:spPr>
          <a:xfrm>
            <a:off x="3667514" y="1624464"/>
            <a:ext cx="2141307" cy="1830236"/>
          </a:xfrm>
          <a:prstGeom prst="wedgeRoundRectCallout">
            <a:avLst>
              <a:gd name="adj1" fmla="val -70113"/>
              <a:gd name="adj2" fmla="val -2247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Under each agency logo, list the actions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(governance and implementation) being undertaken at the sub-national level (region/state/province) of interest. Include only the actions listed in the </a:t>
            </a:r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Sectoral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Nut. Actions tab of the UN Inventory Tool.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Only list the actions being undertaken a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e sub-national level.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-69983" y="1945150"/>
            <a:ext cx="360040" cy="237109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594216" y="4005018"/>
            <a:ext cx="2537904" cy="17087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38395" y="4449904"/>
            <a:ext cx="2692107" cy="183056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-40406" y="4783580"/>
            <a:ext cx="360040" cy="237109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</a:t>
            </a:r>
            <a:endParaRPr lang="en-US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6196176" y="3944653"/>
            <a:ext cx="360040" cy="237109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</a:t>
            </a:r>
          </a:p>
        </p:txBody>
      </p:sp>
      <p:sp>
        <p:nvSpPr>
          <p:cNvPr id="43" name="Rectangle 42"/>
          <p:cNvSpPr/>
          <p:nvPr/>
        </p:nvSpPr>
        <p:spPr>
          <a:xfrm>
            <a:off x="6494042" y="2036113"/>
            <a:ext cx="3250384" cy="334313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6090754" y="2077262"/>
            <a:ext cx="360040" cy="237109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</a:t>
            </a:r>
            <a:endParaRPr lang="en-US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Oval 45"/>
          <p:cNvSpPr/>
          <p:nvPr/>
        </p:nvSpPr>
        <p:spPr>
          <a:xfrm>
            <a:off x="6169132" y="6090302"/>
            <a:ext cx="360040" cy="237109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</a:t>
            </a:r>
            <a:endParaRPr lang="en-US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623410" y="5876987"/>
            <a:ext cx="3010110" cy="16371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6614178" y="6077398"/>
            <a:ext cx="3010111" cy="262920"/>
          </a:xfrm>
          <a:prstGeom prst="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>
                <a:solidFill>
                  <a:srgbClr val="000000"/>
                </a:solidFill>
                <a:cs typeface="Arial" pitchFamily="34" charset="0"/>
              </a:rPr>
              <a:t>In </a:t>
            </a:r>
            <a:r>
              <a:rPr lang="en-GB" sz="1800" dirty="0" err="1">
                <a:solidFill>
                  <a:srgbClr val="000000"/>
                </a:solidFill>
                <a:cs typeface="Arial" pitchFamily="34" charset="0"/>
              </a:rPr>
              <a:t>Kachin</a:t>
            </a:r>
            <a:r>
              <a:rPr lang="en-GB" sz="1800" dirty="0">
                <a:solidFill>
                  <a:srgbClr val="000000"/>
                </a:solidFill>
                <a:cs typeface="Arial" pitchFamily="34" charset="0"/>
              </a:rPr>
              <a:t>, the overlap of X actions undertaken at sub-national level by the surveyed UN agencies highlights opportunities to revisit targeting schemes and to work better </a:t>
            </a:r>
            <a:r>
              <a:rPr lang="en-GB" sz="1800" dirty="0" smtClean="0">
                <a:solidFill>
                  <a:srgbClr val="000000"/>
                </a:solidFill>
                <a:cs typeface="Arial" pitchFamily="34" charset="0"/>
              </a:rPr>
              <a:t>together</a:t>
            </a:r>
            <a:endParaRPr lang="en-GB" sz="1800" dirty="0"/>
          </a:p>
        </p:txBody>
      </p:sp>
      <p:sp>
        <p:nvSpPr>
          <p:cNvPr id="83" name="Rounded Rectangular Callout 82"/>
          <p:cNvSpPr/>
          <p:nvPr/>
        </p:nvSpPr>
        <p:spPr>
          <a:xfrm>
            <a:off x="2010914" y="735716"/>
            <a:ext cx="4426258" cy="525900"/>
          </a:xfrm>
          <a:prstGeom prst="wedgeRoundRectCallout">
            <a:avLst>
              <a:gd name="adj1" fmla="val -21434"/>
              <a:gd name="adj2" fmla="val -123097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Number of actions where there is overlap to be specified . If no overlap, may change slide title to “Actions undertaken by each UN agency in province/state/region have scope to strengthen linkages between actions”</a:t>
            </a:r>
          </a:p>
        </p:txBody>
      </p:sp>
    </p:spTree>
    <p:extLst>
      <p:ext uri="{BB962C8B-B14F-4D97-AF65-F5344CB8AC3E}">
        <p14:creationId xmlns:p14="http://schemas.microsoft.com/office/powerpoint/2010/main" val="2010793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ColumnHeader"/>
          <p:cNvSpPr>
            <a:spLocks noChangeArrowheads="1"/>
          </p:cNvSpPr>
          <p:nvPr/>
        </p:nvSpPr>
        <p:spPr bwMode="gray">
          <a:xfrm>
            <a:off x="2175199" y="1115988"/>
            <a:ext cx="5304402" cy="4342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48DD4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pt-PT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re nutrition actions</a:t>
            </a:r>
            <a:endParaRPr lang="pt-PT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292963" y="6654552"/>
            <a:ext cx="658087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000000"/>
                </a:solidFill>
              </a:rPr>
              <a:t>Source: Source:</a:t>
            </a:r>
            <a:r>
              <a:rPr lang="fr-FR" sz="900" dirty="0"/>
              <a:t> UN </a:t>
            </a:r>
            <a:r>
              <a:rPr lang="fr-FR" sz="900" dirty="0" err="1"/>
              <a:t>Inventory</a:t>
            </a:r>
            <a:r>
              <a:rPr lang="fr-FR" sz="900" dirty="0"/>
              <a:t> </a:t>
            </a:r>
            <a:r>
              <a:rPr lang="fr-FR" sz="900" dirty="0" err="1"/>
              <a:t>Tool</a:t>
            </a:r>
            <a:r>
              <a:rPr lang="fr-FR" sz="900" dirty="0"/>
              <a:t>; National Nutrition Plan 2015-2020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25" name="Rectangle 224"/>
          <p:cNvSpPr/>
          <p:nvPr/>
        </p:nvSpPr>
        <p:spPr>
          <a:xfrm>
            <a:off x="7716679" y="1110685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60" name="Rounded Rectangular Callout 59"/>
          <p:cNvSpPr/>
          <p:nvPr/>
        </p:nvSpPr>
        <p:spPr>
          <a:xfrm>
            <a:off x="456381" y="1167799"/>
            <a:ext cx="1530426" cy="804382"/>
          </a:xfrm>
          <a:prstGeom prst="wedgeRoundRectCallout">
            <a:avLst>
              <a:gd name="adj1" fmla="val 87841"/>
              <a:gd name="adj2" fmla="val -21303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n countries where core nutrition actions have been selected, populate this slide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. </a:t>
            </a:r>
            <a:endParaRPr lang="en-GB" sz="1000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0" name="Text Box 2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88703" y="3796657"/>
            <a:ext cx="1662059" cy="35114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13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71" name="Text Box 2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88703" y="4265228"/>
            <a:ext cx="1662059" cy="350836"/>
          </a:xfrm>
          <a:prstGeom prst="rect">
            <a:avLst/>
          </a:prstGeom>
          <a:solidFill>
            <a:srgbClr val="548DD4"/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12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72" name="Text Box 2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47787" y="2403659"/>
            <a:ext cx="1662059" cy="350836"/>
          </a:xfrm>
          <a:prstGeom prst="rect">
            <a:avLst/>
          </a:prstGeom>
          <a:solidFill>
            <a:srgbClr val="548DD4"/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16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73" name="Text Box 2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09846" y="1872467"/>
            <a:ext cx="1662059" cy="35083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6"/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Name of CNA1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74" name="Text Box 2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974883" y="2858028"/>
            <a:ext cx="1662059" cy="356149"/>
          </a:xfrm>
          <a:prstGeom prst="rect">
            <a:avLst/>
          </a:prstGeom>
          <a:solidFill>
            <a:srgbClr val="548DD4"/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3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75" name="Text Box 2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286252" y="4757175"/>
            <a:ext cx="1662059" cy="350836"/>
          </a:xfrm>
          <a:prstGeom prst="rect">
            <a:avLst/>
          </a:prstGeom>
          <a:solidFill>
            <a:srgbClr val="548DD4"/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11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76" name="Text Box 2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48460" y="5657132"/>
            <a:ext cx="1652854" cy="35083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9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77" name="Text Box 2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780570" y="2398346"/>
            <a:ext cx="1662059" cy="35614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Name of CNA2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cxnSp>
        <p:nvCxnSpPr>
          <p:cNvPr id="78" name="Straight Arrow Connector 77"/>
          <p:cNvCxnSpPr/>
          <p:nvPr/>
        </p:nvCxnSpPr>
        <p:spPr bwMode="auto">
          <a:xfrm>
            <a:off x="4174726" y="2604404"/>
            <a:ext cx="353839" cy="23570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 bwMode="auto">
          <a:xfrm>
            <a:off x="4074357" y="3034525"/>
            <a:ext cx="390549" cy="10323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 bwMode="auto">
          <a:xfrm>
            <a:off x="4074357" y="3505937"/>
            <a:ext cx="390549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/>
          <p:nvPr/>
        </p:nvCxnSpPr>
        <p:spPr bwMode="auto">
          <a:xfrm>
            <a:off x="4074357" y="3972188"/>
            <a:ext cx="390549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/>
        </p:nvCxnSpPr>
        <p:spPr bwMode="auto">
          <a:xfrm>
            <a:off x="4074357" y="4440159"/>
            <a:ext cx="390549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 bwMode="auto">
          <a:xfrm flipV="1">
            <a:off x="4074357" y="4720598"/>
            <a:ext cx="454208" cy="17548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/>
          <p:cNvCxnSpPr/>
          <p:nvPr/>
        </p:nvCxnSpPr>
        <p:spPr bwMode="auto">
          <a:xfrm flipV="1">
            <a:off x="4292858" y="4856516"/>
            <a:ext cx="378506" cy="24908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 bwMode="auto">
          <a:xfrm flipH="1" flipV="1">
            <a:off x="5369881" y="4720598"/>
            <a:ext cx="454208" cy="17548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 bwMode="auto">
          <a:xfrm flipH="1">
            <a:off x="5435259" y="4440159"/>
            <a:ext cx="39055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 bwMode="auto">
          <a:xfrm flipH="1">
            <a:off x="5435259" y="3972188"/>
            <a:ext cx="39055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 bwMode="auto">
          <a:xfrm flipH="1">
            <a:off x="5435259" y="3505937"/>
            <a:ext cx="39055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 bwMode="auto">
          <a:xfrm flipH="1">
            <a:off x="5435259" y="3039685"/>
            <a:ext cx="39055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 bwMode="auto">
          <a:xfrm flipH="1">
            <a:off x="5435260" y="2604404"/>
            <a:ext cx="323204" cy="23570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46"/>
          <p:cNvGrpSpPr>
            <a:grpSpLocks/>
          </p:cNvGrpSpPr>
          <p:nvPr/>
        </p:nvGrpSpPr>
        <p:grpSpPr bwMode="auto">
          <a:xfrm>
            <a:off x="4690605" y="2993350"/>
            <a:ext cx="518469" cy="1595469"/>
            <a:chOff x="2366681" y="3147287"/>
            <a:chExt cx="576263" cy="1773638"/>
          </a:xfrm>
        </p:grpSpPr>
        <p:sp>
          <p:nvSpPr>
            <p:cNvPr id="103" name="Freeform 17"/>
            <p:cNvSpPr>
              <a:spLocks/>
            </p:cNvSpPr>
            <p:nvPr/>
          </p:nvSpPr>
          <p:spPr bwMode="auto">
            <a:xfrm>
              <a:off x="2366332" y="3504815"/>
              <a:ext cx="577505" cy="1415334"/>
            </a:xfrm>
            <a:custGeom>
              <a:avLst/>
              <a:gdLst>
                <a:gd name="T0" fmla="*/ 215 w 276"/>
                <a:gd name="T1" fmla="*/ 0 h 630"/>
                <a:gd name="T2" fmla="*/ 225 w 276"/>
                <a:gd name="T3" fmla="*/ 3 h 630"/>
                <a:gd name="T4" fmla="*/ 238 w 276"/>
                <a:gd name="T5" fmla="*/ 6 h 630"/>
                <a:gd name="T6" fmla="*/ 248 w 276"/>
                <a:gd name="T7" fmla="*/ 11 h 630"/>
                <a:gd name="T8" fmla="*/ 258 w 276"/>
                <a:gd name="T9" fmla="*/ 19 h 630"/>
                <a:gd name="T10" fmla="*/ 268 w 276"/>
                <a:gd name="T11" fmla="*/ 30 h 630"/>
                <a:gd name="T12" fmla="*/ 274 w 276"/>
                <a:gd name="T13" fmla="*/ 43 h 630"/>
                <a:gd name="T14" fmla="*/ 274 w 276"/>
                <a:gd name="T15" fmla="*/ 286 h 630"/>
                <a:gd name="T16" fmla="*/ 272 w 276"/>
                <a:gd name="T17" fmla="*/ 294 h 630"/>
                <a:gd name="T18" fmla="*/ 267 w 276"/>
                <a:gd name="T19" fmla="*/ 302 h 630"/>
                <a:gd name="T20" fmla="*/ 257 w 276"/>
                <a:gd name="T21" fmla="*/ 308 h 630"/>
                <a:gd name="T22" fmla="*/ 247 w 276"/>
                <a:gd name="T23" fmla="*/ 308 h 630"/>
                <a:gd name="T24" fmla="*/ 238 w 276"/>
                <a:gd name="T25" fmla="*/ 306 h 630"/>
                <a:gd name="T26" fmla="*/ 231 w 276"/>
                <a:gd name="T27" fmla="*/ 299 h 630"/>
                <a:gd name="T28" fmla="*/ 228 w 276"/>
                <a:gd name="T29" fmla="*/ 292 h 630"/>
                <a:gd name="T30" fmla="*/ 225 w 276"/>
                <a:gd name="T31" fmla="*/ 285 h 630"/>
                <a:gd name="T32" fmla="*/ 210 w 276"/>
                <a:gd name="T33" fmla="*/ 592 h 630"/>
                <a:gd name="T34" fmla="*/ 207 w 276"/>
                <a:gd name="T35" fmla="*/ 608 h 630"/>
                <a:gd name="T36" fmla="*/ 200 w 276"/>
                <a:gd name="T37" fmla="*/ 622 h 630"/>
                <a:gd name="T38" fmla="*/ 189 w 276"/>
                <a:gd name="T39" fmla="*/ 627 h 630"/>
                <a:gd name="T40" fmla="*/ 179 w 276"/>
                <a:gd name="T41" fmla="*/ 629 h 630"/>
                <a:gd name="T42" fmla="*/ 167 w 276"/>
                <a:gd name="T43" fmla="*/ 627 h 630"/>
                <a:gd name="T44" fmla="*/ 157 w 276"/>
                <a:gd name="T45" fmla="*/ 621 h 630"/>
                <a:gd name="T46" fmla="*/ 150 w 276"/>
                <a:gd name="T47" fmla="*/ 611 h 630"/>
                <a:gd name="T48" fmla="*/ 147 w 276"/>
                <a:gd name="T49" fmla="*/ 602 h 630"/>
                <a:gd name="T50" fmla="*/ 130 w 276"/>
                <a:gd name="T51" fmla="*/ 301 h 630"/>
                <a:gd name="T52" fmla="*/ 128 w 276"/>
                <a:gd name="T53" fmla="*/ 605 h 630"/>
                <a:gd name="T54" fmla="*/ 120 w 276"/>
                <a:gd name="T55" fmla="*/ 617 h 630"/>
                <a:gd name="T56" fmla="*/ 110 w 276"/>
                <a:gd name="T57" fmla="*/ 627 h 630"/>
                <a:gd name="T58" fmla="*/ 95 w 276"/>
                <a:gd name="T59" fmla="*/ 629 h 630"/>
                <a:gd name="T60" fmla="*/ 85 w 276"/>
                <a:gd name="T61" fmla="*/ 626 h 630"/>
                <a:gd name="T62" fmla="*/ 73 w 276"/>
                <a:gd name="T63" fmla="*/ 618 h 630"/>
                <a:gd name="T64" fmla="*/ 67 w 276"/>
                <a:gd name="T65" fmla="*/ 608 h 630"/>
                <a:gd name="T66" fmla="*/ 64 w 276"/>
                <a:gd name="T67" fmla="*/ 597 h 630"/>
                <a:gd name="T68" fmla="*/ 49 w 276"/>
                <a:gd name="T69" fmla="*/ 285 h 630"/>
                <a:gd name="T70" fmla="*/ 47 w 276"/>
                <a:gd name="T71" fmla="*/ 295 h 630"/>
                <a:gd name="T72" fmla="*/ 42 w 276"/>
                <a:gd name="T73" fmla="*/ 300 h 630"/>
                <a:gd name="T74" fmla="*/ 36 w 276"/>
                <a:gd name="T75" fmla="*/ 306 h 630"/>
                <a:gd name="T76" fmla="*/ 30 w 276"/>
                <a:gd name="T77" fmla="*/ 308 h 630"/>
                <a:gd name="T78" fmla="*/ 21 w 276"/>
                <a:gd name="T79" fmla="*/ 308 h 630"/>
                <a:gd name="T80" fmla="*/ 14 w 276"/>
                <a:gd name="T81" fmla="*/ 307 h 630"/>
                <a:gd name="T82" fmla="*/ 8 w 276"/>
                <a:gd name="T83" fmla="*/ 304 h 630"/>
                <a:gd name="T84" fmla="*/ 4 w 276"/>
                <a:gd name="T85" fmla="*/ 298 h 630"/>
                <a:gd name="T86" fmla="*/ 0 w 276"/>
                <a:gd name="T87" fmla="*/ 290 h 630"/>
                <a:gd name="T88" fmla="*/ 0 w 276"/>
                <a:gd name="T89" fmla="*/ 43 h 630"/>
                <a:gd name="T90" fmla="*/ 8 w 276"/>
                <a:gd name="T91" fmla="*/ 28 h 630"/>
                <a:gd name="T92" fmla="*/ 22 w 276"/>
                <a:gd name="T93" fmla="*/ 14 h 630"/>
                <a:gd name="T94" fmla="*/ 38 w 276"/>
                <a:gd name="T95" fmla="*/ 6 h 630"/>
                <a:gd name="T96" fmla="*/ 60 w 276"/>
                <a:gd name="T97" fmla="*/ 1 h 63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76"/>
                <a:gd name="T148" fmla="*/ 0 h 630"/>
                <a:gd name="T149" fmla="*/ 276 w 276"/>
                <a:gd name="T150" fmla="*/ 630 h 63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76" h="630">
                  <a:moveTo>
                    <a:pt x="66" y="0"/>
                  </a:moveTo>
                  <a:lnTo>
                    <a:pt x="211" y="0"/>
                  </a:lnTo>
                  <a:lnTo>
                    <a:pt x="215" y="0"/>
                  </a:lnTo>
                  <a:lnTo>
                    <a:pt x="220" y="1"/>
                  </a:lnTo>
                  <a:lnTo>
                    <a:pt x="223" y="2"/>
                  </a:lnTo>
                  <a:lnTo>
                    <a:pt x="225" y="3"/>
                  </a:lnTo>
                  <a:lnTo>
                    <a:pt x="229" y="3"/>
                  </a:lnTo>
                  <a:lnTo>
                    <a:pt x="233" y="4"/>
                  </a:lnTo>
                  <a:lnTo>
                    <a:pt x="238" y="6"/>
                  </a:lnTo>
                  <a:lnTo>
                    <a:pt x="240" y="7"/>
                  </a:lnTo>
                  <a:lnTo>
                    <a:pt x="244" y="9"/>
                  </a:lnTo>
                  <a:lnTo>
                    <a:pt x="248" y="11"/>
                  </a:lnTo>
                  <a:lnTo>
                    <a:pt x="252" y="13"/>
                  </a:lnTo>
                  <a:lnTo>
                    <a:pt x="255" y="15"/>
                  </a:lnTo>
                  <a:lnTo>
                    <a:pt x="258" y="19"/>
                  </a:lnTo>
                  <a:lnTo>
                    <a:pt x="262" y="23"/>
                  </a:lnTo>
                  <a:lnTo>
                    <a:pt x="266" y="28"/>
                  </a:lnTo>
                  <a:lnTo>
                    <a:pt x="268" y="30"/>
                  </a:lnTo>
                  <a:lnTo>
                    <a:pt x="271" y="35"/>
                  </a:lnTo>
                  <a:lnTo>
                    <a:pt x="272" y="39"/>
                  </a:lnTo>
                  <a:lnTo>
                    <a:pt x="274" y="43"/>
                  </a:lnTo>
                  <a:lnTo>
                    <a:pt x="275" y="48"/>
                  </a:lnTo>
                  <a:lnTo>
                    <a:pt x="275" y="52"/>
                  </a:lnTo>
                  <a:lnTo>
                    <a:pt x="274" y="286"/>
                  </a:lnTo>
                  <a:lnTo>
                    <a:pt x="273" y="289"/>
                  </a:lnTo>
                  <a:lnTo>
                    <a:pt x="272" y="290"/>
                  </a:lnTo>
                  <a:lnTo>
                    <a:pt x="272" y="294"/>
                  </a:lnTo>
                  <a:lnTo>
                    <a:pt x="271" y="296"/>
                  </a:lnTo>
                  <a:lnTo>
                    <a:pt x="269" y="299"/>
                  </a:lnTo>
                  <a:lnTo>
                    <a:pt x="267" y="302"/>
                  </a:lnTo>
                  <a:lnTo>
                    <a:pt x="263" y="305"/>
                  </a:lnTo>
                  <a:lnTo>
                    <a:pt x="259" y="307"/>
                  </a:lnTo>
                  <a:lnTo>
                    <a:pt x="257" y="308"/>
                  </a:lnTo>
                  <a:lnTo>
                    <a:pt x="254" y="308"/>
                  </a:lnTo>
                  <a:lnTo>
                    <a:pt x="251" y="308"/>
                  </a:lnTo>
                  <a:lnTo>
                    <a:pt x="247" y="308"/>
                  </a:lnTo>
                  <a:lnTo>
                    <a:pt x="244" y="308"/>
                  </a:lnTo>
                  <a:lnTo>
                    <a:pt x="240" y="307"/>
                  </a:lnTo>
                  <a:lnTo>
                    <a:pt x="238" y="306"/>
                  </a:lnTo>
                  <a:lnTo>
                    <a:pt x="235" y="304"/>
                  </a:lnTo>
                  <a:lnTo>
                    <a:pt x="233" y="301"/>
                  </a:lnTo>
                  <a:lnTo>
                    <a:pt x="231" y="299"/>
                  </a:lnTo>
                  <a:lnTo>
                    <a:pt x="229" y="296"/>
                  </a:lnTo>
                  <a:lnTo>
                    <a:pt x="228" y="295"/>
                  </a:lnTo>
                  <a:lnTo>
                    <a:pt x="228" y="292"/>
                  </a:lnTo>
                  <a:lnTo>
                    <a:pt x="227" y="290"/>
                  </a:lnTo>
                  <a:lnTo>
                    <a:pt x="226" y="289"/>
                  </a:lnTo>
                  <a:lnTo>
                    <a:pt x="225" y="285"/>
                  </a:lnTo>
                  <a:lnTo>
                    <a:pt x="226" y="107"/>
                  </a:lnTo>
                  <a:lnTo>
                    <a:pt x="210" y="107"/>
                  </a:lnTo>
                  <a:lnTo>
                    <a:pt x="210" y="592"/>
                  </a:lnTo>
                  <a:lnTo>
                    <a:pt x="210" y="598"/>
                  </a:lnTo>
                  <a:lnTo>
                    <a:pt x="210" y="604"/>
                  </a:lnTo>
                  <a:lnTo>
                    <a:pt x="207" y="608"/>
                  </a:lnTo>
                  <a:lnTo>
                    <a:pt x="205" y="614"/>
                  </a:lnTo>
                  <a:lnTo>
                    <a:pt x="202" y="617"/>
                  </a:lnTo>
                  <a:lnTo>
                    <a:pt x="200" y="622"/>
                  </a:lnTo>
                  <a:lnTo>
                    <a:pt x="196" y="624"/>
                  </a:lnTo>
                  <a:lnTo>
                    <a:pt x="192" y="626"/>
                  </a:lnTo>
                  <a:lnTo>
                    <a:pt x="189" y="627"/>
                  </a:lnTo>
                  <a:lnTo>
                    <a:pt x="187" y="627"/>
                  </a:lnTo>
                  <a:lnTo>
                    <a:pt x="182" y="629"/>
                  </a:lnTo>
                  <a:lnTo>
                    <a:pt x="179" y="629"/>
                  </a:lnTo>
                  <a:lnTo>
                    <a:pt x="176" y="629"/>
                  </a:lnTo>
                  <a:lnTo>
                    <a:pt x="171" y="628"/>
                  </a:lnTo>
                  <a:lnTo>
                    <a:pt x="167" y="627"/>
                  </a:lnTo>
                  <a:lnTo>
                    <a:pt x="163" y="625"/>
                  </a:lnTo>
                  <a:lnTo>
                    <a:pt x="159" y="624"/>
                  </a:lnTo>
                  <a:lnTo>
                    <a:pt x="157" y="621"/>
                  </a:lnTo>
                  <a:lnTo>
                    <a:pt x="155" y="618"/>
                  </a:lnTo>
                  <a:lnTo>
                    <a:pt x="152" y="615"/>
                  </a:lnTo>
                  <a:lnTo>
                    <a:pt x="150" y="611"/>
                  </a:lnTo>
                  <a:lnTo>
                    <a:pt x="148" y="608"/>
                  </a:lnTo>
                  <a:lnTo>
                    <a:pt x="148" y="605"/>
                  </a:lnTo>
                  <a:lnTo>
                    <a:pt x="147" y="602"/>
                  </a:lnTo>
                  <a:lnTo>
                    <a:pt x="146" y="598"/>
                  </a:lnTo>
                  <a:lnTo>
                    <a:pt x="146" y="301"/>
                  </a:lnTo>
                  <a:lnTo>
                    <a:pt x="130" y="301"/>
                  </a:lnTo>
                  <a:lnTo>
                    <a:pt x="129" y="596"/>
                  </a:lnTo>
                  <a:lnTo>
                    <a:pt x="128" y="601"/>
                  </a:lnTo>
                  <a:lnTo>
                    <a:pt x="128" y="605"/>
                  </a:lnTo>
                  <a:lnTo>
                    <a:pt x="125" y="608"/>
                  </a:lnTo>
                  <a:lnTo>
                    <a:pt x="124" y="613"/>
                  </a:lnTo>
                  <a:lnTo>
                    <a:pt x="120" y="617"/>
                  </a:lnTo>
                  <a:lnTo>
                    <a:pt x="118" y="622"/>
                  </a:lnTo>
                  <a:lnTo>
                    <a:pt x="114" y="625"/>
                  </a:lnTo>
                  <a:lnTo>
                    <a:pt x="110" y="627"/>
                  </a:lnTo>
                  <a:lnTo>
                    <a:pt x="104" y="628"/>
                  </a:lnTo>
                  <a:lnTo>
                    <a:pt x="100" y="629"/>
                  </a:lnTo>
                  <a:lnTo>
                    <a:pt x="95" y="629"/>
                  </a:lnTo>
                  <a:lnTo>
                    <a:pt x="90" y="628"/>
                  </a:lnTo>
                  <a:lnTo>
                    <a:pt x="87" y="627"/>
                  </a:lnTo>
                  <a:lnTo>
                    <a:pt x="85" y="626"/>
                  </a:lnTo>
                  <a:lnTo>
                    <a:pt x="81" y="625"/>
                  </a:lnTo>
                  <a:lnTo>
                    <a:pt x="77" y="622"/>
                  </a:lnTo>
                  <a:lnTo>
                    <a:pt x="73" y="618"/>
                  </a:lnTo>
                  <a:lnTo>
                    <a:pt x="71" y="617"/>
                  </a:lnTo>
                  <a:lnTo>
                    <a:pt x="70" y="612"/>
                  </a:lnTo>
                  <a:lnTo>
                    <a:pt x="67" y="608"/>
                  </a:lnTo>
                  <a:lnTo>
                    <a:pt x="66" y="606"/>
                  </a:lnTo>
                  <a:lnTo>
                    <a:pt x="66" y="602"/>
                  </a:lnTo>
                  <a:lnTo>
                    <a:pt x="64" y="597"/>
                  </a:lnTo>
                  <a:lnTo>
                    <a:pt x="65" y="107"/>
                  </a:lnTo>
                  <a:lnTo>
                    <a:pt x="49" y="107"/>
                  </a:lnTo>
                  <a:lnTo>
                    <a:pt x="49" y="285"/>
                  </a:lnTo>
                  <a:lnTo>
                    <a:pt x="48" y="289"/>
                  </a:lnTo>
                  <a:lnTo>
                    <a:pt x="48" y="291"/>
                  </a:lnTo>
                  <a:lnTo>
                    <a:pt x="47" y="295"/>
                  </a:lnTo>
                  <a:lnTo>
                    <a:pt x="44" y="298"/>
                  </a:lnTo>
                  <a:lnTo>
                    <a:pt x="43" y="299"/>
                  </a:lnTo>
                  <a:lnTo>
                    <a:pt x="42" y="300"/>
                  </a:lnTo>
                  <a:lnTo>
                    <a:pt x="39" y="303"/>
                  </a:lnTo>
                  <a:lnTo>
                    <a:pt x="38" y="305"/>
                  </a:lnTo>
                  <a:lnTo>
                    <a:pt x="36" y="306"/>
                  </a:lnTo>
                  <a:lnTo>
                    <a:pt x="33" y="307"/>
                  </a:lnTo>
                  <a:lnTo>
                    <a:pt x="32" y="308"/>
                  </a:lnTo>
                  <a:lnTo>
                    <a:pt x="30" y="308"/>
                  </a:lnTo>
                  <a:lnTo>
                    <a:pt x="27" y="308"/>
                  </a:lnTo>
                  <a:lnTo>
                    <a:pt x="26" y="308"/>
                  </a:lnTo>
                  <a:lnTo>
                    <a:pt x="21" y="308"/>
                  </a:lnTo>
                  <a:lnTo>
                    <a:pt x="19" y="308"/>
                  </a:lnTo>
                  <a:lnTo>
                    <a:pt x="17" y="308"/>
                  </a:lnTo>
                  <a:lnTo>
                    <a:pt x="14" y="307"/>
                  </a:lnTo>
                  <a:lnTo>
                    <a:pt x="13" y="306"/>
                  </a:lnTo>
                  <a:lnTo>
                    <a:pt x="11" y="305"/>
                  </a:lnTo>
                  <a:lnTo>
                    <a:pt x="8" y="304"/>
                  </a:lnTo>
                  <a:lnTo>
                    <a:pt x="8" y="302"/>
                  </a:lnTo>
                  <a:lnTo>
                    <a:pt x="6" y="299"/>
                  </a:lnTo>
                  <a:lnTo>
                    <a:pt x="4" y="298"/>
                  </a:lnTo>
                  <a:lnTo>
                    <a:pt x="3" y="295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0" y="286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2" y="38"/>
                  </a:lnTo>
                  <a:lnTo>
                    <a:pt x="6" y="32"/>
                  </a:lnTo>
                  <a:lnTo>
                    <a:pt x="8" y="28"/>
                  </a:lnTo>
                  <a:lnTo>
                    <a:pt x="13" y="23"/>
                  </a:lnTo>
                  <a:lnTo>
                    <a:pt x="16" y="20"/>
                  </a:lnTo>
                  <a:lnTo>
                    <a:pt x="22" y="14"/>
                  </a:lnTo>
                  <a:lnTo>
                    <a:pt x="28" y="11"/>
                  </a:lnTo>
                  <a:lnTo>
                    <a:pt x="32" y="8"/>
                  </a:lnTo>
                  <a:lnTo>
                    <a:pt x="38" y="6"/>
                  </a:lnTo>
                  <a:lnTo>
                    <a:pt x="48" y="3"/>
                  </a:lnTo>
                  <a:lnTo>
                    <a:pt x="52" y="2"/>
                  </a:lnTo>
                  <a:lnTo>
                    <a:pt x="60" y="1"/>
                  </a:lnTo>
                  <a:lnTo>
                    <a:pt x="66" y="0"/>
                  </a:lnTo>
                </a:path>
              </a:pathLst>
            </a:custGeom>
            <a:solidFill>
              <a:srgbClr val="1F497D"/>
            </a:solidFill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pt-PT" sz="10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4" name="Oval 18"/>
            <p:cNvSpPr>
              <a:spLocks noChangeArrowheads="1"/>
            </p:cNvSpPr>
            <p:nvPr/>
          </p:nvSpPr>
          <p:spPr bwMode="auto">
            <a:xfrm>
              <a:off x="2502102" y="3147157"/>
              <a:ext cx="284929" cy="306018"/>
            </a:xfrm>
            <a:prstGeom prst="ellipse">
              <a:avLst/>
            </a:prstGeom>
            <a:solidFill>
              <a:srgbClr val="1F497D"/>
            </a:solidFill>
            <a:ln w="12700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pt-PT" sz="1000" b="1" kern="0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cxnSp>
        <p:nvCxnSpPr>
          <p:cNvPr id="92" name="Straight Arrow Connector 91"/>
          <p:cNvCxnSpPr/>
          <p:nvPr/>
        </p:nvCxnSpPr>
        <p:spPr bwMode="auto">
          <a:xfrm flipH="1">
            <a:off x="4935497" y="2455027"/>
            <a:ext cx="5379" cy="32611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 Box 2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994623" y="3324686"/>
            <a:ext cx="1662059" cy="35614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4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4" name="Text Box 2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990395" y="3791649"/>
            <a:ext cx="1662059" cy="356149"/>
          </a:xfrm>
          <a:prstGeom prst="rect">
            <a:avLst/>
          </a:prstGeom>
          <a:solidFill>
            <a:srgbClr val="548DD4"/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5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5" name="Text Box 29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994623" y="4259915"/>
            <a:ext cx="1662059" cy="35614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6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6" name="Text Box 2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991182" y="4751862"/>
            <a:ext cx="1662059" cy="356149"/>
          </a:xfrm>
          <a:prstGeom prst="rect">
            <a:avLst/>
          </a:prstGeom>
          <a:solidFill>
            <a:srgbClr val="548DD4"/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7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7" name="Text Box 29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693609" y="5225210"/>
            <a:ext cx="1662059" cy="350836"/>
          </a:xfrm>
          <a:prstGeom prst="rect">
            <a:avLst/>
          </a:prstGeom>
          <a:solidFill>
            <a:srgbClr val="548DD4"/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8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8" name="Text Box 2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506290" y="5225210"/>
            <a:ext cx="1662059" cy="350836"/>
          </a:xfrm>
          <a:prstGeom prst="rect">
            <a:avLst/>
          </a:prstGeom>
          <a:solidFill>
            <a:srgbClr val="548DD4"/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10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9" name="Text Box 29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288703" y="2863341"/>
            <a:ext cx="1662059" cy="350836"/>
          </a:xfrm>
          <a:prstGeom prst="rect">
            <a:avLst/>
          </a:prstGeom>
          <a:solidFill>
            <a:srgbClr val="548DD4"/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15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00" name="Text Box 2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288703" y="3329999"/>
            <a:ext cx="1662059" cy="350836"/>
          </a:xfrm>
          <a:prstGeom prst="rect">
            <a:avLst/>
          </a:prstGeom>
          <a:solidFill>
            <a:srgbClr val="548DD4"/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" rIns="1800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  <a:defRPr/>
            </a:pPr>
            <a:r>
              <a:rPr lang="pt-PT" sz="1050" dirty="0">
                <a:solidFill>
                  <a:schemeClr val="bg1"/>
                </a:solidFill>
                <a:latin typeface="Arial Narrow" pitchFamily="34" charset="0"/>
              </a:rPr>
              <a:t>Name of </a:t>
            </a:r>
            <a:r>
              <a:rPr lang="pt-PT" sz="1050" dirty="0" smtClean="0">
                <a:solidFill>
                  <a:schemeClr val="bg1"/>
                </a:solidFill>
                <a:latin typeface="Arial Narrow" pitchFamily="34" charset="0"/>
              </a:rPr>
              <a:t>CNA14</a:t>
            </a:r>
            <a:endParaRPr lang="pt-PT" sz="1050" dirty="0">
              <a:solidFill>
                <a:schemeClr val="bg1"/>
              </a:solidFill>
              <a:latin typeface="Arial Narrow" pitchFamily="34" charset="0"/>
            </a:endParaRPr>
          </a:p>
        </p:txBody>
      </p:sp>
      <p:cxnSp>
        <p:nvCxnSpPr>
          <p:cNvPr id="101" name="Straight Arrow Connector 100"/>
          <p:cNvCxnSpPr/>
          <p:nvPr/>
        </p:nvCxnSpPr>
        <p:spPr bwMode="auto">
          <a:xfrm rot="5400000" flipH="1">
            <a:off x="4813526" y="4983196"/>
            <a:ext cx="27311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/>
          <p:nvPr/>
        </p:nvCxnSpPr>
        <p:spPr bwMode="auto">
          <a:xfrm flipH="1" flipV="1">
            <a:off x="5242565" y="4856516"/>
            <a:ext cx="378506" cy="249084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" name="Picture 111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696" y="2410843"/>
            <a:ext cx="753839" cy="360797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719" y="2410843"/>
            <a:ext cx="303896" cy="369619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4127" y="5287513"/>
            <a:ext cx="753839" cy="360797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150" y="5287513"/>
            <a:ext cx="303896" cy="369619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0" t="48928" r="85210" b="39639"/>
          <a:stretch/>
        </p:blipFill>
        <p:spPr bwMode="auto">
          <a:xfrm>
            <a:off x="1466695" y="2420227"/>
            <a:ext cx="334376" cy="3420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1" name="Picture 120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0" t="48928" r="85210" b="39639"/>
          <a:stretch/>
        </p:blipFill>
        <p:spPr bwMode="auto">
          <a:xfrm>
            <a:off x="973505" y="3343365"/>
            <a:ext cx="334376" cy="3420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2" name="Picture 121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0" t="48928" r="85210" b="39639"/>
          <a:stretch/>
        </p:blipFill>
        <p:spPr bwMode="auto">
          <a:xfrm>
            <a:off x="8314219" y="5287513"/>
            <a:ext cx="334376" cy="3420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3830" y="2888189"/>
            <a:ext cx="303896" cy="369619"/>
          </a:xfrm>
          <a:prstGeom prst="rect">
            <a:avLst/>
          </a:prstGeom>
        </p:spPr>
      </p:pic>
      <p:pic>
        <p:nvPicPr>
          <p:cNvPr id="125" name="Picture 12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409" y="4262423"/>
            <a:ext cx="303896" cy="369619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91" t="49725" r="22049" b="39633"/>
          <a:stretch/>
        </p:blipFill>
        <p:spPr bwMode="auto">
          <a:xfrm>
            <a:off x="1310431" y="2909082"/>
            <a:ext cx="810050" cy="30824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1" name="Picture 130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0" t="48928" r="85210" b="39639"/>
          <a:stretch/>
        </p:blipFill>
        <p:spPr bwMode="auto">
          <a:xfrm>
            <a:off x="1909660" y="4802460"/>
            <a:ext cx="334376" cy="34202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4" name="Picture 133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785" y="5227548"/>
            <a:ext cx="303896" cy="369619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50788" r="51308" b="40087"/>
          <a:stretch/>
        </p:blipFill>
        <p:spPr bwMode="auto">
          <a:xfrm>
            <a:off x="426635" y="2898426"/>
            <a:ext cx="906909" cy="31056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5" name="Picture 104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50788" r="51308" b="40087"/>
          <a:stretch/>
        </p:blipFill>
        <p:spPr bwMode="auto">
          <a:xfrm>
            <a:off x="8159734" y="2848734"/>
            <a:ext cx="1088832" cy="3728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6" name="Picture 105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50788" r="51308" b="40087"/>
          <a:stretch/>
        </p:blipFill>
        <p:spPr bwMode="auto">
          <a:xfrm>
            <a:off x="7847316" y="3834157"/>
            <a:ext cx="1088832" cy="3728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4" name="Picture 113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50788" r="51308" b="40087"/>
          <a:stretch/>
        </p:blipFill>
        <p:spPr bwMode="auto">
          <a:xfrm>
            <a:off x="7765804" y="4808885"/>
            <a:ext cx="1088832" cy="3728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931" y="3369231"/>
            <a:ext cx="639338" cy="290295"/>
          </a:xfrm>
          <a:prstGeom prst="rect">
            <a:avLst/>
          </a:prstGeom>
        </p:spPr>
      </p:pic>
      <p:sp>
        <p:nvSpPr>
          <p:cNvPr id="119" name="Rounded Rectangular Callout 118"/>
          <p:cNvSpPr/>
          <p:nvPr/>
        </p:nvSpPr>
        <p:spPr>
          <a:xfrm>
            <a:off x="2634282" y="575235"/>
            <a:ext cx="1289068" cy="773851"/>
          </a:xfrm>
          <a:prstGeom prst="wedgeRoundRectCallout">
            <a:avLst>
              <a:gd name="adj1" fmla="val 101468"/>
              <a:gd name="adj2" fmla="val -34180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&lt;25% = few</a:t>
            </a:r>
          </a:p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25-50% = some</a:t>
            </a:r>
          </a:p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50-75% = many</a:t>
            </a:r>
          </a:p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&gt;75% = most</a:t>
            </a:r>
          </a:p>
        </p:txBody>
      </p:sp>
      <p:pic>
        <p:nvPicPr>
          <p:cNvPr id="124" name="Picture 123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50788" r="51308" b="40087"/>
          <a:stretch/>
        </p:blipFill>
        <p:spPr bwMode="auto">
          <a:xfrm>
            <a:off x="1347216" y="3361393"/>
            <a:ext cx="906909" cy="31056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6" name="Picture 125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50788" r="51308" b="40087"/>
          <a:stretch/>
        </p:blipFill>
        <p:spPr bwMode="auto">
          <a:xfrm>
            <a:off x="944335" y="4293242"/>
            <a:ext cx="906909" cy="31056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91" t="49725" r="22049" b="39633"/>
          <a:stretch/>
        </p:blipFill>
        <p:spPr bwMode="auto">
          <a:xfrm>
            <a:off x="1003750" y="4810426"/>
            <a:ext cx="810050" cy="30824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40" name="Rounded Rectangular Callout 139"/>
          <p:cNvSpPr/>
          <p:nvPr/>
        </p:nvSpPr>
        <p:spPr>
          <a:xfrm>
            <a:off x="7707329" y="1650436"/>
            <a:ext cx="1648810" cy="951173"/>
          </a:xfrm>
          <a:prstGeom prst="wedgeRoundRectCallout">
            <a:avLst>
              <a:gd name="adj1" fmla="val -62936"/>
              <a:gd name="adj2" fmla="val 5059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Please make the boxes grey when there is no UN support associated to that Core Nutrition Action, and blue when there is.</a:t>
            </a:r>
          </a:p>
        </p:txBody>
      </p:sp>
      <p:sp>
        <p:nvSpPr>
          <p:cNvPr id="109" name="Rounded Rectangular Callout 108"/>
          <p:cNvSpPr/>
          <p:nvPr/>
        </p:nvSpPr>
        <p:spPr>
          <a:xfrm>
            <a:off x="6154678" y="4035242"/>
            <a:ext cx="1648810" cy="951173"/>
          </a:xfrm>
          <a:prstGeom prst="wedgeRoundRectCallout">
            <a:avLst>
              <a:gd name="adj1" fmla="val 82234"/>
              <a:gd name="adj2" fmla="val -4553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Place the logos of                       UN Agencies next to the core nutrition actions they are supporting in this geographic area</a:t>
            </a:r>
          </a:p>
        </p:txBody>
      </p:sp>
      <p:sp>
        <p:nvSpPr>
          <p:cNvPr id="142" name="Rectangle 141"/>
          <p:cNvSpPr/>
          <p:nvPr/>
        </p:nvSpPr>
        <p:spPr>
          <a:xfrm>
            <a:off x="1763485" y="6050468"/>
            <a:ext cx="47016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In addition, governance and implementation actions (CNA 4 and CNA 16), supported by the following agencies at national level, may also impact on Name of Region/State/Province: </a:t>
            </a:r>
            <a:endParaRPr lang="en-GB" sz="1200" dirty="0"/>
          </a:p>
        </p:txBody>
      </p:sp>
      <p:pic>
        <p:nvPicPr>
          <p:cNvPr id="143" name="Picture 142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491" t="49725" r="22049" b="39633"/>
          <a:stretch/>
        </p:blipFill>
        <p:spPr bwMode="auto">
          <a:xfrm>
            <a:off x="6450698" y="6202092"/>
            <a:ext cx="1352789" cy="45538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0253" y="6272936"/>
            <a:ext cx="766188" cy="347891"/>
          </a:xfrm>
          <a:prstGeom prst="rect">
            <a:avLst/>
          </a:prstGeom>
        </p:spPr>
      </p:pic>
      <p:sp>
        <p:nvSpPr>
          <p:cNvPr id="145" name="Rounded Rectangular Callout 144"/>
          <p:cNvSpPr/>
          <p:nvPr/>
        </p:nvSpPr>
        <p:spPr>
          <a:xfrm>
            <a:off x="-70768" y="5325286"/>
            <a:ext cx="1901713" cy="1317593"/>
          </a:xfrm>
          <a:prstGeom prst="wedgeRoundRectCallout">
            <a:avLst>
              <a:gd name="adj1" fmla="val 65083"/>
              <a:gd name="adj2" fmla="val -2577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ome agencies may provide support to CNAs at the national level. Please specify the names of the core nutrition actions they are supporting &amp; add their logo(s)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cs typeface="Arial" pitchFamily="34" charset="0"/>
              </a:rPr>
              <a:t>The UN agencies surveyed are supporting most/many/some/few of the core nutrition actions in Name of province/state/region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7046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420888"/>
            <a:ext cx="9906000" cy="797311"/>
          </a:xfrm>
          <a:prstGeom prst="rect">
            <a:avLst/>
          </a:prstGeom>
          <a:solidFill>
            <a:srgbClr val="548DD4"/>
          </a:solidFill>
          <a:ln w="25400">
            <a:solidFill>
              <a:srgbClr val="548DD4"/>
            </a:solidFill>
          </a:ln>
        </p:spPr>
        <p:txBody>
          <a:bodyPr wrap="square" lIns="274320" tIns="90000" bIns="90000" rtlCol="0" anchor="t">
            <a:spAutoFit/>
          </a:bodyPr>
          <a:lstStyle/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4000" b="1" dirty="0" smtClean="0">
                <a:solidFill>
                  <a:srgbClr val="FFFFFF"/>
                </a:solidFill>
              </a:rPr>
              <a:t>Sectoral Nutrition Actions </a:t>
            </a:r>
          </a:p>
        </p:txBody>
      </p:sp>
      <p:sp>
        <p:nvSpPr>
          <p:cNvPr id="3" name="Rectangle 2"/>
          <p:cNvSpPr/>
          <p:nvPr/>
        </p:nvSpPr>
        <p:spPr>
          <a:xfrm>
            <a:off x="3694213" y="3287886"/>
            <a:ext cx="257474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3200" b="1" i="1" smtClean="0">
                <a:solidFill>
                  <a:srgbClr val="548DD4"/>
                </a:solidFill>
              </a:rPr>
              <a:t>Investments</a:t>
            </a:r>
            <a:endParaRPr lang="en-US" sz="3200" b="1" i="1" dirty="0">
              <a:solidFill>
                <a:srgbClr val="548DD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705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>
            <a:off x="292963" y="6661718"/>
            <a:ext cx="658087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</a:t>
            </a:r>
            <a:r>
              <a:rPr lang="en-US" sz="800" dirty="0" smtClean="0">
                <a:solidFill>
                  <a:srgbClr val="000000"/>
                </a:solidFill>
              </a:rPr>
              <a:t>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6062295"/>
              </p:ext>
            </p:extLst>
          </p:nvPr>
        </p:nvGraphicFramePr>
        <p:xfrm>
          <a:off x="3496283" y="1844824"/>
          <a:ext cx="3688964" cy="4397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22241"/>
                <a:gridCol w="922241"/>
                <a:gridCol w="922241"/>
                <a:gridCol w="922241"/>
              </a:tblGrid>
              <a:tr h="216024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Sectoral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</a:rPr>
                        <a:t> A</a:t>
                      </a:r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ctions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</a:tr>
              <a:tr h="2933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 smtClean="0">
                          <a:solidFill>
                            <a:prstClr val="black"/>
                          </a:solidFill>
                        </a:rPr>
                        <a:t>Sma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lt;5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Medium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50-20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200-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Very 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gt;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IFA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FAO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FAO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FA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FAO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IFAD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FAO, IFAD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 smtClean="0"/>
                        <a:t>WFP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UNICEF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460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FA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4" name="ZoneTexte 6"/>
          <p:cNvSpPr txBox="1"/>
          <p:nvPr/>
        </p:nvSpPr>
        <p:spPr>
          <a:xfrm>
            <a:off x="1867204" y="2499380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mprovement of                            </a:t>
            </a:r>
          </a:p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local recipes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ZoneTexte 8"/>
          <p:cNvSpPr txBox="1"/>
          <p:nvPr/>
        </p:nvSpPr>
        <p:spPr>
          <a:xfrm>
            <a:off x="1408103" y="2853957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ublic guidance &amp; consumer </a:t>
            </a:r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wareness</a:t>
            </a:r>
            <a:r>
              <a:rPr lang="fr-FR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/ protection</a:t>
            </a:r>
            <a:endParaRPr lang="fr-FR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ZoneTexte 6"/>
          <p:cNvSpPr txBox="1"/>
          <p:nvPr/>
        </p:nvSpPr>
        <p:spPr>
          <a:xfrm>
            <a:off x="1867204" y="3213997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mplementary                  feeding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185247" y="2526784"/>
            <a:ext cx="484607" cy="1174181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sumption</a:t>
            </a:r>
          </a:p>
        </p:txBody>
      </p:sp>
      <p:sp>
        <p:nvSpPr>
          <p:cNvPr id="35" name="ZoneTexte 6"/>
          <p:cNvSpPr txBox="1"/>
          <p:nvPr/>
        </p:nvSpPr>
        <p:spPr>
          <a:xfrm>
            <a:off x="1719369" y="3636753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imal husbandry, fisheries &amp; insect farming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1408103" y="4006085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imal                                            services</a:t>
            </a:r>
            <a:endParaRPr lang="fr-FR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1867204" y="4799331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Biofortification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ZoneTexte 6"/>
          <p:cNvSpPr txBox="1"/>
          <p:nvPr/>
        </p:nvSpPr>
        <p:spPr>
          <a:xfrm>
            <a:off x="1719369" y="4439291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versification &amp; locally adapted varieties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ZoneTexte 6"/>
          <p:cNvSpPr txBox="1"/>
          <p:nvPr/>
        </p:nvSpPr>
        <p:spPr>
          <a:xfrm>
            <a:off x="1867204" y="5086205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ood processing                     (excl. fortification)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ZoneTexte 8"/>
          <p:cNvSpPr txBox="1"/>
          <p:nvPr/>
        </p:nvSpPr>
        <p:spPr>
          <a:xfrm>
            <a:off x="1408103" y="5446245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ortification                                           (incl. salt iodization)</a:t>
            </a:r>
            <a:endParaRPr lang="fr-FR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5" name="ZoneTexte 6"/>
          <p:cNvSpPr txBox="1"/>
          <p:nvPr/>
        </p:nvSpPr>
        <p:spPr>
          <a:xfrm>
            <a:off x="1867204" y="5950301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ood Storage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7185247" y="3622596"/>
            <a:ext cx="484607" cy="760387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vestock                   &amp;                   Fisherie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7185247" y="4397146"/>
            <a:ext cx="484607" cy="732645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orticulture/ Crops</a:t>
            </a:r>
          </a:p>
        </p:txBody>
      </p:sp>
      <p:sp>
        <p:nvSpPr>
          <p:cNvPr id="51" name="Rectangle 50"/>
          <p:cNvSpPr/>
          <p:nvPr/>
        </p:nvSpPr>
        <p:spPr>
          <a:xfrm>
            <a:off x="7185247" y="5131432"/>
            <a:ext cx="484607" cy="1134665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od Processing, Fortification &amp; Storage</a:t>
            </a:r>
          </a:p>
        </p:txBody>
      </p:sp>
      <p:sp>
        <p:nvSpPr>
          <p:cNvPr id="52" name="ColumnHeader"/>
          <p:cNvSpPr>
            <a:spLocks noChangeArrowheads="1"/>
          </p:cNvSpPr>
          <p:nvPr/>
        </p:nvSpPr>
        <p:spPr bwMode="gray">
          <a:xfrm>
            <a:off x="2864768" y="1331476"/>
            <a:ext cx="4824536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F5F5F"/>
            </a:outerShdw>
          </a:effectLst>
        </p:spPr>
        <p:txBody>
          <a:bodyPr wrap="square" tIns="0" bIns="0" anchor="b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st investments were reported for improvement of local recipes and food processing</a:t>
            </a:r>
            <a:endParaRPr lang="pt-PT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8041432" y="1340768"/>
            <a:ext cx="1546340" cy="1158612"/>
          </a:xfrm>
          <a:prstGeom prst="wedgeRoundRectCallout">
            <a:avLst>
              <a:gd name="adj1" fmla="val -120606"/>
              <a:gd name="adj2" fmla="val -3015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flag which actions are receiving the highest numbers of investments. If there are more than 2, write “were reported for five actions”</a:t>
            </a:r>
          </a:p>
        </p:txBody>
      </p:sp>
      <p:sp>
        <p:nvSpPr>
          <p:cNvPr id="27" name="Line 58"/>
          <p:cNvSpPr>
            <a:spLocks noChangeShapeType="1"/>
          </p:cNvSpPr>
          <p:nvPr/>
        </p:nvSpPr>
        <p:spPr bwMode="auto">
          <a:xfrm>
            <a:off x="1640632" y="3665198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28" name="Line 58"/>
          <p:cNvSpPr>
            <a:spLocks noChangeShapeType="1"/>
          </p:cNvSpPr>
          <p:nvPr/>
        </p:nvSpPr>
        <p:spPr bwMode="auto">
          <a:xfrm>
            <a:off x="1640632" y="4386202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29" name="Rounded Rectangular Callout 28"/>
          <p:cNvSpPr/>
          <p:nvPr/>
        </p:nvSpPr>
        <p:spPr>
          <a:xfrm>
            <a:off x="8301070" y="2976555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hade the cell where a large or very investment is reported in this green colour &amp; use white for text</a:t>
            </a:r>
          </a:p>
        </p:txBody>
      </p:sp>
      <p:sp>
        <p:nvSpPr>
          <p:cNvPr id="30" name="Line 58"/>
          <p:cNvSpPr>
            <a:spLocks noChangeShapeType="1"/>
          </p:cNvSpPr>
          <p:nvPr/>
        </p:nvSpPr>
        <p:spPr bwMode="auto">
          <a:xfrm>
            <a:off x="1640632" y="5134713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31" name="Rounded Rectangular Callout 30"/>
          <p:cNvSpPr/>
          <p:nvPr/>
        </p:nvSpPr>
        <p:spPr>
          <a:xfrm>
            <a:off x="292962" y="1109704"/>
            <a:ext cx="2330871" cy="452887"/>
          </a:xfrm>
          <a:prstGeom prst="wedgeRoundRectCallout">
            <a:avLst>
              <a:gd name="adj1" fmla="val 21649"/>
              <a:gd name="adj2" fmla="val -9037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.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338735" y="6264014"/>
            <a:ext cx="2316660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Reported in thousands of US dollars</a:t>
            </a:r>
          </a:p>
        </p:txBody>
      </p:sp>
      <p:sp>
        <p:nvSpPr>
          <p:cNvPr id="33" name="Rounded Rectangular Callout 32"/>
          <p:cNvSpPr/>
          <p:nvPr/>
        </p:nvSpPr>
        <p:spPr>
          <a:xfrm>
            <a:off x="8218209" y="4956997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Where no investments are being made for an action, please shade the cells in light orang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>
                <a:solidFill>
                  <a:srgbClr val="000000"/>
                </a:solidFill>
                <a:cs typeface="Arial" pitchFamily="34" charset="0"/>
              </a:rPr>
              <a:t>Most investments </a:t>
            </a:r>
            <a:r>
              <a:rPr lang="en-GB" sz="1800" dirty="0">
                <a:cs typeface="Arial" pitchFamily="34" charset="0"/>
              </a:rPr>
              <a:t>in </a:t>
            </a:r>
            <a:r>
              <a:rPr lang="en-GB" sz="1800" i="1" dirty="0">
                <a:cs typeface="Arial" pitchFamily="34" charset="0"/>
              </a:rPr>
              <a:t>Food, Agriculture and/or Diet</a:t>
            </a:r>
            <a:r>
              <a:rPr lang="en-GB" sz="1800" dirty="0">
                <a:cs typeface="Arial" pitchFamily="34" charset="0"/>
              </a:rPr>
              <a:t>-related </a:t>
            </a:r>
            <a:r>
              <a:rPr lang="en-GB" sz="1800" dirty="0">
                <a:solidFill>
                  <a:srgbClr val="000000"/>
                </a:solidFill>
                <a:cs typeface="Arial" pitchFamily="34" charset="0"/>
              </a:rPr>
              <a:t>nutrition actions are made by 4 agencies and tend to be characterized as small and </a:t>
            </a:r>
            <a:r>
              <a:rPr lang="en-GB" sz="1800" dirty="0" smtClean="0">
                <a:solidFill>
                  <a:srgbClr val="000000"/>
                </a:solidFill>
                <a:cs typeface="Arial" pitchFamily="34" charset="0"/>
              </a:rPr>
              <a:t>medium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498053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Investments in </a:t>
            </a:r>
            <a:r>
              <a:rPr lang="en-GB" b="1" i="1" dirty="0" smtClean="0">
                <a:solidFill>
                  <a:srgbClr val="000000"/>
                </a:solidFill>
                <a:cs typeface="Arial" pitchFamily="34" charset="0"/>
              </a:rPr>
              <a:t>Maternal &amp; Child Care</a:t>
            </a:r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-related nutrition actions are made by five agencies, and vary in size</a:t>
            </a:r>
            <a:endParaRPr lang="en-GB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5552" y="6423719"/>
            <a:ext cx="65808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</a:rPr>
              <a:t>BF = breastfeeding</a:t>
            </a:r>
          </a:p>
          <a:p>
            <a:r>
              <a:rPr lang="en-US" sz="800" dirty="0" smtClean="0">
                <a:solidFill>
                  <a:srgbClr val="000000"/>
                </a:solidFill>
              </a:rPr>
              <a:t>PLW = pregnant and lactating women</a:t>
            </a:r>
          </a:p>
          <a:p>
            <a:r>
              <a:rPr lang="en-US" sz="800" dirty="0" smtClean="0">
                <a:solidFill>
                  <a:srgbClr val="000000"/>
                </a:solidFill>
              </a:rPr>
              <a:t>Source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4" name="ZoneTexte 6"/>
          <p:cNvSpPr txBox="1"/>
          <p:nvPr/>
        </p:nvSpPr>
        <p:spPr>
          <a:xfrm>
            <a:off x="1345763" y="2300972"/>
            <a:ext cx="2004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Promotion, protection &amp; support of optimal BF practices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5" name="ZoneTexte 8"/>
          <p:cNvSpPr txBox="1"/>
          <p:nvPr/>
        </p:nvSpPr>
        <p:spPr>
          <a:xfrm>
            <a:off x="1329773" y="2718265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mprovement of                 complementary feeding</a:t>
            </a:r>
            <a:endParaRPr lang="fr-FR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6" name="ZoneTexte 6"/>
          <p:cNvSpPr txBox="1"/>
          <p:nvPr/>
        </p:nvSpPr>
        <p:spPr>
          <a:xfrm>
            <a:off x="1788874" y="3165068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and-washing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073490" y="2343602"/>
            <a:ext cx="484607" cy="803094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IYCF</a:t>
            </a:r>
          </a:p>
        </p:txBody>
      </p:sp>
      <p:sp>
        <p:nvSpPr>
          <p:cNvPr id="35" name="ZoneTexte 6"/>
          <p:cNvSpPr txBox="1"/>
          <p:nvPr/>
        </p:nvSpPr>
        <p:spPr>
          <a:xfrm>
            <a:off x="1641039" y="3453100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ousehold water treatment &amp; storage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1329773" y="3813140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ood                                                hygiene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1788874" y="4656082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 Care to PLW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1" name="ZoneTexte 6"/>
          <p:cNvSpPr txBox="1"/>
          <p:nvPr/>
        </p:nvSpPr>
        <p:spPr>
          <a:xfrm>
            <a:off x="1641039" y="4245188"/>
            <a:ext cx="17087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anitation management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3" name="ZoneTexte 6"/>
          <p:cNvSpPr txBox="1"/>
          <p:nvPr/>
        </p:nvSpPr>
        <p:spPr>
          <a:xfrm>
            <a:off x="1788874" y="4965268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Childcare support/ caregiver workload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4" name="ZoneTexte 8"/>
          <p:cNvSpPr txBox="1"/>
          <p:nvPr/>
        </p:nvSpPr>
        <p:spPr>
          <a:xfrm>
            <a:off x="1329773" y="5397316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ealth-seeking                           behaviour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5" name="ZoneTexte 6"/>
          <p:cNvSpPr txBox="1"/>
          <p:nvPr/>
        </p:nvSpPr>
        <p:spPr>
          <a:xfrm>
            <a:off x="1788874" y="5754786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nsecticide-treated bednets (anti-malaria)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7073490" y="3146695"/>
            <a:ext cx="484607" cy="1482579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Hygiene</a:t>
            </a:r>
          </a:p>
        </p:txBody>
      </p:sp>
      <p:sp>
        <p:nvSpPr>
          <p:cNvPr id="50" name="Rectangle 49"/>
          <p:cNvSpPr/>
          <p:nvPr/>
        </p:nvSpPr>
        <p:spPr>
          <a:xfrm>
            <a:off x="7073490" y="4629274"/>
            <a:ext cx="484607" cy="745064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Care for Children &amp; PLW</a:t>
            </a:r>
          </a:p>
        </p:txBody>
      </p:sp>
      <p:sp>
        <p:nvSpPr>
          <p:cNvPr id="51" name="Rectangle 50"/>
          <p:cNvSpPr/>
          <p:nvPr/>
        </p:nvSpPr>
        <p:spPr>
          <a:xfrm>
            <a:off x="7073490" y="5374338"/>
            <a:ext cx="484607" cy="1112390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GB" sz="900" b="1" dirty="0" smtClean="0">
                <a:solidFill>
                  <a:srgbClr val="000000"/>
                </a:solidFill>
                <a:cs typeface="Arial" pitchFamily="34" charset="0"/>
              </a:rPr>
              <a:t>Health                   Behaviours</a:t>
            </a:r>
          </a:p>
        </p:txBody>
      </p:sp>
      <p:sp>
        <p:nvSpPr>
          <p:cNvPr id="52" name="ColumnHeader"/>
          <p:cNvSpPr>
            <a:spLocks noChangeArrowheads="1"/>
          </p:cNvSpPr>
          <p:nvPr/>
        </p:nvSpPr>
        <p:spPr bwMode="gray">
          <a:xfrm>
            <a:off x="2432720" y="1124744"/>
            <a:ext cx="54006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F5F5F"/>
            </a:outerShdw>
          </a:effectLst>
        </p:spPr>
        <p:txBody>
          <a:bodyPr wrap="square" tIns="0" bIns="0" anchor="b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0000"/>
                </a:solidFill>
                <a:cs typeface="Arial" pitchFamily="34" charset="0"/>
              </a:rPr>
              <a:t>Most investments were reported for Promotion, protection &amp; support of breastfeeding practices and Health seeking behaviours</a:t>
            </a:r>
            <a:endParaRPr lang="pt-PT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3" name="ZoneTexte 8"/>
          <p:cNvSpPr txBox="1"/>
          <p:nvPr/>
        </p:nvSpPr>
        <p:spPr>
          <a:xfrm>
            <a:off x="1329773" y="6117396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amily planning                           behaviour                                               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5929283"/>
              </p:ext>
            </p:extLst>
          </p:nvPr>
        </p:nvGraphicFramePr>
        <p:xfrm>
          <a:off x="3372643" y="1662201"/>
          <a:ext cx="3688964" cy="4828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22241"/>
                <a:gridCol w="922241"/>
                <a:gridCol w="922241"/>
                <a:gridCol w="922241"/>
              </a:tblGrid>
              <a:tr h="216024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Sectoral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</a:rPr>
                        <a:t> A</a:t>
                      </a:r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ctions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</a:tr>
              <a:tr h="2933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 smtClean="0">
                          <a:solidFill>
                            <a:prstClr val="black"/>
                          </a:solidFill>
                        </a:rPr>
                        <a:t>Sma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lt;5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Medium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50-20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200-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Very 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gt;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UNICEF, WFP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WFP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UNICEF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WFP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WFP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UNICEF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UNICEF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UNICEF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UNFPA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IFAD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UNICEF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460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UNICEF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460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UNFPA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</a:tbl>
          </a:graphicData>
        </a:graphic>
      </p:graphicFrame>
      <p:sp>
        <p:nvSpPr>
          <p:cNvPr id="29" name="Line 58"/>
          <p:cNvSpPr>
            <a:spLocks noChangeShapeType="1"/>
          </p:cNvSpPr>
          <p:nvPr/>
        </p:nvSpPr>
        <p:spPr bwMode="auto">
          <a:xfrm>
            <a:off x="1403506" y="5374338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28" name="Line 58"/>
          <p:cNvSpPr>
            <a:spLocks noChangeShapeType="1"/>
          </p:cNvSpPr>
          <p:nvPr/>
        </p:nvSpPr>
        <p:spPr bwMode="auto">
          <a:xfrm>
            <a:off x="1403506" y="4629274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6" name="TextBox 5"/>
          <p:cNvSpPr txBox="1"/>
          <p:nvPr/>
        </p:nvSpPr>
        <p:spPr>
          <a:xfrm>
            <a:off x="3296339" y="6486728"/>
            <a:ext cx="2316660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Reported in thousands of US dollars</a:t>
            </a:r>
          </a:p>
        </p:txBody>
      </p:sp>
      <p:sp>
        <p:nvSpPr>
          <p:cNvPr id="27" name="Line 58"/>
          <p:cNvSpPr>
            <a:spLocks noChangeShapeType="1"/>
          </p:cNvSpPr>
          <p:nvPr/>
        </p:nvSpPr>
        <p:spPr bwMode="auto">
          <a:xfrm>
            <a:off x="1403506" y="3121047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31" name="Rounded Rectangular Callout 30"/>
          <p:cNvSpPr/>
          <p:nvPr/>
        </p:nvSpPr>
        <p:spPr>
          <a:xfrm>
            <a:off x="8041432" y="1340768"/>
            <a:ext cx="1546340" cy="1158612"/>
          </a:xfrm>
          <a:prstGeom prst="wedgeRoundRectCallout">
            <a:avLst>
              <a:gd name="adj1" fmla="val -120606"/>
              <a:gd name="adj2" fmla="val -3015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 flag which actions are receiving the highest number of investments. If there are more than 3,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imply indicate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the number of actions.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8301070" y="2976555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hade the cell where a large or very investment is reported in this green colour &amp; use white for text</a:t>
            </a:r>
          </a:p>
        </p:txBody>
      </p:sp>
      <p:sp>
        <p:nvSpPr>
          <p:cNvPr id="34" name="Rounded Rectangular Callout 33"/>
          <p:cNvSpPr/>
          <p:nvPr/>
        </p:nvSpPr>
        <p:spPr>
          <a:xfrm>
            <a:off x="292962" y="1109704"/>
            <a:ext cx="2330871" cy="452887"/>
          </a:xfrm>
          <a:prstGeom prst="wedgeRoundRectCallout">
            <a:avLst>
              <a:gd name="adj1" fmla="val 21649"/>
              <a:gd name="adj2" fmla="val -9037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. </a:t>
            </a:r>
          </a:p>
        </p:txBody>
      </p:sp>
      <p:sp>
        <p:nvSpPr>
          <p:cNvPr id="39" name="Rounded Rectangular Callout 38"/>
          <p:cNvSpPr/>
          <p:nvPr/>
        </p:nvSpPr>
        <p:spPr>
          <a:xfrm>
            <a:off x="8041432" y="4357525"/>
            <a:ext cx="1286702" cy="948269"/>
          </a:xfrm>
          <a:prstGeom prst="wedgeRoundRectCallout">
            <a:avLst>
              <a:gd name="adj1" fmla="val -146151"/>
              <a:gd name="adj2" fmla="val -12205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Where no investments are being made for an action, please shade the cells in light orange</a:t>
            </a:r>
          </a:p>
        </p:txBody>
      </p:sp>
    </p:spTree>
    <p:extLst>
      <p:ext uri="{BB962C8B-B14F-4D97-AF65-F5344CB8AC3E}">
        <p14:creationId xmlns:p14="http://schemas.microsoft.com/office/powerpoint/2010/main" val="3895142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9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Agenda</a:t>
            </a:r>
            <a:endParaRPr lang="en-US" sz="2000" dirty="0"/>
          </a:p>
        </p:txBody>
      </p:sp>
      <p:sp>
        <p:nvSpPr>
          <p:cNvPr id="8" name="Text Placeholder 3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-15552" y="2921000"/>
            <a:ext cx="9906000" cy="508000"/>
          </a:xfrm>
          <a:prstGeom prst="rect">
            <a:avLst/>
          </a:prstGeom>
          <a:noFill/>
          <a:effectLst/>
        </p:spPr>
        <p:txBody>
          <a:bodyPr vert="horz" wrap="square" lIns="457200" tIns="101600" rIns="0" bIns="1016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rgbClr val="548DD4"/>
                </a:solidFill>
              </a:rPr>
              <a:t>Introduction to inventory exercise in Name </a:t>
            </a:r>
            <a:r>
              <a:rPr lang="en-US" sz="2000" smtClean="0">
                <a:solidFill>
                  <a:srgbClr val="548DD4"/>
                </a:solidFill>
              </a:rPr>
              <a:t>of Country</a:t>
            </a:r>
            <a:endParaRPr lang="en-US" sz="2000" dirty="0">
              <a:solidFill>
                <a:srgbClr val="548DD4"/>
              </a:solidFill>
            </a:endParaRPr>
          </a:p>
        </p:txBody>
      </p:sp>
      <p:sp>
        <p:nvSpPr>
          <p:cNvPr id="10" name="Text Placeholder 3">
            <a:hlinkClick r:id="rId10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-15552" y="3429000"/>
            <a:ext cx="9906000" cy="508000"/>
          </a:xfrm>
          <a:prstGeom prst="rect">
            <a:avLst/>
          </a:prstGeom>
          <a:noFill/>
          <a:effectLst/>
        </p:spPr>
        <p:txBody>
          <a:bodyPr vert="horz" wrap="square" lIns="457200" tIns="101600" rIns="0" bIns="1016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rgbClr val="B2B2B2"/>
                </a:solidFill>
              </a:rPr>
              <a:t>Results of inventory exercise</a:t>
            </a:r>
            <a:endParaRPr lang="en-US" sz="2000" dirty="0">
              <a:solidFill>
                <a:srgbClr val="B2B2B2"/>
              </a:solidFill>
            </a:endParaRPr>
          </a:p>
        </p:txBody>
      </p:sp>
      <p:sp>
        <p:nvSpPr>
          <p:cNvPr id="11" name="Text Placeholder 3">
            <a:hlinkClick r:id="rId10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-15552" y="3935663"/>
            <a:ext cx="9906000" cy="508000"/>
          </a:xfrm>
          <a:prstGeom prst="rect">
            <a:avLst/>
          </a:prstGeom>
          <a:noFill/>
          <a:effectLst/>
        </p:spPr>
        <p:txBody>
          <a:bodyPr vert="horz" wrap="square" lIns="457200" tIns="101600" rIns="0" bIns="1016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rgbClr val="B2B2B2"/>
                </a:solidFill>
              </a:rPr>
              <a:t>Next steps</a:t>
            </a:r>
            <a:endParaRPr lang="en-US" sz="2000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6860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Investments in </a:t>
            </a:r>
            <a:r>
              <a:rPr lang="en-GB" b="1" i="1" dirty="0" smtClean="0">
                <a:solidFill>
                  <a:srgbClr val="000000"/>
                </a:solidFill>
                <a:cs typeface="Arial" pitchFamily="34" charset="0"/>
              </a:rPr>
              <a:t>Health-based</a:t>
            </a:r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 nutrition actions are mostly made by three agencies, and vary in size (1/2)</a:t>
            </a:r>
            <a:endParaRPr lang="en-GB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5552" y="6423719"/>
            <a:ext cx="19442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</a:rPr>
              <a:t>SAM = severe acute malnutrition</a:t>
            </a:r>
          </a:p>
          <a:p>
            <a:r>
              <a:rPr lang="en-US" sz="800" dirty="0" smtClean="0">
                <a:solidFill>
                  <a:srgbClr val="000000"/>
                </a:solidFill>
              </a:rPr>
              <a:t>MAM = moderate acute malnutrition</a:t>
            </a:r>
          </a:p>
          <a:p>
            <a:r>
              <a:rPr lang="en-US" sz="800" dirty="0" smtClean="0">
                <a:solidFill>
                  <a:srgbClr val="000000"/>
                </a:solidFill>
              </a:rPr>
              <a:t>Source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4" name="ZoneTexte 6"/>
          <p:cNvSpPr txBox="1"/>
          <p:nvPr/>
        </p:nvSpPr>
        <p:spPr>
          <a:xfrm>
            <a:off x="2144688" y="2339588"/>
            <a:ext cx="12279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nte-natal &amp; postnatal care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5" name="ZoneTexte 8"/>
          <p:cNvSpPr txBox="1"/>
          <p:nvPr/>
        </p:nvSpPr>
        <p:spPr>
          <a:xfrm>
            <a:off x="1352600" y="2771636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ealth professional-assisted delivery</a:t>
            </a:r>
            <a:endParaRPr lang="fr-FR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6" name="ZoneTexte 6"/>
          <p:cNvSpPr txBox="1"/>
          <p:nvPr/>
        </p:nvSpPr>
        <p:spPr>
          <a:xfrm>
            <a:off x="1811701" y="3131676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Basic paediatric                  health services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106562" y="2329272"/>
            <a:ext cx="484607" cy="1197860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GB" sz="900" b="1" dirty="0" smtClean="0">
                <a:solidFill>
                  <a:srgbClr val="000000"/>
                </a:solidFill>
                <a:cs typeface="Arial" pitchFamily="34" charset="0"/>
              </a:rPr>
              <a:t>Maternal</a:t>
            </a:r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, Neonatal &amp; </a:t>
            </a:r>
            <a:r>
              <a:rPr lang="en-GB" sz="900" b="1" dirty="0" smtClean="0">
                <a:solidFill>
                  <a:srgbClr val="000000"/>
                </a:solidFill>
                <a:cs typeface="Arial" pitchFamily="34" charset="0"/>
              </a:rPr>
              <a:t>Paediatric</a:t>
            </a:r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 Health</a:t>
            </a:r>
          </a:p>
        </p:txBody>
      </p:sp>
      <p:sp>
        <p:nvSpPr>
          <p:cNvPr id="35" name="ZoneTexte 6"/>
          <p:cNvSpPr txBox="1"/>
          <p:nvPr/>
        </p:nvSpPr>
        <p:spPr>
          <a:xfrm>
            <a:off x="1663866" y="3491716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ron or Iron/folic acid supplementation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1352600" y="3923764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upplementation of vitamins A, D, calcium, zinc &amp;/or iodine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1856656" y="4653136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 Management of SAM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1" name="ZoneTexte 6"/>
          <p:cNvSpPr txBox="1"/>
          <p:nvPr/>
        </p:nvSpPr>
        <p:spPr>
          <a:xfrm>
            <a:off x="1663866" y="4283804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ultiple micronutrient supplementation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3" name="ZoneTexte 6"/>
          <p:cNvSpPr txBox="1"/>
          <p:nvPr/>
        </p:nvSpPr>
        <p:spPr>
          <a:xfrm>
            <a:off x="1811701" y="5013176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nagement of MAM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4" name="ZoneTexte 8"/>
          <p:cNvSpPr txBox="1"/>
          <p:nvPr/>
        </p:nvSpPr>
        <p:spPr>
          <a:xfrm>
            <a:off x="1352600" y="5733256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mprovement of water                      supply &amp; source 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5" name="ZoneTexte 6"/>
          <p:cNvSpPr txBox="1"/>
          <p:nvPr/>
        </p:nvSpPr>
        <p:spPr>
          <a:xfrm>
            <a:off x="1811701" y="6099696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anitation facilities management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7106562" y="3511441"/>
            <a:ext cx="484607" cy="1152128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Micronutrient Supplementation</a:t>
            </a:r>
          </a:p>
        </p:txBody>
      </p:sp>
      <p:sp>
        <p:nvSpPr>
          <p:cNvPr id="50" name="Rectangle 49"/>
          <p:cNvSpPr/>
          <p:nvPr/>
        </p:nvSpPr>
        <p:spPr>
          <a:xfrm>
            <a:off x="7106562" y="4629356"/>
            <a:ext cx="484607" cy="1107484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Mgt. of Acute Malnutrition</a:t>
            </a:r>
          </a:p>
        </p:txBody>
      </p:sp>
      <p:sp>
        <p:nvSpPr>
          <p:cNvPr id="52" name="ColumnHeader"/>
          <p:cNvSpPr>
            <a:spLocks noChangeArrowheads="1"/>
          </p:cNvSpPr>
          <p:nvPr/>
        </p:nvSpPr>
        <p:spPr bwMode="gray">
          <a:xfrm>
            <a:off x="2144688" y="1309410"/>
            <a:ext cx="5616624" cy="1846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F5F5F"/>
            </a:outerShdw>
          </a:effectLst>
        </p:spPr>
        <p:txBody>
          <a:bodyPr wrap="square" tIns="0" bIns="0" anchor="b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0000"/>
                </a:solidFill>
                <a:cs typeface="Arial" pitchFamily="34" charset="0"/>
              </a:rPr>
              <a:t>Most investments were reported for antenatal &amp; postnatal care</a:t>
            </a:r>
            <a:endParaRPr lang="pt-PT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27" name="Line 58"/>
          <p:cNvSpPr>
            <a:spLocks noChangeShapeType="1"/>
          </p:cNvSpPr>
          <p:nvPr/>
        </p:nvSpPr>
        <p:spPr bwMode="auto">
          <a:xfrm>
            <a:off x="1640632" y="3501008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28" name="Line 58"/>
          <p:cNvSpPr>
            <a:spLocks noChangeShapeType="1"/>
          </p:cNvSpPr>
          <p:nvPr/>
        </p:nvSpPr>
        <p:spPr bwMode="auto">
          <a:xfrm>
            <a:off x="1640632" y="4618924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5580334"/>
              </p:ext>
            </p:extLst>
          </p:nvPr>
        </p:nvGraphicFramePr>
        <p:xfrm>
          <a:off x="3417598" y="1649888"/>
          <a:ext cx="3688964" cy="4828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22241"/>
                <a:gridCol w="922241"/>
                <a:gridCol w="922241"/>
                <a:gridCol w="922241"/>
              </a:tblGrid>
              <a:tr h="216024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Sectoral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</a:rPr>
                        <a:t> A</a:t>
                      </a:r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ctions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</a:tr>
              <a:tr h="2933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 smtClean="0">
                          <a:solidFill>
                            <a:prstClr val="black"/>
                          </a:solidFill>
                        </a:rPr>
                        <a:t>Sma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lt;5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Medium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50-20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200-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Very 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gt;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UNICEF, UNFPA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UNFPA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UNICEF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UNICEF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UNICEF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UNICEF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WFP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460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460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</a:tbl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3372643" y="6509440"/>
            <a:ext cx="2316660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Reported in thousands of US dollars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8041432" y="1340768"/>
            <a:ext cx="1546340" cy="1158612"/>
          </a:xfrm>
          <a:prstGeom prst="wedgeRoundRectCallout">
            <a:avLst>
              <a:gd name="adj1" fmla="val -120606"/>
              <a:gd name="adj2" fmla="val -3015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flag which actions are receiving the highest numbers of investments. If there are more than 2, write “were reported for five actions”</a:t>
            </a:r>
          </a:p>
        </p:txBody>
      </p:sp>
      <p:sp>
        <p:nvSpPr>
          <p:cNvPr id="33" name="Rounded Rectangular Callout 32"/>
          <p:cNvSpPr/>
          <p:nvPr/>
        </p:nvSpPr>
        <p:spPr>
          <a:xfrm>
            <a:off x="8301070" y="2976555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hade the cell where a large or very investment is reported in this green colour &amp; use white for text</a:t>
            </a:r>
          </a:p>
        </p:txBody>
      </p:sp>
      <p:sp>
        <p:nvSpPr>
          <p:cNvPr id="34" name="Rounded Rectangular Callout 33"/>
          <p:cNvSpPr/>
          <p:nvPr/>
        </p:nvSpPr>
        <p:spPr>
          <a:xfrm>
            <a:off x="292962" y="1109704"/>
            <a:ext cx="2330871" cy="452887"/>
          </a:xfrm>
          <a:prstGeom prst="wedgeRoundRectCallout">
            <a:avLst>
              <a:gd name="adj1" fmla="val 21649"/>
              <a:gd name="adj2" fmla="val -9037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. </a:t>
            </a:r>
          </a:p>
        </p:txBody>
      </p:sp>
      <p:sp>
        <p:nvSpPr>
          <p:cNvPr id="39" name="Rounded Rectangular Callout 38"/>
          <p:cNvSpPr/>
          <p:nvPr/>
        </p:nvSpPr>
        <p:spPr>
          <a:xfrm>
            <a:off x="8218209" y="5546442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Where no investments are being made for an action, please shade the cells in light orange</a:t>
            </a:r>
          </a:p>
        </p:txBody>
      </p:sp>
      <p:sp>
        <p:nvSpPr>
          <p:cNvPr id="51" name="Rectangle 50"/>
          <p:cNvSpPr/>
          <p:nvPr/>
        </p:nvSpPr>
        <p:spPr>
          <a:xfrm>
            <a:off x="7106562" y="5736840"/>
            <a:ext cx="484607" cy="736398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GB" sz="900" b="1" dirty="0" smtClean="0">
                <a:solidFill>
                  <a:srgbClr val="000000"/>
                </a:solidFill>
                <a:cs typeface="Arial" pitchFamily="34" charset="0"/>
              </a:rPr>
              <a:t>Water &amp; Sanitation</a:t>
            </a:r>
          </a:p>
        </p:txBody>
      </p:sp>
      <p:sp>
        <p:nvSpPr>
          <p:cNvPr id="29" name="Line 58"/>
          <p:cNvSpPr>
            <a:spLocks noChangeShapeType="1"/>
          </p:cNvSpPr>
          <p:nvPr/>
        </p:nvSpPr>
        <p:spPr bwMode="auto">
          <a:xfrm>
            <a:off x="1663866" y="5722824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38" name="ZoneTexte 6"/>
          <p:cNvSpPr txBox="1"/>
          <p:nvPr/>
        </p:nvSpPr>
        <p:spPr>
          <a:xfrm>
            <a:off x="1510323" y="5339502"/>
            <a:ext cx="1862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ood technology support for specialized nutritious foods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372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Investments in </a:t>
            </a:r>
            <a:r>
              <a:rPr lang="en-GB" b="1" i="1" dirty="0" smtClean="0">
                <a:solidFill>
                  <a:srgbClr val="000000"/>
                </a:solidFill>
                <a:cs typeface="Arial" pitchFamily="34" charset="0"/>
              </a:rPr>
              <a:t>Health-based</a:t>
            </a:r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 nutrition actions are mostly made by three agencies, and tend to be characterized as very large in size (2/2)</a:t>
            </a:r>
            <a:endParaRPr lang="en-GB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5552" y="6525344"/>
            <a:ext cx="658087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</a:rPr>
              <a:t>TB = tuberculosis</a:t>
            </a:r>
          </a:p>
          <a:p>
            <a:r>
              <a:rPr lang="en-US" sz="800" dirty="0" smtClean="0">
                <a:solidFill>
                  <a:srgbClr val="000000"/>
                </a:solidFill>
              </a:rPr>
              <a:t>Source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4016628"/>
              </p:ext>
            </p:extLst>
          </p:nvPr>
        </p:nvGraphicFramePr>
        <p:xfrm>
          <a:off x="3514999" y="2235696"/>
          <a:ext cx="3670248" cy="291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7562"/>
                <a:gridCol w="917562"/>
                <a:gridCol w="917562"/>
                <a:gridCol w="917562"/>
              </a:tblGrid>
              <a:tr h="144016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Sectoral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</a:rPr>
                        <a:t> A</a:t>
                      </a:r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ctions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</a:tr>
              <a:tr h="2933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 smtClean="0">
                          <a:solidFill>
                            <a:prstClr val="black"/>
                          </a:solidFill>
                        </a:rPr>
                        <a:t>Sma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lt;5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Medium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50-20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200-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Very 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gt;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WFP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UNICEF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UNICEF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UNICEF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IFAD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UNFPA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UNICEF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</a:tbl>
          </a:graphicData>
        </a:graphic>
      </p:graphicFrame>
      <p:sp>
        <p:nvSpPr>
          <p:cNvPr id="24" name="ZoneTexte 6"/>
          <p:cNvSpPr txBox="1"/>
          <p:nvPr/>
        </p:nvSpPr>
        <p:spPr>
          <a:xfrm>
            <a:off x="1474168" y="2944258"/>
            <a:ext cx="20040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nti-malaria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5" name="ZoneTexte 8"/>
          <p:cNvSpPr txBox="1"/>
          <p:nvPr/>
        </p:nvSpPr>
        <p:spPr>
          <a:xfrm>
            <a:off x="1458178" y="3304298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nagement of                               diarrhoea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6" name="ZoneTexte 6"/>
          <p:cNvSpPr txBox="1"/>
          <p:nvPr/>
        </p:nvSpPr>
        <p:spPr>
          <a:xfrm>
            <a:off x="1917279" y="3742692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Vaccinations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193312" y="2914288"/>
            <a:ext cx="484607" cy="2232248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Prevention &amp; Management of Soil, Waterborne &amp; endemic Disease</a:t>
            </a:r>
          </a:p>
        </p:txBody>
      </p:sp>
      <p:sp>
        <p:nvSpPr>
          <p:cNvPr id="35" name="ZoneTexte 6"/>
          <p:cNvSpPr txBox="1"/>
          <p:nvPr/>
        </p:nvSpPr>
        <p:spPr>
          <a:xfrm>
            <a:off x="1474168" y="4096386"/>
            <a:ext cx="2004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IV management &amp; prevention of mother to child transmission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1458178" y="4456426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nagement of                        tuberculosis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1" name="ZoneTexte 6"/>
          <p:cNvSpPr txBox="1"/>
          <p:nvPr/>
        </p:nvSpPr>
        <p:spPr>
          <a:xfrm>
            <a:off x="1769444" y="4825758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nagement of                respiratory infections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2" name="ColumnHeader"/>
          <p:cNvSpPr>
            <a:spLocks noChangeArrowheads="1"/>
          </p:cNvSpPr>
          <p:nvPr/>
        </p:nvSpPr>
        <p:spPr bwMode="gray">
          <a:xfrm>
            <a:off x="2606647" y="1656615"/>
            <a:ext cx="5380332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F5F5F"/>
            </a:outerShdw>
          </a:effectLst>
        </p:spPr>
        <p:txBody>
          <a:bodyPr wrap="square" tIns="0" bIns="0" anchor="b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0000"/>
                </a:solidFill>
                <a:cs typeface="Arial" pitchFamily="34" charset="0"/>
              </a:rPr>
              <a:t>Most investments were reported for HIV management and prevention of mother-to-child transmission</a:t>
            </a:r>
            <a:endParaRPr lang="pt-PT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452449" y="5143346"/>
            <a:ext cx="2316660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Reported in thousands of US dollars</a:t>
            </a:r>
          </a:p>
        </p:txBody>
      </p:sp>
      <p:sp>
        <p:nvSpPr>
          <p:cNvPr id="20" name="Rounded Rectangular Callout 19"/>
          <p:cNvSpPr/>
          <p:nvPr/>
        </p:nvSpPr>
        <p:spPr>
          <a:xfrm>
            <a:off x="8041432" y="1340768"/>
            <a:ext cx="1546340" cy="1158612"/>
          </a:xfrm>
          <a:prstGeom prst="wedgeRoundRectCallout">
            <a:avLst>
              <a:gd name="adj1" fmla="val -77126"/>
              <a:gd name="adj2" fmla="val 466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flag which actions are receiving the highest numbers of investments. If there are more than 2, write “were reported for five actions”</a:t>
            </a:r>
          </a:p>
        </p:txBody>
      </p:sp>
      <p:sp>
        <p:nvSpPr>
          <p:cNvPr id="21" name="Rounded Rectangular Callout 20"/>
          <p:cNvSpPr/>
          <p:nvPr/>
        </p:nvSpPr>
        <p:spPr>
          <a:xfrm>
            <a:off x="8301070" y="2976555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hade the cell where a large or very investment is reported in this green colour &amp; use white for text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292962" y="1109704"/>
            <a:ext cx="2330871" cy="452887"/>
          </a:xfrm>
          <a:prstGeom prst="wedgeRoundRectCallout">
            <a:avLst>
              <a:gd name="adj1" fmla="val 21649"/>
              <a:gd name="adj2" fmla="val -9037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. </a:t>
            </a:r>
          </a:p>
        </p:txBody>
      </p:sp>
      <p:sp>
        <p:nvSpPr>
          <p:cNvPr id="27" name="Rounded Rectangular Callout 26"/>
          <p:cNvSpPr/>
          <p:nvPr/>
        </p:nvSpPr>
        <p:spPr>
          <a:xfrm>
            <a:off x="8291858" y="4536289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Where no investments are being made for an action, please shade the cells in light orange</a:t>
            </a:r>
          </a:p>
        </p:txBody>
      </p:sp>
    </p:spTree>
    <p:extLst>
      <p:ext uri="{BB962C8B-B14F-4D97-AF65-F5344CB8AC3E}">
        <p14:creationId xmlns:p14="http://schemas.microsoft.com/office/powerpoint/2010/main" val="3644732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>
            <a:off x="168086" y="6608908"/>
            <a:ext cx="658087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</a:rPr>
              <a:t>Source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4" name="ZoneTexte 6"/>
          <p:cNvSpPr txBox="1"/>
          <p:nvPr/>
        </p:nvSpPr>
        <p:spPr>
          <a:xfrm>
            <a:off x="1454468" y="2919457"/>
            <a:ext cx="2004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ood assistance for                     vulnerable population groups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5" name="ZoneTexte 8"/>
          <p:cNvSpPr txBox="1"/>
          <p:nvPr/>
        </p:nvSpPr>
        <p:spPr>
          <a:xfrm>
            <a:off x="1438478" y="3243127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chool-based                                          social </a:t>
            </a:r>
            <a:r>
              <a:rPr lang="en-GB" sz="9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s</a:t>
            </a:r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fety nets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6" name="ZoneTexte 6"/>
          <p:cNvSpPr txBox="1"/>
          <p:nvPr/>
        </p:nvSpPr>
        <p:spPr>
          <a:xfrm>
            <a:off x="1897579" y="3731791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ssisted health services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5" name="ZoneTexte 6"/>
          <p:cNvSpPr txBox="1"/>
          <p:nvPr/>
        </p:nvSpPr>
        <p:spPr>
          <a:xfrm>
            <a:off x="1454468" y="4010989"/>
            <a:ext cx="2004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Poverty reduction &amp;/or emergency risk mitigation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1438478" y="4460725"/>
            <a:ext cx="2020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inimum maternity protection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1" name="ZoneTexte 6"/>
          <p:cNvSpPr txBox="1"/>
          <p:nvPr/>
        </p:nvSpPr>
        <p:spPr>
          <a:xfrm>
            <a:off x="1749744" y="4845060"/>
            <a:ext cx="17087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nsurance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2" name="ColumnHeader"/>
          <p:cNvSpPr>
            <a:spLocks noChangeArrowheads="1"/>
          </p:cNvSpPr>
          <p:nvPr/>
        </p:nvSpPr>
        <p:spPr bwMode="gray">
          <a:xfrm>
            <a:off x="2456494" y="1568089"/>
            <a:ext cx="5281495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F5F5F"/>
            </a:outerShdw>
          </a:effectLst>
        </p:spPr>
        <p:txBody>
          <a:bodyPr wrap="square" tIns="0" bIns="0" anchor="b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0000"/>
                </a:solidFill>
                <a:cs typeface="Arial" pitchFamily="34" charset="0"/>
              </a:rPr>
              <a:t>Most investments were reported for poverty reduction &amp;/or emergency risk mitigation</a:t>
            </a:r>
            <a:endParaRPr lang="pt-PT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19" name="ZoneTexte 6"/>
          <p:cNvSpPr txBox="1"/>
          <p:nvPr/>
        </p:nvSpPr>
        <p:spPr>
          <a:xfrm>
            <a:off x="1749744" y="5156296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cro-economic                          levers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3801633"/>
              </p:ext>
            </p:extLst>
          </p:nvPr>
        </p:nvGraphicFramePr>
        <p:xfrm>
          <a:off x="3514999" y="2235696"/>
          <a:ext cx="3670248" cy="32816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7562"/>
                <a:gridCol w="917562"/>
                <a:gridCol w="917562"/>
                <a:gridCol w="917562"/>
              </a:tblGrid>
              <a:tr h="144016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Sectoral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</a:rPr>
                        <a:t> A</a:t>
                      </a:r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ctions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</a:tr>
              <a:tr h="2933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 smtClean="0">
                          <a:solidFill>
                            <a:prstClr val="black"/>
                          </a:solidFill>
                        </a:rPr>
                        <a:t>Sma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lt;5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Medium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50-20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200-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Very 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gt;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WFP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WFP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WFP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UNICEF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452449" y="5517376"/>
            <a:ext cx="2316660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Reported in thousands of US dollar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Investments in </a:t>
            </a:r>
            <a:r>
              <a:rPr lang="en-GB" b="1" i="1" dirty="0" smtClean="0">
                <a:solidFill>
                  <a:srgbClr val="000000"/>
                </a:solidFill>
                <a:cs typeface="Arial" pitchFamily="34" charset="0"/>
              </a:rPr>
              <a:t>Social Protection</a:t>
            </a:r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-related nutrition actions are mostly made by two agencies, and </a:t>
            </a:r>
            <a:r>
              <a:rPr lang="en-GB" b="1" dirty="0">
                <a:solidFill>
                  <a:srgbClr val="000000"/>
                </a:solidFill>
                <a:cs typeface="Arial" pitchFamily="34" charset="0"/>
              </a:rPr>
              <a:t>tend to be characterized as </a:t>
            </a:r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medium in size</a:t>
            </a:r>
            <a:endParaRPr lang="en-GB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" name="Rounded Rectangular Callout 28"/>
          <p:cNvSpPr/>
          <p:nvPr/>
        </p:nvSpPr>
        <p:spPr>
          <a:xfrm>
            <a:off x="8041432" y="1340768"/>
            <a:ext cx="1546340" cy="1158612"/>
          </a:xfrm>
          <a:prstGeom prst="wedgeRoundRectCallout">
            <a:avLst>
              <a:gd name="adj1" fmla="val -78865"/>
              <a:gd name="adj2" fmla="val -1970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flag which actions are receiving the highest numbers of investments. If there are more than 2, write “were reported for five actions”</a:t>
            </a:r>
          </a:p>
        </p:txBody>
      </p:sp>
      <p:sp>
        <p:nvSpPr>
          <p:cNvPr id="33" name="Rounded Rectangular Callout 32"/>
          <p:cNvSpPr/>
          <p:nvPr/>
        </p:nvSpPr>
        <p:spPr>
          <a:xfrm>
            <a:off x="292962" y="1109704"/>
            <a:ext cx="2330871" cy="452887"/>
          </a:xfrm>
          <a:prstGeom prst="wedgeRoundRectCallout">
            <a:avLst>
              <a:gd name="adj1" fmla="val 21649"/>
              <a:gd name="adj2" fmla="val -9037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.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185247" y="2915177"/>
            <a:ext cx="484607" cy="1480732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cial Safety Nets</a:t>
            </a:r>
            <a:endParaRPr lang="en-US" sz="9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185246" y="4395909"/>
            <a:ext cx="484607" cy="1129719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rket regulation</a:t>
            </a:r>
          </a:p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&amp; Insurance</a:t>
            </a:r>
            <a:endParaRPr lang="en-US" sz="9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ounded Rectangular Callout 19"/>
          <p:cNvSpPr/>
          <p:nvPr/>
        </p:nvSpPr>
        <p:spPr>
          <a:xfrm>
            <a:off x="8218209" y="4956997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Where no investments are being made for an action, please shade the cells in light orange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8301070" y="2976555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hade the cell where a large or very investment is reported in this green colour &amp; use white for text</a:t>
            </a:r>
          </a:p>
        </p:txBody>
      </p:sp>
      <p:sp>
        <p:nvSpPr>
          <p:cNvPr id="23" name="Line 58"/>
          <p:cNvSpPr>
            <a:spLocks noChangeShapeType="1"/>
          </p:cNvSpPr>
          <p:nvPr/>
        </p:nvSpPr>
        <p:spPr bwMode="auto">
          <a:xfrm>
            <a:off x="1640632" y="4380321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3716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Most investments </a:t>
            </a:r>
            <a:r>
              <a:rPr lang="en-GB" b="1" dirty="0" smtClean="0">
                <a:cs typeface="Arial" pitchFamily="34" charset="0"/>
              </a:rPr>
              <a:t>in </a:t>
            </a:r>
            <a:r>
              <a:rPr lang="en-GB" b="1" i="1" dirty="0" smtClean="0">
                <a:cs typeface="Arial" pitchFamily="34" charset="0"/>
              </a:rPr>
              <a:t>Food, Agriculture and/or Diet</a:t>
            </a:r>
            <a:r>
              <a:rPr lang="en-GB" b="1" dirty="0" smtClean="0">
                <a:cs typeface="Arial" pitchFamily="34" charset="0"/>
              </a:rPr>
              <a:t>-related </a:t>
            </a:r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nutrition actions can be characterized as small or medium</a:t>
            </a:r>
            <a:endParaRPr lang="en-GB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292963" y="6661718"/>
            <a:ext cx="658087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</a:t>
            </a:r>
            <a:r>
              <a:rPr lang="en-US" sz="800" dirty="0" smtClean="0">
                <a:solidFill>
                  <a:srgbClr val="000000"/>
                </a:solidFill>
              </a:rPr>
              <a:t>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4" name="ZoneTexte 6"/>
          <p:cNvSpPr txBox="1"/>
          <p:nvPr/>
        </p:nvSpPr>
        <p:spPr>
          <a:xfrm>
            <a:off x="1870576" y="2518117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mprovement of                            </a:t>
            </a:r>
          </a:p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  local recipes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ZoneTexte 8"/>
          <p:cNvSpPr txBox="1"/>
          <p:nvPr/>
        </p:nvSpPr>
        <p:spPr>
          <a:xfrm>
            <a:off x="1411475" y="2872694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ublic guidance &amp; consumer </a:t>
            </a:r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wareness</a:t>
            </a:r>
            <a:r>
              <a:rPr lang="fr-FR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/ protection</a:t>
            </a:r>
            <a:endParaRPr lang="fr-FR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ZoneTexte 6"/>
          <p:cNvSpPr txBox="1"/>
          <p:nvPr/>
        </p:nvSpPr>
        <p:spPr>
          <a:xfrm>
            <a:off x="1870576" y="3232734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mplementary                  feeding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ZoneTexte 6"/>
          <p:cNvSpPr txBox="1"/>
          <p:nvPr/>
        </p:nvSpPr>
        <p:spPr>
          <a:xfrm>
            <a:off x="1722741" y="3655490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imal husbandry, fisheries &amp; insect farming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1411475" y="4024822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imal                                            services</a:t>
            </a:r>
            <a:endParaRPr lang="fr-FR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1870576" y="4744902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Biofortification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ZoneTexte 6"/>
          <p:cNvSpPr txBox="1"/>
          <p:nvPr/>
        </p:nvSpPr>
        <p:spPr>
          <a:xfrm>
            <a:off x="1722741" y="4384862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iversification &amp; locally adapted varieties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ZoneTexte 6"/>
          <p:cNvSpPr txBox="1"/>
          <p:nvPr/>
        </p:nvSpPr>
        <p:spPr>
          <a:xfrm>
            <a:off x="1870576" y="5104942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ood processing                     (excl. fortification)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ZoneTexte 8"/>
          <p:cNvSpPr txBox="1"/>
          <p:nvPr/>
        </p:nvSpPr>
        <p:spPr>
          <a:xfrm>
            <a:off x="1411475" y="5464982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ortification                                           (incl. salt iodization)</a:t>
            </a:r>
            <a:endParaRPr lang="fr-FR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5" name="ZoneTexte 6"/>
          <p:cNvSpPr txBox="1"/>
          <p:nvPr/>
        </p:nvSpPr>
        <p:spPr>
          <a:xfrm>
            <a:off x="1870576" y="5969038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ood Storage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2" name="ColumnHeader"/>
          <p:cNvSpPr>
            <a:spLocks noChangeArrowheads="1"/>
          </p:cNvSpPr>
          <p:nvPr/>
        </p:nvSpPr>
        <p:spPr bwMode="gray">
          <a:xfrm>
            <a:off x="2385562" y="1489044"/>
            <a:ext cx="5832647" cy="1846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F5F5F"/>
            </a:outerShdw>
          </a:effectLst>
        </p:spPr>
        <p:txBody>
          <a:bodyPr wrap="square" tIns="0" bIns="0" anchor="b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st investments were reported for 4 actions</a:t>
            </a:r>
            <a:endParaRPr lang="pt-PT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27" name="Line 58"/>
          <p:cNvSpPr>
            <a:spLocks noChangeShapeType="1"/>
          </p:cNvSpPr>
          <p:nvPr/>
        </p:nvSpPr>
        <p:spPr bwMode="auto">
          <a:xfrm>
            <a:off x="1640632" y="3625641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graphicFrame>
        <p:nvGraphicFramePr>
          <p:cNvPr id="3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6786167"/>
              </p:ext>
            </p:extLst>
          </p:nvPr>
        </p:nvGraphicFramePr>
        <p:xfrm>
          <a:off x="3496283" y="1844824"/>
          <a:ext cx="3688964" cy="4397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22241"/>
                <a:gridCol w="922241"/>
                <a:gridCol w="922241"/>
                <a:gridCol w="922241"/>
              </a:tblGrid>
              <a:tr h="216024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Sectoral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</a:rPr>
                        <a:t> A</a:t>
                      </a:r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ctions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</a:tr>
              <a:tr h="2933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 smtClean="0">
                          <a:solidFill>
                            <a:prstClr val="black"/>
                          </a:solidFill>
                        </a:rPr>
                        <a:t>Sma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lt;5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Medium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50-20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200-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Very 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gt;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aseline="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460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</a:tbl>
          </a:graphicData>
        </a:graphic>
      </p:graphicFrame>
      <p:sp>
        <p:nvSpPr>
          <p:cNvPr id="34" name="Rectangle 33"/>
          <p:cNvSpPr/>
          <p:nvPr/>
        </p:nvSpPr>
        <p:spPr>
          <a:xfrm>
            <a:off x="7185247" y="2526784"/>
            <a:ext cx="484607" cy="1174181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sumption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185247" y="3622596"/>
            <a:ext cx="484607" cy="760387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vestock                   &amp;                   Fisherie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7185247" y="4397146"/>
            <a:ext cx="484607" cy="732645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orticulture/ Crop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185247" y="5131432"/>
            <a:ext cx="484607" cy="1134665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ood Processing, Fortification &amp; Storage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338735" y="6264014"/>
            <a:ext cx="2316660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Reported in thousands of US dollars</a:t>
            </a:r>
          </a:p>
        </p:txBody>
      </p:sp>
      <p:sp>
        <p:nvSpPr>
          <p:cNvPr id="30" name="Line 58"/>
          <p:cNvSpPr>
            <a:spLocks noChangeShapeType="1"/>
          </p:cNvSpPr>
          <p:nvPr/>
        </p:nvSpPr>
        <p:spPr bwMode="auto">
          <a:xfrm>
            <a:off x="1663866" y="5129791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28" name="Line 58"/>
          <p:cNvSpPr>
            <a:spLocks noChangeShapeType="1"/>
          </p:cNvSpPr>
          <p:nvPr/>
        </p:nvSpPr>
        <p:spPr bwMode="auto">
          <a:xfrm>
            <a:off x="1640632" y="4382983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46" name="Rounded Rectangular Callout 45"/>
          <p:cNvSpPr/>
          <p:nvPr/>
        </p:nvSpPr>
        <p:spPr>
          <a:xfrm>
            <a:off x="8041432" y="1340768"/>
            <a:ext cx="1546340" cy="1158612"/>
          </a:xfrm>
          <a:prstGeom prst="wedgeRoundRectCallout">
            <a:avLst>
              <a:gd name="adj1" fmla="val -78865"/>
              <a:gd name="adj2" fmla="val -1970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flag which actions are receiving the highest numbers of investments. If there are more than 2, write “were reported for five actions”</a:t>
            </a:r>
          </a:p>
        </p:txBody>
      </p:sp>
      <p:sp>
        <p:nvSpPr>
          <p:cNvPr id="47" name="Rounded Rectangular Callout 46"/>
          <p:cNvSpPr/>
          <p:nvPr/>
        </p:nvSpPr>
        <p:spPr>
          <a:xfrm>
            <a:off x="8301070" y="2976555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hade the cell where a large or very investment is reported in this green colour &amp; use white for text</a:t>
            </a:r>
          </a:p>
        </p:txBody>
      </p:sp>
      <p:sp>
        <p:nvSpPr>
          <p:cNvPr id="48" name="Rounded Rectangular Callout 47"/>
          <p:cNvSpPr/>
          <p:nvPr/>
        </p:nvSpPr>
        <p:spPr>
          <a:xfrm>
            <a:off x="292962" y="1109704"/>
            <a:ext cx="2330871" cy="452887"/>
          </a:xfrm>
          <a:prstGeom prst="wedgeRoundRectCallout">
            <a:avLst>
              <a:gd name="adj1" fmla="val 21649"/>
              <a:gd name="adj2" fmla="val -9037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. </a:t>
            </a:r>
          </a:p>
        </p:txBody>
      </p:sp>
      <p:sp>
        <p:nvSpPr>
          <p:cNvPr id="31" name="Rounded Rectangular Callout 30"/>
          <p:cNvSpPr/>
          <p:nvPr/>
        </p:nvSpPr>
        <p:spPr>
          <a:xfrm>
            <a:off x="8218209" y="4956997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Where no investments are being made for an action, please shade the cells in light orange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920552" y="1796159"/>
            <a:ext cx="2299928" cy="690929"/>
          </a:xfrm>
          <a:prstGeom prst="wedgeRoundRectCallout">
            <a:avLst>
              <a:gd name="adj1" fmla="val 89210"/>
              <a:gd name="adj2" fmla="val 6979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ndicate the number of agencies investing at least once in the action, at this level</a:t>
            </a:r>
          </a:p>
        </p:txBody>
      </p:sp>
    </p:spTree>
    <p:extLst>
      <p:ext uri="{BB962C8B-B14F-4D97-AF65-F5344CB8AC3E}">
        <p14:creationId xmlns:p14="http://schemas.microsoft.com/office/powerpoint/2010/main" val="3155868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9778" y="609655"/>
            <a:ext cx="9327758" cy="369332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Investments in </a:t>
            </a:r>
            <a:r>
              <a:rPr lang="en-GB" b="1" i="1" dirty="0" smtClean="0">
                <a:solidFill>
                  <a:srgbClr val="000000"/>
                </a:solidFill>
                <a:cs typeface="Arial" pitchFamily="34" charset="0"/>
              </a:rPr>
              <a:t>Maternal &amp; Child Care</a:t>
            </a:r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-related nutrition actions vary in size</a:t>
            </a:r>
            <a:endParaRPr lang="en-GB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5552" y="6423719"/>
            <a:ext cx="65808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</a:rPr>
              <a:t>BF = breastfeeding</a:t>
            </a:r>
          </a:p>
          <a:p>
            <a:r>
              <a:rPr lang="en-US" sz="800" dirty="0" smtClean="0">
                <a:solidFill>
                  <a:srgbClr val="000000"/>
                </a:solidFill>
              </a:rPr>
              <a:t>PLW = pregnant and lactating women</a:t>
            </a:r>
          </a:p>
          <a:p>
            <a:r>
              <a:rPr lang="en-US" sz="800" dirty="0" smtClean="0">
                <a:solidFill>
                  <a:srgbClr val="000000"/>
                </a:solidFill>
              </a:rPr>
              <a:t>Source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4" name="ZoneTexte 6"/>
          <p:cNvSpPr txBox="1"/>
          <p:nvPr/>
        </p:nvSpPr>
        <p:spPr>
          <a:xfrm>
            <a:off x="1368590" y="2204864"/>
            <a:ext cx="2004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Promotion, protection &amp; support of optimal BF practices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5" name="ZoneTexte 8"/>
          <p:cNvSpPr txBox="1"/>
          <p:nvPr/>
        </p:nvSpPr>
        <p:spPr>
          <a:xfrm>
            <a:off x="1352600" y="2622157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mprovement of                 complementary feeding</a:t>
            </a:r>
            <a:endParaRPr lang="fr-FR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6" name="ZoneTexte 6"/>
          <p:cNvSpPr txBox="1"/>
          <p:nvPr/>
        </p:nvSpPr>
        <p:spPr>
          <a:xfrm>
            <a:off x="1811701" y="3068960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and-washing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5" name="ZoneTexte 6"/>
          <p:cNvSpPr txBox="1"/>
          <p:nvPr/>
        </p:nvSpPr>
        <p:spPr>
          <a:xfrm>
            <a:off x="1663866" y="3356992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ousehold water treatment &amp; storage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1352600" y="3717032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ood                                          hygiene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1811701" y="4559974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 Care to PLW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1" name="ZoneTexte 6"/>
          <p:cNvSpPr txBox="1"/>
          <p:nvPr/>
        </p:nvSpPr>
        <p:spPr>
          <a:xfrm>
            <a:off x="1663866" y="4149080"/>
            <a:ext cx="17087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anitation management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3" name="ZoneTexte 6"/>
          <p:cNvSpPr txBox="1"/>
          <p:nvPr/>
        </p:nvSpPr>
        <p:spPr>
          <a:xfrm>
            <a:off x="1811701" y="4869160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Childcare support/ caregiver workload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4" name="ZoneTexte 8"/>
          <p:cNvSpPr txBox="1"/>
          <p:nvPr/>
        </p:nvSpPr>
        <p:spPr>
          <a:xfrm>
            <a:off x="1352600" y="5301208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ealth-seeking                           behaviour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5" name="ZoneTexte 6"/>
          <p:cNvSpPr txBox="1"/>
          <p:nvPr/>
        </p:nvSpPr>
        <p:spPr>
          <a:xfrm>
            <a:off x="1811701" y="5658678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nsecticide-treated bednets (anti-malaria)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2" name="ColumnHeader"/>
          <p:cNvSpPr>
            <a:spLocks noChangeArrowheads="1"/>
          </p:cNvSpPr>
          <p:nvPr/>
        </p:nvSpPr>
        <p:spPr bwMode="gray">
          <a:xfrm>
            <a:off x="2144688" y="1309410"/>
            <a:ext cx="5688632" cy="1846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F5F5F"/>
            </a:outerShdw>
          </a:effectLst>
        </p:spPr>
        <p:txBody>
          <a:bodyPr wrap="square" tIns="0" bIns="0" anchor="b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0000"/>
                </a:solidFill>
                <a:cs typeface="Arial" pitchFamily="34" charset="0"/>
              </a:rPr>
              <a:t>Most investments were reported for 3 actions</a:t>
            </a:r>
            <a:endParaRPr lang="pt-PT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3" name="ZoneTexte 8"/>
          <p:cNvSpPr txBox="1"/>
          <p:nvPr/>
        </p:nvSpPr>
        <p:spPr>
          <a:xfrm>
            <a:off x="1352600" y="6021288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amily planning                           behaviour                                               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7073490" y="2343602"/>
            <a:ext cx="484607" cy="737810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IYCF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073490" y="3093865"/>
            <a:ext cx="484607" cy="1466110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Hygiene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073490" y="4553779"/>
            <a:ext cx="484607" cy="744229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Care for Children &amp; PLW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073490" y="5310803"/>
            <a:ext cx="484607" cy="1112390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GB" sz="900" b="1" dirty="0" smtClean="0">
                <a:solidFill>
                  <a:srgbClr val="000000"/>
                </a:solidFill>
                <a:cs typeface="Arial" pitchFamily="34" charset="0"/>
              </a:rPr>
              <a:t>Health                   Behaviours</a:t>
            </a:r>
          </a:p>
        </p:txBody>
      </p:sp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0492410"/>
              </p:ext>
            </p:extLst>
          </p:nvPr>
        </p:nvGraphicFramePr>
        <p:xfrm>
          <a:off x="3372643" y="1662201"/>
          <a:ext cx="3688964" cy="4772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22241"/>
                <a:gridCol w="922241"/>
                <a:gridCol w="922241"/>
                <a:gridCol w="922241"/>
              </a:tblGrid>
              <a:tr h="216024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Sectoral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</a:rPr>
                        <a:t> A</a:t>
                      </a:r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ctions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</a:tr>
              <a:tr h="2933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 smtClean="0">
                          <a:solidFill>
                            <a:prstClr val="black"/>
                          </a:solidFill>
                        </a:rPr>
                        <a:t>Sma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lt;5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Medium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50-20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200-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Very 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gt;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460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460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</a:tbl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3296339" y="6486728"/>
            <a:ext cx="2316660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Reported in thousands of US dollars</a:t>
            </a:r>
          </a:p>
        </p:txBody>
      </p:sp>
      <p:sp>
        <p:nvSpPr>
          <p:cNvPr id="27" name="Line 58"/>
          <p:cNvSpPr>
            <a:spLocks noChangeShapeType="1"/>
          </p:cNvSpPr>
          <p:nvPr/>
        </p:nvSpPr>
        <p:spPr bwMode="auto">
          <a:xfrm>
            <a:off x="1603726" y="3081412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28" name="Line 58"/>
          <p:cNvSpPr>
            <a:spLocks noChangeShapeType="1"/>
          </p:cNvSpPr>
          <p:nvPr/>
        </p:nvSpPr>
        <p:spPr bwMode="auto">
          <a:xfrm>
            <a:off x="1603726" y="4553779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29" name="Line 58"/>
          <p:cNvSpPr>
            <a:spLocks noChangeShapeType="1"/>
          </p:cNvSpPr>
          <p:nvPr/>
        </p:nvSpPr>
        <p:spPr bwMode="auto">
          <a:xfrm>
            <a:off x="1603726" y="5298008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42" name="Rounded Rectangular Callout 41"/>
          <p:cNvSpPr/>
          <p:nvPr/>
        </p:nvSpPr>
        <p:spPr>
          <a:xfrm>
            <a:off x="8041432" y="1340768"/>
            <a:ext cx="1546340" cy="1158612"/>
          </a:xfrm>
          <a:prstGeom prst="wedgeRoundRectCallout">
            <a:avLst>
              <a:gd name="adj1" fmla="val -78865"/>
              <a:gd name="adj2" fmla="val -1970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flag which actions are receiving the highest numbers of investments. If there are more than 2, write “were reported for five actions”</a:t>
            </a:r>
          </a:p>
        </p:txBody>
      </p:sp>
      <p:sp>
        <p:nvSpPr>
          <p:cNvPr id="46" name="Rounded Rectangular Callout 45"/>
          <p:cNvSpPr/>
          <p:nvPr/>
        </p:nvSpPr>
        <p:spPr>
          <a:xfrm>
            <a:off x="8301070" y="2976555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hade the cell where a large or very investment is reported in this green colour &amp; use white for text</a:t>
            </a:r>
          </a:p>
        </p:txBody>
      </p:sp>
      <p:sp>
        <p:nvSpPr>
          <p:cNvPr id="47" name="Rounded Rectangular Callout 46"/>
          <p:cNvSpPr/>
          <p:nvPr/>
        </p:nvSpPr>
        <p:spPr>
          <a:xfrm>
            <a:off x="292962" y="1109704"/>
            <a:ext cx="2330871" cy="452887"/>
          </a:xfrm>
          <a:prstGeom prst="wedgeRoundRectCallout">
            <a:avLst>
              <a:gd name="adj1" fmla="val 21649"/>
              <a:gd name="adj2" fmla="val -9037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. </a:t>
            </a:r>
          </a:p>
        </p:txBody>
      </p:sp>
      <p:sp>
        <p:nvSpPr>
          <p:cNvPr id="49" name="Rounded Rectangular Callout 48"/>
          <p:cNvSpPr/>
          <p:nvPr/>
        </p:nvSpPr>
        <p:spPr>
          <a:xfrm>
            <a:off x="8218209" y="4956997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Where no investments are being made for an action, please shade the cells in light orange</a:t>
            </a:r>
          </a:p>
        </p:txBody>
      </p:sp>
      <p:sp>
        <p:nvSpPr>
          <p:cNvPr id="48" name="Rounded Rectangular Callout 47"/>
          <p:cNvSpPr/>
          <p:nvPr/>
        </p:nvSpPr>
        <p:spPr>
          <a:xfrm>
            <a:off x="920552" y="1796159"/>
            <a:ext cx="2299928" cy="690929"/>
          </a:xfrm>
          <a:prstGeom prst="wedgeRoundRectCallout">
            <a:avLst>
              <a:gd name="adj1" fmla="val 89210"/>
              <a:gd name="adj2" fmla="val 6979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ndicate the number of agencies investing at least once in the action, at this level</a:t>
            </a:r>
          </a:p>
        </p:txBody>
      </p:sp>
    </p:spTree>
    <p:extLst>
      <p:ext uri="{BB962C8B-B14F-4D97-AF65-F5344CB8AC3E}">
        <p14:creationId xmlns:p14="http://schemas.microsoft.com/office/powerpoint/2010/main" val="2893415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7117961" y="2329272"/>
            <a:ext cx="484607" cy="1108236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GB" sz="900" b="1" dirty="0" smtClean="0">
                <a:solidFill>
                  <a:srgbClr val="000000"/>
                </a:solidFill>
                <a:cs typeface="Arial" pitchFamily="34" charset="0"/>
              </a:rPr>
              <a:t>Maternal</a:t>
            </a:r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, Neonatal &amp; </a:t>
            </a:r>
            <a:r>
              <a:rPr lang="en-GB" sz="900" b="1" dirty="0" smtClean="0">
                <a:solidFill>
                  <a:srgbClr val="000000"/>
                </a:solidFill>
                <a:cs typeface="Arial" pitchFamily="34" charset="0"/>
              </a:rPr>
              <a:t>Paediatric</a:t>
            </a:r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 Health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117961" y="3437509"/>
            <a:ext cx="484607" cy="1113718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Micronutrient Supplementation</a:t>
            </a:r>
          </a:p>
        </p:txBody>
      </p:sp>
      <p:sp>
        <p:nvSpPr>
          <p:cNvPr id="33" name="Rectangle 32"/>
          <p:cNvSpPr/>
          <p:nvPr/>
        </p:nvSpPr>
        <p:spPr>
          <a:xfrm>
            <a:off x="7117961" y="4545744"/>
            <a:ext cx="484607" cy="759739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Mgt. of Acute Malnutrition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106562" y="5305483"/>
            <a:ext cx="484607" cy="736398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GB" sz="900" b="1" dirty="0" smtClean="0">
                <a:solidFill>
                  <a:srgbClr val="000000"/>
                </a:solidFill>
                <a:cs typeface="Arial" pitchFamily="34" charset="0"/>
              </a:rPr>
              <a:t>Water &amp; Sanitation</a:t>
            </a:r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1512335"/>
              </p:ext>
            </p:extLst>
          </p:nvPr>
        </p:nvGraphicFramePr>
        <p:xfrm>
          <a:off x="3417598" y="1649888"/>
          <a:ext cx="3688964" cy="4397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22241"/>
                <a:gridCol w="922241"/>
                <a:gridCol w="922241"/>
                <a:gridCol w="922241"/>
              </a:tblGrid>
              <a:tr h="216024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Sectoral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</a:rPr>
                        <a:t> A</a:t>
                      </a:r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ctions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</a:tr>
              <a:tr h="2933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 smtClean="0">
                          <a:solidFill>
                            <a:prstClr val="black"/>
                          </a:solidFill>
                        </a:rPr>
                        <a:t>Sma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lt;5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Medium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50-20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200-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Very 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gt;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460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</a:tbl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3332754" y="6127508"/>
            <a:ext cx="2316660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Reported in thousands of US dollar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-15552" y="6423719"/>
            <a:ext cx="65808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</a:rPr>
              <a:t>SAM = severe acute malnutrition</a:t>
            </a:r>
          </a:p>
          <a:p>
            <a:r>
              <a:rPr lang="en-US" sz="800" dirty="0" smtClean="0">
                <a:solidFill>
                  <a:srgbClr val="000000"/>
                </a:solidFill>
              </a:rPr>
              <a:t>MAM = moderate acute malnutrition</a:t>
            </a:r>
          </a:p>
          <a:p>
            <a:r>
              <a:rPr lang="en-US" sz="800" dirty="0" smtClean="0">
                <a:solidFill>
                  <a:srgbClr val="000000"/>
                </a:solidFill>
              </a:rPr>
              <a:t>Source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4" name="ZoneTexte 6"/>
          <p:cNvSpPr txBox="1"/>
          <p:nvPr/>
        </p:nvSpPr>
        <p:spPr>
          <a:xfrm>
            <a:off x="1368590" y="2339588"/>
            <a:ext cx="2004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nte-natal &amp; postnatal                         care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5" name="ZoneTexte 8"/>
          <p:cNvSpPr txBox="1"/>
          <p:nvPr/>
        </p:nvSpPr>
        <p:spPr>
          <a:xfrm>
            <a:off x="1352600" y="2771636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ealth professional-assisted delivery</a:t>
            </a:r>
            <a:endParaRPr lang="fr-FR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6" name="ZoneTexte 6"/>
          <p:cNvSpPr txBox="1"/>
          <p:nvPr/>
        </p:nvSpPr>
        <p:spPr>
          <a:xfrm>
            <a:off x="1811701" y="3131676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Basic paediatric                  health services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5" name="ZoneTexte 6"/>
          <p:cNvSpPr txBox="1"/>
          <p:nvPr/>
        </p:nvSpPr>
        <p:spPr>
          <a:xfrm>
            <a:off x="1663866" y="3491716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ron or Iron/folic acid supplementation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1352600" y="3923764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upplementation of vitamins A, D, calcium, zinc &amp;/or iodine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1856656" y="4653136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 Management of SAM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1" name="ZoneTexte 6"/>
          <p:cNvSpPr txBox="1"/>
          <p:nvPr/>
        </p:nvSpPr>
        <p:spPr>
          <a:xfrm>
            <a:off x="1663866" y="4283804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ultiple micronutrient supplementation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3" name="ZoneTexte 6"/>
          <p:cNvSpPr txBox="1"/>
          <p:nvPr/>
        </p:nvSpPr>
        <p:spPr>
          <a:xfrm>
            <a:off x="1811701" y="5013176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nagement of MAM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4" name="ZoneTexte 8"/>
          <p:cNvSpPr txBox="1"/>
          <p:nvPr/>
        </p:nvSpPr>
        <p:spPr>
          <a:xfrm>
            <a:off x="1352600" y="5373216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mprovement of water                      supply &amp; source 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5" name="ZoneTexte 6"/>
          <p:cNvSpPr txBox="1"/>
          <p:nvPr/>
        </p:nvSpPr>
        <p:spPr>
          <a:xfrm>
            <a:off x="1811701" y="5739656"/>
            <a:ext cx="156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anitation facilities management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2" name="ColumnHeader"/>
          <p:cNvSpPr>
            <a:spLocks noChangeArrowheads="1"/>
          </p:cNvSpPr>
          <p:nvPr/>
        </p:nvSpPr>
        <p:spPr bwMode="gray">
          <a:xfrm>
            <a:off x="2205376" y="1309410"/>
            <a:ext cx="5616624" cy="1846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F5F5F"/>
            </a:outerShdw>
          </a:effectLst>
        </p:spPr>
        <p:txBody>
          <a:bodyPr wrap="square" tIns="0" bIns="0" anchor="b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0000"/>
                </a:solidFill>
                <a:cs typeface="Arial" pitchFamily="34" charset="0"/>
              </a:rPr>
              <a:t>Most investments were reported for antenatal &amp; postnatal care</a:t>
            </a:r>
            <a:endParaRPr lang="pt-PT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27" name="Line 58"/>
          <p:cNvSpPr>
            <a:spLocks noChangeShapeType="1"/>
          </p:cNvSpPr>
          <p:nvPr/>
        </p:nvSpPr>
        <p:spPr bwMode="auto">
          <a:xfrm>
            <a:off x="1627932" y="3437508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28" name="Line 58"/>
          <p:cNvSpPr>
            <a:spLocks noChangeShapeType="1"/>
          </p:cNvSpPr>
          <p:nvPr/>
        </p:nvSpPr>
        <p:spPr bwMode="auto">
          <a:xfrm>
            <a:off x="1663866" y="4551226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29" name="Line 58"/>
          <p:cNvSpPr>
            <a:spLocks noChangeShapeType="1"/>
          </p:cNvSpPr>
          <p:nvPr/>
        </p:nvSpPr>
        <p:spPr bwMode="auto">
          <a:xfrm>
            <a:off x="1653332" y="5305483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  <p:sp>
        <p:nvSpPr>
          <p:cNvPr id="40" name="Rounded Rectangular Callout 39"/>
          <p:cNvSpPr/>
          <p:nvPr/>
        </p:nvSpPr>
        <p:spPr>
          <a:xfrm>
            <a:off x="8041432" y="1340768"/>
            <a:ext cx="1546340" cy="1158612"/>
          </a:xfrm>
          <a:prstGeom prst="wedgeRoundRectCallout">
            <a:avLst>
              <a:gd name="adj1" fmla="val -78865"/>
              <a:gd name="adj2" fmla="val -1970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flag which actions are receiving the highest numbers of investments. If there are more than 2, write “were reported for five actions”</a:t>
            </a:r>
          </a:p>
        </p:txBody>
      </p:sp>
      <p:sp>
        <p:nvSpPr>
          <p:cNvPr id="42" name="Rounded Rectangular Callout 41"/>
          <p:cNvSpPr/>
          <p:nvPr/>
        </p:nvSpPr>
        <p:spPr>
          <a:xfrm>
            <a:off x="8301070" y="2976555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hade the cell where a large or very investment is reported in this green colour &amp; use white for text</a:t>
            </a:r>
          </a:p>
        </p:txBody>
      </p:sp>
      <p:sp>
        <p:nvSpPr>
          <p:cNvPr id="46" name="Rounded Rectangular Callout 45"/>
          <p:cNvSpPr/>
          <p:nvPr/>
        </p:nvSpPr>
        <p:spPr>
          <a:xfrm>
            <a:off x="292962" y="1109704"/>
            <a:ext cx="2330871" cy="452887"/>
          </a:xfrm>
          <a:prstGeom prst="wedgeRoundRectCallout">
            <a:avLst>
              <a:gd name="adj1" fmla="val 21649"/>
              <a:gd name="adj2" fmla="val -9037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. </a:t>
            </a:r>
          </a:p>
        </p:txBody>
      </p:sp>
      <p:sp>
        <p:nvSpPr>
          <p:cNvPr id="30" name="Rounded Rectangular Callout 29"/>
          <p:cNvSpPr/>
          <p:nvPr/>
        </p:nvSpPr>
        <p:spPr>
          <a:xfrm>
            <a:off x="8235891" y="5573713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Where no investments are being made for an action, please shade the cells in light orange</a:t>
            </a:r>
          </a:p>
        </p:txBody>
      </p:sp>
      <p:sp>
        <p:nvSpPr>
          <p:cNvPr id="47" name="Rounded Rectangular Callout 46"/>
          <p:cNvSpPr/>
          <p:nvPr/>
        </p:nvSpPr>
        <p:spPr>
          <a:xfrm>
            <a:off x="920552" y="1796159"/>
            <a:ext cx="2299928" cy="690929"/>
          </a:xfrm>
          <a:prstGeom prst="wedgeRoundRectCallout">
            <a:avLst>
              <a:gd name="adj1" fmla="val 89210"/>
              <a:gd name="adj2" fmla="val 6979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ndicate the number of agencies investing at least once in the action, at this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cs typeface="Arial" pitchFamily="34" charset="0"/>
              </a:rPr>
              <a:t>Investments in </a:t>
            </a:r>
            <a:r>
              <a:rPr lang="en-GB" i="1" dirty="0">
                <a:solidFill>
                  <a:srgbClr val="000000"/>
                </a:solidFill>
                <a:cs typeface="Arial" pitchFamily="34" charset="0"/>
              </a:rPr>
              <a:t>Health-based</a:t>
            </a:r>
            <a:r>
              <a:rPr lang="en-GB" dirty="0">
                <a:solidFill>
                  <a:srgbClr val="000000"/>
                </a:solidFill>
                <a:cs typeface="Arial" pitchFamily="34" charset="0"/>
              </a:rPr>
              <a:t> nutrition actions vary in size (1/2</a:t>
            </a:r>
            <a:r>
              <a:rPr lang="en-GB" dirty="0" smtClean="0">
                <a:solidFill>
                  <a:srgbClr val="000000"/>
                </a:solidFill>
                <a:cs typeface="Arial" pitchFamily="34" charset="0"/>
              </a:rPr>
              <a:t>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8792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9778" y="609655"/>
            <a:ext cx="9327758" cy="369332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Investments in </a:t>
            </a:r>
            <a:r>
              <a:rPr lang="en-GB" b="1" i="1" dirty="0" smtClean="0">
                <a:solidFill>
                  <a:srgbClr val="000000"/>
                </a:solidFill>
                <a:cs typeface="Arial" pitchFamily="34" charset="0"/>
              </a:rPr>
              <a:t>Health-based</a:t>
            </a:r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 nutrition actions vary in size (2/2)</a:t>
            </a:r>
            <a:endParaRPr lang="en-GB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5552" y="6525344"/>
            <a:ext cx="658087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</a:rPr>
              <a:t>TB = tuberculosis</a:t>
            </a:r>
          </a:p>
          <a:p>
            <a:r>
              <a:rPr lang="en-US" sz="800" dirty="0" smtClean="0">
                <a:solidFill>
                  <a:srgbClr val="000000"/>
                </a:solidFill>
              </a:rPr>
              <a:t>Source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4" name="ZoneTexte 6"/>
          <p:cNvSpPr txBox="1"/>
          <p:nvPr/>
        </p:nvSpPr>
        <p:spPr>
          <a:xfrm>
            <a:off x="1448010" y="2769952"/>
            <a:ext cx="20040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nti-malaria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5" name="ZoneTexte 8"/>
          <p:cNvSpPr txBox="1"/>
          <p:nvPr/>
        </p:nvSpPr>
        <p:spPr>
          <a:xfrm>
            <a:off x="1432020" y="3129992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nagement of                               diarrhoea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6" name="ZoneTexte 6"/>
          <p:cNvSpPr txBox="1"/>
          <p:nvPr/>
        </p:nvSpPr>
        <p:spPr>
          <a:xfrm>
            <a:off x="1891121" y="3568386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Vaccinations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141027" y="2774412"/>
            <a:ext cx="484607" cy="2232248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cs typeface="Arial" pitchFamily="34" charset="0"/>
              </a:rPr>
              <a:t>Prevention &amp; Management of Soil, Waterborne &amp; endemic Disease</a:t>
            </a:r>
          </a:p>
        </p:txBody>
      </p:sp>
      <p:sp>
        <p:nvSpPr>
          <p:cNvPr id="35" name="ZoneTexte 6"/>
          <p:cNvSpPr txBox="1"/>
          <p:nvPr/>
        </p:nvSpPr>
        <p:spPr>
          <a:xfrm>
            <a:off x="1448010" y="3922080"/>
            <a:ext cx="2004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IV management &amp; prevention of mother to child transmission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1432020" y="4282120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nagement of                        tuberculosis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1" name="ZoneTexte 6"/>
          <p:cNvSpPr txBox="1"/>
          <p:nvPr/>
        </p:nvSpPr>
        <p:spPr>
          <a:xfrm>
            <a:off x="1743286" y="4651452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nagement of                respiratory infections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2" name="ColumnHeader"/>
          <p:cNvSpPr>
            <a:spLocks noChangeArrowheads="1"/>
          </p:cNvSpPr>
          <p:nvPr/>
        </p:nvSpPr>
        <p:spPr bwMode="gray">
          <a:xfrm>
            <a:off x="2661100" y="1446436"/>
            <a:ext cx="5380332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F5F5F"/>
            </a:outerShdw>
          </a:effectLst>
        </p:spPr>
        <p:txBody>
          <a:bodyPr wrap="square" tIns="0" bIns="0" anchor="b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0000"/>
                </a:solidFill>
                <a:cs typeface="Arial" pitchFamily="34" charset="0"/>
              </a:rPr>
              <a:t>Most investments were reported for antimalaria </a:t>
            </a:r>
            <a:r>
              <a:rPr lang="pt-PT" sz="1200" b="1" smtClean="0">
                <a:solidFill>
                  <a:srgbClr val="000000"/>
                </a:solidFill>
                <a:cs typeface="Arial" pitchFamily="34" charset="0"/>
              </a:rPr>
              <a:t>and management </a:t>
            </a:r>
          </a:p>
          <a:p>
            <a:pPr algn="ctr"/>
            <a:r>
              <a:rPr lang="pt-PT" sz="1200" b="1" smtClean="0">
                <a:solidFill>
                  <a:srgbClr val="000000"/>
                </a:solidFill>
                <a:cs typeface="Arial" pitchFamily="34" charset="0"/>
              </a:rPr>
              <a:t>of tuberculosis</a:t>
            </a:r>
            <a:endParaRPr lang="pt-PT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21" name="Rounded Rectangular Callout 20"/>
          <p:cNvSpPr/>
          <p:nvPr/>
        </p:nvSpPr>
        <p:spPr>
          <a:xfrm>
            <a:off x="8041432" y="1340768"/>
            <a:ext cx="1546340" cy="1158612"/>
          </a:xfrm>
          <a:prstGeom prst="wedgeRoundRectCallout">
            <a:avLst>
              <a:gd name="adj1" fmla="val -78865"/>
              <a:gd name="adj2" fmla="val -1970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flag which actions are receiving the highest numbers of investments. If there are more than 2, write “were reported for five actions”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7902617" y="2963374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hade the cell where a large or very investment is reported in this green colour &amp; use white for text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292962" y="1109704"/>
            <a:ext cx="2330871" cy="452887"/>
          </a:xfrm>
          <a:prstGeom prst="wedgeRoundRectCallout">
            <a:avLst>
              <a:gd name="adj1" fmla="val 21649"/>
              <a:gd name="adj2" fmla="val -9037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. </a:t>
            </a:r>
          </a:p>
        </p:txBody>
      </p:sp>
      <p:sp>
        <p:nvSpPr>
          <p:cNvPr id="19" name="Rounded Rectangular Callout 18"/>
          <p:cNvSpPr/>
          <p:nvPr/>
        </p:nvSpPr>
        <p:spPr>
          <a:xfrm>
            <a:off x="7882470" y="4396554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Where no investments are being made for an action, please shade the cells in light orang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452063" y="4991200"/>
            <a:ext cx="2316660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Reported in thousands of US dollars</a:t>
            </a: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5595939"/>
              </p:ext>
            </p:extLst>
          </p:nvPr>
        </p:nvGraphicFramePr>
        <p:xfrm>
          <a:off x="3452063" y="2095820"/>
          <a:ext cx="3688964" cy="291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22241"/>
                <a:gridCol w="922241"/>
                <a:gridCol w="922241"/>
                <a:gridCol w="922241"/>
              </a:tblGrid>
              <a:tr h="216024"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Sectoral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</a:rPr>
                        <a:t> A</a:t>
                      </a:r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ctions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</a:tr>
              <a:tr h="2933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 smtClean="0">
                          <a:solidFill>
                            <a:prstClr val="black"/>
                          </a:solidFill>
                        </a:rPr>
                        <a:t>Sma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lt;5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Medium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50-20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200-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Very 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gt;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smtClean="0"/>
                        <a:t>2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8" name="Rounded Rectangular Callout 27"/>
          <p:cNvSpPr/>
          <p:nvPr/>
        </p:nvSpPr>
        <p:spPr>
          <a:xfrm>
            <a:off x="593322" y="3204489"/>
            <a:ext cx="2299928" cy="690929"/>
          </a:xfrm>
          <a:prstGeom prst="wedgeRoundRectCallout">
            <a:avLst>
              <a:gd name="adj1" fmla="val 89210"/>
              <a:gd name="adj2" fmla="val 6979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ndicate the number of agencies investing at least once in the action, at this level</a:t>
            </a:r>
          </a:p>
        </p:txBody>
      </p:sp>
    </p:spTree>
    <p:extLst>
      <p:ext uri="{BB962C8B-B14F-4D97-AF65-F5344CB8AC3E}">
        <p14:creationId xmlns:p14="http://schemas.microsoft.com/office/powerpoint/2010/main" val="3894535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Investments in </a:t>
            </a:r>
            <a:r>
              <a:rPr lang="en-GB" b="1" i="1" dirty="0" smtClean="0">
                <a:solidFill>
                  <a:srgbClr val="000000"/>
                </a:solidFill>
                <a:cs typeface="Arial" pitchFamily="34" charset="0"/>
              </a:rPr>
              <a:t>Social Protection</a:t>
            </a:r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-related nutrition actions tend </a:t>
            </a:r>
            <a:r>
              <a:rPr lang="en-GB" b="1" dirty="0">
                <a:solidFill>
                  <a:srgbClr val="000000"/>
                </a:solidFill>
                <a:cs typeface="Arial" pitchFamily="34" charset="0"/>
              </a:rPr>
              <a:t>to be characterized as small </a:t>
            </a:r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and medium </a:t>
            </a:r>
            <a:endParaRPr lang="en-GB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15552" y="6597352"/>
            <a:ext cx="658087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</a:rPr>
              <a:t>Source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4" name="ZoneTexte 6"/>
          <p:cNvSpPr txBox="1"/>
          <p:nvPr/>
        </p:nvSpPr>
        <p:spPr>
          <a:xfrm>
            <a:off x="1368590" y="2858111"/>
            <a:ext cx="2004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ood assistance for                     vulnerable population groups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5" name="ZoneTexte 8"/>
          <p:cNvSpPr txBox="1"/>
          <p:nvPr/>
        </p:nvSpPr>
        <p:spPr>
          <a:xfrm>
            <a:off x="1352600" y="3212976"/>
            <a:ext cx="20200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chool-based                                          social </a:t>
            </a:r>
            <a:r>
              <a:rPr lang="en-GB" sz="9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s</a:t>
            </a:r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fety nets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6" name="ZoneTexte 6"/>
          <p:cNvSpPr txBox="1"/>
          <p:nvPr/>
        </p:nvSpPr>
        <p:spPr>
          <a:xfrm>
            <a:off x="1811701" y="3573016"/>
            <a:ext cx="156094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ssisted health services</a:t>
            </a:r>
            <a:endParaRPr lang="en-GB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5" name="ZoneTexte 6"/>
          <p:cNvSpPr txBox="1"/>
          <p:nvPr/>
        </p:nvSpPr>
        <p:spPr>
          <a:xfrm>
            <a:off x="1368590" y="3933056"/>
            <a:ext cx="2004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Poverty reduction &amp;/or emergency risk mitigation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1352600" y="4365104"/>
            <a:ext cx="202004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inimum maternity protection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1" name="ZoneTexte 6"/>
          <p:cNvSpPr txBox="1"/>
          <p:nvPr/>
        </p:nvSpPr>
        <p:spPr>
          <a:xfrm>
            <a:off x="1663866" y="4734436"/>
            <a:ext cx="17087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nsurance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2" name="ColumnHeader"/>
          <p:cNvSpPr>
            <a:spLocks noChangeArrowheads="1"/>
          </p:cNvSpPr>
          <p:nvPr/>
        </p:nvSpPr>
        <p:spPr bwMode="gray">
          <a:xfrm>
            <a:off x="2036677" y="1741458"/>
            <a:ext cx="5832647" cy="18466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F5F5F"/>
            </a:outerShdw>
          </a:effectLst>
        </p:spPr>
        <p:txBody>
          <a:bodyPr wrap="square" tIns="0" bIns="0" anchor="b">
            <a:spAutoFit/>
          </a:bodyPr>
          <a:lstStyle/>
          <a:p>
            <a:pPr algn="ctr"/>
            <a:r>
              <a:rPr lang="pt-PT" sz="1200" b="1" dirty="0" smtClean="0">
                <a:solidFill>
                  <a:srgbClr val="000000"/>
                </a:solidFill>
                <a:cs typeface="Arial" pitchFamily="34" charset="0"/>
              </a:rPr>
              <a:t>Most investments in Social Protection were reported in 3 actions</a:t>
            </a:r>
            <a:endParaRPr lang="pt-PT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19" name="ZoneTexte 6"/>
          <p:cNvSpPr txBox="1"/>
          <p:nvPr/>
        </p:nvSpPr>
        <p:spPr>
          <a:xfrm>
            <a:off x="1663866" y="5075892"/>
            <a:ext cx="1708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1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cro-economic                          levers</a:t>
            </a:r>
            <a:endParaRPr lang="en-US" sz="900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0721369"/>
              </p:ext>
            </p:extLst>
          </p:nvPr>
        </p:nvGraphicFramePr>
        <p:xfrm>
          <a:off x="3514999" y="2235696"/>
          <a:ext cx="3670248" cy="32816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7562"/>
                <a:gridCol w="917562"/>
                <a:gridCol w="917562"/>
                <a:gridCol w="917562"/>
              </a:tblGrid>
              <a:tr h="144016"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Sectoral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</a:rPr>
                        <a:t> A</a:t>
                      </a:r>
                      <a:r>
                        <a:rPr lang="en-US" sz="1100" b="1" dirty="0" smtClean="0">
                          <a:solidFill>
                            <a:schemeClr val="bg1"/>
                          </a:solidFill>
                        </a:rPr>
                        <a:t>ctions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DD4"/>
                    </a:solidFill>
                  </a:tcPr>
                </a:tc>
              </a:tr>
              <a:tr h="2933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 smtClean="0">
                          <a:solidFill>
                            <a:prstClr val="black"/>
                          </a:solidFill>
                        </a:rPr>
                        <a:t>Small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lt;5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Medium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50-200*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200-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/>
                        <a:t>Very Large</a:t>
                      </a:r>
                    </a:p>
                    <a:p>
                      <a:pPr algn="ctr"/>
                      <a:r>
                        <a:rPr lang="fr-FR" sz="1100" b="0" dirty="0" smtClean="0">
                          <a:solidFill>
                            <a:prstClr val="black"/>
                          </a:solidFill>
                        </a:rPr>
                        <a:t>(&gt;500*)</a:t>
                      </a:r>
                      <a:endParaRPr lang="en-US" sz="11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1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9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452449" y="5496964"/>
            <a:ext cx="2316660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Reported in thousands of US dollars</a:t>
            </a:r>
          </a:p>
        </p:txBody>
      </p:sp>
      <p:sp>
        <p:nvSpPr>
          <p:cNvPr id="31" name="Rounded Rectangular Callout 30"/>
          <p:cNvSpPr/>
          <p:nvPr/>
        </p:nvSpPr>
        <p:spPr>
          <a:xfrm>
            <a:off x="8041432" y="1340768"/>
            <a:ext cx="1546340" cy="1158612"/>
          </a:xfrm>
          <a:prstGeom prst="wedgeRoundRectCallout">
            <a:avLst>
              <a:gd name="adj1" fmla="val -78865"/>
              <a:gd name="adj2" fmla="val -1970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flag which actions are receiving the highest numbers of investments. If there are more than 2, write “were reported for five actions”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8301070" y="2976555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hade the cell where a large or very investment is reported in this green colour &amp; use white for text</a:t>
            </a:r>
          </a:p>
        </p:txBody>
      </p:sp>
      <p:sp>
        <p:nvSpPr>
          <p:cNvPr id="33" name="Rounded Rectangular Callout 32"/>
          <p:cNvSpPr/>
          <p:nvPr/>
        </p:nvSpPr>
        <p:spPr>
          <a:xfrm>
            <a:off x="292962" y="1109704"/>
            <a:ext cx="2330871" cy="452887"/>
          </a:xfrm>
          <a:prstGeom prst="wedgeRoundRectCallout">
            <a:avLst>
              <a:gd name="adj1" fmla="val 21649"/>
              <a:gd name="adj2" fmla="val -9037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. </a:t>
            </a:r>
          </a:p>
        </p:txBody>
      </p:sp>
      <p:sp>
        <p:nvSpPr>
          <p:cNvPr id="21" name="Rounded Rectangular Callout 20"/>
          <p:cNvSpPr/>
          <p:nvPr/>
        </p:nvSpPr>
        <p:spPr>
          <a:xfrm>
            <a:off x="8218209" y="5260558"/>
            <a:ext cx="1286702" cy="948269"/>
          </a:xfrm>
          <a:prstGeom prst="wedgeRoundRectCallout">
            <a:avLst>
              <a:gd name="adj1" fmla="val -151376"/>
              <a:gd name="adj2" fmla="val -497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Where no investments are being made for an action, please shade the cells in light orange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432187" y="3375343"/>
            <a:ext cx="2299928" cy="690929"/>
          </a:xfrm>
          <a:prstGeom prst="wedgeRoundRectCallout">
            <a:avLst>
              <a:gd name="adj1" fmla="val 89210"/>
              <a:gd name="adj2" fmla="val 6979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ndicate the number of agencies investing at least once in the action, at this level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185247" y="2915177"/>
            <a:ext cx="484607" cy="1480732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cial Safety Nets</a:t>
            </a:r>
            <a:endParaRPr lang="en-US" sz="9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185246" y="4395909"/>
            <a:ext cx="484607" cy="1129719"/>
          </a:xfrm>
          <a:prstGeom prst="rect">
            <a:avLst/>
          </a:prstGeom>
          <a:ln w="22225">
            <a:solidFill>
              <a:srgbClr val="5F5F5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ctr" anchorCtr="0"/>
          <a:lstStyle/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rket regulation</a:t>
            </a:r>
          </a:p>
          <a:p>
            <a:pPr algn="ctr"/>
            <a:r>
              <a:rPr lang="en-US" sz="9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&amp; Insurance</a:t>
            </a:r>
            <a:endParaRPr lang="en-US" sz="9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Line 58"/>
          <p:cNvSpPr>
            <a:spLocks noChangeShapeType="1"/>
          </p:cNvSpPr>
          <p:nvPr/>
        </p:nvSpPr>
        <p:spPr bwMode="auto">
          <a:xfrm>
            <a:off x="1640632" y="4380321"/>
            <a:ext cx="6400800" cy="0"/>
          </a:xfrm>
          <a:prstGeom prst="line">
            <a:avLst/>
          </a:prstGeom>
          <a:noFill/>
          <a:ln w="25400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5940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>
            <a:off x="292963" y="6661718"/>
            <a:ext cx="658087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</a:rPr>
              <a:t>Source</a:t>
            </a:r>
            <a:r>
              <a:rPr lang="en-US" sz="800" dirty="0" smtClean="0">
                <a:solidFill>
                  <a:srgbClr val="000000"/>
                </a:solidFill>
              </a:rPr>
              <a:t>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25" name="Rectangle 224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108" name="Rectangle 71"/>
          <p:cNvSpPr>
            <a:spLocks noChangeArrowheads="1"/>
          </p:cNvSpPr>
          <p:nvPr/>
        </p:nvSpPr>
        <p:spPr bwMode="gray">
          <a:xfrm>
            <a:off x="1400646" y="5805264"/>
            <a:ext cx="7327900" cy="30677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  <a:extLst/>
        </p:spPr>
        <p:txBody>
          <a:bodyPr anchor="ctr" anchorCtr="1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00" b="1" dirty="0" smtClean="0">
                <a:solidFill>
                  <a:srgbClr val="FFFFFF"/>
                </a:solidFill>
              </a:rPr>
              <a:t>Qualify if there is a reason for misalignment</a:t>
            </a:r>
            <a:endParaRPr lang="en-GB" altLang="en-US" sz="1600" b="1" dirty="0">
              <a:solidFill>
                <a:srgbClr val="FFFFFF"/>
              </a:solidFill>
            </a:endParaRPr>
          </a:p>
        </p:txBody>
      </p:sp>
      <p:sp>
        <p:nvSpPr>
          <p:cNvPr id="110" name="ColumnHeader"/>
          <p:cNvSpPr>
            <a:spLocks noChangeArrowheads="1"/>
          </p:cNvSpPr>
          <p:nvPr/>
        </p:nvSpPr>
        <p:spPr bwMode="gray">
          <a:xfrm>
            <a:off x="844292" y="1283217"/>
            <a:ext cx="4506364" cy="49244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548DD4"/>
            </a:outerShdw>
          </a:effectLst>
        </p:spPr>
        <p:txBody>
          <a:bodyPr wrap="square" tIns="0" bIns="0" anchor="b">
            <a:spAutoFit/>
          </a:bodyPr>
          <a:lstStyle/>
          <a:p>
            <a:pPr algn="ctr"/>
            <a:r>
              <a:rPr lang="pt-PT" sz="1600" b="1" dirty="0" smtClean="0">
                <a:solidFill>
                  <a:srgbClr val="000000"/>
                </a:solidFill>
                <a:cs typeface="Arial" pitchFamily="34" charset="0"/>
              </a:rPr>
              <a:t>UN agency alignment to                                                            the national nutrition plan*</a:t>
            </a:r>
          </a:p>
        </p:txBody>
      </p:sp>
      <p:graphicFrame>
        <p:nvGraphicFramePr>
          <p:cNvPr id="68" name="Graphique 4"/>
          <p:cNvGraphicFramePr/>
          <p:nvPr>
            <p:extLst>
              <p:ext uri="{D42A27DB-BD31-4B8C-83A1-F6EECF244321}">
                <p14:modId xmlns:p14="http://schemas.microsoft.com/office/powerpoint/2010/main" val="2638012086"/>
              </p:ext>
            </p:extLst>
          </p:nvPr>
        </p:nvGraphicFramePr>
        <p:xfrm>
          <a:off x="277845" y="2176683"/>
          <a:ext cx="4777774" cy="3349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6" name="ZoneTexte 6"/>
          <p:cNvSpPr txBox="1"/>
          <p:nvPr/>
        </p:nvSpPr>
        <p:spPr>
          <a:xfrm>
            <a:off x="992560" y="5409957"/>
            <a:ext cx="106372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>
                <a:solidFill>
                  <a:prstClr val="black"/>
                </a:solidFill>
              </a:rPr>
              <a:t>UNICEF</a:t>
            </a:r>
            <a:endParaRPr lang="fr-FR" sz="1050" dirty="0">
              <a:solidFill>
                <a:prstClr val="black"/>
              </a:solidFill>
            </a:endParaRPr>
          </a:p>
        </p:txBody>
      </p:sp>
      <p:sp>
        <p:nvSpPr>
          <p:cNvPr id="109" name="ZoneTexte 7"/>
          <p:cNvSpPr txBox="1"/>
          <p:nvPr/>
        </p:nvSpPr>
        <p:spPr>
          <a:xfrm>
            <a:off x="1676337" y="5409957"/>
            <a:ext cx="88710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>
                <a:solidFill>
                  <a:prstClr val="black"/>
                </a:solidFill>
              </a:rPr>
              <a:t>WFP</a:t>
            </a:r>
            <a:endParaRPr lang="fr-FR" sz="1050" dirty="0">
              <a:solidFill>
                <a:prstClr val="black"/>
              </a:solidFill>
            </a:endParaRPr>
          </a:p>
        </p:txBody>
      </p:sp>
      <p:sp>
        <p:nvSpPr>
          <p:cNvPr id="114" name="ZoneTexte 8"/>
          <p:cNvSpPr txBox="1"/>
          <p:nvPr/>
        </p:nvSpPr>
        <p:spPr>
          <a:xfrm>
            <a:off x="2413063" y="5409957"/>
            <a:ext cx="498315" cy="257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>
                <a:solidFill>
                  <a:prstClr val="black"/>
                </a:solidFill>
              </a:rPr>
              <a:t>FAO</a:t>
            </a:r>
            <a:endParaRPr lang="fr-FR" sz="1050" dirty="0">
              <a:solidFill>
                <a:prstClr val="black"/>
              </a:solidFill>
            </a:endParaRPr>
          </a:p>
        </p:txBody>
      </p:sp>
      <p:sp>
        <p:nvSpPr>
          <p:cNvPr id="118" name="ZoneTexte 9"/>
          <p:cNvSpPr txBox="1"/>
          <p:nvPr/>
        </p:nvSpPr>
        <p:spPr>
          <a:xfrm>
            <a:off x="2937016" y="5409957"/>
            <a:ext cx="60949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>
                <a:solidFill>
                  <a:prstClr val="black"/>
                </a:solidFill>
              </a:rPr>
              <a:t>WHO</a:t>
            </a:r>
            <a:endParaRPr lang="fr-FR" sz="1050" dirty="0">
              <a:solidFill>
                <a:prstClr val="black"/>
              </a:solidFill>
            </a:endParaRPr>
          </a:p>
        </p:txBody>
      </p:sp>
      <p:sp>
        <p:nvSpPr>
          <p:cNvPr id="127" name="ZoneTexte 11"/>
          <p:cNvSpPr txBox="1"/>
          <p:nvPr/>
        </p:nvSpPr>
        <p:spPr>
          <a:xfrm>
            <a:off x="52204" y="1776819"/>
            <a:ext cx="43172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% actions </a:t>
            </a:r>
            <a:endParaRPr lang="fr-FR" sz="12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28" name="ZoneTexte 9"/>
          <p:cNvSpPr txBox="1"/>
          <p:nvPr/>
        </p:nvSpPr>
        <p:spPr>
          <a:xfrm>
            <a:off x="3500502" y="5409957"/>
            <a:ext cx="60949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>
                <a:solidFill>
                  <a:prstClr val="black"/>
                </a:solidFill>
              </a:rPr>
              <a:t>IFAD</a:t>
            </a:r>
            <a:endParaRPr lang="fr-FR" sz="1050" dirty="0">
              <a:solidFill>
                <a:prstClr val="black"/>
              </a:solidFill>
            </a:endParaRPr>
          </a:p>
        </p:txBody>
      </p:sp>
      <p:sp>
        <p:nvSpPr>
          <p:cNvPr id="135" name="ZoneTexte 9"/>
          <p:cNvSpPr txBox="1"/>
          <p:nvPr/>
        </p:nvSpPr>
        <p:spPr>
          <a:xfrm>
            <a:off x="4029237" y="5409957"/>
            <a:ext cx="68278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>
                <a:solidFill>
                  <a:prstClr val="black"/>
                </a:solidFill>
              </a:rPr>
              <a:t>UNFPA</a:t>
            </a:r>
            <a:endParaRPr lang="fr-FR" sz="1050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844292" y="2733318"/>
            <a:ext cx="4365641" cy="0"/>
          </a:xfrm>
          <a:prstGeom prst="line">
            <a:avLst/>
          </a:prstGeom>
          <a:ln w="349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 Box 4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55618" y="2493445"/>
            <a:ext cx="1415749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 eaLnBrk="0" hangingPunct="0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Aft>
                <a:spcPct val="0"/>
              </a:spcAft>
            </a:pPr>
            <a:r>
              <a:rPr lang="en-US" sz="10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UN Network Average</a:t>
            </a:r>
          </a:p>
          <a:p>
            <a:pPr eaLnBrk="1" fontAlgn="base" hangingPunct="1">
              <a:spcAft>
                <a:spcPct val="0"/>
              </a:spcAft>
            </a:pPr>
            <a:r>
              <a:rPr lang="en-US" sz="10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87%</a:t>
            </a:r>
          </a:p>
        </p:txBody>
      </p:sp>
      <p:sp>
        <p:nvSpPr>
          <p:cNvPr id="137" name="AutoShape 2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5160918" y="2665935"/>
            <a:ext cx="11869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/>
        </p:spPr>
        <p:txBody>
          <a:bodyPr rot="10800000" wrap="none" lIns="18000" rIns="180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138" name="Rounded Rectangular Callout 137"/>
          <p:cNvSpPr/>
          <p:nvPr/>
        </p:nvSpPr>
        <p:spPr>
          <a:xfrm>
            <a:off x="8091010" y="5115685"/>
            <a:ext cx="1428159" cy="948269"/>
          </a:xfrm>
          <a:prstGeom prst="wedgeRoundRectCallout">
            <a:avLst>
              <a:gd name="adj1" fmla="val -95739"/>
              <a:gd name="adj2" fmla="val 3911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Perhaps a key action was overlooked in the national nutrition plan?  Perhaps the plan is old?</a:t>
            </a:r>
          </a:p>
        </p:txBody>
      </p:sp>
      <p:sp>
        <p:nvSpPr>
          <p:cNvPr id="140" name="Rounded Rectangular Callout 139"/>
          <p:cNvSpPr/>
          <p:nvPr/>
        </p:nvSpPr>
        <p:spPr>
          <a:xfrm>
            <a:off x="130942" y="4048050"/>
            <a:ext cx="1694910" cy="1121992"/>
          </a:xfrm>
          <a:prstGeom prst="wedgeRoundRectCallout">
            <a:avLst>
              <a:gd name="adj1" fmla="val -38400"/>
              <a:gd name="adj2" fmla="val 19054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include actual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name of the country’s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plan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and other citation information, including the year of publications as a source on this slide.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4" name="Rounded Rectangular Callout 23"/>
          <p:cNvSpPr/>
          <p:nvPr/>
        </p:nvSpPr>
        <p:spPr>
          <a:xfrm>
            <a:off x="5375860" y="1358766"/>
            <a:ext cx="1095508" cy="850438"/>
          </a:xfrm>
          <a:prstGeom prst="wedgeRoundRectCallout">
            <a:avLst>
              <a:gd name="adj1" fmla="val -29804"/>
              <a:gd name="adj2" fmla="val 8748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adjust average and horizontal line as needed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08962" y="6200053"/>
            <a:ext cx="95685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Note: </a:t>
            </a:r>
            <a:r>
              <a:rPr lang="en-GB" sz="1200" dirty="0"/>
              <a:t>R</a:t>
            </a:r>
            <a:r>
              <a:rPr lang="en-US" sz="1200" dirty="0" err="1" smtClean="0"/>
              <a:t>ecognizing</a:t>
            </a:r>
            <a:r>
              <a:rPr lang="en-US" sz="1200" dirty="0" smtClean="0"/>
              <a:t> that not all UN agencies have a nutrition mandate, it is to be expected that certain agencies will have lower alignment with the national nutrition plan. </a:t>
            </a:r>
            <a:endParaRPr lang="en-GB" sz="1200" dirty="0"/>
          </a:p>
        </p:txBody>
      </p:sp>
      <p:sp>
        <p:nvSpPr>
          <p:cNvPr id="25" name="Rounded Rectangular Callout 24"/>
          <p:cNvSpPr/>
          <p:nvPr/>
        </p:nvSpPr>
        <p:spPr>
          <a:xfrm>
            <a:off x="105009" y="925032"/>
            <a:ext cx="1966615" cy="1164030"/>
          </a:xfrm>
          <a:prstGeom prst="wedgeRoundRectCallout">
            <a:avLst>
              <a:gd name="adj1" fmla="val -1883"/>
              <a:gd name="adj2" fmla="val -10196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&lt;25% = few</a:t>
            </a:r>
          </a:p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25-50% = some</a:t>
            </a:r>
          </a:p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50-75% = many</a:t>
            </a:r>
          </a:p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&gt;75% = most</a:t>
            </a:r>
          </a:p>
          <a:p>
            <a:pPr algn="ctr"/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Alternatively, this may be qualified with just over half, three-quarters, etc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.</a:t>
            </a:r>
          </a:p>
        </p:txBody>
      </p:sp>
      <p:sp>
        <p:nvSpPr>
          <p:cNvPr id="26" name="Rounded Rectangular Callout 25"/>
          <p:cNvSpPr/>
          <p:nvPr/>
        </p:nvSpPr>
        <p:spPr>
          <a:xfrm>
            <a:off x="4951368" y="3223727"/>
            <a:ext cx="1489779" cy="1851255"/>
          </a:xfrm>
          <a:prstGeom prst="wedgeRoundRectCallout">
            <a:avLst>
              <a:gd name="adj1" fmla="val -50130"/>
              <a:gd name="adj2" fmla="val -6501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Numerator = number of actions aligned to a Strategic Objective or Results in the national nutrition plan. 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Denominator = total number of actions being supported by this agency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751764" y="2465029"/>
            <a:ext cx="2964175" cy="212075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following nutrition actions supported by agencies are not in the national nutrition plan: </a:t>
            </a:r>
          </a:p>
          <a:p>
            <a:endParaRPr lang="en-GB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latin typeface="Arial" pitchFamily="34" charset="0"/>
                <a:cs typeface="Arial" pitchFamily="34" charset="0"/>
              </a:rPr>
              <a:t>Insurance</a:t>
            </a:r>
            <a:endParaRPr lang="en-GB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latin typeface="Arial" pitchFamily="34" charset="0"/>
                <a:cs typeface="Arial" pitchFamily="34" charset="0"/>
              </a:rPr>
              <a:t>Macro-economic lev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anitation facilities management</a:t>
            </a:r>
          </a:p>
          <a:p>
            <a:endParaRPr lang="en-GB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7709581" y="1387526"/>
            <a:ext cx="1095508" cy="850438"/>
          </a:xfrm>
          <a:prstGeom prst="wedgeRoundRectCallout">
            <a:avLst>
              <a:gd name="adj1" fmla="val -29804"/>
              <a:gd name="adj2" fmla="val 8748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Modify based on the results of the analysi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cs typeface="Arial" pitchFamily="34" charset="0"/>
              </a:rPr>
              <a:t>Most/many/some/few of the nutrition actions for which the UN agencies surveyed are providing support are aligned to the national nutrition </a:t>
            </a:r>
            <a:r>
              <a:rPr lang="en-GB" dirty="0" smtClean="0">
                <a:solidFill>
                  <a:srgbClr val="000000"/>
                </a:solidFill>
                <a:cs typeface="Arial" pitchFamily="34" charset="0"/>
              </a:rPr>
              <a:t>pla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8786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105"/>
          <p:cNvSpPr/>
          <p:nvPr/>
        </p:nvSpPr>
        <p:spPr>
          <a:xfrm>
            <a:off x="596975" y="5942449"/>
            <a:ext cx="3398241" cy="485309"/>
          </a:xfrm>
          <a:prstGeom prst="rect">
            <a:avLst/>
          </a:prstGeom>
          <a:noFill/>
          <a:ln w="1905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7941960" y="3037755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56" name="Rectangle 55"/>
          <p:cNvSpPr/>
          <p:nvPr/>
        </p:nvSpPr>
        <p:spPr>
          <a:xfrm>
            <a:off x="-15552" y="6597352"/>
            <a:ext cx="658087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</a:rPr>
              <a:t>Source: UN Inventory exercise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51265" y="705523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graphicFrame>
        <p:nvGraphicFramePr>
          <p:cNvPr id="25" name="Espace réservé du contenu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6584615"/>
              </p:ext>
            </p:extLst>
          </p:nvPr>
        </p:nvGraphicFramePr>
        <p:xfrm>
          <a:off x="560512" y="2060848"/>
          <a:ext cx="4865327" cy="4471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" name="Rectangle 2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0663" y="1340768"/>
            <a:ext cx="4560988" cy="55399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defTabSz="914400"/>
            <a:r>
              <a:rPr lang="en-US" sz="1200" b="1" kern="0" dirty="0" smtClean="0">
                <a:solidFill>
                  <a:prstClr val="black"/>
                </a:solidFill>
              </a:rPr>
              <a:t>UN actions supporting the National Nutrition Plan’s Strategic Objectives/Results</a:t>
            </a:r>
          </a:p>
        </p:txBody>
      </p:sp>
      <p:sp>
        <p:nvSpPr>
          <p:cNvPr id="36" name="Rounded Rectangular Callout 35"/>
          <p:cNvSpPr/>
          <p:nvPr/>
        </p:nvSpPr>
        <p:spPr>
          <a:xfrm>
            <a:off x="241649" y="861294"/>
            <a:ext cx="2330871" cy="431294"/>
          </a:xfrm>
          <a:prstGeom prst="wedgeRoundRectCallout">
            <a:avLst>
              <a:gd name="adj1" fmla="val 29084"/>
              <a:gd name="adj2" fmla="val -77280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</a:t>
            </a:r>
          </a:p>
        </p:txBody>
      </p:sp>
      <p:sp>
        <p:nvSpPr>
          <p:cNvPr id="41" name="Rounded Rectangular Callout 40"/>
          <p:cNvSpPr/>
          <p:nvPr/>
        </p:nvSpPr>
        <p:spPr>
          <a:xfrm>
            <a:off x="4449620" y="5675197"/>
            <a:ext cx="1694910" cy="1121992"/>
          </a:xfrm>
          <a:prstGeom prst="wedgeRoundRectCallout">
            <a:avLst>
              <a:gd name="adj1" fmla="val -191948"/>
              <a:gd name="adj2" fmla="val 4010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include actual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name of the country’s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plan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and other citation information, including the year of publications as a source on this slide.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8" name="Isosceles Triangle 47"/>
          <p:cNvSpPr/>
          <p:nvPr/>
        </p:nvSpPr>
        <p:spPr bwMode="auto">
          <a:xfrm rot="5400000">
            <a:off x="4797363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41760" y="1682971"/>
            <a:ext cx="979970" cy="5510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mall</a:t>
            </a:r>
          </a:p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&lt;50)*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961990" y="1682971"/>
            <a:ext cx="979970" cy="5510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dium</a:t>
            </a:r>
          </a:p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50-200)*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7880255" y="1682971"/>
            <a:ext cx="979970" cy="5510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arge</a:t>
            </a:r>
          </a:p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200-500)*</a:t>
            </a:r>
          </a:p>
        </p:txBody>
      </p:sp>
      <p:cxnSp>
        <p:nvCxnSpPr>
          <p:cNvPr id="51" name="Straight Connector 50"/>
          <p:cNvCxnSpPr/>
          <p:nvPr/>
        </p:nvCxnSpPr>
        <p:spPr bwMode="auto">
          <a:xfrm>
            <a:off x="6380953" y="2204864"/>
            <a:ext cx="3260529" cy="21486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53" name="Straight Connector 52"/>
          <p:cNvCxnSpPr/>
          <p:nvPr/>
        </p:nvCxnSpPr>
        <p:spPr bwMode="auto">
          <a:xfrm>
            <a:off x="7005856" y="1901152"/>
            <a:ext cx="0" cy="438912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55" name="Straight Connector 54"/>
          <p:cNvCxnSpPr/>
          <p:nvPr/>
        </p:nvCxnSpPr>
        <p:spPr bwMode="auto">
          <a:xfrm>
            <a:off x="7941960" y="1901152"/>
            <a:ext cx="0" cy="438912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58" name="Straight Connector 57"/>
          <p:cNvCxnSpPr/>
          <p:nvPr/>
        </p:nvCxnSpPr>
        <p:spPr bwMode="auto">
          <a:xfrm>
            <a:off x="6380953" y="2549224"/>
            <a:ext cx="3260529" cy="65625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59" name="Straight Connector 58"/>
          <p:cNvCxnSpPr/>
          <p:nvPr/>
        </p:nvCxnSpPr>
        <p:spPr bwMode="auto">
          <a:xfrm>
            <a:off x="6397617" y="2981272"/>
            <a:ext cx="3260529" cy="1568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60" name="Straight Connector 59"/>
          <p:cNvCxnSpPr/>
          <p:nvPr/>
        </p:nvCxnSpPr>
        <p:spPr bwMode="auto">
          <a:xfrm>
            <a:off x="6380953" y="3404179"/>
            <a:ext cx="3260529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61" name="Straight Connector 60"/>
          <p:cNvCxnSpPr/>
          <p:nvPr/>
        </p:nvCxnSpPr>
        <p:spPr bwMode="auto">
          <a:xfrm>
            <a:off x="6380953" y="3810750"/>
            <a:ext cx="3227419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62" name="Straight Connector 61"/>
          <p:cNvCxnSpPr/>
          <p:nvPr/>
        </p:nvCxnSpPr>
        <p:spPr bwMode="auto">
          <a:xfrm>
            <a:off x="6387565" y="4209828"/>
            <a:ext cx="3227419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63" name="Straight Connector 62"/>
          <p:cNvCxnSpPr/>
          <p:nvPr/>
        </p:nvCxnSpPr>
        <p:spPr bwMode="auto">
          <a:xfrm>
            <a:off x="6354455" y="4653136"/>
            <a:ext cx="3260529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64" name="Straight Connector 63"/>
          <p:cNvCxnSpPr/>
          <p:nvPr/>
        </p:nvCxnSpPr>
        <p:spPr bwMode="auto">
          <a:xfrm>
            <a:off x="6340166" y="5114422"/>
            <a:ext cx="3260529" cy="6384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65" name="Straight Connector 64"/>
          <p:cNvCxnSpPr/>
          <p:nvPr/>
        </p:nvCxnSpPr>
        <p:spPr bwMode="auto">
          <a:xfrm>
            <a:off x="6412346" y="5509964"/>
            <a:ext cx="3260529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66" name="Straight Connector 65"/>
          <p:cNvCxnSpPr/>
          <p:nvPr/>
        </p:nvCxnSpPr>
        <p:spPr bwMode="auto">
          <a:xfrm>
            <a:off x="6356057" y="5947340"/>
            <a:ext cx="3227419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4" name="Rectangle 3"/>
          <p:cNvSpPr/>
          <p:nvPr/>
        </p:nvSpPr>
        <p:spPr>
          <a:xfrm>
            <a:off x="6376017" y="1190355"/>
            <a:ext cx="3296858" cy="357384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548DD4"/>
                </a:solidFill>
              </a:rPr>
              <a:t>Number of actions by magnitude </a:t>
            </a:r>
            <a:r>
              <a:rPr lang="en-US" sz="1200" b="1" dirty="0">
                <a:solidFill>
                  <a:srgbClr val="548DD4"/>
                </a:solidFill>
              </a:rPr>
              <a:t>of </a:t>
            </a:r>
            <a:r>
              <a:rPr lang="en-US" sz="1200" b="1" dirty="0" smtClean="0">
                <a:solidFill>
                  <a:srgbClr val="548DD4"/>
                </a:solidFill>
              </a:rPr>
              <a:t>investment</a:t>
            </a:r>
            <a:endParaRPr lang="en-US" sz="1200" b="1" dirty="0">
              <a:solidFill>
                <a:srgbClr val="548DD4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275472" y="2204864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6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941960" y="2204864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275472" y="2630528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275472" y="6014904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77864" y="2630528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US" sz="12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077864" y="3037755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275472" y="3037755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275472" y="3429000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275472" y="3854664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275472" y="4286712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275472" y="4725144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275472" y="5150808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275472" y="5569324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7077864" y="3429000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7077864" y="3854664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7077864" y="4286712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7077864" y="4725144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7077864" y="5150808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7077864" y="5569324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7077864" y="6014904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7077864" y="2204864"/>
            <a:ext cx="730384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</a:t>
            </a:r>
            <a:endParaRPr lang="en-US" sz="12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941960" y="2630528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7941960" y="3429000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7941960" y="3854664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7941960" y="4286712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7941960" y="4725144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7941960" y="5150808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7941960" y="5569324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7941960" y="6014904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86" name="Rounded Rectangular Callout 85"/>
          <p:cNvSpPr/>
          <p:nvPr/>
        </p:nvSpPr>
        <p:spPr>
          <a:xfrm>
            <a:off x="5116902" y="4569472"/>
            <a:ext cx="1227235" cy="431294"/>
          </a:xfrm>
          <a:prstGeom prst="wedgeRoundRectCallout">
            <a:avLst>
              <a:gd name="adj1" fmla="val 63894"/>
              <a:gd name="adj2" fmla="val -5339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Populate with relevant data</a:t>
            </a:r>
          </a:p>
        </p:txBody>
      </p:sp>
      <p:sp>
        <p:nvSpPr>
          <p:cNvPr id="75" name="Rounded Rectangular Callout 74"/>
          <p:cNvSpPr/>
          <p:nvPr/>
        </p:nvSpPr>
        <p:spPr>
          <a:xfrm>
            <a:off x="4350321" y="1795696"/>
            <a:ext cx="1819953" cy="431294"/>
          </a:xfrm>
          <a:prstGeom prst="wedgeRoundRectCallout">
            <a:avLst>
              <a:gd name="adj1" fmla="val -75897"/>
              <a:gd name="adj2" fmla="val -4741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lide title to be tailored to                           reflect the findings</a:t>
            </a:r>
          </a:p>
        </p:txBody>
      </p:sp>
      <p:sp>
        <p:nvSpPr>
          <p:cNvPr id="87" name="ZoneTexte 11"/>
          <p:cNvSpPr txBox="1"/>
          <p:nvPr/>
        </p:nvSpPr>
        <p:spPr>
          <a:xfrm>
            <a:off x="635763" y="1916832"/>
            <a:ext cx="431723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# of actions </a:t>
            </a:r>
            <a:endParaRPr lang="fr-FR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89" name="Straight Connector 88"/>
          <p:cNvCxnSpPr/>
          <p:nvPr/>
        </p:nvCxnSpPr>
        <p:spPr bwMode="auto">
          <a:xfrm>
            <a:off x="8754656" y="1894766"/>
            <a:ext cx="0" cy="438912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548DD4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90" name="TextBox 89"/>
          <p:cNvSpPr txBox="1"/>
          <p:nvPr/>
        </p:nvSpPr>
        <p:spPr>
          <a:xfrm>
            <a:off x="8678826" y="1682971"/>
            <a:ext cx="1200649" cy="5510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ery Large</a:t>
            </a:r>
          </a:p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&gt;500)*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8744133" y="2225266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8765180" y="2645286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US" sz="12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8767339" y="2989464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8784211" y="3406668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771657" y="3838716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8765112" y="4256501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8746013" y="5106334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8726914" y="5956167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8720029" y="4686619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8758422" y="5537759"/>
            <a:ext cx="856562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X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30717" y="5386748"/>
            <a:ext cx="312906" cy="643423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3000" b="1" dirty="0" smtClean="0">
                <a:solidFill>
                  <a:srgbClr val="CC0099"/>
                </a:solidFill>
                <a:latin typeface="Cambria" panose="02040503050406030204" pitchFamily="18" charset="0"/>
                <a:cs typeface="Arial" pitchFamily="34" charset="0"/>
              </a:rPr>
              <a:t>!</a:t>
            </a:r>
          </a:p>
        </p:txBody>
      </p:sp>
      <p:sp>
        <p:nvSpPr>
          <p:cNvPr id="104" name="Rounded Rectangular Callout 103"/>
          <p:cNvSpPr/>
          <p:nvPr/>
        </p:nvSpPr>
        <p:spPr>
          <a:xfrm>
            <a:off x="344488" y="5114422"/>
            <a:ext cx="1419583" cy="774790"/>
          </a:xfrm>
          <a:prstGeom prst="wedgeRoundRectCallout">
            <a:avLst>
              <a:gd name="adj1" fmla="val 149692"/>
              <a:gd name="adj2" fmla="val 26917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Where no investments are made, add this exclamation point</a:t>
            </a:r>
          </a:p>
        </p:txBody>
      </p:sp>
      <p:sp>
        <p:nvSpPr>
          <p:cNvPr id="7" name="Rectangle 6"/>
          <p:cNvSpPr/>
          <p:nvPr/>
        </p:nvSpPr>
        <p:spPr>
          <a:xfrm>
            <a:off x="690663" y="3890216"/>
            <a:ext cx="3398241" cy="834928"/>
          </a:xfrm>
          <a:prstGeom prst="rect">
            <a:avLst/>
          </a:prstGeom>
          <a:noFill/>
          <a:ln w="1905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ounded Rectangular Callout 45"/>
          <p:cNvSpPr/>
          <p:nvPr/>
        </p:nvSpPr>
        <p:spPr>
          <a:xfrm>
            <a:off x="219513" y="1868423"/>
            <a:ext cx="1484458" cy="760826"/>
          </a:xfrm>
          <a:prstGeom prst="wedgeRoundRectCallout">
            <a:avLst>
              <a:gd name="adj1" fmla="val -7594"/>
              <a:gd name="adj2" fmla="val 7242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Adjust to the Strategic Objectives / Results of the national nutrition plan</a:t>
            </a:r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105" name="Rounded Rectangular Callout 104"/>
          <p:cNvSpPr/>
          <p:nvPr/>
        </p:nvSpPr>
        <p:spPr>
          <a:xfrm>
            <a:off x="128464" y="3155733"/>
            <a:ext cx="1440159" cy="711946"/>
          </a:xfrm>
          <a:prstGeom prst="wedgeRoundRectCallout">
            <a:avLst>
              <a:gd name="adj1" fmla="val 18003"/>
              <a:gd name="adj2" fmla="val 66257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o flag Objectives receiving few investments, add an orange rectangle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6344610" y="6387235"/>
            <a:ext cx="3432926" cy="33564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 Reported in thousands of US dollar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cs typeface="Arial" pitchFamily="34" charset="0"/>
              </a:rPr>
              <a:t>Most of the investments made by the UN agencies surveyed support Strategic Objectives 1.1 and 1.2 of the National Nutrition </a:t>
            </a:r>
            <a:r>
              <a:rPr lang="en-GB" dirty="0" smtClean="0">
                <a:solidFill>
                  <a:srgbClr val="000000"/>
                </a:solidFill>
                <a:cs typeface="Arial" pitchFamily="34" charset="0"/>
              </a:rPr>
              <a:t>Pla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4032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457200" y="1268761"/>
            <a:ext cx="8240216" cy="724459"/>
          </a:xfrm>
          <a:prstGeom prst="rect">
            <a:avLst/>
          </a:prstGeom>
          <a:solidFill>
            <a:schemeClr val="bg1"/>
          </a:solidFill>
          <a:ln>
            <a:solidFill>
              <a:srgbClr val="548D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0" rtlCol="0" anchor="ctr"/>
          <a:lstStyle/>
          <a:p>
            <a:r>
              <a:rPr lang="en-GB" sz="1400" dirty="0">
                <a:solidFill>
                  <a:srgbClr val="000000"/>
                </a:solidFill>
                <a:latin typeface="Arial"/>
              </a:rPr>
              <a:t>Provides a </a:t>
            </a:r>
            <a:r>
              <a:rPr lang="en-GB" sz="1400" b="1" dirty="0">
                <a:solidFill>
                  <a:srgbClr val="0070C0"/>
                </a:solidFill>
                <a:latin typeface="Arial"/>
              </a:rPr>
              <a:t>common and comprehensive framework / language for describing UN current nutrition actions / </a:t>
            </a:r>
            <a:r>
              <a:rPr lang="en-GB" sz="1400" b="1" dirty="0" smtClean="0">
                <a:solidFill>
                  <a:srgbClr val="0070C0"/>
                </a:solidFill>
                <a:latin typeface="Arial"/>
              </a:rPr>
              <a:t>interventions</a:t>
            </a:r>
            <a:endParaRPr lang="en-GB" sz="1400" strike="sngStrike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5" name="Title 1"/>
          <p:cNvSpPr txBox="1">
            <a:spLocks/>
          </p:cNvSpPr>
          <p:nvPr/>
        </p:nvSpPr>
        <p:spPr bwMode="auto">
          <a:xfrm>
            <a:off x="457200" y="162000"/>
            <a:ext cx="8992800" cy="83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1F497D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GB" altLang="en-US" sz="1800" dirty="0" smtClean="0">
                <a:solidFill>
                  <a:prstClr val="black"/>
                </a:solidFill>
              </a:rPr>
              <a:t>Expected benefits of the Inventory Exercise</a:t>
            </a:r>
            <a:endParaRPr lang="en-GB" sz="1800" dirty="0"/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457200" y="1268760"/>
            <a:ext cx="535360" cy="724459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548DD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2000" b="1" i="1" dirty="0" smtClean="0">
                <a:solidFill>
                  <a:srgbClr val="548DD4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57200" y="2048118"/>
            <a:ext cx="8240216" cy="724459"/>
          </a:xfrm>
          <a:prstGeom prst="rect">
            <a:avLst/>
          </a:prstGeom>
          <a:solidFill>
            <a:schemeClr val="bg1"/>
          </a:solidFill>
          <a:ln>
            <a:solidFill>
              <a:srgbClr val="548D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0" rtlCol="0" anchor="ctr"/>
          <a:lstStyle/>
          <a:p>
            <a:r>
              <a:rPr lang="en-GB" sz="1400" dirty="0">
                <a:solidFill>
                  <a:srgbClr val="000000"/>
                </a:solidFill>
                <a:latin typeface="Arial"/>
              </a:rPr>
              <a:t>Based on a </a:t>
            </a:r>
            <a:r>
              <a:rPr lang="en-GB" sz="1400" b="1" dirty="0">
                <a:solidFill>
                  <a:srgbClr val="0070C0"/>
                </a:solidFill>
                <a:latin typeface="Arial"/>
              </a:rPr>
              <a:t>multi-sectoral list of nutrition actions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,</a:t>
            </a:r>
            <a:r>
              <a:rPr lang="en-GB" sz="1400" b="1" dirty="0">
                <a:solidFill>
                  <a:srgbClr val="0070C0"/>
                </a:solidFill>
                <a:latin typeface="Arial"/>
              </a:rPr>
              <a:t> 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that have been included in the UN Compendium of Actions for nutrition (currently being finalized by REACH </a:t>
            </a:r>
            <a:r>
              <a:rPr lang="en-GB" sz="1400" dirty="0" smtClean="0">
                <a:solidFill>
                  <a:srgbClr val="000000"/>
                </a:solidFill>
                <a:latin typeface="Arial"/>
              </a:rPr>
              <a:t>agencies)</a:t>
            </a:r>
            <a:endParaRPr lang="en-GB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18"/>
          <p:cNvSpPr>
            <a:spLocks/>
          </p:cNvSpPr>
          <p:nvPr/>
        </p:nvSpPr>
        <p:spPr>
          <a:xfrm>
            <a:off x="457200" y="2048117"/>
            <a:ext cx="535360" cy="724459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548DD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2000" b="1" i="1" dirty="0" smtClean="0">
                <a:solidFill>
                  <a:srgbClr val="548DD4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57200" y="2827475"/>
            <a:ext cx="8240216" cy="724459"/>
          </a:xfrm>
          <a:prstGeom prst="rect">
            <a:avLst/>
          </a:prstGeom>
          <a:solidFill>
            <a:schemeClr val="bg1"/>
          </a:solidFill>
          <a:ln>
            <a:solidFill>
              <a:srgbClr val="548D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0" rtlCol="0" anchor="ctr"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GB" sz="1400" dirty="0">
                <a:solidFill>
                  <a:srgbClr val="000000"/>
                </a:solidFill>
                <a:latin typeface="Arial"/>
              </a:rPr>
              <a:t>Allows UN agencies in the same country to</a:t>
            </a:r>
            <a:r>
              <a:rPr lang="en-GB" sz="1400" b="1" dirty="0">
                <a:solidFill>
                  <a:srgbClr val="0070C0"/>
                </a:solidFill>
                <a:latin typeface="Arial"/>
              </a:rPr>
              <a:t> compare the focus / concentration / magnitude and location of UN nutrition contributions 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in a meaningful way</a:t>
            </a:r>
          </a:p>
        </p:txBody>
      </p:sp>
      <p:sp>
        <p:nvSpPr>
          <p:cNvPr id="21" name="Rectangle 20"/>
          <p:cNvSpPr>
            <a:spLocks/>
          </p:cNvSpPr>
          <p:nvPr/>
        </p:nvSpPr>
        <p:spPr>
          <a:xfrm>
            <a:off x="457200" y="2827474"/>
            <a:ext cx="535360" cy="724459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548DD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2000" b="1" i="1" dirty="0" smtClean="0">
                <a:solidFill>
                  <a:srgbClr val="548DD4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57200" y="3606832"/>
            <a:ext cx="8240216" cy="724459"/>
          </a:xfrm>
          <a:prstGeom prst="rect">
            <a:avLst/>
          </a:prstGeom>
          <a:solidFill>
            <a:schemeClr val="bg1"/>
          </a:solidFill>
          <a:ln>
            <a:solidFill>
              <a:srgbClr val="548D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0" rtlCol="0" anchor="ctr"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GB" sz="1400" dirty="0">
                <a:solidFill>
                  <a:srgbClr val="000000"/>
                </a:solidFill>
                <a:latin typeface="Arial"/>
              </a:rPr>
              <a:t>Facilitates</a:t>
            </a:r>
            <a:r>
              <a:rPr lang="en-GB" sz="1400" b="1" dirty="0">
                <a:solidFill>
                  <a:srgbClr val="0070C0"/>
                </a:solidFill>
                <a:latin typeface="Arial"/>
              </a:rPr>
              <a:t> mapping </a:t>
            </a:r>
            <a:r>
              <a:rPr lang="en-GB" sz="1400" b="1" dirty="0" smtClean="0">
                <a:solidFill>
                  <a:srgbClr val="0070C0"/>
                </a:solidFill>
                <a:latin typeface="Arial"/>
              </a:rPr>
              <a:t>UN </a:t>
            </a:r>
            <a:r>
              <a:rPr lang="en-GB" sz="1400" b="1" dirty="0">
                <a:solidFill>
                  <a:srgbClr val="0070C0"/>
                </a:solidFill>
                <a:latin typeface="Arial"/>
              </a:rPr>
              <a:t>nutrition contributions against </a:t>
            </a:r>
            <a:r>
              <a:rPr lang="en-GB" sz="1400" b="1" dirty="0" smtClean="0">
                <a:solidFill>
                  <a:srgbClr val="0070C0"/>
                </a:solidFill>
                <a:latin typeface="Arial"/>
              </a:rPr>
              <a:t>national gov’t </a:t>
            </a:r>
            <a:r>
              <a:rPr lang="en-GB" sz="1400" b="1" dirty="0">
                <a:solidFill>
                  <a:srgbClr val="0070C0"/>
                </a:solidFill>
                <a:latin typeface="Arial"/>
              </a:rPr>
              <a:t>nutrition priorities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, showing where there is alignment and/or divergence, and provides the opportunity to discuss why</a:t>
            </a:r>
          </a:p>
        </p:txBody>
      </p:sp>
      <p:sp>
        <p:nvSpPr>
          <p:cNvPr id="23" name="Rectangle 22"/>
          <p:cNvSpPr>
            <a:spLocks/>
          </p:cNvSpPr>
          <p:nvPr/>
        </p:nvSpPr>
        <p:spPr>
          <a:xfrm>
            <a:off x="457200" y="3606831"/>
            <a:ext cx="535360" cy="724459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548DD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2000" b="1" i="1" dirty="0" smtClean="0">
                <a:solidFill>
                  <a:srgbClr val="548DD4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57200" y="4386189"/>
            <a:ext cx="8240216" cy="724459"/>
          </a:xfrm>
          <a:prstGeom prst="rect">
            <a:avLst/>
          </a:prstGeom>
          <a:solidFill>
            <a:schemeClr val="bg1"/>
          </a:solidFill>
          <a:ln>
            <a:solidFill>
              <a:srgbClr val="548D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0" rtlCol="0" anchor="ctr"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GB" sz="1400" b="1" dirty="0">
                <a:solidFill>
                  <a:srgbClr val="0070C0"/>
                </a:solidFill>
                <a:latin typeface="Arial"/>
              </a:rPr>
              <a:t>Provides a strong evidence base from which key strategic questions may arise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. These questions could then be addressed at a high level by the UN Nutrition Strategy</a:t>
            </a:r>
          </a:p>
        </p:txBody>
      </p:sp>
      <p:sp>
        <p:nvSpPr>
          <p:cNvPr id="25" name="Rectangle 24"/>
          <p:cNvSpPr>
            <a:spLocks/>
          </p:cNvSpPr>
          <p:nvPr/>
        </p:nvSpPr>
        <p:spPr>
          <a:xfrm>
            <a:off x="457200" y="4386188"/>
            <a:ext cx="535360" cy="724459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548DD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2000" b="1" i="1" dirty="0">
                <a:solidFill>
                  <a:srgbClr val="548DD4"/>
                </a:solidFill>
                <a:cs typeface="Arial" pitchFamily="34" charset="0"/>
              </a:rPr>
              <a:t>5</a:t>
            </a:r>
            <a:endParaRPr lang="en-GB" sz="2000" b="1" i="1" dirty="0" smtClean="0">
              <a:solidFill>
                <a:srgbClr val="548DD4"/>
              </a:solidFill>
              <a:cs typeface="Arial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57200" y="5165545"/>
            <a:ext cx="8240216" cy="724459"/>
          </a:xfrm>
          <a:prstGeom prst="rect">
            <a:avLst/>
          </a:prstGeom>
          <a:solidFill>
            <a:schemeClr val="bg1"/>
          </a:solidFill>
          <a:ln>
            <a:solidFill>
              <a:srgbClr val="548D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0" rtlCol="0" anchor="ctr"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GB" sz="1400" b="1" dirty="0">
                <a:solidFill>
                  <a:srgbClr val="0070C0"/>
                </a:solidFill>
                <a:latin typeface="Arial"/>
              </a:rPr>
              <a:t>Provides a strong evidence base upon which to develop the UN vision / priorities 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for nutrition moving forward (i.e. key elements of a UN Nutrition Strategy)</a:t>
            </a:r>
          </a:p>
        </p:txBody>
      </p:sp>
      <p:sp>
        <p:nvSpPr>
          <p:cNvPr id="27" name="Rectangle 26"/>
          <p:cNvSpPr>
            <a:spLocks/>
          </p:cNvSpPr>
          <p:nvPr/>
        </p:nvSpPr>
        <p:spPr>
          <a:xfrm>
            <a:off x="457200" y="5165544"/>
            <a:ext cx="535360" cy="716107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548DD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2000" b="1" i="1" dirty="0" smtClean="0">
                <a:solidFill>
                  <a:srgbClr val="548DD4"/>
                </a:solidFill>
                <a:cs typeface="Arial" pitchFamily="34" charset="0"/>
              </a:rPr>
              <a:t>6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57200" y="5944901"/>
            <a:ext cx="8240216" cy="724459"/>
          </a:xfrm>
          <a:prstGeom prst="rect">
            <a:avLst/>
          </a:prstGeom>
          <a:solidFill>
            <a:schemeClr val="bg1"/>
          </a:solidFill>
          <a:ln>
            <a:solidFill>
              <a:srgbClr val="548D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0" rtlCol="0" anchor="ctr"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GB" sz="1400" b="1" dirty="0">
                <a:solidFill>
                  <a:srgbClr val="0070C0"/>
                </a:solidFill>
                <a:latin typeface="Arial"/>
              </a:rPr>
              <a:t>Provides a common framework / language 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that could also be useful </a:t>
            </a:r>
            <a:r>
              <a:rPr lang="en-GB" sz="1400" b="1" dirty="0">
                <a:solidFill>
                  <a:srgbClr val="0070C0"/>
                </a:solidFill>
                <a:latin typeface="Arial"/>
              </a:rPr>
              <a:t>to </a:t>
            </a:r>
            <a:r>
              <a:rPr lang="en-GB" sz="1400" b="1" dirty="0" smtClean="0">
                <a:solidFill>
                  <a:srgbClr val="0070C0"/>
                </a:solidFill>
                <a:latin typeface="Arial"/>
              </a:rPr>
              <a:t>gov’ts</a:t>
            </a:r>
            <a:r>
              <a:rPr lang="en-GB" sz="1400" b="1" dirty="0">
                <a:solidFill>
                  <a:srgbClr val="0070C0"/>
                </a:solidFill>
                <a:latin typeface="Arial"/>
              </a:rPr>
              <a:t>, donors, and/or partners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 in the future; </a:t>
            </a:r>
            <a:r>
              <a:rPr lang="en-GB" sz="1400" b="1" dirty="0">
                <a:solidFill>
                  <a:srgbClr val="0070C0"/>
                </a:solidFill>
                <a:latin typeface="Arial"/>
              </a:rPr>
              <a:t>to enable a </a:t>
            </a:r>
            <a:r>
              <a:rPr lang="en-GB" sz="1400" b="1" dirty="0" smtClean="0">
                <a:solidFill>
                  <a:srgbClr val="0070C0"/>
                </a:solidFill>
                <a:latin typeface="Arial"/>
              </a:rPr>
              <a:t>collective </a:t>
            </a:r>
            <a:r>
              <a:rPr lang="en-GB" sz="1400" b="1" dirty="0">
                <a:solidFill>
                  <a:srgbClr val="0070C0"/>
                </a:solidFill>
                <a:latin typeface="Arial"/>
              </a:rPr>
              <a:t>conversation </a:t>
            </a:r>
            <a:r>
              <a:rPr lang="en-GB" sz="1400" dirty="0">
                <a:solidFill>
                  <a:srgbClr val="000000"/>
                </a:solidFill>
                <a:latin typeface="Arial"/>
              </a:rPr>
              <a:t>about nutrition requirements, overall UN Nutrition Strategy, current and future UN agency responses, etc.</a:t>
            </a:r>
          </a:p>
        </p:txBody>
      </p:sp>
      <p:sp>
        <p:nvSpPr>
          <p:cNvPr id="29" name="Rectangle 28"/>
          <p:cNvSpPr>
            <a:spLocks/>
          </p:cNvSpPr>
          <p:nvPr/>
        </p:nvSpPr>
        <p:spPr>
          <a:xfrm>
            <a:off x="457200" y="5944900"/>
            <a:ext cx="535360" cy="724459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548DD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2000" b="1" i="1" dirty="0" smtClean="0">
                <a:solidFill>
                  <a:srgbClr val="548DD4"/>
                </a:solidFill>
                <a:cs typeface="Arial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97734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420888"/>
            <a:ext cx="9906000" cy="797311"/>
          </a:xfrm>
          <a:prstGeom prst="rect">
            <a:avLst/>
          </a:prstGeom>
          <a:solidFill>
            <a:srgbClr val="548DD4"/>
          </a:solidFill>
          <a:ln w="25400">
            <a:solidFill>
              <a:srgbClr val="548DD4"/>
            </a:solidFill>
          </a:ln>
        </p:spPr>
        <p:txBody>
          <a:bodyPr wrap="square" lIns="274320" tIns="90000" bIns="90000" rtlCol="0" anchor="t">
            <a:spAutoFit/>
          </a:bodyPr>
          <a:lstStyle/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4000" b="1" dirty="0" smtClean="0">
                <a:solidFill>
                  <a:srgbClr val="FFFFFF"/>
                </a:solidFill>
              </a:rPr>
              <a:t>Sectoral Nutrition Actions </a:t>
            </a:r>
          </a:p>
        </p:txBody>
      </p:sp>
      <p:sp>
        <p:nvSpPr>
          <p:cNvPr id="3" name="Rectangle 2"/>
          <p:cNvSpPr/>
          <p:nvPr/>
        </p:nvSpPr>
        <p:spPr>
          <a:xfrm>
            <a:off x="1769807" y="3287886"/>
            <a:ext cx="6423553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3200" b="1" i="1" dirty="0" smtClean="0">
                <a:solidFill>
                  <a:srgbClr val="548DD4"/>
                </a:solidFill>
              </a:rPr>
              <a:t>A closer look at</a:t>
            </a:r>
          </a:p>
          <a:p>
            <a:pPr>
              <a:spcBef>
                <a:spcPct val="0"/>
              </a:spcBef>
            </a:pPr>
            <a:r>
              <a:rPr lang="en-US" sz="3200" b="1" i="1" smtClean="0">
                <a:solidFill>
                  <a:srgbClr val="548DD4"/>
                </a:solidFill>
              </a:rPr>
              <a:t>Implementation vs</a:t>
            </a:r>
            <a:r>
              <a:rPr lang="en-US" sz="3200" b="1" i="1" dirty="0" smtClean="0">
                <a:solidFill>
                  <a:srgbClr val="548DD4"/>
                </a:solidFill>
              </a:rPr>
              <a:t>. Governance</a:t>
            </a:r>
          </a:p>
          <a:p>
            <a:pPr algn="ctr">
              <a:spcBef>
                <a:spcPct val="0"/>
              </a:spcBef>
            </a:pPr>
            <a:r>
              <a:rPr lang="en-US" sz="3200" b="1" i="1" dirty="0" smtClean="0">
                <a:solidFill>
                  <a:srgbClr val="548DD4"/>
                </a:solidFill>
              </a:rPr>
              <a:t>actions</a:t>
            </a:r>
            <a:endParaRPr lang="en-US" sz="3200" b="1" i="1" dirty="0">
              <a:solidFill>
                <a:srgbClr val="548DD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468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  <a:cs typeface="Arial" pitchFamily="34" charset="0"/>
              </a:rPr>
              <a:t>food consumption </a:t>
            </a:r>
            <a:r>
              <a:rPr lang="en-GB" b="1" dirty="0" smtClean="0">
                <a:solidFill>
                  <a:srgbClr val="000000"/>
                </a:solidFill>
                <a:cs typeface="Arial" pitchFamily="34" charset="0"/>
              </a:rPr>
              <a:t>is mainly focused on </a:t>
            </a:r>
            <a:r>
              <a:rPr lang="en-GB" b="1" dirty="0" smtClean="0">
                <a:solidFill>
                  <a:srgbClr val="000000"/>
                </a:solidFill>
              </a:rPr>
              <a:t>implementation/governance actions</a:t>
            </a:r>
            <a:endParaRPr lang="en-GB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380001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Most actions undertaken by the UN are related to complementary feeding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41" name="Graphique 10"/>
          <p:cNvGraphicFramePr/>
          <p:nvPr>
            <p:extLst>
              <p:ext uri="{D42A27DB-BD31-4B8C-83A1-F6EECF244321}">
                <p14:modId xmlns:p14="http://schemas.microsoft.com/office/powerpoint/2010/main" val="999195321"/>
              </p:ext>
            </p:extLst>
          </p:nvPr>
        </p:nvGraphicFramePr>
        <p:xfrm>
          <a:off x="714828" y="2060848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2" name="ZoneTexte 6"/>
          <p:cNvSpPr txBox="1"/>
          <p:nvPr/>
        </p:nvSpPr>
        <p:spPr>
          <a:xfrm>
            <a:off x="998301" y="5516914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mprovement of local recipes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ZoneTexte 8"/>
          <p:cNvSpPr txBox="1"/>
          <p:nvPr/>
        </p:nvSpPr>
        <p:spPr>
          <a:xfrm>
            <a:off x="2000672" y="5516914"/>
            <a:ext cx="158417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ublic guidance &amp; consumer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wareness</a:t>
            </a:r>
            <a:r>
              <a:rPr lang="fr-FR" sz="9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/ protection</a:t>
            </a:r>
            <a:endParaRPr lang="fr-FR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ZoneTexte 6"/>
          <p:cNvSpPr txBox="1"/>
          <p:nvPr/>
        </p:nvSpPr>
        <p:spPr>
          <a:xfrm>
            <a:off x="3368824" y="5516914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mplementary feeding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285578"/>
            <a:ext cx="4049385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The </a:t>
            </a:r>
            <a:r>
              <a:rPr lang="en-US" sz="1400" dirty="0">
                <a:solidFill>
                  <a:srgbClr val="000000"/>
                </a:solidFill>
              </a:rPr>
              <a:t>improvement of local </a:t>
            </a:r>
            <a:r>
              <a:rPr lang="en-US" sz="1400" dirty="0" smtClean="0">
                <a:solidFill>
                  <a:srgbClr val="000000"/>
                </a:solidFill>
              </a:rPr>
              <a:t>recipes is being supported only through implementation actions </a:t>
            </a:r>
            <a:br>
              <a:rPr lang="en-US" sz="1400" dirty="0" smtClean="0">
                <a:solidFill>
                  <a:srgbClr val="000000"/>
                </a:solidFill>
              </a:rPr>
            </a:b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situation analysis, advocacy &amp; communications; and (2) policy/ planning  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</a:t>
            </a:r>
            <a:r>
              <a:rPr lang="en-US" sz="1400" dirty="0" smtClean="0"/>
              <a:t>both types of actions</a:t>
            </a:r>
            <a:endParaRPr lang="en-US" sz="1400" dirty="0"/>
          </a:p>
        </p:txBody>
      </p:sp>
      <p:sp>
        <p:nvSpPr>
          <p:cNvPr id="50" name="Right Bracket 49"/>
          <p:cNvSpPr/>
          <p:nvPr/>
        </p:nvSpPr>
        <p:spPr bwMode="auto">
          <a:xfrm>
            <a:off x="1895202" y="3572698"/>
            <a:ext cx="105469" cy="1872208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51" name="ZoneTexte 15"/>
          <p:cNvSpPr txBox="1"/>
          <p:nvPr/>
        </p:nvSpPr>
        <p:spPr>
          <a:xfrm>
            <a:off x="1977274" y="4330881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4</a:t>
            </a:r>
          </a:p>
        </p:txBody>
      </p:sp>
      <p:sp>
        <p:nvSpPr>
          <p:cNvPr id="52" name="Right Bracket 51"/>
          <p:cNvSpPr/>
          <p:nvPr/>
        </p:nvSpPr>
        <p:spPr bwMode="auto">
          <a:xfrm>
            <a:off x="3080792" y="4076754"/>
            <a:ext cx="105469" cy="1368152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53" name="ZoneTexte 15"/>
          <p:cNvSpPr txBox="1"/>
          <p:nvPr/>
        </p:nvSpPr>
        <p:spPr>
          <a:xfrm>
            <a:off x="3162864" y="4580810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3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54" name="Right Bracket 53"/>
          <p:cNvSpPr/>
          <p:nvPr/>
        </p:nvSpPr>
        <p:spPr bwMode="auto">
          <a:xfrm>
            <a:off x="4266382" y="3068642"/>
            <a:ext cx="72007" cy="2390424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55" name="ZoneTexte 15"/>
          <p:cNvSpPr txBox="1"/>
          <p:nvPr/>
        </p:nvSpPr>
        <p:spPr>
          <a:xfrm>
            <a:off x="4314992" y="4057009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5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aken from the ‘Sectoral Nutrition Actions’ tab of the UN Inventory tool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3440833" y="2841784"/>
            <a:ext cx="1200737" cy="3044462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0" name="Rounded Rectangular Callout 59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61" name="Rounded Rectangular Callout 60"/>
          <p:cNvSpPr/>
          <p:nvPr/>
        </p:nvSpPr>
        <p:spPr>
          <a:xfrm>
            <a:off x="4448944" y="1197506"/>
            <a:ext cx="2606434" cy="431294"/>
          </a:xfrm>
          <a:prstGeom prst="wedgeRoundRectCallout">
            <a:avLst>
              <a:gd name="adj1" fmla="val 4589"/>
              <a:gd name="adj2" fmla="val -11655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lect the appropriate type of action according to the country data</a:t>
            </a:r>
          </a:p>
        </p:txBody>
      </p:sp>
      <p:sp>
        <p:nvSpPr>
          <p:cNvPr id="62" name="Isosceles Triangle 61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63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6" name="Rounded Rectangular Callout 25"/>
          <p:cNvSpPr/>
          <p:nvPr/>
        </p:nvSpPr>
        <p:spPr>
          <a:xfrm>
            <a:off x="4043433" y="5944094"/>
            <a:ext cx="1433914" cy="761101"/>
          </a:xfrm>
          <a:prstGeom prst="wedgeRoundRectCallout">
            <a:avLst>
              <a:gd name="adj1" fmla="val 3543"/>
              <a:gd name="adj2" fmla="val -16866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28" name="Rounded Rectangular Callout 27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report 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695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livestock and fisheries </a:t>
            </a:r>
            <a:r>
              <a:rPr lang="en-GB" b="1" dirty="0" smtClean="0">
                <a:solidFill>
                  <a:srgbClr val="000000"/>
                </a:solidFill>
              </a:rPr>
              <a:t>is mainly focused on implementation/ 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14828" y="1464565"/>
            <a:ext cx="403162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91440" rIns="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Most of the actions undertaken by the UN are related to animal husbandry, fisheries &amp; insect farming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41" name="Graphique 10"/>
          <p:cNvGraphicFramePr/>
          <p:nvPr>
            <p:extLst>
              <p:ext uri="{D42A27DB-BD31-4B8C-83A1-F6EECF244321}">
                <p14:modId xmlns:p14="http://schemas.microsoft.com/office/powerpoint/2010/main" val="3365402700"/>
              </p:ext>
            </p:extLst>
          </p:nvPr>
        </p:nvGraphicFramePr>
        <p:xfrm>
          <a:off x="714828" y="2060848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2" name="ZoneTexte 6"/>
          <p:cNvSpPr txBox="1"/>
          <p:nvPr/>
        </p:nvSpPr>
        <p:spPr>
          <a:xfrm>
            <a:off x="1280592" y="5516914"/>
            <a:ext cx="122413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nimal husbandry, fisheries &amp;                     insect farming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4" name="ZoneTexte 8"/>
          <p:cNvSpPr txBox="1"/>
          <p:nvPr/>
        </p:nvSpPr>
        <p:spPr>
          <a:xfrm>
            <a:off x="3302558" y="5516914"/>
            <a:ext cx="8932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nimal services</a:t>
            </a:r>
            <a:endParaRPr lang="fr-FR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500441"/>
            <a:ext cx="4049385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being taken to support both broad actions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policy/planning  &amp;                     (2) human &amp; institutional CD/training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0" name="Right Bracket 49"/>
          <p:cNvSpPr/>
          <p:nvPr/>
        </p:nvSpPr>
        <p:spPr bwMode="auto">
          <a:xfrm>
            <a:off x="2255242" y="3068642"/>
            <a:ext cx="105469" cy="2376264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51" name="ZoneTexte 15"/>
          <p:cNvSpPr txBox="1"/>
          <p:nvPr/>
        </p:nvSpPr>
        <p:spPr>
          <a:xfrm>
            <a:off x="2337314" y="4330881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5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54" name="Right Bracket 53"/>
          <p:cNvSpPr/>
          <p:nvPr/>
        </p:nvSpPr>
        <p:spPr bwMode="auto">
          <a:xfrm>
            <a:off x="4088905" y="4477338"/>
            <a:ext cx="48610" cy="981728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55" name="ZoneTexte 15"/>
          <p:cNvSpPr txBox="1"/>
          <p:nvPr/>
        </p:nvSpPr>
        <p:spPr>
          <a:xfrm>
            <a:off x="4137514" y="484909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2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1280593" y="2852618"/>
            <a:ext cx="1440160" cy="3240360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22" name="Rounded Rectangular Callout 21"/>
          <p:cNvSpPr/>
          <p:nvPr/>
        </p:nvSpPr>
        <p:spPr>
          <a:xfrm>
            <a:off x="4448944" y="1052736"/>
            <a:ext cx="2606434" cy="431294"/>
          </a:xfrm>
          <a:prstGeom prst="wedgeRoundRectCallout">
            <a:avLst>
              <a:gd name="adj1" fmla="val 4589"/>
              <a:gd name="adj2" fmla="val -11655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lect the appropriate type of action according to the country data</a:t>
            </a:r>
          </a:p>
        </p:txBody>
      </p:sp>
      <p:sp>
        <p:nvSpPr>
          <p:cNvPr id="23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CD = capacity development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6" name="Rounded Rectangular Callout 25"/>
          <p:cNvSpPr/>
          <p:nvPr/>
        </p:nvSpPr>
        <p:spPr>
          <a:xfrm>
            <a:off x="2879365" y="2955597"/>
            <a:ext cx="1433914" cy="761101"/>
          </a:xfrm>
          <a:prstGeom prst="wedgeRoundRectCallout">
            <a:avLst>
              <a:gd name="adj1" fmla="val -51998"/>
              <a:gd name="adj2" fmla="val 7419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9" name="Rounded Rectangular Callout 28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30" name="Rounded Rectangular Callout 29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27" name="Rounded Rectangular Callout 26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8711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horticulture/crop</a:t>
            </a:r>
            <a:r>
              <a:rPr lang="en-GB" b="1" dirty="0" smtClean="0">
                <a:solidFill>
                  <a:srgbClr val="000000"/>
                </a:solidFill>
              </a:rPr>
              <a:t>s is mainly focused on implementation/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4140397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91440" rIns="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st of the actions undertaken by the UN </a:t>
            </a:r>
            <a:r>
              <a:rPr lang="en-US" sz="1200" b="1" dirty="0" smtClean="0">
                <a:solidFill>
                  <a:srgbClr val="000000"/>
                </a:solidFill>
              </a:rPr>
              <a:t>are </a:t>
            </a:r>
            <a:r>
              <a:rPr lang="en-US" sz="1200" b="1" dirty="0">
                <a:solidFill>
                  <a:srgbClr val="000000"/>
                </a:solidFill>
              </a:rPr>
              <a:t>related </a:t>
            </a:r>
            <a:r>
              <a:rPr lang="en-US" sz="1200" b="1" dirty="0" smtClean="0">
                <a:solidFill>
                  <a:srgbClr val="000000"/>
                </a:solidFill>
              </a:rPr>
              <a:t>to diversification &amp; locally adapted varietie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564904"/>
            <a:ext cx="404938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Biofortification is being supported only through governance actions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 of: policy / planning  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4448944" y="1197506"/>
            <a:ext cx="2606434" cy="431294"/>
          </a:xfrm>
          <a:prstGeom prst="wedgeRoundRectCallout">
            <a:avLst>
              <a:gd name="adj1" fmla="val 4589"/>
              <a:gd name="adj2" fmla="val -11655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lect the appropriate type of action according to the country data</a:t>
            </a:r>
          </a:p>
        </p:txBody>
      </p:sp>
      <p:sp>
        <p:nvSpPr>
          <p:cNvPr id="23" name="Isosceles Triangle 22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graphicFrame>
        <p:nvGraphicFramePr>
          <p:cNvPr id="24" name="Graphique 10"/>
          <p:cNvGraphicFramePr/>
          <p:nvPr>
            <p:extLst>
              <p:ext uri="{D42A27DB-BD31-4B8C-83A1-F6EECF244321}">
                <p14:modId xmlns:p14="http://schemas.microsoft.com/office/powerpoint/2010/main" val="3046159924"/>
              </p:ext>
            </p:extLst>
          </p:nvPr>
        </p:nvGraphicFramePr>
        <p:xfrm>
          <a:off x="714828" y="2060848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6" name="ZoneTexte 6"/>
          <p:cNvSpPr txBox="1"/>
          <p:nvPr/>
        </p:nvSpPr>
        <p:spPr>
          <a:xfrm>
            <a:off x="1280592" y="5516914"/>
            <a:ext cx="122413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Diversification &amp; locally adapted varieties 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7" name="ZoneTexte 8"/>
          <p:cNvSpPr txBox="1"/>
          <p:nvPr/>
        </p:nvSpPr>
        <p:spPr>
          <a:xfrm>
            <a:off x="3230550" y="5516914"/>
            <a:ext cx="10023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Biofortification</a:t>
            </a:r>
            <a:endParaRPr lang="fr-FR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8" name="Right Bracket 27"/>
          <p:cNvSpPr/>
          <p:nvPr/>
        </p:nvSpPr>
        <p:spPr bwMode="auto">
          <a:xfrm>
            <a:off x="2255242" y="3068642"/>
            <a:ext cx="105469" cy="2376264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9" name="ZoneTexte 15"/>
          <p:cNvSpPr txBox="1"/>
          <p:nvPr/>
        </p:nvSpPr>
        <p:spPr>
          <a:xfrm>
            <a:off x="2337314" y="4330881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5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30" name="Right Bracket 29"/>
          <p:cNvSpPr/>
          <p:nvPr/>
        </p:nvSpPr>
        <p:spPr bwMode="auto">
          <a:xfrm>
            <a:off x="4088905" y="4477338"/>
            <a:ext cx="48610" cy="981728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31" name="ZoneTexte 15"/>
          <p:cNvSpPr txBox="1"/>
          <p:nvPr/>
        </p:nvSpPr>
        <p:spPr>
          <a:xfrm>
            <a:off x="4137514" y="484909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2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1280593" y="2852618"/>
            <a:ext cx="1440160" cy="3240360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33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34" name="Rounded Rectangular Callout 33"/>
          <p:cNvSpPr/>
          <p:nvPr/>
        </p:nvSpPr>
        <p:spPr>
          <a:xfrm>
            <a:off x="2879365" y="2955597"/>
            <a:ext cx="1433914" cy="761101"/>
          </a:xfrm>
          <a:prstGeom prst="wedgeRoundRectCallout">
            <a:avLst>
              <a:gd name="adj1" fmla="val -51998"/>
              <a:gd name="adj2" fmla="val 7419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7" name="Rounded Rectangular Callout 36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39" name="Rounded Rectangular Callout 38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35" name="Rounded Rectangular Callout 34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2275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food processing, fortification and storage</a:t>
            </a:r>
            <a:r>
              <a:rPr lang="en-GB" b="1" dirty="0" smtClean="0">
                <a:solidFill>
                  <a:srgbClr val="000000"/>
                </a:solidFill>
              </a:rPr>
              <a:t> is mainly focused on implementation/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380001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Most of the actions undertaken by the UN are related to fortification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41" name="Graphique 10"/>
          <p:cNvGraphicFramePr/>
          <p:nvPr>
            <p:extLst>
              <p:ext uri="{D42A27DB-BD31-4B8C-83A1-F6EECF244321}">
                <p14:modId xmlns:p14="http://schemas.microsoft.com/office/powerpoint/2010/main" val="179509060"/>
              </p:ext>
            </p:extLst>
          </p:nvPr>
        </p:nvGraphicFramePr>
        <p:xfrm>
          <a:off x="714828" y="2277190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2" name="ZoneTexte 6"/>
          <p:cNvSpPr txBox="1"/>
          <p:nvPr/>
        </p:nvSpPr>
        <p:spPr>
          <a:xfrm>
            <a:off x="998301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ood processing (excl. fortification)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4" name="ZoneTexte 8"/>
          <p:cNvSpPr txBox="1"/>
          <p:nvPr/>
        </p:nvSpPr>
        <p:spPr>
          <a:xfrm>
            <a:off x="2000672" y="5733256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ortification                                (incl. salt iodization) 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8" name="ZoneTexte 6"/>
          <p:cNvSpPr txBox="1"/>
          <p:nvPr/>
        </p:nvSpPr>
        <p:spPr>
          <a:xfrm>
            <a:off x="3368824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ood                          storage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492896"/>
            <a:ext cx="4049385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Food </a:t>
            </a:r>
            <a:r>
              <a:rPr lang="en-US" sz="1400" dirty="0">
                <a:solidFill>
                  <a:srgbClr val="000000"/>
                </a:solidFill>
              </a:rPr>
              <a:t>storage </a:t>
            </a:r>
            <a:r>
              <a:rPr lang="en-US" sz="1400" dirty="0" smtClean="0">
                <a:solidFill>
                  <a:srgbClr val="000000"/>
                </a:solidFill>
              </a:rPr>
              <a:t>is being supported </a:t>
            </a:r>
            <a:r>
              <a:rPr lang="en-US" sz="1400" dirty="0">
                <a:solidFill>
                  <a:srgbClr val="000000"/>
                </a:solidFill>
              </a:rPr>
              <a:t>only </a:t>
            </a:r>
            <a:r>
              <a:rPr lang="en-US" sz="1400" dirty="0" smtClean="0">
                <a:solidFill>
                  <a:srgbClr val="000000"/>
                </a:solidFill>
              </a:rPr>
              <a:t>through implementation actions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policy/planning &amp; (2) </a:t>
            </a:r>
            <a:r>
              <a:rPr lang="en-US" sz="1400" dirty="0">
                <a:solidFill>
                  <a:srgbClr val="000000"/>
                </a:solidFill>
              </a:rPr>
              <a:t>human &amp; institutional CD/training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0" name="Right Bracket 49"/>
          <p:cNvSpPr/>
          <p:nvPr/>
        </p:nvSpPr>
        <p:spPr bwMode="auto">
          <a:xfrm>
            <a:off x="1895203" y="4273350"/>
            <a:ext cx="82072" cy="1387897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51" name="ZoneTexte 15"/>
          <p:cNvSpPr txBox="1"/>
          <p:nvPr/>
        </p:nvSpPr>
        <p:spPr>
          <a:xfrm>
            <a:off x="1977274" y="4797152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3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52" name="Right Bracket 51"/>
          <p:cNvSpPr/>
          <p:nvPr/>
        </p:nvSpPr>
        <p:spPr bwMode="auto">
          <a:xfrm>
            <a:off x="3080792" y="3284984"/>
            <a:ext cx="114879" cy="2376264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53" name="ZoneTexte 15"/>
          <p:cNvSpPr txBox="1"/>
          <p:nvPr/>
        </p:nvSpPr>
        <p:spPr>
          <a:xfrm>
            <a:off x="3162864" y="4293096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5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54" name="Right Bracket 53"/>
          <p:cNvSpPr/>
          <p:nvPr/>
        </p:nvSpPr>
        <p:spPr bwMode="auto">
          <a:xfrm>
            <a:off x="4266382" y="5229200"/>
            <a:ext cx="45719" cy="446208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55" name="ZoneTexte 15"/>
          <p:cNvSpPr txBox="1"/>
          <p:nvPr/>
        </p:nvSpPr>
        <p:spPr>
          <a:xfrm>
            <a:off x="4314992" y="5301208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2216696" y="3058126"/>
            <a:ext cx="1200737" cy="3044462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22" name="Rounded Rectangular Callout 21"/>
          <p:cNvSpPr/>
          <p:nvPr/>
        </p:nvSpPr>
        <p:spPr>
          <a:xfrm>
            <a:off x="3947728" y="995753"/>
            <a:ext cx="2606434" cy="431294"/>
          </a:xfrm>
          <a:prstGeom prst="wedgeRoundRectCallout">
            <a:avLst>
              <a:gd name="adj1" fmla="val -26108"/>
              <a:gd name="adj2" fmla="val -13422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6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CD = capacity development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3485353" y="2770395"/>
            <a:ext cx="1433914" cy="761101"/>
          </a:xfrm>
          <a:prstGeom prst="wedgeRoundRectCallout">
            <a:avLst>
              <a:gd name="adj1" fmla="val -51998"/>
              <a:gd name="adj2" fmla="val 7419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0" name="Rounded Rectangular Callout 29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31" name="Rounded Rectangular Callout 30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28" name="Rounded Rectangular Callout 27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047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infant and young child feeding </a:t>
            </a:r>
            <a:r>
              <a:rPr lang="en-GB" b="1" dirty="0" smtClean="0">
                <a:solidFill>
                  <a:srgbClr val="000000"/>
                </a:solidFill>
              </a:rPr>
              <a:t>is mainly focused on implementation/ 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380001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Most of the actions undertaken by the UN are related to breastfeeding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285578"/>
            <a:ext cx="4049385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Complementary feeding is being supported only through governance actions 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situation analysis, advocacy &amp; communications; (2) policy/ planning; (3) </a:t>
            </a:r>
            <a:r>
              <a:rPr lang="en-US" sz="1400" dirty="0">
                <a:solidFill>
                  <a:srgbClr val="000000"/>
                </a:solidFill>
              </a:rPr>
              <a:t>human &amp; institutional CD/training 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4641570" y="906354"/>
            <a:ext cx="2606434" cy="431294"/>
          </a:xfrm>
          <a:prstGeom prst="wedgeRoundRectCallout">
            <a:avLst>
              <a:gd name="adj1" fmla="val 65983"/>
              <a:gd name="adj2" fmla="val -107722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3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BF = breastfeeding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CD = capacity development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graphicFrame>
        <p:nvGraphicFramePr>
          <p:cNvPr id="26" name="Graphique 10"/>
          <p:cNvGraphicFramePr/>
          <p:nvPr>
            <p:extLst>
              <p:ext uri="{D42A27DB-BD31-4B8C-83A1-F6EECF244321}">
                <p14:modId xmlns:p14="http://schemas.microsoft.com/office/powerpoint/2010/main" val="3935032391"/>
              </p:ext>
            </p:extLst>
          </p:nvPr>
        </p:nvGraphicFramePr>
        <p:xfrm>
          <a:off x="714828" y="2060848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7" name="Right Bracket 26"/>
          <p:cNvSpPr/>
          <p:nvPr/>
        </p:nvSpPr>
        <p:spPr bwMode="auto">
          <a:xfrm>
            <a:off x="2255242" y="3068642"/>
            <a:ext cx="105469" cy="2376264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8" name="ZoneTexte 15"/>
          <p:cNvSpPr txBox="1"/>
          <p:nvPr/>
        </p:nvSpPr>
        <p:spPr>
          <a:xfrm>
            <a:off x="2337314" y="4330881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5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29" name="Right Bracket 28"/>
          <p:cNvSpPr/>
          <p:nvPr/>
        </p:nvSpPr>
        <p:spPr bwMode="auto">
          <a:xfrm>
            <a:off x="4088905" y="4477338"/>
            <a:ext cx="48610" cy="981728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30" name="ZoneTexte 15"/>
          <p:cNvSpPr txBox="1"/>
          <p:nvPr/>
        </p:nvSpPr>
        <p:spPr>
          <a:xfrm>
            <a:off x="4137514" y="484909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2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1280593" y="2852617"/>
            <a:ext cx="1440160" cy="3310627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32" name="ZoneTexte 6"/>
          <p:cNvSpPr txBox="1"/>
          <p:nvPr/>
        </p:nvSpPr>
        <p:spPr>
          <a:xfrm>
            <a:off x="1280592" y="5516914"/>
            <a:ext cx="1224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Promotion, protection &amp; support of optimal BF practices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3" name="ZoneTexte 8"/>
          <p:cNvSpPr txBox="1"/>
          <p:nvPr/>
        </p:nvSpPr>
        <p:spPr>
          <a:xfrm>
            <a:off x="3230550" y="5516914"/>
            <a:ext cx="100237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mprovement of complementary feeding</a:t>
            </a:r>
            <a:endParaRPr lang="fr-FR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4" name="Rounded Rectangular Callout 33"/>
          <p:cNvSpPr/>
          <p:nvPr/>
        </p:nvSpPr>
        <p:spPr>
          <a:xfrm>
            <a:off x="2879365" y="2955597"/>
            <a:ext cx="1433914" cy="761101"/>
          </a:xfrm>
          <a:prstGeom prst="wedgeRoundRectCallout">
            <a:avLst>
              <a:gd name="adj1" fmla="val -51998"/>
              <a:gd name="adj2" fmla="val 7419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7" name="Rounded Rectangular Callout 36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39" name="Rounded Rectangular Callout 38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35" name="Rounded Rectangular Callout 34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7947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care for children/pregnant &amp; lactating women </a:t>
            </a:r>
            <a:r>
              <a:rPr lang="en-GB" b="1" dirty="0" smtClean="0">
                <a:solidFill>
                  <a:srgbClr val="000000"/>
                </a:solidFill>
              </a:rPr>
              <a:t>is mainly focused on implementation/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4140397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st of the actions undertaken by the UN </a:t>
            </a:r>
            <a:r>
              <a:rPr lang="en-US" sz="1200" b="1" dirty="0" smtClean="0">
                <a:solidFill>
                  <a:srgbClr val="000000"/>
                </a:solidFill>
              </a:rPr>
              <a:t>are </a:t>
            </a:r>
            <a:r>
              <a:rPr lang="en-US" sz="1200" b="1" dirty="0">
                <a:solidFill>
                  <a:srgbClr val="000000"/>
                </a:solidFill>
              </a:rPr>
              <a:t>related to </a:t>
            </a:r>
            <a:r>
              <a:rPr lang="en-US" sz="1200" b="1" dirty="0" smtClean="0">
                <a:solidFill>
                  <a:srgbClr val="000000"/>
                </a:solidFill>
              </a:rPr>
              <a:t>care to pregnant &amp; lactating women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285578"/>
            <a:ext cx="4049385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Childcare </a:t>
            </a:r>
            <a:r>
              <a:rPr lang="en-US" sz="1400" dirty="0">
                <a:solidFill>
                  <a:srgbClr val="000000"/>
                </a:solidFill>
              </a:rPr>
              <a:t>support/caregiver </a:t>
            </a:r>
            <a:r>
              <a:rPr lang="en-US" sz="1400" dirty="0" smtClean="0">
                <a:solidFill>
                  <a:srgbClr val="000000"/>
                </a:solidFill>
              </a:rPr>
              <a:t>workload is being supported only through governance actions </a:t>
            </a:r>
            <a:br>
              <a:rPr lang="en-US" sz="1400" dirty="0" smtClean="0">
                <a:solidFill>
                  <a:srgbClr val="000000"/>
                </a:solidFill>
              </a:rPr>
            </a:b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situation analysis, advocacy &amp; communications; &amp; (2) policy/ planning</a:t>
            </a:r>
          </a:p>
          <a:p>
            <a:pPr>
              <a:buClr>
                <a:srgbClr val="548DD4"/>
              </a:buClr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4641570" y="906354"/>
            <a:ext cx="2606434" cy="431294"/>
          </a:xfrm>
          <a:prstGeom prst="wedgeRoundRectCallout">
            <a:avLst>
              <a:gd name="adj1" fmla="val 65983"/>
              <a:gd name="adj2" fmla="val -107722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3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PLW = pregnant and lactating women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graphicFrame>
        <p:nvGraphicFramePr>
          <p:cNvPr id="26" name="Graphique 10"/>
          <p:cNvGraphicFramePr/>
          <p:nvPr>
            <p:extLst/>
          </p:nvPr>
        </p:nvGraphicFramePr>
        <p:xfrm>
          <a:off x="714828" y="2060848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7" name="Right Bracket 26"/>
          <p:cNvSpPr/>
          <p:nvPr/>
        </p:nvSpPr>
        <p:spPr bwMode="auto">
          <a:xfrm>
            <a:off x="2255242" y="3068642"/>
            <a:ext cx="105469" cy="2376264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8" name="ZoneTexte 15"/>
          <p:cNvSpPr txBox="1"/>
          <p:nvPr/>
        </p:nvSpPr>
        <p:spPr>
          <a:xfrm>
            <a:off x="2337314" y="4330881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5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29" name="Right Bracket 28"/>
          <p:cNvSpPr/>
          <p:nvPr/>
        </p:nvSpPr>
        <p:spPr bwMode="auto">
          <a:xfrm>
            <a:off x="4088905" y="4477338"/>
            <a:ext cx="48610" cy="981728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30" name="ZoneTexte 15"/>
          <p:cNvSpPr txBox="1"/>
          <p:nvPr/>
        </p:nvSpPr>
        <p:spPr>
          <a:xfrm>
            <a:off x="4137514" y="484909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2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32" name="ZoneTexte 6"/>
          <p:cNvSpPr txBox="1"/>
          <p:nvPr/>
        </p:nvSpPr>
        <p:spPr>
          <a:xfrm>
            <a:off x="1280592" y="5516914"/>
            <a:ext cx="12241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Care to PLW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3" name="ZoneTexte 8"/>
          <p:cNvSpPr txBox="1"/>
          <p:nvPr/>
        </p:nvSpPr>
        <p:spPr>
          <a:xfrm>
            <a:off x="3152800" y="5516914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Childcare support/ caregiver workload</a:t>
            </a:r>
            <a:endParaRPr lang="fr-FR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280593" y="2852618"/>
            <a:ext cx="1440160" cy="3240360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31" name="Rounded Rectangular Callout 30"/>
          <p:cNvSpPr/>
          <p:nvPr/>
        </p:nvSpPr>
        <p:spPr>
          <a:xfrm>
            <a:off x="2879365" y="2955597"/>
            <a:ext cx="1433914" cy="761101"/>
          </a:xfrm>
          <a:prstGeom prst="wedgeRoundRectCallout">
            <a:avLst>
              <a:gd name="adj1" fmla="val -51998"/>
              <a:gd name="adj2" fmla="val 7419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7" name="Rounded Rectangular Callout 36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39" name="Rounded Rectangular Callout 38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35" name="Rounded Rectangular Callout 34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130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609655"/>
            <a:ext cx="9327758" cy="369332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hygiene</a:t>
            </a:r>
            <a:r>
              <a:rPr lang="en-GB" b="1" dirty="0" smtClean="0">
                <a:solidFill>
                  <a:srgbClr val="000000"/>
                </a:solidFill>
              </a:rPr>
              <a:t> is mainly focused on implementation/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380001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st of the actions undertaken by the UN </a:t>
            </a:r>
            <a:r>
              <a:rPr lang="en-US" sz="1200" b="1" dirty="0" smtClean="0">
                <a:solidFill>
                  <a:srgbClr val="000000"/>
                </a:solidFill>
              </a:rPr>
              <a:t>are </a:t>
            </a:r>
            <a:r>
              <a:rPr lang="en-US" sz="1200" b="1" dirty="0">
                <a:solidFill>
                  <a:srgbClr val="000000"/>
                </a:solidFill>
              </a:rPr>
              <a:t>related to </a:t>
            </a:r>
            <a:r>
              <a:rPr lang="en-US" sz="1200" b="1" dirty="0" smtClean="0">
                <a:solidFill>
                  <a:srgbClr val="000000"/>
                </a:solidFill>
              </a:rPr>
              <a:t>food hygiene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41" name="Graphique 10"/>
          <p:cNvGraphicFramePr/>
          <p:nvPr>
            <p:extLst>
              <p:ext uri="{D42A27DB-BD31-4B8C-83A1-F6EECF244321}">
                <p14:modId xmlns:p14="http://schemas.microsoft.com/office/powerpoint/2010/main" val="4149291951"/>
              </p:ext>
            </p:extLst>
          </p:nvPr>
        </p:nvGraphicFramePr>
        <p:xfrm>
          <a:off x="714828" y="2277190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2" name="ZoneTexte 6"/>
          <p:cNvSpPr txBox="1"/>
          <p:nvPr/>
        </p:nvSpPr>
        <p:spPr>
          <a:xfrm>
            <a:off x="848544" y="5733256"/>
            <a:ext cx="12241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and-washing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4" name="ZoneTexte 8"/>
          <p:cNvSpPr txBox="1"/>
          <p:nvPr/>
        </p:nvSpPr>
        <p:spPr>
          <a:xfrm>
            <a:off x="1568624" y="5733256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H water                                 treatment &amp; storage 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8" name="ZoneTexte 6"/>
          <p:cNvSpPr txBox="1"/>
          <p:nvPr/>
        </p:nvSpPr>
        <p:spPr>
          <a:xfrm>
            <a:off x="2648744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ood                          hygiene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276872"/>
            <a:ext cx="4049385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Sanitation management is being supported </a:t>
            </a:r>
            <a:r>
              <a:rPr lang="en-US" sz="1400" dirty="0">
                <a:solidFill>
                  <a:srgbClr val="000000"/>
                </a:solidFill>
              </a:rPr>
              <a:t>o</a:t>
            </a:r>
            <a:r>
              <a:rPr lang="en-US" sz="1400" dirty="0" smtClean="0">
                <a:solidFill>
                  <a:srgbClr val="000000"/>
                </a:solidFill>
              </a:rPr>
              <a:t>nly through implementation support 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</a:t>
            </a:r>
            <a:r>
              <a:rPr lang="en-US" sz="1400" dirty="0">
                <a:solidFill>
                  <a:srgbClr val="000000"/>
                </a:solidFill>
              </a:rPr>
              <a:t>situation analysis, advocacy &amp; communications; </a:t>
            </a:r>
            <a:r>
              <a:rPr lang="en-US" sz="1400" dirty="0" smtClean="0">
                <a:solidFill>
                  <a:srgbClr val="000000"/>
                </a:solidFill>
              </a:rPr>
              <a:t>(</a:t>
            </a:r>
            <a:r>
              <a:rPr lang="en-US" sz="1400" dirty="0">
                <a:solidFill>
                  <a:srgbClr val="000000"/>
                </a:solidFill>
              </a:rPr>
              <a:t>2) </a:t>
            </a:r>
            <a:r>
              <a:rPr lang="en-US" sz="1400" dirty="0" smtClean="0">
                <a:solidFill>
                  <a:srgbClr val="000000"/>
                </a:solidFill>
              </a:rPr>
              <a:t>policy/planning; &amp; (3) </a:t>
            </a:r>
            <a:r>
              <a:rPr lang="en-US" sz="1400" dirty="0">
                <a:solidFill>
                  <a:srgbClr val="000000"/>
                </a:solidFill>
              </a:rPr>
              <a:t>human &amp; institutional </a:t>
            </a:r>
            <a:r>
              <a:rPr lang="en-US" sz="1400" dirty="0" smtClean="0">
                <a:solidFill>
                  <a:srgbClr val="000000"/>
                </a:solidFill>
              </a:rPr>
              <a:t>CD / training 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0" name="Right Bracket 49"/>
          <p:cNvSpPr/>
          <p:nvPr/>
        </p:nvSpPr>
        <p:spPr bwMode="auto">
          <a:xfrm>
            <a:off x="1679179" y="4273350"/>
            <a:ext cx="82072" cy="1387897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51" name="ZoneTexte 15"/>
          <p:cNvSpPr txBox="1"/>
          <p:nvPr/>
        </p:nvSpPr>
        <p:spPr>
          <a:xfrm>
            <a:off x="1761250" y="4797152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3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52" name="Right Bracket 51"/>
          <p:cNvSpPr/>
          <p:nvPr/>
        </p:nvSpPr>
        <p:spPr bwMode="auto">
          <a:xfrm>
            <a:off x="3479378" y="3284984"/>
            <a:ext cx="114879" cy="2376264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53" name="ZoneTexte 15"/>
          <p:cNvSpPr txBox="1"/>
          <p:nvPr/>
        </p:nvSpPr>
        <p:spPr>
          <a:xfrm>
            <a:off x="3561450" y="4293096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5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2951888" y="3058126"/>
            <a:ext cx="911583" cy="3044462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22" name="Rounded Rectangular Callout 21"/>
          <p:cNvSpPr/>
          <p:nvPr/>
        </p:nvSpPr>
        <p:spPr>
          <a:xfrm>
            <a:off x="3947728" y="995753"/>
            <a:ext cx="2606434" cy="431294"/>
          </a:xfrm>
          <a:prstGeom prst="wedgeRoundRectCallout">
            <a:avLst>
              <a:gd name="adj1" fmla="val -26108"/>
              <a:gd name="adj2" fmla="val -13422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6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HH = household</a:t>
            </a:r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CD = capacity development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9" name="Right Bracket 28"/>
          <p:cNvSpPr/>
          <p:nvPr/>
        </p:nvSpPr>
        <p:spPr bwMode="auto">
          <a:xfrm>
            <a:off x="2568451" y="4797152"/>
            <a:ext cx="90357" cy="864096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30" name="ZoneTexte 15"/>
          <p:cNvSpPr txBox="1"/>
          <p:nvPr/>
        </p:nvSpPr>
        <p:spPr>
          <a:xfrm>
            <a:off x="2658807" y="5065439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31" name="Right Bracket 30"/>
          <p:cNvSpPr/>
          <p:nvPr/>
        </p:nvSpPr>
        <p:spPr bwMode="auto">
          <a:xfrm>
            <a:off x="4329484" y="5196683"/>
            <a:ext cx="96063" cy="484310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32" name="ZoneTexte 15"/>
          <p:cNvSpPr txBox="1"/>
          <p:nvPr/>
        </p:nvSpPr>
        <p:spPr>
          <a:xfrm>
            <a:off x="4425546" y="5301208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1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33" name="ZoneTexte 6"/>
          <p:cNvSpPr txBox="1"/>
          <p:nvPr/>
        </p:nvSpPr>
        <p:spPr>
          <a:xfrm>
            <a:off x="3584848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anitation management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8" name="Rounded Rectangular Callout 27"/>
          <p:cNvSpPr/>
          <p:nvPr/>
        </p:nvSpPr>
        <p:spPr>
          <a:xfrm>
            <a:off x="1355723" y="2869798"/>
            <a:ext cx="1433914" cy="761101"/>
          </a:xfrm>
          <a:prstGeom prst="wedgeRoundRectCallout">
            <a:avLst>
              <a:gd name="adj1" fmla="val 54284"/>
              <a:gd name="adj2" fmla="val 89700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6" name="Rounded Rectangular Callout 35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37" name="Rounded Rectangular Callout 36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34" name="Rounded Rectangular Callout 33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645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health behaviours</a:t>
            </a:r>
            <a:r>
              <a:rPr lang="en-GB" b="1" dirty="0" smtClean="0">
                <a:solidFill>
                  <a:srgbClr val="000000"/>
                </a:solidFill>
              </a:rPr>
              <a:t> is mainly focused on implementation/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276872"/>
            <a:ext cx="4049385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Insecticide-treated </a:t>
            </a:r>
            <a:r>
              <a:rPr lang="en-US" sz="1400" dirty="0" err="1" smtClean="0">
                <a:solidFill>
                  <a:srgbClr val="000000"/>
                </a:solidFill>
              </a:rPr>
              <a:t>bednets</a:t>
            </a:r>
            <a:r>
              <a:rPr lang="en-US" sz="1400" dirty="0" smtClean="0">
                <a:solidFill>
                  <a:srgbClr val="000000"/>
                </a:solidFill>
              </a:rPr>
              <a:t> and health-seeking </a:t>
            </a:r>
            <a:r>
              <a:rPr lang="en-US" sz="1400" dirty="0" err="1" smtClean="0">
                <a:solidFill>
                  <a:srgbClr val="000000"/>
                </a:solidFill>
              </a:rPr>
              <a:t>behaviours</a:t>
            </a:r>
            <a:r>
              <a:rPr lang="en-US" sz="1400" dirty="0" smtClean="0">
                <a:solidFill>
                  <a:srgbClr val="000000"/>
                </a:solidFill>
              </a:rPr>
              <a:t> are being supported only through implementation actions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</a:t>
            </a:r>
            <a:r>
              <a:rPr lang="en-US" sz="1400" dirty="0">
                <a:solidFill>
                  <a:srgbClr val="000000"/>
                </a:solidFill>
              </a:rPr>
              <a:t>situation analysis, advocacy &amp; communications; </a:t>
            </a:r>
            <a:r>
              <a:rPr lang="en-US" sz="1400" dirty="0" smtClean="0">
                <a:solidFill>
                  <a:srgbClr val="000000"/>
                </a:solidFill>
              </a:rPr>
              <a:t>&amp; (</a:t>
            </a:r>
            <a:r>
              <a:rPr lang="en-US" sz="1400" dirty="0">
                <a:solidFill>
                  <a:srgbClr val="000000"/>
                </a:solidFill>
              </a:rPr>
              <a:t>2) </a:t>
            </a:r>
            <a:r>
              <a:rPr lang="en-US" sz="1400" dirty="0" smtClean="0">
                <a:solidFill>
                  <a:srgbClr val="000000"/>
                </a:solidFill>
              </a:rPr>
              <a:t>policy/ planning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3947728" y="995753"/>
            <a:ext cx="2606434" cy="431294"/>
          </a:xfrm>
          <a:prstGeom prst="wedgeRoundRectCallout">
            <a:avLst>
              <a:gd name="adj1" fmla="val -26108"/>
              <a:gd name="adj2" fmla="val -13422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6" name="Rectangle 17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8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34" name="Graphique 10"/>
          <p:cNvGraphicFramePr/>
          <p:nvPr>
            <p:extLst>
              <p:ext uri="{D42A27DB-BD31-4B8C-83A1-F6EECF244321}">
                <p14:modId xmlns:p14="http://schemas.microsoft.com/office/powerpoint/2010/main" val="1294192966"/>
              </p:ext>
            </p:extLst>
          </p:nvPr>
        </p:nvGraphicFramePr>
        <p:xfrm>
          <a:off x="714828" y="2277190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ZoneTexte 6"/>
          <p:cNvSpPr txBox="1"/>
          <p:nvPr/>
        </p:nvSpPr>
        <p:spPr>
          <a:xfrm>
            <a:off x="998301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ealth-seeking behaviour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2000672" y="5733256"/>
            <a:ext cx="158417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nsecticide-treated   bednets                                (anti-malaria) 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3368824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amily planning behaviour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5" name="Right Bracket 44"/>
          <p:cNvSpPr/>
          <p:nvPr/>
        </p:nvSpPr>
        <p:spPr bwMode="auto">
          <a:xfrm>
            <a:off x="4271466" y="3284984"/>
            <a:ext cx="114879" cy="2376264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46" name="ZoneTexte 15"/>
          <p:cNvSpPr txBox="1"/>
          <p:nvPr/>
        </p:nvSpPr>
        <p:spPr>
          <a:xfrm>
            <a:off x="4353538" y="4293096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5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3464231" y="3058125"/>
            <a:ext cx="1200737" cy="3182961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03032" y="1464565"/>
            <a:ext cx="380001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st of the actions undertaken by the UN </a:t>
            </a:r>
            <a:r>
              <a:rPr lang="en-US" sz="1200" b="1" dirty="0" smtClean="0">
                <a:solidFill>
                  <a:srgbClr val="000000"/>
                </a:solidFill>
              </a:rPr>
              <a:t>are </a:t>
            </a:r>
            <a:r>
              <a:rPr lang="en-US" sz="1200" b="1" dirty="0">
                <a:solidFill>
                  <a:srgbClr val="000000"/>
                </a:solidFill>
              </a:rPr>
              <a:t>related to </a:t>
            </a:r>
            <a:r>
              <a:rPr lang="en-US" sz="1200" b="1" dirty="0" smtClean="0">
                <a:solidFill>
                  <a:srgbClr val="000000"/>
                </a:solidFill>
              </a:rPr>
              <a:t>family planning </a:t>
            </a:r>
            <a:r>
              <a:rPr lang="en-US" sz="1200" b="1" dirty="0" err="1" smtClean="0">
                <a:solidFill>
                  <a:srgbClr val="000000"/>
                </a:solidFill>
              </a:rPr>
              <a:t>behaviour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62" name="Right Bracket 61"/>
          <p:cNvSpPr/>
          <p:nvPr/>
        </p:nvSpPr>
        <p:spPr bwMode="auto">
          <a:xfrm>
            <a:off x="3033340" y="5196683"/>
            <a:ext cx="96063" cy="484310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63" name="ZoneTexte 15"/>
          <p:cNvSpPr txBox="1"/>
          <p:nvPr/>
        </p:nvSpPr>
        <p:spPr>
          <a:xfrm>
            <a:off x="3129402" y="5301208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1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64" name="Right Bracket 63"/>
          <p:cNvSpPr/>
          <p:nvPr/>
        </p:nvSpPr>
        <p:spPr bwMode="auto">
          <a:xfrm>
            <a:off x="1881212" y="5196683"/>
            <a:ext cx="96063" cy="484310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65" name="ZoneTexte 15"/>
          <p:cNvSpPr txBox="1"/>
          <p:nvPr/>
        </p:nvSpPr>
        <p:spPr>
          <a:xfrm>
            <a:off x="1977274" y="5301208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1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27" name="Rounded Rectangular Callout 26"/>
          <p:cNvSpPr/>
          <p:nvPr/>
        </p:nvSpPr>
        <p:spPr>
          <a:xfrm>
            <a:off x="1751694" y="2839264"/>
            <a:ext cx="1433914" cy="761101"/>
          </a:xfrm>
          <a:prstGeom prst="wedgeRoundRectCallout">
            <a:avLst>
              <a:gd name="adj1" fmla="val 62513"/>
              <a:gd name="adj2" fmla="val 1000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1" name="Rounded Rectangular Callout 30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29" name="Rounded Rectangular Callout 28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1474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maternal, neonatal and paediatric health care</a:t>
            </a:r>
            <a:r>
              <a:rPr lang="en-GB" b="1" dirty="0" smtClean="0">
                <a:solidFill>
                  <a:srgbClr val="000000"/>
                </a:solidFill>
              </a:rPr>
              <a:t> is mainly focused on implementation/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276872"/>
            <a:ext cx="4049385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Health professional-assisted delivery is being supported only through implementation actions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</a:t>
            </a:r>
            <a:r>
              <a:rPr lang="en-US" sz="1400" dirty="0">
                <a:solidFill>
                  <a:srgbClr val="000000"/>
                </a:solidFill>
              </a:rPr>
              <a:t>situation analysis, advocacy &amp; communications; </a:t>
            </a:r>
            <a:r>
              <a:rPr lang="en-US" sz="1400" dirty="0" smtClean="0">
                <a:solidFill>
                  <a:srgbClr val="000000"/>
                </a:solidFill>
              </a:rPr>
              <a:t>(2</a:t>
            </a:r>
            <a:r>
              <a:rPr lang="en-US" sz="1400" dirty="0">
                <a:solidFill>
                  <a:srgbClr val="000000"/>
                </a:solidFill>
              </a:rPr>
              <a:t>) </a:t>
            </a:r>
            <a:r>
              <a:rPr lang="en-US" sz="1400" dirty="0" smtClean="0">
                <a:solidFill>
                  <a:srgbClr val="000000"/>
                </a:solidFill>
              </a:rPr>
              <a:t>policy/ planning; &amp; (3) </a:t>
            </a:r>
            <a:r>
              <a:rPr lang="en-US" sz="1400" dirty="0">
                <a:solidFill>
                  <a:srgbClr val="000000"/>
                </a:solidFill>
              </a:rPr>
              <a:t>human &amp; institutional CD / training 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3947728" y="995753"/>
            <a:ext cx="2606434" cy="431294"/>
          </a:xfrm>
          <a:prstGeom prst="wedgeRoundRectCallout">
            <a:avLst>
              <a:gd name="adj1" fmla="val -26108"/>
              <a:gd name="adj2" fmla="val -13422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8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34" name="Graphique 10"/>
          <p:cNvGraphicFramePr/>
          <p:nvPr>
            <p:extLst>
              <p:ext uri="{D42A27DB-BD31-4B8C-83A1-F6EECF244321}">
                <p14:modId xmlns:p14="http://schemas.microsoft.com/office/powerpoint/2010/main" val="1475606892"/>
              </p:ext>
            </p:extLst>
          </p:nvPr>
        </p:nvGraphicFramePr>
        <p:xfrm>
          <a:off x="714828" y="2277190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ZoneTexte 6"/>
          <p:cNvSpPr txBox="1"/>
          <p:nvPr/>
        </p:nvSpPr>
        <p:spPr>
          <a:xfrm>
            <a:off x="998301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nte- &amp; Post-                    natal care 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2000672" y="5733256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ealth professional-assisted delivery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3368824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Basic paediatric health services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5" name="Right Bracket 44"/>
          <p:cNvSpPr/>
          <p:nvPr/>
        </p:nvSpPr>
        <p:spPr bwMode="auto">
          <a:xfrm>
            <a:off x="4271467" y="4293096"/>
            <a:ext cx="82072" cy="1368152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46" name="ZoneTexte 15"/>
          <p:cNvSpPr txBox="1"/>
          <p:nvPr/>
        </p:nvSpPr>
        <p:spPr>
          <a:xfrm>
            <a:off x="4353538" y="477740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1064568" y="3058125"/>
            <a:ext cx="1200737" cy="3182961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1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380001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st of the actions undertaken by the UN </a:t>
            </a:r>
            <a:r>
              <a:rPr lang="en-US" sz="1200" b="1" dirty="0" smtClean="0">
                <a:solidFill>
                  <a:srgbClr val="000000"/>
                </a:solidFill>
              </a:rPr>
              <a:t>are </a:t>
            </a:r>
            <a:r>
              <a:rPr lang="en-US" sz="1200" b="1" dirty="0">
                <a:solidFill>
                  <a:srgbClr val="000000"/>
                </a:solidFill>
              </a:rPr>
              <a:t>related to </a:t>
            </a:r>
            <a:r>
              <a:rPr lang="en-US" sz="1200" b="1" dirty="0" smtClean="0">
                <a:solidFill>
                  <a:srgbClr val="000000"/>
                </a:solidFill>
              </a:rPr>
              <a:t>ante- &amp; post-natal care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62" name="Right Bracket 61"/>
          <p:cNvSpPr/>
          <p:nvPr/>
        </p:nvSpPr>
        <p:spPr bwMode="auto">
          <a:xfrm>
            <a:off x="3033340" y="5196683"/>
            <a:ext cx="96063" cy="484310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63" name="ZoneTexte 15"/>
          <p:cNvSpPr txBox="1"/>
          <p:nvPr/>
        </p:nvSpPr>
        <p:spPr>
          <a:xfrm>
            <a:off x="3129402" y="5301208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1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64" name="Right Bracket 63"/>
          <p:cNvSpPr/>
          <p:nvPr/>
        </p:nvSpPr>
        <p:spPr bwMode="auto">
          <a:xfrm>
            <a:off x="1905266" y="3284984"/>
            <a:ext cx="72009" cy="2396009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65" name="ZoneTexte 15"/>
          <p:cNvSpPr txBox="1"/>
          <p:nvPr/>
        </p:nvSpPr>
        <p:spPr>
          <a:xfrm>
            <a:off x="1977274" y="4293096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27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CD = capacity development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6" name="Rounded Rectangular Callout 25"/>
          <p:cNvSpPr/>
          <p:nvPr/>
        </p:nvSpPr>
        <p:spPr>
          <a:xfrm>
            <a:off x="2432720" y="2955597"/>
            <a:ext cx="1433914" cy="761101"/>
          </a:xfrm>
          <a:prstGeom prst="wedgeRoundRectCallout">
            <a:avLst>
              <a:gd name="adj1" fmla="val -51998"/>
              <a:gd name="adj2" fmla="val 7419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1" name="Rounded Rectangular Callout 30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29" name="Rounded Rectangular Callout 28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704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7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ing the </a:t>
            </a: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ndium of Actions for Nutrition </a:t>
            </a:r>
            <a:r>
              <a:rPr lang="en-GB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draft)</a:t>
            </a: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take inventory of                        UN actions</a:t>
            </a:r>
            <a:endParaRPr lang="en-GB" dirty="0"/>
          </a:p>
        </p:txBody>
      </p:sp>
      <p:sp>
        <p:nvSpPr>
          <p:cNvPr id="48" name="FlowTriangle"/>
          <p:cNvSpPr>
            <a:spLocks noChangeArrowheads="1"/>
          </p:cNvSpPr>
          <p:nvPr/>
        </p:nvSpPr>
        <p:spPr bwMode="gray">
          <a:xfrm rot="5400000">
            <a:off x="2028081" y="3772024"/>
            <a:ext cx="3505200" cy="24765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GB" altLang="en-US" sz="1400" b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1" y="1978616"/>
            <a:ext cx="3147810" cy="4042672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272480" y="1834600"/>
            <a:ext cx="3025224" cy="4146789"/>
          </a:xfrm>
          <a:prstGeom prst="rect">
            <a:avLst/>
          </a:prstGeom>
          <a:noFill/>
          <a:ln w="317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Line 5"/>
          <p:cNvSpPr>
            <a:spLocks noChangeShapeType="1"/>
          </p:cNvSpPr>
          <p:nvPr/>
        </p:nvSpPr>
        <p:spPr bwMode="auto">
          <a:xfrm>
            <a:off x="4076952" y="2544948"/>
            <a:ext cx="5669280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2" name="Line 8"/>
          <p:cNvSpPr>
            <a:spLocks noChangeShapeType="1"/>
          </p:cNvSpPr>
          <p:nvPr/>
        </p:nvSpPr>
        <p:spPr bwMode="auto">
          <a:xfrm flipV="1">
            <a:off x="3989223" y="4845936"/>
            <a:ext cx="5669280" cy="14039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3" name="Line 9"/>
          <p:cNvSpPr>
            <a:spLocks noChangeShapeType="1"/>
          </p:cNvSpPr>
          <p:nvPr/>
        </p:nvSpPr>
        <p:spPr bwMode="auto">
          <a:xfrm flipV="1">
            <a:off x="3989223" y="5851677"/>
            <a:ext cx="5669280" cy="11599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4" name="Text Box 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053297" y="4272602"/>
            <a:ext cx="1362075" cy="260597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ccinations</a:t>
            </a:r>
          </a:p>
        </p:txBody>
      </p:sp>
      <p:sp>
        <p:nvSpPr>
          <p:cNvPr id="55" name="Text Box 1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053297" y="3647129"/>
            <a:ext cx="1362075" cy="296860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ti-malaria</a:t>
            </a:r>
          </a:p>
        </p:txBody>
      </p:sp>
      <p:sp>
        <p:nvSpPr>
          <p:cNvPr id="56" name="Text 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053297" y="1497808"/>
            <a:ext cx="1362075" cy="285749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nte- &amp; post-natal care</a:t>
            </a:r>
          </a:p>
        </p:txBody>
      </p:sp>
      <p:sp>
        <p:nvSpPr>
          <p:cNvPr id="57" name="Text Box 1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053297" y="2598659"/>
            <a:ext cx="1362075" cy="310051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1000" kern="0" noProof="0" dirty="0" smtClean="0">
                <a:solidFill>
                  <a:srgbClr val="000000"/>
                </a:solidFill>
              </a:rPr>
              <a:t>Iron or Iron/folic acid supplementation</a:t>
            </a:r>
            <a:endParaRPr kumimoji="0" lang="en-GB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 Box 18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053297" y="2946323"/>
            <a:ext cx="1362075" cy="250824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1000" kern="0" dirty="0" smtClean="0">
                <a:solidFill>
                  <a:srgbClr val="000000"/>
                </a:solidFill>
              </a:rPr>
              <a:t>Suppl. of vitamins A/D/Ca/Zn/Iodine</a:t>
            </a:r>
            <a:endParaRPr kumimoji="0" lang="en-GB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 Box 2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053297" y="3307836"/>
            <a:ext cx="1362075" cy="307790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ultiple micronutrient supplementation</a:t>
            </a:r>
          </a:p>
        </p:txBody>
      </p:sp>
      <p:sp>
        <p:nvSpPr>
          <p:cNvPr id="60" name="Text Box 2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053297" y="5196527"/>
            <a:ext cx="1362075" cy="274884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1000" kern="0" dirty="0" smtClean="0">
                <a:solidFill>
                  <a:srgbClr val="000000"/>
                </a:solidFill>
              </a:rPr>
              <a:t>Hand-washing w/ soap</a:t>
            </a:r>
            <a:endParaRPr kumimoji="0" lang="en-GB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2" name="Text Box 23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053297" y="5506088"/>
            <a:ext cx="1362075" cy="320676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nitation facilities</a:t>
            </a:r>
            <a:r>
              <a:rPr kumimoji="0" lang="en-GB" altLang="en-US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management</a:t>
            </a:r>
            <a:endParaRPr kumimoji="0" lang="en-GB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Box 25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053297" y="4888552"/>
            <a:ext cx="1362075" cy="300037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ousehold water treatment</a:t>
            </a:r>
          </a:p>
        </p:txBody>
      </p:sp>
      <p:sp>
        <p:nvSpPr>
          <p:cNvPr id="64" name="Text Box 2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053297" y="5891852"/>
            <a:ext cx="1362075" cy="300036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altLang="en-US" sz="1000" kern="0" dirty="0" smtClean="0">
                <a:solidFill>
                  <a:srgbClr val="000000"/>
                </a:solidFill>
              </a:rPr>
              <a:t>Nutrition Education</a:t>
            </a:r>
            <a:endParaRPr kumimoji="0" lang="fr-F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4"/>
          <p:cNvSpPr>
            <a:spLocks noChangeArrowheads="1"/>
          </p:cNvSpPr>
          <p:nvPr/>
        </p:nvSpPr>
        <p:spPr bwMode="gray">
          <a:xfrm>
            <a:off x="4080969" y="1238558"/>
            <a:ext cx="1362075" cy="22542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b="1" dirty="0" smtClean="0">
                <a:ea typeface="Gulim" panose="020B0600000101010101" pitchFamily="34" charset="-127"/>
              </a:rPr>
              <a:t>Actions</a:t>
            </a:r>
            <a:endParaRPr lang="en-GB" altLang="en-US" b="1" dirty="0">
              <a:ea typeface="Gulim" panose="020B0600000101010101" pitchFamily="34" charset="-127"/>
            </a:endParaRPr>
          </a:p>
        </p:txBody>
      </p:sp>
      <p:sp>
        <p:nvSpPr>
          <p:cNvPr id="66" name="Text Box 15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053297" y="1844824"/>
            <a:ext cx="1362075" cy="285749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1000" kern="0" dirty="0" smtClean="0">
                <a:solidFill>
                  <a:srgbClr val="000000"/>
                </a:solidFill>
              </a:rPr>
              <a:t>Health professional-assisted delivery</a:t>
            </a:r>
            <a:endParaRPr kumimoji="0" lang="en-GB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7" name="Text Box 15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053297" y="2204864"/>
            <a:ext cx="1362075" cy="285749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asic paediatric health services</a:t>
            </a:r>
          </a:p>
        </p:txBody>
      </p:sp>
      <p:sp>
        <p:nvSpPr>
          <p:cNvPr id="70" name="Text Box 15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053297" y="3966701"/>
            <a:ext cx="1362075" cy="267799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1000" kern="0" dirty="0" smtClean="0">
                <a:solidFill>
                  <a:srgbClr val="000000"/>
                </a:solidFill>
              </a:rPr>
              <a:t>Diarrhoea mgt.</a:t>
            </a:r>
            <a:endParaRPr kumimoji="0" lang="en-GB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1" name="Text Box 1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053297" y="4564702"/>
            <a:ext cx="1362075" cy="260597"/>
          </a:xfrm>
          <a:prstGeom prst="rect">
            <a:avLst/>
          </a:prstGeom>
          <a:solidFill>
            <a:srgbClr val="548DD4"/>
          </a:solidFill>
          <a:ln w="9525" algn="ctr">
            <a:solidFill>
              <a:srgbClr val="BCDEC2"/>
            </a:solidFill>
            <a:miter lim="800000"/>
            <a:headEnd/>
            <a:tailEnd/>
          </a:ln>
          <a:effectLst/>
        </p:spPr>
        <p:txBody>
          <a:bodyPr lIns="18000" rIns="18000" anchor="ctr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IV </a:t>
            </a:r>
            <a:r>
              <a:rPr kumimoji="0" lang="fr-FR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gt</a:t>
            </a:r>
            <a:r>
              <a:rPr kumimoji="0" lang="fr-FR" altLang="en-US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&amp; PMTCT</a:t>
            </a:r>
            <a:endParaRPr kumimoji="0" lang="fr-FR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 35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5492553" y="1124744"/>
            <a:ext cx="629948" cy="336063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b="1" kern="0" dirty="0" smtClean="0">
                <a:solidFill>
                  <a:srgbClr val="000000"/>
                </a:solidFill>
              </a:rPr>
              <a:t>FAO</a:t>
            </a:r>
            <a:endParaRPr kumimoji="0" lang="en-GB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3" name="Freeform 46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5653248" y="5943752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8" name="clipart_cross"/>
          <p:cNvSpPr>
            <a:spLocks/>
          </p:cNvSpPr>
          <p:nvPr/>
        </p:nvSpPr>
        <p:spPr bwMode="gray">
          <a:xfrm>
            <a:off x="5615148" y="3640291"/>
            <a:ext cx="267491" cy="26535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Rectangle 35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177136" y="1124744"/>
            <a:ext cx="629948" cy="336063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FAD</a:t>
            </a:r>
          </a:p>
        </p:txBody>
      </p:sp>
      <p:sp>
        <p:nvSpPr>
          <p:cNvPr id="90" name="Freeform 46"/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6331579" y="5931697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6" name="Freeform 50"/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331579" y="4595022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5" name="clipart_cross"/>
          <p:cNvSpPr>
            <a:spLocks/>
          </p:cNvSpPr>
          <p:nvPr/>
        </p:nvSpPr>
        <p:spPr bwMode="gray">
          <a:xfrm>
            <a:off x="6293479" y="3628236"/>
            <a:ext cx="267491" cy="26535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6" name="Rectangle 35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897216" y="1124744"/>
            <a:ext cx="629948" cy="336063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b="1" kern="0" dirty="0" smtClean="0">
                <a:solidFill>
                  <a:srgbClr val="000000"/>
                </a:solidFill>
              </a:rPr>
              <a:t>UNICE</a:t>
            </a:r>
            <a:r>
              <a:rPr kumimoji="0" lang="en-GB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</a:t>
            </a:r>
          </a:p>
        </p:txBody>
      </p:sp>
      <p:sp>
        <p:nvSpPr>
          <p:cNvPr id="107" name="Freeform 46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7051659" y="5937317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8" name="Freeform 45"/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7079332" y="1581373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9" name="Freeform 46"/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7079332" y="1910926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0" name="Freeform 47"/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7079332" y="2243979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2" name="Freeform 49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7051659" y="4922905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3" name="Freeform 50"/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7051659" y="4600642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4" name="Freeform 46"/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7088014" y="2691794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5" name="Freeform 47"/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7088014" y="2969607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8" name="Freeform 46"/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7064359" y="3981517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9" name="Freeform 47"/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7064359" y="4310130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Freeform 49"/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7051659" y="5253105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Freeform 49"/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7051659" y="5570605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2" name="clipart_cross"/>
          <p:cNvSpPr>
            <a:spLocks/>
          </p:cNvSpPr>
          <p:nvPr/>
        </p:nvSpPr>
        <p:spPr bwMode="gray">
          <a:xfrm>
            <a:off x="7013559" y="3633856"/>
            <a:ext cx="267491" cy="26535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3" name="Rectangle 35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7617296" y="1124744"/>
            <a:ext cx="629948" cy="336063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b="1" kern="0" dirty="0" smtClean="0">
                <a:solidFill>
                  <a:srgbClr val="000000"/>
                </a:solidFill>
              </a:rPr>
              <a:t>W</a:t>
            </a:r>
            <a:r>
              <a:rPr kumimoji="0" lang="en-GB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P</a:t>
            </a:r>
          </a:p>
        </p:txBody>
      </p:sp>
      <p:sp>
        <p:nvSpPr>
          <p:cNvPr id="124" name="Freeform 46"/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7813488" y="5925262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1" name="Freeform 46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7849843" y="2679739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3" name="Freeform 46"/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7830793" y="3277438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7" name="Freeform 49"/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7813488" y="5241050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9" name="clipart_cross"/>
          <p:cNvSpPr>
            <a:spLocks/>
          </p:cNvSpPr>
          <p:nvPr/>
        </p:nvSpPr>
        <p:spPr bwMode="gray">
          <a:xfrm>
            <a:off x="7775388" y="3621801"/>
            <a:ext cx="267491" cy="26535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0" name="Rectangle 35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8373887" y="1124744"/>
            <a:ext cx="629948" cy="336063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HO</a:t>
            </a:r>
          </a:p>
        </p:txBody>
      </p:sp>
      <p:sp>
        <p:nvSpPr>
          <p:cNvPr id="141" name="Freeform 46"/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8563827" y="5925262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2" name="Freeform 45"/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8591500" y="1569318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3" name="Freeform 46"/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8591500" y="1898871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4" name="Freeform 47"/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8591500" y="2231924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7" name="Freeform 50"/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8563827" y="4588587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2" name="Freeform 46"/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8576527" y="3969462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3" name="Freeform 47"/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8576527" y="4298075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4" name="Freeform 49"/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8563827" y="5241050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5" name="Freeform 49"/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8563827" y="5558550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6" name="clipart_cross"/>
          <p:cNvSpPr>
            <a:spLocks/>
          </p:cNvSpPr>
          <p:nvPr/>
        </p:nvSpPr>
        <p:spPr bwMode="gray">
          <a:xfrm>
            <a:off x="8525727" y="3621801"/>
            <a:ext cx="267491" cy="26535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7" name="Rectangle 35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9075580" y="1124744"/>
            <a:ext cx="830420" cy="336063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gency X</a:t>
            </a:r>
          </a:p>
        </p:txBody>
      </p:sp>
      <p:sp>
        <p:nvSpPr>
          <p:cNvPr id="158" name="Freeform 46"/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9265520" y="5937317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9" name="Freeform 45"/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9293193" y="1581373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4" name="Freeform 50"/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9265520" y="4600642"/>
            <a:ext cx="267491" cy="182563"/>
          </a:xfrm>
          <a:custGeom>
            <a:avLst/>
            <a:gdLst>
              <a:gd name="T0" fmla="*/ 1 w 352"/>
              <a:gd name="T1" fmla="*/ 80 h 380"/>
              <a:gd name="T2" fmla="*/ 28 w 352"/>
              <a:gd name="T3" fmla="*/ 115 h 380"/>
              <a:gd name="T4" fmla="*/ 47 w 352"/>
              <a:gd name="T5" fmla="*/ 114 h 380"/>
              <a:gd name="T6" fmla="*/ 126 w 352"/>
              <a:gd name="T7" fmla="*/ 8 h 380"/>
              <a:gd name="T8" fmla="*/ 106 w 352"/>
              <a:gd name="T9" fmla="*/ 4 h 380"/>
              <a:gd name="T10" fmla="*/ 37 w 352"/>
              <a:gd name="T11" fmla="*/ 92 h 380"/>
              <a:gd name="T12" fmla="*/ 10 w 352"/>
              <a:gd name="T13" fmla="*/ 73 h 380"/>
              <a:gd name="T14" fmla="*/ 1 w 352"/>
              <a:gd name="T15" fmla="*/ 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548DD4"/>
          </a:solidFill>
          <a:ln w="9525" cap="flat" cmpd="sng">
            <a:solidFill>
              <a:srgbClr val="548D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3" name="clipart_cross"/>
          <p:cNvSpPr>
            <a:spLocks/>
          </p:cNvSpPr>
          <p:nvPr/>
        </p:nvSpPr>
        <p:spPr bwMode="gray">
          <a:xfrm>
            <a:off x="9227420" y="3633856"/>
            <a:ext cx="267491" cy="265356"/>
          </a:xfrm>
          <a:custGeom>
            <a:avLst/>
            <a:gdLst>
              <a:gd name="T0" fmla="*/ 2147483647 w 324"/>
              <a:gd name="T1" fmla="*/ 2147483647 h 403"/>
              <a:gd name="T2" fmla="*/ 2147483647 w 324"/>
              <a:gd name="T3" fmla="*/ 2147483647 h 403"/>
              <a:gd name="T4" fmla="*/ 2147483647 w 324"/>
              <a:gd name="T5" fmla="*/ 2147483647 h 403"/>
              <a:gd name="T6" fmla="*/ 2147483647 w 324"/>
              <a:gd name="T7" fmla="*/ 2147483647 h 403"/>
              <a:gd name="T8" fmla="*/ 2147483647 w 324"/>
              <a:gd name="T9" fmla="*/ 2147483647 h 403"/>
              <a:gd name="T10" fmla="*/ 2147483647 w 324"/>
              <a:gd name="T11" fmla="*/ 2147483647 h 403"/>
              <a:gd name="T12" fmla="*/ 2147483647 w 324"/>
              <a:gd name="T13" fmla="*/ 2147483647 h 403"/>
              <a:gd name="T14" fmla="*/ 2147483647 w 324"/>
              <a:gd name="T15" fmla="*/ 2147483647 h 403"/>
              <a:gd name="T16" fmla="*/ 2147483647 w 324"/>
              <a:gd name="T17" fmla="*/ 2147483647 h 403"/>
              <a:gd name="T18" fmla="*/ 2147483647 w 324"/>
              <a:gd name="T19" fmla="*/ 2147483647 h 403"/>
              <a:gd name="T20" fmla="*/ 2147483647 w 324"/>
              <a:gd name="T21" fmla="*/ 2147483647 h 403"/>
              <a:gd name="T22" fmla="*/ 2147483647 w 324"/>
              <a:gd name="T23" fmla="*/ 2147483647 h 403"/>
              <a:gd name="T24" fmla="*/ 2147483647 w 324"/>
              <a:gd name="T25" fmla="*/ 2147483647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24"/>
              <a:gd name="T40" fmla="*/ 0 h 403"/>
              <a:gd name="T41" fmla="*/ 324 w 324"/>
              <a:gd name="T42" fmla="*/ 403 h 4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rgbClr val="CC0000"/>
          </a:solidFill>
          <a:ln w="12700" cap="flat" cmpd="sng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Line 5"/>
          <p:cNvSpPr>
            <a:spLocks noChangeShapeType="1"/>
          </p:cNvSpPr>
          <p:nvPr/>
        </p:nvSpPr>
        <p:spPr bwMode="auto">
          <a:xfrm>
            <a:off x="4106429" y="3251167"/>
            <a:ext cx="5669280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tIns="91440" bIns="9144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4" name="Rounded Rectangular Callout 73"/>
          <p:cNvSpPr/>
          <p:nvPr/>
        </p:nvSpPr>
        <p:spPr>
          <a:xfrm>
            <a:off x="1879045" y="709371"/>
            <a:ext cx="2007262" cy="951228"/>
          </a:xfrm>
          <a:prstGeom prst="wedgeRoundRectCallout">
            <a:avLst>
              <a:gd name="adj1" fmla="val 80627"/>
              <a:gd name="adj2" fmla="val 1896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prstClr val="white"/>
                </a:solidFill>
                <a:latin typeface="Arial"/>
              </a:rPr>
              <a:t>The text on this slide (actions, agencies, check marks) serve as an example and do not need to be customized to country results</a:t>
            </a:r>
            <a:endParaRPr lang="en-GB" sz="1000" b="1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488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micronutrient supplementation </a:t>
            </a:r>
            <a:r>
              <a:rPr lang="en-GB" b="1" dirty="0" smtClean="0">
                <a:solidFill>
                  <a:srgbClr val="000000"/>
                </a:solidFill>
              </a:rPr>
              <a:t>is mainly focused on implementation/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348880"/>
            <a:ext cx="4049385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All three actions in micronutrient supplementation are receiving both governance and implementation support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</a:t>
            </a:r>
            <a:r>
              <a:rPr lang="en-US" sz="1400" dirty="0">
                <a:solidFill>
                  <a:srgbClr val="000000"/>
                </a:solidFill>
              </a:rPr>
              <a:t>situation analysis, advocacy &amp; </a:t>
            </a:r>
            <a:r>
              <a:rPr lang="en-US" sz="1400" dirty="0" smtClean="0">
                <a:solidFill>
                  <a:srgbClr val="000000"/>
                </a:solidFill>
              </a:rPr>
              <a:t>communications; &amp; (2</a:t>
            </a:r>
            <a:r>
              <a:rPr lang="en-US" sz="1400" dirty="0">
                <a:solidFill>
                  <a:srgbClr val="000000"/>
                </a:solidFill>
              </a:rPr>
              <a:t>) </a:t>
            </a:r>
            <a:r>
              <a:rPr lang="en-US" sz="1400" dirty="0" smtClean="0">
                <a:solidFill>
                  <a:srgbClr val="000000"/>
                </a:solidFill>
              </a:rPr>
              <a:t>policy/ planning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</a:t>
            </a:r>
            <a:r>
              <a:rPr lang="en-US" sz="1400" dirty="0" smtClean="0"/>
              <a:t>actions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3947728" y="995753"/>
            <a:ext cx="2606434" cy="431294"/>
          </a:xfrm>
          <a:prstGeom prst="wedgeRoundRectCallout">
            <a:avLst>
              <a:gd name="adj1" fmla="val -26108"/>
              <a:gd name="adj2" fmla="val -13422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8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34" name="Graphique 10"/>
          <p:cNvGraphicFramePr/>
          <p:nvPr>
            <p:extLst>
              <p:ext uri="{D42A27DB-BD31-4B8C-83A1-F6EECF244321}">
                <p14:modId xmlns:p14="http://schemas.microsoft.com/office/powerpoint/2010/main" val="2002354999"/>
              </p:ext>
            </p:extLst>
          </p:nvPr>
        </p:nvGraphicFramePr>
        <p:xfrm>
          <a:off x="714828" y="2277190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ZoneTexte 6"/>
          <p:cNvSpPr txBox="1"/>
          <p:nvPr/>
        </p:nvSpPr>
        <p:spPr>
          <a:xfrm>
            <a:off x="998301" y="5733256"/>
            <a:ext cx="122413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ron or                       Iron/folic acid supplementation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2000672" y="5733256"/>
            <a:ext cx="158417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upplementation of                          </a:t>
            </a:r>
            <a:r>
              <a:rPr lang="en-GB" sz="900" dirty="0" err="1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Vit</a:t>
            </a:r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. A/D/Ca/Zn//                                  Iodine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3368824" y="5733256"/>
            <a:ext cx="122413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ultiple micronutrient supplementation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5" name="Right Bracket 44"/>
          <p:cNvSpPr/>
          <p:nvPr/>
        </p:nvSpPr>
        <p:spPr bwMode="auto">
          <a:xfrm>
            <a:off x="4271467" y="5049474"/>
            <a:ext cx="82072" cy="611774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46" name="ZoneTexte 15"/>
          <p:cNvSpPr txBox="1"/>
          <p:nvPr/>
        </p:nvSpPr>
        <p:spPr>
          <a:xfrm>
            <a:off x="4353538" y="5209455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2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2216696" y="2908501"/>
            <a:ext cx="1200737" cy="3332586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1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380001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0" bIns="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st of the actions undertaken by the UN </a:t>
            </a:r>
            <a:r>
              <a:rPr lang="en-US" sz="1200" b="1" dirty="0" smtClean="0">
                <a:solidFill>
                  <a:srgbClr val="000000"/>
                </a:solidFill>
              </a:rPr>
              <a:t>are </a:t>
            </a:r>
            <a:r>
              <a:rPr lang="en-US" sz="1200" b="1" dirty="0">
                <a:solidFill>
                  <a:srgbClr val="000000"/>
                </a:solidFill>
              </a:rPr>
              <a:t>related </a:t>
            </a:r>
            <a:r>
              <a:rPr lang="en-US" sz="1200" b="1" dirty="0" smtClean="0">
                <a:solidFill>
                  <a:srgbClr val="000000"/>
                </a:solidFill>
              </a:rPr>
              <a:t>to vitamins A &amp; D, calcium, zinc &amp; iodine supplementation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62" name="Right Bracket 61"/>
          <p:cNvSpPr/>
          <p:nvPr/>
        </p:nvSpPr>
        <p:spPr bwMode="auto">
          <a:xfrm>
            <a:off x="3033340" y="3058125"/>
            <a:ext cx="96063" cy="2622868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63" name="ZoneTexte 15"/>
          <p:cNvSpPr txBox="1"/>
          <p:nvPr/>
        </p:nvSpPr>
        <p:spPr>
          <a:xfrm>
            <a:off x="3129402" y="4221088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8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64" name="Right Bracket 63"/>
          <p:cNvSpPr/>
          <p:nvPr/>
        </p:nvSpPr>
        <p:spPr bwMode="auto">
          <a:xfrm>
            <a:off x="1905266" y="4077072"/>
            <a:ext cx="45719" cy="1603921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65" name="ZoneTexte 15"/>
          <p:cNvSpPr txBox="1"/>
          <p:nvPr/>
        </p:nvSpPr>
        <p:spPr>
          <a:xfrm>
            <a:off x="1977274" y="4705399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27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err="1" smtClean="0">
                <a:solidFill>
                  <a:prstClr val="black"/>
                </a:solidFill>
              </a:rPr>
              <a:t>Vit</a:t>
            </a:r>
            <a:r>
              <a:rPr lang="en-US" sz="1000" dirty="0" smtClean="0">
                <a:solidFill>
                  <a:prstClr val="black"/>
                </a:solidFill>
              </a:rPr>
              <a:t>. = vitamin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6" name="Rounded Rectangular Callout 25"/>
          <p:cNvSpPr/>
          <p:nvPr/>
        </p:nvSpPr>
        <p:spPr>
          <a:xfrm>
            <a:off x="3591094" y="2564904"/>
            <a:ext cx="1433914" cy="761101"/>
          </a:xfrm>
          <a:prstGeom prst="wedgeRoundRectCallout">
            <a:avLst>
              <a:gd name="adj1" fmla="val -51998"/>
              <a:gd name="adj2" fmla="val 7419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1" name="Rounded Rectangular Callout 30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29" name="Rounded Rectangular Callout 28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2305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the management of acute malnutrition </a:t>
            </a:r>
            <a:r>
              <a:rPr lang="en-GB" b="1" dirty="0" smtClean="0">
                <a:solidFill>
                  <a:srgbClr val="000000"/>
                </a:solidFill>
              </a:rPr>
              <a:t>is mainly focused on implementation/governance actions 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380001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st of the actions undertaken by the UN </a:t>
            </a:r>
            <a:r>
              <a:rPr lang="en-US" sz="1200" b="1" dirty="0" smtClean="0">
                <a:solidFill>
                  <a:srgbClr val="000000"/>
                </a:solidFill>
              </a:rPr>
              <a:t>are </a:t>
            </a:r>
            <a:r>
              <a:rPr lang="en-US" sz="1200" b="1" dirty="0">
                <a:solidFill>
                  <a:srgbClr val="000000"/>
                </a:solidFill>
              </a:rPr>
              <a:t>related to </a:t>
            </a:r>
            <a:r>
              <a:rPr lang="en-US" sz="1200" b="1" dirty="0" smtClean="0">
                <a:solidFill>
                  <a:srgbClr val="000000"/>
                </a:solidFill>
              </a:rPr>
              <a:t>management of SAM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285578"/>
            <a:ext cx="4049385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Food technology for specialized nutritious foods is being supported only through governance actions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situation analysis, advocacy &amp; communications; &amp; (2) policy/ planning</a:t>
            </a:r>
          </a:p>
          <a:p>
            <a:pPr>
              <a:buClr>
                <a:srgbClr val="548DD4"/>
              </a:buClr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4641570" y="906354"/>
            <a:ext cx="2606434" cy="431294"/>
          </a:xfrm>
          <a:prstGeom prst="wedgeRoundRectCallout">
            <a:avLst>
              <a:gd name="adj1" fmla="val 65983"/>
              <a:gd name="adj2" fmla="val -107722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3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AM= severe acute malnutrition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MAM = moderate acute malnutrition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graphicFrame>
        <p:nvGraphicFramePr>
          <p:cNvPr id="31" name="Graphique 10"/>
          <p:cNvGraphicFramePr/>
          <p:nvPr>
            <p:extLst>
              <p:ext uri="{D42A27DB-BD31-4B8C-83A1-F6EECF244321}">
                <p14:modId xmlns:p14="http://schemas.microsoft.com/office/powerpoint/2010/main" val="2547321286"/>
              </p:ext>
            </p:extLst>
          </p:nvPr>
        </p:nvGraphicFramePr>
        <p:xfrm>
          <a:off x="714828" y="2277190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ZoneTexte 6"/>
          <p:cNvSpPr txBox="1"/>
          <p:nvPr/>
        </p:nvSpPr>
        <p:spPr>
          <a:xfrm>
            <a:off x="998301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nagement                     of SAM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2000672" y="5733256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nagement                                         of MAM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3368824" y="5733256"/>
            <a:ext cx="1224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ood technology support for specialized nutritious foods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9" name="Right Bracket 38"/>
          <p:cNvSpPr/>
          <p:nvPr/>
        </p:nvSpPr>
        <p:spPr bwMode="auto">
          <a:xfrm>
            <a:off x="3080792" y="4293096"/>
            <a:ext cx="82072" cy="1368152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41" name="ZoneTexte 15"/>
          <p:cNvSpPr txBox="1"/>
          <p:nvPr/>
        </p:nvSpPr>
        <p:spPr>
          <a:xfrm>
            <a:off x="3162863" y="477740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1064568" y="3058125"/>
            <a:ext cx="1200737" cy="3182961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43" name="Right Bracket 42"/>
          <p:cNvSpPr/>
          <p:nvPr/>
        </p:nvSpPr>
        <p:spPr bwMode="auto">
          <a:xfrm>
            <a:off x="4257476" y="5196683"/>
            <a:ext cx="96063" cy="484310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44" name="ZoneTexte 15"/>
          <p:cNvSpPr txBox="1"/>
          <p:nvPr/>
        </p:nvSpPr>
        <p:spPr>
          <a:xfrm>
            <a:off x="4353538" y="5301208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1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45" name="Right Bracket 44"/>
          <p:cNvSpPr/>
          <p:nvPr/>
        </p:nvSpPr>
        <p:spPr bwMode="auto">
          <a:xfrm>
            <a:off x="1905266" y="3284984"/>
            <a:ext cx="72009" cy="2396009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6" name="Rounded Rectangular Callout 25"/>
          <p:cNvSpPr/>
          <p:nvPr/>
        </p:nvSpPr>
        <p:spPr>
          <a:xfrm>
            <a:off x="2366869" y="2793461"/>
            <a:ext cx="1433914" cy="761101"/>
          </a:xfrm>
          <a:prstGeom prst="wedgeRoundRectCallout">
            <a:avLst>
              <a:gd name="adj1" fmla="val -51998"/>
              <a:gd name="adj2" fmla="val 7419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9" name="Rounded Rectangular Callout 28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30" name="Rounded Rectangular Callout 29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27" name="Rounded Rectangular Callout 26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4825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0" rIns="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water &amp; sanitation </a:t>
            </a:r>
            <a:r>
              <a:rPr lang="en-GB" b="1" dirty="0" smtClean="0">
                <a:solidFill>
                  <a:srgbClr val="000000"/>
                </a:solidFill>
              </a:rPr>
              <a:t>is mainly focused on implementation/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4005615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91440" rIns="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st of the actions undertaken by the UN </a:t>
            </a:r>
            <a:r>
              <a:rPr lang="en-US" sz="1200" b="1" dirty="0" smtClean="0">
                <a:solidFill>
                  <a:srgbClr val="000000"/>
                </a:solidFill>
              </a:rPr>
              <a:t>are </a:t>
            </a:r>
            <a:r>
              <a:rPr lang="en-US" sz="1200" b="1" dirty="0">
                <a:solidFill>
                  <a:srgbClr val="000000"/>
                </a:solidFill>
              </a:rPr>
              <a:t>related to </a:t>
            </a:r>
            <a:r>
              <a:rPr lang="en-US" sz="1200" b="1" dirty="0" smtClean="0">
                <a:solidFill>
                  <a:srgbClr val="000000"/>
                </a:solidFill>
              </a:rPr>
              <a:t>improving water supply &amp; source quality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285578"/>
            <a:ext cx="4049385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Sanitation </a:t>
            </a:r>
            <a:r>
              <a:rPr lang="en-US" sz="1400" dirty="0">
                <a:solidFill>
                  <a:srgbClr val="000000"/>
                </a:solidFill>
              </a:rPr>
              <a:t>facilities </a:t>
            </a:r>
            <a:r>
              <a:rPr lang="en-US" sz="1400" dirty="0" smtClean="0">
                <a:solidFill>
                  <a:srgbClr val="000000"/>
                </a:solidFill>
              </a:rPr>
              <a:t>management is being supported only through implementation actions </a:t>
            </a:r>
            <a:br>
              <a:rPr lang="en-US" sz="1400" dirty="0" smtClean="0">
                <a:solidFill>
                  <a:srgbClr val="000000"/>
                </a:solidFill>
              </a:rPr>
            </a:b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situation analysis, advocacy &amp; communications; (2) policy/ planning; (3) </a:t>
            </a:r>
            <a:r>
              <a:rPr lang="en-US" sz="1400" dirty="0">
                <a:solidFill>
                  <a:srgbClr val="000000"/>
                </a:solidFill>
              </a:rPr>
              <a:t>human &amp; institutional CD / training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4641570" y="906354"/>
            <a:ext cx="2606434" cy="431294"/>
          </a:xfrm>
          <a:prstGeom prst="wedgeRoundRectCallout">
            <a:avLst>
              <a:gd name="adj1" fmla="val 65983"/>
              <a:gd name="adj2" fmla="val -107722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3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CD = capacity development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32" name="ZoneTexte 6"/>
          <p:cNvSpPr txBox="1"/>
          <p:nvPr/>
        </p:nvSpPr>
        <p:spPr>
          <a:xfrm>
            <a:off x="1280592" y="5516914"/>
            <a:ext cx="122413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mprovement of water supply &amp; source quality</a:t>
            </a:r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3" name="ZoneTexte 8"/>
          <p:cNvSpPr txBox="1"/>
          <p:nvPr/>
        </p:nvSpPr>
        <p:spPr>
          <a:xfrm>
            <a:off x="3152800" y="5516914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anitation facilities management</a:t>
            </a:r>
            <a:endParaRPr lang="fr-FR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280593" y="2852618"/>
            <a:ext cx="1440160" cy="3240360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31" name="Rounded Rectangular Callout 30"/>
          <p:cNvSpPr/>
          <p:nvPr/>
        </p:nvSpPr>
        <p:spPr>
          <a:xfrm>
            <a:off x="2889384" y="2719371"/>
            <a:ext cx="1433914" cy="761101"/>
          </a:xfrm>
          <a:prstGeom prst="wedgeRoundRectCallout">
            <a:avLst>
              <a:gd name="adj1" fmla="val -51998"/>
              <a:gd name="adj2" fmla="val 7419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graphicFrame>
        <p:nvGraphicFramePr>
          <p:cNvPr id="35" name="Graphique 10"/>
          <p:cNvGraphicFramePr/>
          <p:nvPr>
            <p:extLst>
              <p:ext uri="{D42A27DB-BD31-4B8C-83A1-F6EECF244321}">
                <p14:modId xmlns:p14="http://schemas.microsoft.com/office/powerpoint/2010/main" val="3727243314"/>
              </p:ext>
            </p:extLst>
          </p:nvPr>
        </p:nvGraphicFramePr>
        <p:xfrm>
          <a:off x="777024" y="2046827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6" name="Right Bracket 35"/>
          <p:cNvSpPr/>
          <p:nvPr/>
        </p:nvSpPr>
        <p:spPr bwMode="auto">
          <a:xfrm>
            <a:off x="2327250" y="3068642"/>
            <a:ext cx="105469" cy="2376264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37" name="ZoneTexte 15"/>
          <p:cNvSpPr txBox="1"/>
          <p:nvPr/>
        </p:nvSpPr>
        <p:spPr>
          <a:xfrm>
            <a:off x="2409322" y="405732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39" name="Right Bracket 38"/>
          <p:cNvSpPr/>
          <p:nvPr/>
        </p:nvSpPr>
        <p:spPr bwMode="auto">
          <a:xfrm>
            <a:off x="4112302" y="4477338"/>
            <a:ext cx="45719" cy="981728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41" name="ZoneTexte 15"/>
          <p:cNvSpPr txBox="1"/>
          <p:nvPr/>
        </p:nvSpPr>
        <p:spPr>
          <a:xfrm>
            <a:off x="4137514" y="484909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2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28" name="Rounded Rectangular Callout 27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</a:t>
            </a:r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gencie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29" name="Rounded Rectangular Callout 28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26" name="Rounded Rectangular Callout 25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58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prevention &amp; management of soil, waterborne &amp; endemic diseases </a:t>
            </a:r>
            <a:r>
              <a:rPr lang="en-GB" b="1" dirty="0" smtClean="0">
                <a:solidFill>
                  <a:srgbClr val="000000"/>
                </a:solidFill>
              </a:rPr>
              <a:t>is mainly focused on implementation/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276872"/>
            <a:ext cx="4049385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Vaccinations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smtClean="0">
                <a:solidFill>
                  <a:srgbClr val="000000"/>
                </a:solidFill>
              </a:rPr>
              <a:t>and the management of TB &amp; respiratory infections are being </a:t>
            </a:r>
            <a:r>
              <a:rPr lang="en-US" sz="1400" dirty="0">
                <a:solidFill>
                  <a:srgbClr val="000000"/>
                </a:solidFill>
              </a:rPr>
              <a:t>supported only through implementation </a:t>
            </a:r>
            <a:r>
              <a:rPr lang="en-US" sz="1400" dirty="0" smtClean="0">
                <a:solidFill>
                  <a:srgbClr val="000000"/>
                </a:solidFill>
              </a:rPr>
              <a:t>actions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</a:t>
            </a:r>
            <a:r>
              <a:rPr lang="en-US" sz="1400" dirty="0">
                <a:solidFill>
                  <a:srgbClr val="000000"/>
                </a:solidFill>
              </a:rPr>
              <a:t>situation analysis, advocacy &amp; </a:t>
            </a:r>
            <a:r>
              <a:rPr lang="en-US" sz="1400" dirty="0" smtClean="0">
                <a:solidFill>
                  <a:srgbClr val="000000"/>
                </a:solidFill>
              </a:rPr>
              <a:t>communications; &amp; (2</a:t>
            </a:r>
            <a:r>
              <a:rPr lang="en-US" sz="1400" dirty="0">
                <a:solidFill>
                  <a:srgbClr val="000000"/>
                </a:solidFill>
              </a:rPr>
              <a:t>) </a:t>
            </a:r>
            <a:r>
              <a:rPr lang="en-US" sz="1400" dirty="0" smtClean="0">
                <a:solidFill>
                  <a:srgbClr val="000000"/>
                </a:solidFill>
              </a:rPr>
              <a:t>policy/ planning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3947728" y="995753"/>
            <a:ext cx="2606434" cy="431294"/>
          </a:xfrm>
          <a:prstGeom prst="wedgeRoundRectCallout">
            <a:avLst>
              <a:gd name="adj1" fmla="val -26108"/>
              <a:gd name="adj2" fmla="val -13422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8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34" name="Graphique 10"/>
          <p:cNvGraphicFramePr/>
          <p:nvPr>
            <p:extLst>
              <p:ext uri="{D42A27DB-BD31-4B8C-83A1-F6EECF244321}">
                <p14:modId xmlns:p14="http://schemas.microsoft.com/office/powerpoint/2010/main" val="3602512761"/>
              </p:ext>
            </p:extLst>
          </p:nvPr>
        </p:nvGraphicFramePr>
        <p:xfrm>
          <a:off x="714828" y="2277190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ZoneTexte 6"/>
          <p:cNvSpPr txBox="1"/>
          <p:nvPr/>
        </p:nvSpPr>
        <p:spPr>
          <a:xfrm>
            <a:off x="920552" y="5733256"/>
            <a:ext cx="7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nti-malaria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2072680" y="5733256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err="1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Vaccina</a:t>
            </a:r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- </a:t>
            </a:r>
          </a:p>
          <a:p>
            <a:pPr algn="ctr"/>
            <a:r>
              <a:rPr lang="en-GB" sz="900" dirty="0" err="1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tions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2504728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HIV mgt.                                 &amp; PMTCT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5" name="Right Bracket 44"/>
          <p:cNvSpPr/>
          <p:nvPr/>
        </p:nvSpPr>
        <p:spPr bwMode="auto">
          <a:xfrm>
            <a:off x="4415483" y="5229200"/>
            <a:ext cx="82071" cy="467758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46" name="ZoneTexte 15"/>
          <p:cNvSpPr txBox="1"/>
          <p:nvPr/>
        </p:nvSpPr>
        <p:spPr>
          <a:xfrm>
            <a:off x="4448944" y="5301208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1064568" y="3058125"/>
            <a:ext cx="1236887" cy="3182961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1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380001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0" bIns="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st of the actions undertaken by the UN  </a:t>
            </a:r>
            <a:r>
              <a:rPr lang="en-US" sz="1200" b="1" dirty="0" smtClean="0">
                <a:solidFill>
                  <a:srgbClr val="000000"/>
                </a:solidFill>
              </a:rPr>
              <a:t>are </a:t>
            </a:r>
            <a:r>
              <a:rPr lang="en-US" sz="1200" b="1" dirty="0">
                <a:solidFill>
                  <a:srgbClr val="000000"/>
                </a:solidFill>
              </a:rPr>
              <a:t>related </a:t>
            </a:r>
            <a:r>
              <a:rPr lang="en-US" sz="1200" b="1" dirty="0" smtClean="0">
                <a:solidFill>
                  <a:srgbClr val="000000"/>
                </a:solidFill>
              </a:rPr>
              <a:t>to preventing &amp; managing                               malaria and </a:t>
            </a:r>
            <a:r>
              <a:rPr lang="en-GB" sz="1200" b="1" dirty="0" smtClean="0">
                <a:solidFill>
                  <a:srgbClr val="000000"/>
                </a:solidFill>
              </a:rPr>
              <a:t>diarrhoea</a:t>
            </a:r>
            <a:endParaRPr lang="en-GB" sz="1200" b="1" dirty="0">
              <a:solidFill>
                <a:srgbClr val="000000"/>
              </a:solidFill>
            </a:endParaRPr>
          </a:p>
        </p:txBody>
      </p:sp>
      <p:sp>
        <p:nvSpPr>
          <p:cNvPr id="62" name="Right Bracket 61"/>
          <p:cNvSpPr/>
          <p:nvPr/>
        </p:nvSpPr>
        <p:spPr bwMode="auto">
          <a:xfrm>
            <a:off x="3249365" y="4221087"/>
            <a:ext cx="83600" cy="1459905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63" name="ZoneTexte 15"/>
          <p:cNvSpPr txBox="1"/>
          <p:nvPr/>
        </p:nvSpPr>
        <p:spPr>
          <a:xfrm>
            <a:off x="3296816" y="477740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3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64" name="Right Bracket 63"/>
          <p:cNvSpPr/>
          <p:nvPr/>
        </p:nvSpPr>
        <p:spPr bwMode="auto">
          <a:xfrm>
            <a:off x="2072680" y="3238010"/>
            <a:ext cx="45719" cy="2442983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65" name="ZoneTexte 15"/>
          <p:cNvSpPr txBox="1"/>
          <p:nvPr/>
        </p:nvSpPr>
        <p:spPr>
          <a:xfrm>
            <a:off x="2072680" y="4293096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27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PMTCT = prevention of mother to child transmission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TB = tuberculosis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6" name="Right Bracket 25"/>
          <p:cNvSpPr/>
          <p:nvPr/>
        </p:nvSpPr>
        <p:spPr bwMode="auto">
          <a:xfrm>
            <a:off x="1424608" y="3238010"/>
            <a:ext cx="45719" cy="2442984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9" name="ZoneTexte 15"/>
          <p:cNvSpPr txBox="1"/>
          <p:nvPr/>
        </p:nvSpPr>
        <p:spPr>
          <a:xfrm>
            <a:off x="1424608" y="4293096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30" name="Right Bracket 29"/>
          <p:cNvSpPr/>
          <p:nvPr/>
        </p:nvSpPr>
        <p:spPr bwMode="auto">
          <a:xfrm>
            <a:off x="2615283" y="5229200"/>
            <a:ext cx="82071" cy="467758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31" name="ZoneTexte 15"/>
          <p:cNvSpPr txBox="1"/>
          <p:nvPr/>
        </p:nvSpPr>
        <p:spPr>
          <a:xfrm>
            <a:off x="2648744" y="5301208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33" name="Right Bracket 32"/>
          <p:cNvSpPr/>
          <p:nvPr/>
        </p:nvSpPr>
        <p:spPr bwMode="auto">
          <a:xfrm>
            <a:off x="3800872" y="4693680"/>
            <a:ext cx="83600" cy="987313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38" name="ZoneTexte 15"/>
          <p:cNvSpPr txBox="1"/>
          <p:nvPr/>
        </p:nvSpPr>
        <p:spPr>
          <a:xfrm>
            <a:off x="3848323" y="5065439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2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39" name="ZoneTexte 6"/>
          <p:cNvSpPr txBox="1"/>
          <p:nvPr/>
        </p:nvSpPr>
        <p:spPr>
          <a:xfrm>
            <a:off x="1540904" y="5733256"/>
            <a:ext cx="7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Diarrhoea mgt.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3341104" y="5733256"/>
            <a:ext cx="74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TB </a:t>
            </a:r>
          </a:p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gt.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1" name="ZoneTexte 6"/>
          <p:cNvSpPr txBox="1"/>
          <p:nvPr/>
        </p:nvSpPr>
        <p:spPr>
          <a:xfrm>
            <a:off x="3893770" y="5733256"/>
            <a:ext cx="84320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Respiratory infections</a:t>
            </a:r>
          </a:p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gt.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2" name="Rounded Rectangular Callout 41"/>
          <p:cNvSpPr/>
          <p:nvPr/>
        </p:nvSpPr>
        <p:spPr>
          <a:xfrm>
            <a:off x="2545651" y="3017300"/>
            <a:ext cx="1433914" cy="761101"/>
          </a:xfrm>
          <a:prstGeom prst="wedgeRoundRectCallout">
            <a:avLst>
              <a:gd name="adj1" fmla="val -51998"/>
              <a:gd name="adj2" fmla="val 7419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7" name="Rounded Rectangular Callout 46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48" name="Rounded Rectangular Callout 47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43" name="Rounded Rectangular Callout 42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024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8011802" y="642939"/>
            <a:ext cx="655948" cy="25246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74295" tIns="74295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38" b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the social safety nets </a:t>
            </a:r>
            <a:r>
              <a:rPr lang="en-GB" b="1" dirty="0" smtClean="0">
                <a:solidFill>
                  <a:srgbClr val="000000"/>
                </a:solidFill>
              </a:rPr>
              <a:t>is mainly focused on implementation/ 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380001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0" bIns="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st of the actions undertaken by the UN </a:t>
            </a:r>
            <a:r>
              <a:rPr lang="en-US" sz="1200" b="1" dirty="0" smtClean="0">
                <a:solidFill>
                  <a:srgbClr val="000000"/>
                </a:solidFill>
              </a:rPr>
              <a:t>are </a:t>
            </a:r>
            <a:r>
              <a:rPr lang="en-US" sz="1200" b="1" dirty="0">
                <a:solidFill>
                  <a:srgbClr val="000000"/>
                </a:solidFill>
              </a:rPr>
              <a:t>related to </a:t>
            </a:r>
            <a:r>
              <a:rPr lang="en-US" sz="1200" b="1" dirty="0" smtClean="0">
                <a:solidFill>
                  <a:srgbClr val="000000"/>
                </a:solidFill>
              </a:rPr>
              <a:t>poverty reduction &amp;/or                               emergency risk mitigation 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204864"/>
            <a:ext cx="4049385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Food assistance for vulnerable population groups is being supported only through  implementation actions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situation analysis, advocacy &amp; communications; (2) policy/ planning; &amp; </a:t>
            </a:r>
            <a:r>
              <a:rPr lang="en-US" sz="1400" dirty="0">
                <a:solidFill>
                  <a:srgbClr val="000000"/>
                </a:solidFill>
              </a:rPr>
              <a:t>(3) human &amp; institutional CD / training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3810440" y="1085298"/>
            <a:ext cx="2606434" cy="431294"/>
          </a:xfrm>
          <a:prstGeom prst="wedgeRoundRectCallout">
            <a:avLst>
              <a:gd name="adj1" fmla="val 65606"/>
              <a:gd name="adj2" fmla="val -8720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3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r>
              <a:rPr lang="en-US" sz="1000" dirty="0">
                <a:solidFill>
                  <a:prstClr val="black"/>
                </a:solidFill>
              </a:rPr>
              <a:t>CD = capacity development</a:t>
            </a: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graphicFrame>
        <p:nvGraphicFramePr>
          <p:cNvPr id="31" name="Graphique 10"/>
          <p:cNvGraphicFramePr/>
          <p:nvPr>
            <p:extLst>
              <p:ext uri="{D42A27DB-BD31-4B8C-83A1-F6EECF244321}">
                <p14:modId xmlns:p14="http://schemas.microsoft.com/office/powerpoint/2010/main" val="3769416081"/>
              </p:ext>
            </p:extLst>
          </p:nvPr>
        </p:nvGraphicFramePr>
        <p:xfrm>
          <a:off x="714828" y="2277190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ZoneTexte 6"/>
          <p:cNvSpPr txBox="1"/>
          <p:nvPr/>
        </p:nvSpPr>
        <p:spPr>
          <a:xfrm>
            <a:off x="848544" y="5733256"/>
            <a:ext cx="122413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Food assistance                 for vulnerable population </a:t>
            </a:r>
            <a:r>
              <a:rPr lang="en-GB" sz="900" dirty="0" err="1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grps</a:t>
            </a:r>
            <a:endParaRPr lang="en-GB" sz="900" dirty="0" smtClean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1568624" y="5733256"/>
            <a:ext cx="158417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chool-based </a:t>
            </a:r>
          </a:p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ocial safety </a:t>
            </a:r>
          </a:p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nets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3512840" y="5733256"/>
            <a:ext cx="122413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Poverty reduction &amp;/or emergency    risk mitigation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9" name="Right Bracket 38"/>
          <p:cNvSpPr/>
          <p:nvPr/>
        </p:nvSpPr>
        <p:spPr bwMode="auto">
          <a:xfrm>
            <a:off x="3430768" y="4293096"/>
            <a:ext cx="82072" cy="1368152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41" name="ZoneTexte 15"/>
          <p:cNvSpPr txBox="1"/>
          <p:nvPr/>
        </p:nvSpPr>
        <p:spPr>
          <a:xfrm>
            <a:off x="3440832" y="477740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3657349" y="3058125"/>
            <a:ext cx="1056228" cy="3185359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43" name="Right Bracket 42"/>
          <p:cNvSpPr/>
          <p:nvPr/>
        </p:nvSpPr>
        <p:spPr bwMode="auto">
          <a:xfrm>
            <a:off x="1640632" y="5196683"/>
            <a:ext cx="96063" cy="484310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44" name="ZoneTexte 15"/>
          <p:cNvSpPr txBox="1"/>
          <p:nvPr/>
        </p:nvSpPr>
        <p:spPr>
          <a:xfrm>
            <a:off x="1736694" y="5301208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1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45" name="Right Bracket 44"/>
          <p:cNvSpPr/>
          <p:nvPr/>
        </p:nvSpPr>
        <p:spPr bwMode="auto">
          <a:xfrm>
            <a:off x="4304928" y="3284984"/>
            <a:ext cx="72009" cy="2396009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6" name="ZoneTexte 8"/>
          <p:cNvSpPr txBox="1"/>
          <p:nvPr/>
        </p:nvSpPr>
        <p:spPr>
          <a:xfrm>
            <a:off x="2475638" y="5733256"/>
            <a:ext cx="158417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Assisted</a:t>
            </a:r>
          </a:p>
          <a:p>
            <a:pPr algn="ctr"/>
            <a:r>
              <a:rPr lang="en-GB" sz="900" dirty="0">
                <a:solidFill>
                  <a:srgbClr val="000000">
                    <a:lumMod val="75000"/>
                    <a:lumOff val="25000"/>
                  </a:srgbClr>
                </a:solidFill>
              </a:rPr>
              <a:t>h</a:t>
            </a:r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ealth</a:t>
            </a:r>
          </a:p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services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27" name="ZoneTexte 15"/>
          <p:cNvSpPr txBox="1"/>
          <p:nvPr/>
        </p:nvSpPr>
        <p:spPr>
          <a:xfrm>
            <a:off x="4353538" y="4293096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5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28" name="Right Bracket 27"/>
          <p:cNvSpPr/>
          <p:nvPr/>
        </p:nvSpPr>
        <p:spPr bwMode="auto">
          <a:xfrm>
            <a:off x="2504728" y="4777407"/>
            <a:ext cx="72663" cy="903586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9" name="ZoneTexte 15"/>
          <p:cNvSpPr txBox="1"/>
          <p:nvPr/>
        </p:nvSpPr>
        <p:spPr>
          <a:xfrm>
            <a:off x="2576736" y="5065439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30" name="Rounded Rectangular Callout 29"/>
          <p:cNvSpPr/>
          <p:nvPr/>
        </p:nvSpPr>
        <p:spPr>
          <a:xfrm>
            <a:off x="1928413" y="2744039"/>
            <a:ext cx="1433914" cy="761101"/>
          </a:xfrm>
          <a:prstGeom prst="wedgeRoundRectCallout">
            <a:avLst>
              <a:gd name="adj1" fmla="val 66559"/>
              <a:gd name="adj2" fmla="val 9281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4" name="Rounded Rectangular Callout 33"/>
          <p:cNvSpPr/>
          <p:nvPr/>
        </p:nvSpPr>
        <p:spPr>
          <a:xfrm>
            <a:off x="6856683" y="5628921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agencies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46" name="Rounded Rectangular Callout 45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11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449778" y="332656"/>
            <a:ext cx="9327758" cy="646331"/>
          </a:xfrm>
          <a:prstGeom prst="rect">
            <a:avLst/>
          </a:prstGeom>
        </p:spPr>
        <p:txBody>
          <a:bodyPr wrap="square" lIns="1470" rIns="1470" anchor="b">
            <a:spAutoFit/>
          </a:bodyPr>
          <a:lstStyle/>
          <a:p>
            <a:r>
              <a:rPr lang="en-GB" b="1" dirty="0" smtClean="0">
                <a:solidFill>
                  <a:srgbClr val="000000"/>
                </a:solidFill>
              </a:rPr>
              <a:t>UN support on </a:t>
            </a:r>
            <a:r>
              <a:rPr lang="en-GB" b="1" i="1" dirty="0" smtClean="0">
                <a:solidFill>
                  <a:srgbClr val="000000"/>
                </a:solidFill>
              </a:rPr>
              <a:t>the market regulation &amp; insurance </a:t>
            </a:r>
            <a:r>
              <a:rPr lang="en-GB" b="1" dirty="0" smtClean="0">
                <a:solidFill>
                  <a:srgbClr val="000000"/>
                </a:solidFill>
              </a:rPr>
              <a:t>is mainly focused on implementation/governance actio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464565"/>
            <a:ext cx="4140397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st of the actions undertaken by the </a:t>
            </a:r>
            <a:r>
              <a:rPr lang="en-US" sz="1200" b="1" dirty="0" smtClean="0">
                <a:solidFill>
                  <a:srgbClr val="000000"/>
                </a:solidFill>
              </a:rPr>
              <a:t>UN are </a:t>
            </a:r>
            <a:r>
              <a:rPr lang="en-US" sz="1200" b="1" dirty="0">
                <a:solidFill>
                  <a:srgbClr val="000000"/>
                </a:solidFill>
              </a:rPr>
              <a:t>related to </a:t>
            </a:r>
            <a:r>
              <a:rPr lang="en-US" sz="1200" b="1" dirty="0" smtClean="0">
                <a:solidFill>
                  <a:srgbClr val="000000"/>
                </a:solidFill>
              </a:rPr>
              <a:t>minimum maternity protection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0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313040" y="2285578"/>
            <a:ext cx="4049385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548DD4"/>
                </a:solidFill>
              </a:rPr>
              <a:t>Key findings:</a:t>
            </a:r>
          </a:p>
          <a:p>
            <a:endParaRPr lang="en-US" sz="800" b="1" dirty="0" smtClean="0">
              <a:solidFill>
                <a:srgbClr val="000000">
                  <a:lumMod val="75000"/>
                </a:srgbClr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M</a:t>
            </a:r>
            <a:r>
              <a:rPr lang="en-US" sz="1400" dirty="0" smtClean="0">
                <a:solidFill>
                  <a:srgbClr val="000000"/>
                </a:solidFill>
              </a:rPr>
              <a:t>acroeconomic levers are being supported only through governance actions</a:t>
            </a: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Governance actions are conducted primarily in the areas of: (1) situation analysis, advocacy &amp; communications; &amp; (2) policy/ planning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Clr>
                <a:srgbClr val="548DD4"/>
              </a:buClr>
              <a:buFont typeface="Arial" pitchFamily="34" charset="0"/>
              <a:buChar char="•"/>
            </a:pPr>
            <a:r>
              <a:rPr lang="en-US" sz="1400" dirty="0"/>
              <a:t>UNICEF is engaged in implementation actions, WHO is engaged in governance actions, and WFP, IFAD and FAO are engaged in both types of action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119499" y="908720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4641570" y="906354"/>
            <a:ext cx="2606434" cy="431294"/>
          </a:xfrm>
          <a:prstGeom prst="wedgeRoundRectCallout">
            <a:avLst>
              <a:gd name="adj1" fmla="val 65983"/>
              <a:gd name="adj2" fmla="val -107722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elect the appropriate type of action according to the country data</a:t>
            </a:r>
          </a:p>
        </p:txBody>
      </p:sp>
      <p:sp>
        <p:nvSpPr>
          <p:cNvPr id="23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 smtClean="0">
                <a:solidFill>
                  <a:prstClr val="black"/>
                </a:solidFill>
              </a:rPr>
              <a:t>Source</a:t>
            </a:r>
            <a:r>
              <a:rPr lang="en-US" sz="1000" dirty="0">
                <a:solidFill>
                  <a:prstClr val="black"/>
                </a:solidFill>
              </a:rPr>
              <a:t>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sp>
        <p:nvSpPr>
          <p:cNvPr id="24" name="Isosceles Triangle 23"/>
          <p:cNvSpPr/>
          <p:nvPr/>
        </p:nvSpPr>
        <p:spPr bwMode="auto">
          <a:xfrm rot="5400000">
            <a:off x="4005275" y="3777419"/>
            <a:ext cx="2101903" cy="225594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graphicFrame>
        <p:nvGraphicFramePr>
          <p:cNvPr id="31" name="Graphique 10"/>
          <p:cNvGraphicFramePr/>
          <p:nvPr>
            <p:extLst/>
          </p:nvPr>
        </p:nvGraphicFramePr>
        <p:xfrm>
          <a:off x="714828" y="2277190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ZoneTexte 6"/>
          <p:cNvSpPr txBox="1"/>
          <p:nvPr/>
        </p:nvSpPr>
        <p:spPr>
          <a:xfrm>
            <a:off x="998301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inimum maternity protection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6" name="ZoneTexte 8"/>
          <p:cNvSpPr txBox="1"/>
          <p:nvPr/>
        </p:nvSpPr>
        <p:spPr>
          <a:xfrm>
            <a:off x="2000672" y="5733256"/>
            <a:ext cx="15841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Insurance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ZoneTexte 6"/>
          <p:cNvSpPr txBox="1"/>
          <p:nvPr/>
        </p:nvSpPr>
        <p:spPr>
          <a:xfrm>
            <a:off x="3368824" y="573325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t>Macroeconomic levers</a:t>
            </a:r>
            <a:endParaRPr lang="en-GB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9" name="Right Bracket 38"/>
          <p:cNvSpPr/>
          <p:nvPr/>
        </p:nvSpPr>
        <p:spPr bwMode="auto">
          <a:xfrm>
            <a:off x="3080792" y="4293096"/>
            <a:ext cx="82072" cy="1368152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41" name="ZoneTexte 15"/>
          <p:cNvSpPr txBox="1"/>
          <p:nvPr/>
        </p:nvSpPr>
        <p:spPr>
          <a:xfrm>
            <a:off x="3162863" y="477740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1064568" y="3058125"/>
            <a:ext cx="1200737" cy="3182961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43" name="Right Bracket 42"/>
          <p:cNvSpPr/>
          <p:nvPr/>
        </p:nvSpPr>
        <p:spPr bwMode="auto">
          <a:xfrm>
            <a:off x="4257476" y="5196683"/>
            <a:ext cx="96063" cy="484310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44" name="ZoneTexte 15"/>
          <p:cNvSpPr txBox="1"/>
          <p:nvPr/>
        </p:nvSpPr>
        <p:spPr>
          <a:xfrm>
            <a:off x="4353538" y="5301208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rgbClr val="000000"/>
                </a:solidFill>
              </a:rPr>
              <a:t>1</a:t>
            </a:r>
            <a:endParaRPr lang="fr-FR" sz="1400" b="1" dirty="0">
              <a:solidFill>
                <a:srgbClr val="000000"/>
              </a:solidFill>
            </a:endParaRPr>
          </a:p>
        </p:txBody>
      </p:sp>
      <p:sp>
        <p:nvSpPr>
          <p:cNvPr id="45" name="Right Bracket 44"/>
          <p:cNvSpPr/>
          <p:nvPr/>
        </p:nvSpPr>
        <p:spPr bwMode="auto">
          <a:xfrm>
            <a:off x="1905266" y="3284984"/>
            <a:ext cx="72009" cy="2396009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 smtClean="0">
              <a:solidFill>
                <a:srgbClr val="000000"/>
              </a:solidFill>
            </a:endParaRPr>
          </a:p>
        </p:txBody>
      </p:sp>
      <p:sp>
        <p:nvSpPr>
          <p:cNvPr id="26" name="Rounded Rectangular Callout 25"/>
          <p:cNvSpPr/>
          <p:nvPr/>
        </p:nvSpPr>
        <p:spPr>
          <a:xfrm>
            <a:off x="2363835" y="2746371"/>
            <a:ext cx="1433914" cy="761101"/>
          </a:xfrm>
          <a:prstGeom prst="wedgeRoundRectCallout">
            <a:avLst>
              <a:gd name="adj1" fmla="val -51998"/>
              <a:gd name="adj2" fmla="val 7419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with a grey box the specific action for which most actions are undertaken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8" name="Rounded Rectangular Callout 27"/>
          <p:cNvSpPr/>
          <p:nvPr/>
        </p:nvSpPr>
        <p:spPr>
          <a:xfrm>
            <a:off x="7093605" y="1635765"/>
            <a:ext cx="2650821" cy="975250"/>
          </a:xfrm>
          <a:prstGeom prst="wedgeRoundRectCallout">
            <a:avLst>
              <a:gd name="adj1" fmla="val 27852"/>
              <a:gd name="adj2" fmla="val 728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First bullet: When an action is not being supported by either governance or implementation support, </a:t>
            </a:r>
            <a:r>
              <a:rPr lang="en-GB" sz="1000" dirty="0">
                <a:solidFill>
                  <a:srgbClr val="FFFFFF"/>
                </a:solidFill>
                <a:cs typeface="Arial" pitchFamily="34" charset="0"/>
              </a:rPr>
              <a:t>report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t here</a:t>
            </a:r>
            <a:endParaRPr lang="en-GB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9" name="Rounded Rectangular Callout 28"/>
          <p:cNvSpPr/>
          <p:nvPr/>
        </p:nvSpPr>
        <p:spPr>
          <a:xfrm>
            <a:off x="7337732" y="5638918"/>
            <a:ext cx="2310238" cy="1023046"/>
          </a:xfrm>
          <a:prstGeom prst="wedgeRoundRectCallout">
            <a:avLst>
              <a:gd name="adj1" fmla="val 12595"/>
              <a:gd name="adj2" fmla="val -8757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Third bullet point: Edit the agency names according to the results.</a:t>
            </a:r>
            <a:b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If all </a:t>
            </a:r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gencie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support all actions, write: “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FAO and IFAD </a:t>
            </a:r>
            <a:r>
              <a:rPr lang="en-US" sz="1000" dirty="0"/>
              <a:t>are </a:t>
            </a:r>
            <a:r>
              <a:rPr lang="en-GB" sz="1000" dirty="0">
                <a:latin typeface="Arial" pitchFamily="34" charset="0"/>
                <a:cs typeface="Arial" pitchFamily="34" charset="0"/>
              </a:rPr>
              <a:t>both engaged in implementation and governance </a:t>
            </a:r>
            <a:r>
              <a:rPr lang="en-GB" sz="1000" dirty="0" smtClean="0">
                <a:latin typeface="Arial" pitchFamily="34" charset="0"/>
                <a:cs typeface="Arial" pitchFamily="34" charset="0"/>
              </a:rPr>
              <a:t>action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“</a:t>
            </a:r>
          </a:p>
        </p:txBody>
      </p:sp>
      <p:sp>
        <p:nvSpPr>
          <p:cNvPr id="30" name="Rounded Rectangular Callout 29"/>
          <p:cNvSpPr/>
          <p:nvPr/>
        </p:nvSpPr>
        <p:spPr>
          <a:xfrm>
            <a:off x="7723657" y="3845598"/>
            <a:ext cx="2053879" cy="663204"/>
          </a:xfrm>
          <a:prstGeom prst="wedgeRoundRectCallout">
            <a:avLst>
              <a:gd name="adj1" fmla="val -60569"/>
              <a:gd name="adj2" fmla="val 857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econd bullet: list all pillars of governance being undertaken in this thematic area</a:t>
            </a:r>
          </a:p>
        </p:txBody>
      </p:sp>
    </p:spTree>
    <p:extLst>
      <p:ext uri="{BB962C8B-B14F-4D97-AF65-F5344CB8AC3E}">
        <p14:creationId xmlns:p14="http://schemas.microsoft.com/office/powerpoint/2010/main" val="41786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420888"/>
            <a:ext cx="9906000" cy="797311"/>
          </a:xfrm>
          <a:prstGeom prst="rect">
            <a:avLst/>
          </a:prstGeom>
          <a:solidFill>
            <a:srgbClr val="548DD4"/>
          </a:solidFill>
          <a:ln w="25400">
            <a:solidFill>
              <a:srgbClr val="548DD4"/>
            </a:solidFill>
          </a:ln>
        </p:spPr>
        <p:txBody>
          <a:bodyPr wrap="square" lIns="274320" tIns="90000" bIns="90000" rtlCol="0" anchor="t">
            <a:spAutoFit/>
          </a:bodyPr>
          <a:lstStyle/>
          <a:p>
            <a:pPr>
              <a:spcBef>
                <a:spcPct val="0"/>
              </a:spcBef>
              <a:spcAft>
                <a:spcPts val="1200"/>
              </a:spcAft>
            </a:pPr>
            <a:r>
              <a:rPr lang="en-US" sz="4000" b="1" dirty="0" smtClean="0">
                <a:solidFill>
                  <a:srgbClr val="FFFFFF"/>
                </a:solidFill>
              </a:rPr>
              <a:t>Multi-sectoral Nutrition Actions </a:t>
            </a:r>
          </a:p>
        </p:txBody>
      </p:sp>
      <p:sp>
        <p:nvSpPr>
          <p:cNvPr id="3" name="Rectangle 2"/>
          <p:cNvSpPr/>
          <p:nvPr/>
        </p:nvSpPr>
        <p:spPr>
          <a:xfrm>
            <a:off x="3396445" y="3348281"/>
            <a:ext cx="255230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en-US" sz="3200" b="1" i="1" dirty="0" smtClean="0">
                <a:solidFill>
                  <a:srgbClr val="548DD4"/>
                </a:solidFill>
              </a:rPr>
              <a:t>Governance</a:t>
            </a:r>
            <a:endParaRPr lang="en-US" sz="3200" b="1" i="1" dirty="0">
              <a:solidFill>
                <a:srgbClr val="548DD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96466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Picture 168" descr="REACH LogoNEW2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4642" y="1773843"/>
            <a:ext cx="424326" cy="302355"/>
          </a:xfrm>
          <a:prstGeom prst="rect">
            <a:avLst/>
          </a:prstGeom>
        </p:spPr>
      </p:pic>
      <p:pic>
        <p:nvPicPr>
          <p:cNvPr id="198658" name="Picture 50" descr="image00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769" y="1779736"/>
            <a:ext cx="811658" cy="292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6496" y="146580"/>
            <a:ext cx="8686473" cy="83185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tx1"/>
                </a:solidFill>
              </a:rPr>
              <a:t>Multi-sectoral nutrition governance support is primarily provided at the national level</a:t>
            </a:r>
          </a:p>
        </p:txBody>
      </p:sp>
      <p:sp>
        <p:nvSpPr>
          <p:cNvPr id="53" name="Freeform 52"/>
          <p:cNvSpPr>
            <a:spLocks/>
          </p:cNvSpPr>
          <p:nvPr/>
        </p:nvSpPr>
        <p:spPr bwMode="auto">
          <a:xfrm>
            <a:off x="1505374" y="4701770"/>
            <a:ext cx="765268" cy="1051484"/>
          </a:xfrm>
          <a:custGeom>
            <a:avLst/>
            <a:gdLst>
              <a:gd name="T0" fmla="*/ 2039 w 2547"/>
              <a:gd name="T1" fmla="*/ 3029 h 3272"/>
              <a:gd name="T2" fmla="*/ 1538 w 2547"/>
              <a:gd name="T3" fmla="*/ 3233 h 3272"/>
              <a:gd name="T4" fmla="*/ 1364 w 2547"/>
              <a:gd name="T5" fmla="*/ 3099 h 3272"/>
              <a:gd name="T6" fmla="*/ 1359 w 2547"/>
              <a:gd name="T7" fmla="*/ 3040 h 3272"/>
              <a:gd name="T8" fmla="*/ 1303 w 2547"/>
              <a:gd name="T9" fmla="*/ 3013 h 3272"/>
              <a:gd name="T10" fmla="*/ 1286 w 2547"/>
              <a:gd name="T11" fmla="*/ 2922 h 3272"/>
              <a:gd name="T12" fmla="*/ 1314 w 2547"/>
              <a:gd name="T13" fmla="*/ 2891 h 3272"/>
              <a:gd name="T14" fmla="*/ 1292 w 2547"/>
              <a:gd name="T15" fmla="*/ 2864 h 3272"/>
              <a:gd name="T16" fmla="*/ 1259 w 2547"/>
              <a:gd name="T17" fmla="*/ 2775 h 3272"/>
              <a:gd name="T18" fmla="*/ 1236 w 2547"/>
              <a:gd name="T19" fmla="*/ 2716 h 3272"/>
              <a:gd name="T20" fmla="*/ 1184 w 2547"/>
              <a:gd name="T21" fmla="*/ 2644 h 3272"/>
              <a:gd name="T22" fmla="*/ 1136 w 2547"/>
              <a:gd name="T23" fmla="*/ 2579 h 3272"/>
              <a:gd name="T24" fmla="*/ 1060 w 2547"/>
              <a:gd name="T25" fmla="*/ 2468 h 3272"/>
              <a:gd name="T26" fmla="*/ 953 w 2547"/>
              <a:gd name="T27" fmla="*/ 2428 h 3272"/>
              <a:gd name="T28" fmla="*/ 860 w 2547"/>
              <a:gd name="T29" fmla="*/ 2365 h 3272"/>
              <a:gd name="T30" fmla="*/ 769 w 2547"/>
              <a:gd name="T31" fmla="*/ 2356 h 3272"/>
              <a:gd name="T32" fmla="*/ 704 w 2547"/>
              <a:gd name="T33" fmla="*/ 2336 h 3272"/>
              <a:gd name="T34" fmla="*/ 590 w 2547"/>
              <a:gd name="T35" fmla="*/ 2333 h 3272"/>
              <a:gd name="T36" fmla="*/ 374 w 2547"/>
              <a:gd name="T37" fmla="*/ 2071 h 3272"/>
              <a:gd name="T38" fmla="*/ 101 w 2547"/>
              <a:gd name="T39" fmla="*/ 1185 h 3272"/>
              <a:gd name="T40" fmla="*/ 54 w 2547"/>
              <a:gd name="T41" fmla="*/ 859 h 3272"/>
              <a:gd name="T42" fmla="*/ 740 w 2547"/>
              <a:gd name="T43" fmla="*/ 159 h 3272"/>
              <a:gd name="T44" fmla="*/ 1011 w 2547"/>
              <a:gd name="T45" fmla="*/ 68 h 3272"/>
              <a:gd name="T46" fmla="*/ 1127 w 2547"/>
              <a:gd name="T47" fmla="*/ 85 h 3272"/>
              <a:gd name="T48" fmla="*/ 1217 w 2547"/>
              <a:gd name="T49" fmla="*/ 152 h 3272"/>
              <a:gd name="T50" fmla="*/ 1317 w 2547"/>
              <a:gd name="T51" fmla="*/ 152 h 3272"/>
              <a:gd name="T52" fmla="*/ 1388 w 2547"/>
              <a:gd name="T53" fmla="*/ 214 h 3272"/>
              <a:gd name="T54" fmla="*/ 1479 w 2547"/>
              <a:gd name="T55" fmla="*/ 166 h 3272"/>
              <a:gd name="T56" fmla="*/ 1571 w 2547"/>
              <a:gd name="T57" fmla="*/ 143 h 3272"/>
              <a:gd name="T58" fmla="*/ 1530 w 2547"/>
              <a:gd name="T59" fmla="*/ 245 h 3272"/>
              <a:gd name="T60" fmla="*/ 1630 w 2547"/>
              <a:gd name="T61" fmla="*/ 607 h 3272"/>
              <a:gd name="T62" fmla="*/ 1635 w 2547"/>
              <a:gd name="T63" fmla="*/ 677 h 3272"/>
              <a:gd name="T64" fmla="*/ 1659 w 2547"/>
              <a:gd name="T65" fmla="*/ 776 h 3272"/>
              <a:gd name="T66" fmla="*/ 1666 w 2547"/>
              <a:gd name="T67" fmla="*/ 864 h 3272"/>
              <a:gd name="T68" fmla="*/ 1609 w 2547"/>
              <a:gd name="T69" fmla="*/ 904 h 3272"/>
              <a:gd name="T70" fmla="*/ 1583 w 2547"/>
              <a:gd name="T71" fmla="*/ 989 h 3272"/>
              <a:gd name="T72" fmla="*/ 1609 w 2547"/>
              <a:gd name="T73" fmla="*/ 1054 h 3272"/>
              <a:gd name="T74" fmla="*/ 1723 w 2547"/>
              <a:gd name="T75" fmla="*/ 1121 h 3272"/>
              <a:gd name="T76" fmla="*/ 1769 w 2547"/>
              <a:gd name="T77" fmla="*/ 1202 h 3272"/>
              <a:gd name="T78" fmla="*/ 1898 w 2547"/>
              <a:gd name="T79" fmla="*/ 1307 h 3272"/>
              <a:gd name="T80" fmla="*/ 1916 w 2547"/>
              <a:gd name="T81" fmla="*/ 1373 h 3272"/>
              <a:gd name="T82" fmla="*/ 1976 w 2547"/>
              <a:gd name="T83" fmla="*/ 1426 h 3272"/>
              <a:gd name="T84" fmla="*/ 2025 w 2547"/>
              <a:gd name="T85" fmla="*/ 1498 h 3272"/>
              <a:gd name="T86" fmla="*/ 2044 w 2547"/>
              <a:gd name="T87" fmla="*/ 1555 h 3272"/>
              <a:gd name="T88" fmla="*/ 2064 w 2547"/>
              <a:gd name="T89" fmla="*/ 1618 h 3272"/>
              <a:gd name="T90" fmla="*/ 2050 w 2547"/>
              <a:gd name="T91" fmla="*/ 1640 h 3272"/>
              <a:gd name="T92" fmla="*/ 2055 w 2547"/>
              <a:gd name="T93" fmla="*/ 1693 h 3272"/>
              <a:gd name="T94" fmla="*/ 2078 w 2547"/>
              <a:gd name="T95" fmla="*/ 1748 h 3272"/>
              <a:gd name="T96" fmla="*/ 2117 w 2547"/>
              <a:gd name="T97" fmla="*/ 1780 h 3272"/>
              <a:gd name="T98" fmla="*/ 2114 w 2547"/>
              <a:gd name="T99" fmla="*/ 1813 h 3272"/>
              <a:gd name="T100" fmla="*/ 2094 w 2547"/>
              <a:gd name="T101" fmla="*/ 1870 h 3272"/>
              <a:gd name="T102" fmla="*/ 2119 w 2547"/>
              <a:gd name="T103" fmla="*/ 1901 h 3272"/>
              <a:gd name="T104" fmla="*/ 2114 w 2547"/>
              <a:gd name="T105" fmla="*/ 1940 h 3272"/>
              <a:gd name="T106" fmla="*/ 2108 w 2547"/>
              <a:gd name="T107" fmla="*/ 2010 h 3272"/>
              <a:gd name="T108" fmla="*/ 2119 w 2547"/>
              <a:gd name="T109" fmla="*/ 2049 h 3272"/>
              <a:gd name="T110" fmla="*/ 2108 w 2547"/>
              <a:gd name="T111" fmla="*/ 2103 h 3272"/>
              <a:gd name="T112" fmla="*/ 2104 w 2547"/>
              <a:gd name="T113" fmla="*/ 2163 h 3272"/>
              <a:gd name="T114" fmla="*/ 2144 w 2547"/>
              <a:gd name="T115" fmla="*/ 2219 h 3272"/>
              <a:gd name="T116" fmla="*/ 2307 w 2547"/>
              <a:gd name="T117" fmla="*/ 2580 h 3272"/>
              <a:gd name="T118" fmla="*/ 2418 w 2547"/>
              <a:gd name="T119" fmla="*/ 2552 h 3272"/>
              <a:gd name="T120" fmla="*/ 2498 w 2547"/>
              <a:gd name="T121" fmla="*/ 2638 h 327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547"/>
              <a:gd name="T184" fmla="*/ 0 h 3272"/>
              <a:gd name="T185" fmla="*/ 2547 w 2547"/>
              <a:gd name="T186" fmla="*/ 3272 h 327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547" h="3272">
                <a:moveTo>
                  <a:pt x="2489" y="2875"/>
                </a:moveTo>
                <a:lnTo>
                  <a:pt x="2475" y="2880"/>
                </a:lnTo>
                <a:lnTo>
                  <a:pt x="2468" y="2885"/>
                </a:lnTo>
                <a:lnTo>
                  <a:pt x="2438" y="2897"/>
                </a:lnTo>
                <a:lnTo>
                  <a:pt x="2423" y="2902"/>
                </a:lnTo>
                <a:lnTo>
                  <a:pt x="2412" y="2907"/>
                </a:lnTo>
                <a:lnTo>
                  <a:pt x="2377" y="2916"/>
                </a:lnTo>
                <a:lnTo>
                  <a:pt x="2365" y="2916"/>
                </a:lnTo>
                <a:lnTo>
                  <a:pt x="2356" y="2917"/>
                </a:lnTo>
                <a:lnTo>
                  <a:pt x="2253" y="2958"/>
                </a:lnTo>
                <a:lnTo>
                  <a:pt x="2210" y="2971"/>
                </a:lnTo>
                <a:lnTo>
                  <a:pt x="2188" y="2981"/>
                </a:lnTo>
                <a:lnTo>
                  <a:pt x="2176" y="2984"/>
                </a:lnTo>
                <a:lnTo>
                  <a:pt x="2163" y="2992"/>
                </a:lnTo>
                <a:lnTo>
                  <a:pt x="2144" y="2995"/>
                </a:lnTo>
                <a:lnTo>
                  <a:pt x="2133" y="2999"/>
                </a:lnTo>
                <a:lnTo>
                  <a:pt x="2121" y="3001"/>
                </a:lnTo>
                <a:lnTo>
                  <a:pt x="2078" y="3014"/>
                </a:lnTo>
                <a:lnTo>
                  <a:pt x="2057" y="3021"/>
                </a:lnTo>
                <a:lnTo>
                  <a:pt x="2039" y="3029"/>
                </a:lnTo>
                <a:lnTo>
                  <a:pt x="2003" y="3041"/>
                </a:lnTo>
                <a:lnTo>
                  <a:pt x="1969" y="3054"/>
                </a:lnTo>
                <a:lnTo>
                  <a:pt x="1957" y="3056"/>
                </a:lnTo>
                <a:lnTo>
                  <a:pt x="1939" y="3065"/>
                </a:lnTo>
                <a:lnTo>
                  <a:pt x="1904" y="3079"/>
                </a:lnTo>
                <a:lnTo>
                  <a:pt x="1878" y="3093"/>
                </a:lnTo>
                <a:lnTo>
                  <a:pt x="1848" y="3104"/>
                </a:lnTo>
                <a:lnTo>
                  <a:pt x="1818" y="3113"/>
                </a:lnTo>
                <a:lnTo>
                  <a:pt x="1797" y="3124"/>
                </a:lnTo>
                <a:lnTo>
                  <a:pt x="1769" y="3135"/>
                </a:lnTo>
                <a:lnTo>
                  <a:pt x="1764" y="3137"/>
                </a:lnTo>
                <a:lnTo>
                  <a:pt x="1730" y="3149"/>
                </a:lnTo>
                <a:lnTo>
                  <a:pt x="1689" y="3168"/>
                </a:lnTo>
                <a:lnTo>
                  <a:pt x="1648" y="3183"/>
                </a:lnTo>
                <a:lnTo>
                  <a:pt x="1630" y="3193"/>
                </a:lnTo>
                <a:lnTo>
                  <a:pt x="1591" y="3210"/>
                </a:lnTo>
                <a:lnTo>
                  <a:pt x="1560" y="3227"/>
                </a:lnTo>
                <a:lnTo>
                  <a:pt x="1558" y="3227"/>
                </a:lnTo>
                <a:lnTo>
                  <a:pt x="1552" y="3227"/>
                </a:lnTo>
                <a:lnTo>
                  <a:pt x="1538" y="3233"/>
                </a:lnTo>
                <a:lnTo>
                  <a:pt x="1470" y="3272"/>
                </a:lnTo>
                <a:lnTo>
                  <a:pt x="1470" y="3235"/>
                </a:lnTo>
                <a:lnTo>
                  <a:pt x="1473" y="3205"/>
                </a:lnTo>
                <a:lnTo>
                  <a:pt x="1470" y="3191"/>
                </a:lnTo>
                <a:lnTo>
                  <a:pt x="1469" y="3170"/>
                </a:lnTo>
                <a:lnTo>
                  <a:pt x="1466" y="3163"/>
                </a:lnTo>
                <a:lnTo>
                  <a:pt x="1457" y="3149"/>
                </a:lnTo>
                <a:lnTo>
                  <a:pt x="1442" y="3127"/>
                </a:lnTo>
                <a:lnTo>
                  <a:pt x="1355" y="3129"/>
                </a:lnTo>
                <a:lnTo>
                  <a:pt x="1355" y="3124"/>
                </a:lnTo>
                <a:lnTo>
                  <a:pt x="1359" y="3123"/>
                </a:lnTo>
                <a:lnTo>
                  <a:pt x="1359" y="3120"/>
                </a:lnTo>
                <a:lnTo>
                  <a:pt x="1362" y="3112"/>
                </a:lnTo>
                <a:lnTo>
                  <a:pt x="1360" y="3111"/>
                </a:lnTo>
                <a:lnTo>
                  <a:pt x="1357" y="3110"/>
                </a:lnTo>
                <a:lnTo>
                  <a:pt x="1357" y="3108"/>
                </a:lnTo>
                <a:lnTo>
                  <a:pt x="1359" y="3108"/>
                </a:lnTo>
                <a:lnTo>
                  <a:pt x="1357" y="3104"/>
                </a:lnTo>
                <a:lnTo>
                  <a:pt x="1362" y="3100"/>
                </a:lnTo>
                <a:lnTo>
                  <a:pt x="1364" y="3099"/>
                </a:lnTo>
                <a:lnTo>
                  <a:pt x="1366" y="3094"/>
                </a:lnTo>
                <a:lnTo>
                  <a:pt x="1370" y="3091"/>
                </a:lnTo>
                <a:lnTo>
                  <a:pt x="1371" y="3088"/>
                </a:lnTo>
                <a:lnTo>
                  <a:pt x="1370" y="3082"/>
                </a:lnTo>
                <a:lnTo>
                  <a:pt x="1371" y="3079"/>
                </a:lnTo>
                <a:lnTo>
                  <a:pt x="1369" y="3073"/>
                </a:lnTo>
                <a:lnTo>
                  <a:pt x="1364" y="3073"/>
                </a:lnTo>
                <a:lnTo>
                  <a:pt x="1359" y="3075"/>
                </a:lnTo>
                <a:lnTo>
                  <a:pt x="1353" y="3068"/>
                </a:lnTo>
                <a:lnTo>
                  <a:pt x="1349" y="3066"/>
                </a:lnTo>
                <a:lnTo>
                  <a:pt x="1348" y="3065"/>
                </a:lnTo>
                <a:lnTo>
                  <a:pt x="1348" y="3063"/>
                </a:lnTo>
                <a:lnTo>
                  <a:pt x="1350" y="3062"/>
                </a:lnTo>
                <a:lnTo>
                  <a:pt x="1349" y="3056"/>
                </a:lnTo>
                <a:lnTo>
                  <a:pt x="1353" y="3056"/>
                </a:lnTo>
                <a:lnTo>
                  <a:pt x="1353" y="3053"/>
                </a:lnTo>
                <a:lnTo>
                  <a:pt x="1355" y="3049"/>
                </a:lnTo>
                <a:lnTo>
                  <a:pt x="1355" y="3046"/>
                </a:lnTo>
                <a:lnTo>
                  <a:pt x="1357" y="3045"/>
                </a:lnTo>
                <a:lnTo>
                  <a:pt x="1359" y="3040"/>
                </a:lnTo>
                <a:lnTo>
                  <a:pt x="1360" y="3041"/>
                </a:lnTo>
                <a:lnTo>
                  <a:pt x="1363" y="3038"/>
                </a:lnTo>
                <a:lnTo>
                  <a:pt x="1363" y="3037"/>
                </a:lnTo>
                <a:lnTo>
                  <a:pt x="1360" y="3033"/>
                </a:lnTo>
                <a:lnTo>
                  <a:pt x="1357" y="3033"/>
                </a:lnTo>
                <a:lnTo>
                  <a:pt x="1355" y="3033"/>
                </a:lnTo>
                <a:lnTo>
                  <a:pt x="1352" y="3033"/>
                </a:lnTo>
                <a:lnTo>
                  <a:pt x="1348" y="3032"/>
                </a:lnTo>
                <a:lnTo>
                  <a:pt x="1344" y="3032"/>
                </a:lnTo>
                <a:lnTo>
                  <a:pt x="1341" y="3031"/>
                </a:lnTo>
                <a:lnTo>
                  <a:pt x="1334" y="3032"/>
                </a:lnTo>
                <a:lnTo>
                  <a:pt x="1330" y="3029"/>
                </a:lnTo>
                <a:lnTo>
                  <a:pt x="1322" y="3028"/>
                </a:lnTo>
                <a:lnTo>
                  <a:pt x="1321" y="3025"/>
                </a:lnTo>
                <a:lnTo>
                  <a:pt x="1317" y="3025"/>
                </a:lnTo>
                <a:lnTo>
                  <a:pt x="1316" y="3023"/>
                </a:lnTo>
                <a:lnTo>
                  <a:pt x="1313" y="3021"/>
                </a:lnTo>
                <a:lnTo>
                  <a:pt x="1302" y="3021"/>
                </a:lnTo>
                <a:lnTo>
                  <a:pt x="1300" y="3017"/>
                </a:lnTo>
                <a:lnTo>
                  <a:pt x="1303" y="3013"/>
                </a:lnTo>
                <a:lnTo>
                  <a:pt x="1303" y="3009"/>
                </a:lnTo>
                <a:lnTo>
                  <a:pt x="1296" y="3003"/>
                </a:lnTo>
                <a:lnTo>
                  <a:pt x="1295" y="3000"/>
                </a:lnTo>
                <a:lnTo>
                  <a:pt x="1295" y="2998"/>
                </a:lnTo>
                <a:lnTo>
                  <a:pt x="1300" y="2975"/>
                </a:lnTo>
                <a:lnTo>
                  <a:pt x="1299" y="2972"/>
                </a:lnTo>
                <a:lnTo>
                  <a:pt x="1295" y="2969"/>
                </a:lnTo>
                <a:lnTo>
                  <a:pt x="1296" y="2967"/>
                </a:lnTo>
                <a:lnTo>
                  <a:pt x="1300" y="2967"/>
                </a:lnTo>
                <a:lnTo>
                  <a:pt x="1302" y="2964"/>
                </a:lnTo>
                <a:lnTo>
                  <a:pt x="1302" y="2961"/>
                </a:lnTo>
                <a:lnTo>
                  <a:pt x="1297" y="2958"/>
                </a:lnTo>
                <a:lnTo>
                  <a:pt x="1299" y="2955"/>
                </a:lnTo>
                <a:lnTo>
                  <a:pt x="1302" y="2954"/>
                </a:lnTo>
                <a:lnTo>
                  <a:pt x="1303" y="2950"/>
                </a:lnTo>
                <a:lnTo>
                  <a:pt x="1302" y="2946"/>
                </a:lnTo>
                <a:lnTo>
                  <a:pt x="1295" y="2945"/>
                </a:lnTo>
                <a:lnTo>
                  <a:pt x="1286" y="2939"/>
                </a:lnTo>
                <a:lnTo>
                  <a:pt x="1285" y="2936"/>
                </a:lnTo>
                <a:lnTo>
                  <a:pt x="1286" y="2922"/>
                </a:lnTo>
                <a:lnTo>
                  <a:pt x="1289" y="2917"/>
                </a:lnTo>
                <a:lnTo>
                  <a:pt x="1294" y="2913"/>
                </a:lnTo>
                <a:lnTo>
                  <a:pt x="1295" y="2911"/>
                </a:lnTo>
                <a:lnTo>
                  <a:pt x="1295" y="2907"/>
                </a:lnTo>
                <a:lnTo>
                  <a:pt x="1296" y="2905"/>
                </a:lnTo>
                <a:lnTo>
                  <a:pt x="1300" y="2908"/>
                </a:lnTo>
                <a:lnTo>
                  <a:pt x="1302" y="2907"/>
                </a:lnTo>
                <a:lnTo>
                  <a:pt x="1299" y="2907"/>
                </a:lnTo>
                <a:lnTo>
                  <a:pt x="1300" y="2904"/>
                </a:lnTo>
                <a:lnTo>
                  <a:pt x="1306" y="2902"/>
                </a:lnTo>
                <a:lnTo>
                  <a:pt x="1306" y="2900"/>
                </a:lnTo>
                <a:lnTo>
                  <a:pt x="1309" y="2900"/>
                </a:lnTo>
                <a:lnTo>
                  <a:pt x="1309" y="2899"/>
                </a:lnTo>
                <a:lnTo>
                  <a:pt x="1311" y="2897"/>
                </a:lnTo>
                <a:lnTo>
                  <a:pt x="1313" y="2899"/>
                </a:lnTo>
                <a:lnTo>
                  <a:pt x="1316" y="2897"/>
                </a:lnTo>
                <a:lnTo>
                  <a:pt x="1317" y="2899"/>
                </a:lnTo>
                <a:lnTo>
                  <a:pt x="1319" y="2897"/>
                </a:lnTo>
                <a:lnTo>
                  <a:pt x="1317" y="2894"/>
                </a:lnTo>
                <a:lnTo>
                  <a:pt x="1314" y="2891"/>
                </a:lnTo>
                <a:lnTo>
                  <a:pt x="1316" y="2889"/>
                </a:lnTo>
                <a:lnTo>
                  <a:pt x="1316" y="2888"/>
                </a:lnTo>
                <a:lnTo>
                  <a:pt x="1316" y="2885"/>
                </a:lnTo>
                <a:lnTo>
                  <a:pt x="1314" y="2884"/>
                </a:lnTo>
                <a:lnTo>
                  <a:pt x="1313" y="2885"/>
                </a:lnTo>
                <a:lnTo>
                  <a:pt x="1306" y="2884"/>
                </a:lnTo>
                <a:lnTo>
                  <a:pt x="1305" y="2885"/>
                </a:lnTo>
                <a:lnTo>
                  <a:pt x="1302" y="2885"/>
                </a:lnTo>
                <a:lnTo>
                  <a:pt x="1296" y="2883"/>
                </a:lnTo>
                <a:lnTo>
                  <a:pt x="1297" y="2880"/>
                </a:lnTo>
                <a:lnTo>
                  <a:pt x="1295" y="2879"/>
                </a:lnTo>
                <a:lnTo>
                  <a:pt x="1297" y="2877"/>
                </a:lnTo>
                <a:lnTo>
                  <a:pt x="1295" y="2876"/>
                </a:lnTo>
                <a:lnTo>
                  <a:pt x="1297" y="2874"/>
                </a:lnTo>
                <a:lnTo>
                  <a:pt x="1296" y="2872"/>
                </a:lnTo>
                <a:lnTo>
                  <a:pt x="1294" y="2872"/>
                </a:lnTo>
                <a:lnTo>
                  <a:pt x="1292" y="2871"/>
                </a:lnTo>
                <a:lnTo>
                  <a:pt x="1292" y="2867"/>
                </a:lnTo>
                <a:lnTo>
                  <a:pt x="1294" y="2866"/>
                </a:lnTo>
                <a:lnTo>
                  <a:pt x="1292" y="2864"/>
                </a:lnTo>
                <a:lnTo>
                  <a:pt x="1294" y="2863"/>
                </a:lnTo>
                <a:lnTo>
                  <a:pt x="1286" y="2860"/>
                </a:lnTo>
                <a:lnTo>
                  <a:pt x="1288" y="2858"/>
                </a:lnTo>
                <a:lnTo>
                  <a:pt x="1291" y="2857"/>
                </a:lnTo>
                <a:lnTo>
                  <a:pt x="1289" y="2854"/>
                </a:lnTo>
                <a:lnTo>
                  <a:pt x="1291" y="2854"/>
                </a:lnTo>
                <a:lnTo>
                  <a:pt x="1291" y="2852"/>
                </a:lnTo>
                <a:lnTo>
                  <a:pt x="1291" y="2851"/>
                </a:lnTo>
                <a:lnTo>
                  <a:pt x="1285" y="2851"/>
                </a:lnTo>
                <a:lnTo>
                  <a:pt x="1285" y="2850"/>
                </a:lnTo>
                <a:lnTo>
                  <a:pt x="1296" y="2834"/>
                </a:lnTo>
                <a:lnTo>
                  <a:pt x="1306" y="2824"/>
                </a:lnTo>
                <a:lnTo>
                  <a:pt x="1327" y="2775"/>
                </a:lnTo>
                <a:lnTo>
                  <a:pt x="1288" y="2775"/>
                </a:lnTo>
                <a:lnTo>
                  <a:pt x="1272" y="2775"/>
                </a:lnTo>
                <a:lnTo>
                  <a:pt x="1260" y="2785"/>
                </a:lnTo>
                <a:lnTo>
                  <a:pt x="1256" y="2787"/>
                </a:lnTo>
                <a:lnTo>
                  <a:pt x="1256" y="2782"/>
                </a:lnTo>
                <a:lnTo>
                  <a:pt x="1260" y="2779"/>
                </a:lnTo>
                <a:lnTo>
                  <a:pt x="1259" y="2775"/>
                </a:lnTo>
                <a:lnTo>
                  <a:pt x="1261" y="2772"/>
                </a:lnTo>
                <a:lnTo>
                  <a:pt x="1263" y="2766"/>
                </a:lnTo>
                <a:lnTo>
                  <a:pt x="1259" y="2763"/>
                </a:lnTo>
                <a:lnTo>
                  <a:pt x="1256" y="2764"/>
                </a:lnTo>
                <a:lnTo>
                  <a:pt x="1252" y="2762"/>
                </a:lnTo>
                <a:lnTo>
                  <a:pt x="1252" y="2760"/>
                </a:lnTo>
                <a:lnTo>
                  <a:pt x="1250" y="2758"/>
                </a:lnTo>
                <a:lnTo>
                  <a:pt x="1250" y="2755"/>
                </a:lnTo>
                <a:lnTo>
                  <a:pt x="1241" y="2750"/>
                </a:lnTo>
                <a:lnTo>
                  <a:pt x="1239" y="2750"/>
                </a:lnTo>
                <a:lnTo>
                  <a:pt x="1234" y="2745"/>
                </a:lnTo>
                <a:lnTo>
                  <a:pt x="1232" y="2742"/>
                </a:lnTo>
                <a:lnTo>
                  <a:pt x="1235" y="2737"/>
                </a:lnTo>
                <a:lnTo>
                  <a:pt x="1234" y="2730"/>
                </a:lnTo>
                <a:lnTo>
                  <a:pt x="1235" y="2726"/>
                </a:lnTo>
                <a:lnTo>
                  <a:pt x="1236" y="2726"/>
                </a:lnTo>
                <a:lnTo>
                  <a:pt x="1234" y="2722"/>
                </a:lnTo>
                <a:lnTo>
                  <a:pt x="1238" y="2721"/>
                </a:lnTo>
                <a:lnTo>
                  <a:pt x="1239" y="2718"/>
                </a:lnTo>
                <a:lnTo>
                  <a:pt x="1236" y="2716"/>
                </a:lnTo>
                <a:lnTo>
                  <a:pt x="1236" y="2713"/>
                </a:lnTo>
                <a:lnTo>
                  <a:pt x="1232" y="2711"/>
                </a:lnTo>
                <a:lnTo>
                  <a:pt x="1232" y="2706"/>
                </a:lnTo>
                <a:lnTo>
                  <a:pt x="1230" y="2701"/>
                </a:lnTo>
                <a:lnTo>
                  <a:pt x="1227" y="2700"/>
                </a:lnTo>
                <a:lnTo>
                  <a:pt x="1222" y="2700"/>
                </a:lnTo>
                <a:lnTo>
                  <a:pt x="1221" y="2700"/>
                </a:lnTo>
                <a:lnTo>
                  <a:pt x="1211" y="2684"/>
                </a:lnTo>
                <a:lnTo>
                  <a:pt x="1213" y="2681"/>
                </a:lnTo>
                <a:lnTo>
                  <a:pt x="1211" y="2677"/>
                </a:lnTo>
                <a:lnTo>
                  <a:pt x="1209" y="2677"/>
                </a:lnTo>
                <a:lnTo>
                  <a:pt x="1206" y="2675"/>
                </a:lnTo>
                <a:lnTo>
                  <a:pt x="1206" y="2671"/>
                </a:lnTo>
                <a:lnTo>
                  <a:pt x="1200" y="2664"/>
                </a:lnTo>
                <a:lnTo>
                  <a:pt x="1197" y="2661"/>
                </a:lnTo>
                <a:lnTo>
                  <a:pt x="1196" y="2659"/>
                </a:lnTo>
                <a:lnTo>
                  <a:pt x="1191" y="2655"/>
                </a:lnTo>
                <a:lnTo>
                  <a:pt x="1189" y="2651"/>
                </a:lnTo>
                <a:lnTo>
                  <a:pt x="1185" y="2648"/>
                </a:lnTo>
                <a:lnTo>
                  <a:pt x="1184" y="2644"/>
                </a:lnTo>
                <a:lnTo>
                  <a:pt x="1182" y="2642"/>
                </a:lnTo>
                <a:lnTo>
                  <a:pt x="1181" y="2633"/>
                </a:lnTo>
                <a:lnTo>
                  <a:pt x="1178" y="2627"/>
                </a:lnTo>
                <a:lnTo>
                  <a:pt x="1178" y="2626"/>
                </a:lnTo>
                <a:lnTo>
                  <a:pt x="1174" y="2624"/>
                </a:lnTo>
                <a:lnTo>
                  <a:pt x="1175" y="2619"/>
                </a:lnTo>
                <a:lnTo>
                  <a:pt x="1174" y="2617"/>
                </a:lnTo>
                <a:lnTo>
                  <a:pt x="1174" y="2616"/>
                </a:lnTo>
                <a:lnTo>
                  <a:pt x="1167" y="2610"/>
                </a:lnTo>
                <a:lnTo>
                  <a:pt x="1163" y="2610"/>
                </a:lnTo>
                <a:lnTo>
                  <a:pt x="1160" y="2605"/>
                </a:lnTo>
                <a:lnTo>
                  <a:pt x="1161" y="2599"/>
                </a:lnTo>
                <a:lnTo>
                  <a:pt x="1157" y="2597"/>
                </a:lnTo>
                <a:lnTo>
                  <a:pt x="1155" y="2596"/>
                </a:lnTo>
                <a:lnTo>
                  <a:pt x="1152" y="2597"/>
                </a:lnTo>
                <a:lnTo>
                  <a:pt x="1150" y="2597"/>
                </a:lnTo>
                <a:lnTo>
                  <a:pt x="1150" y="2594"/>
                </a:lnTo>
                <a:lnTo>
                  <a:pt x="1142" y="2588"/>
                </a:lnTo>
                <a:lnTo>
                  <a:pt x="1142" y="2581"/>
                </a:lnTo>
                <a:lnTo>
                  <a:pt x="1136" y="2579"/>
                </a:lnTo>
                <a:lnTo>
                  <a:pt x="1135" y="2576"/>
                </a:lnTo>
                <a:lnTo>
                  <a:pt x="1135" y="2564"/>
                </a:lnTo>
                <a:lnTo>
                  <a:pt x="1138" y="2559"/>
                </a:lnTo>
                <a:lnTo>
                  <a:pt x="1138" y="2555"/>
                </a:lnTo>
                <a:lnTo>
                  <a:pt x="1145" y="2547"/>
                </a:lnTo>
                <a:lnTo>
                  <a:pt x="1145" y="2534"/>
                </a:lnTo>
                <a:lnTo>
                  <a:pt x="1143" y="2532"/>
                </a:lnTo>
                <a:lnTo>
                  <a:pt x="1145" y="2526"/>
                </a:lnTo>
                <a:lnTo>
                  <a:pt x="1142" y="2512"/>
                </a:lnTo>
                <a:lnTo>
                  <a:pt x="1143" y="2501"/>
                </a:lnTo>
                <a:lnTo>
                  <a:pt x="1141" y="2489"/>
                </a:lnTo>
                <a:lnTo>
                  <a:pt x="1127" y="2481"/>
                </a:lnTo>
                <a:lnTo>
                  <a:pt x="1122" y="2481"/>
                </a:lnTo>
                <a:lnTo>
                  <a:pt x="1118" y="2478"/>
                </a:lnTo>
                <a:lnTo>
                  <a:pt x="1120" y="2477"/>
                </a:lnTo>
                <a:lnTo>
                  <a:pt x="1100" y="2474"/>
                </a:lnTo>
                <a:lnTo>
                  <a:pt x="1088" y="2467"/>
                </a:lnTo>
                <a:lnTo>
                  <a:pt x="1084" y="2467"/>
                </a:lnTo>
                <a:lnTo>
                  <a:pt x="1075" y="2465"/>
                </a:lnTo>
                <a:lnTo>
                  <a:pt x="1060" y="2468"/>
                </a:lnTo>
                <a:lnTo>
                  <a:pt x="1054" y="2467"/>
                </a:lnTo>
                <a:lnTo>
                  <a:pt x="1050" y="2468"/>
                </a:lnTo>
                <a:lnTo>
                  <a:pt x="1046" y="2462"/>
                </a:lnTo>
                <a:lnTo>
                  <a:pt x="1040" y="2457"/>
                </a:lnTo>
                <a:lnTo>
                  <a:pt x="1039" y="2452"/>
                </a:lnTo>
                <a:lnTo>
                  <a:pt x="1036" y="2449"/>
                </a:lnTo>
                <a:lnTo>
                  <a:pt x="1035" y="2445"/>
                </a:lnTo>
                <a:lnTo>
                  <a:pt x="1032" y="2444"/>
                </a:lnTo>
                <a:lnTo>
                  <a:pt x="1031" y="2442"/>
                </a:lnTo>
                <a:lnTo>
                  <a:pt x="1020" y="2435"/>
                </a:lnTo>
                <a:lnTo>
                  <a:pt x="1010" y="2431"/>
                </a:lnTo>
                <a:lnTo>
                  <a:pt x="1000" y="2440"/>
                </a:lnTo>
                <a:lnTo>
                  <a:pt x="995" y="2442"/>
                </a:lnTo>
                <a:lnTo>
                  <a:pt x="987" y="2439"/>
                </a:lnTo>
                <a:lnTo>
                  <a:pt x="983" y="2431"/>
                </a:lnTo>
                <a:lnTo>
                  <a:pt x="979" y="2432"/>
                </a:lnTo>
                <a:lnTo>
                  <a:pt x="970" y="2428"/>
                </a:lnTo>
                <a:lnTo>
                  <a:pt x="960" y="2430"/>
                </a:lnTo>
                <a:lnTo>
                  <a:pt x="957" y="2428"/>
                </a:lnTo>
                <a:lnTo>
                  <a:pt x="953" y="2428"/>
                </a:lnTo>
                <a:lnTo>
                  <a:pt x="949" y="2427"/>
                </a:lnTo>
                <a:lnTo>
                  <a:pt x="946" y="2427"/>
                </a:lnTo>
                <a:lnTo>
                  <a:pt x="943" y="2425"/>
                </a:lnTo>
                <a:lnTo>
                  <a:pt x="931" y="2408"/>
                </a:lnTo>
                <a:lnTo>
                  <a:pt x="926" y="2408"/>
                </a:lnTo>
                <a:lnTo>
                  <a:pt x="922" y="2407"/>
                </a:lnTo>
                <a:lnTo>
                  <a:pt x="921" y="2399"/>
                </a:lnTo>
                <a:lnTo>
                  <a:pt x="917" y="2397"/>
                </a:lnTo>
                <a:lnTo>
                  <a:pt x="912" y="2385"/>
                </a:lnTo>
                <a:lnTo>
                  <a:pt x="906" y="2387"/>
                </a:lnTo>
                <a:lnTo>
                  <a:pt x="898" y="2381"/>
                </a:lnTo>
                <a:lnTo>
                  <a:pt x="896" y="2377"/>
                </a:lnTo>
                <a:lnTo>
                  <a:pt x="892" y="2373"/>
                </a:lnTo>
                <a:lnTo>
                  <a:pt x="889" y="2373"/>
                </a:lnTo>
                <a:lnTo>
                  <a:pt x="887" y="2369"/>
                </a:lnTo>
                <a:lnTo>
                  <a:pt x="885" y="2368"/>
                </a:lnTo>
                <a:lnTo>
                  <a:pt x="882" y="2368"/>
                </a:lnTo>
                <a:lnTo>
                  <a:pt x="881" y="2370"/>
                </a:lnTo>
                <a:lnTo>
                  <a:pt x="871" y="2365"/>
                </a:lnTo>
                <a:lnTo>
                  <a:pt x="860" y="2365"/>
                </a:lnTo>
                <a:lnTo>
                  <a:pt x="853" y="2361"/>
                </a:lnTo>
                <a:lnTo>
                  <a:pt x="844" y="2361"/>
                </a:lnTo>
                <a:lnTo>
                  <a:pt x="840" y="2358"/>
                </a:lnTo>
                <a:lnTo>
                  <a:pt x="835" y="2360"/>
                </a:lnTo>
                <a:lnTo>
                  <a:pt x="830" y="2358"/>
                </a:lnTo>
                <a:lnTo>
                  <a:pt x="829" y="2358"/>
                </a:lnTo>
                <a:lnTo>
                  <a:pt x="829" y="2360"/>
                </a:lnTo>
                <a:lnTo>
                  <a:pt x="823" y="2361"/>
                </a:lnTo>
                <a:lnTo>
                  <a:pt x="819" y="2365"/>
                </a:lnTo>
                <a:lnTo>
                  <a:pt x="814" y="2363"/>
                </a:lnTo>
                <a:lnTo>
                  <a:pt x="810" y="2365"/>
                </a:lnTo>
                <a:lnTo>
                  <a:pt x="805" y="2363"/>
                </a:lnTo>
                <a:lnTo>
                  <a:pt x="803" y="2362"/>
                </a:lnTo>
                <a:lnTo>
                  <a:pt x="797" y="2362"/>
                </a:lnTo>
                <a:lnTo>
                  <a:pt x="793" y="2363"/>
                </a:lnTo>
                <a:lnTo>
                  <a:pt x="790" y="2368"/>
                </a:lnTo>
                <a:lnTo>
                  <a:pt x="787" y="2368"/>
                </a:lnTo>
                <a:lnTo>
                  <a:pt x="782" y="2365"/>
                </a:lnTo>
                <a:lnTo>
                  <a:pt x="780" y="2362"/>
                </a:lnTo>
                <a:lnTo>
                  <a:pt x="769" y="2356"/>
                </a:lnTo>
                <a:lnTo>
                  <a:pt x="761" y="2350"/>
                </a:lnTo>
                <a:lnTo>
                  <a:pt x="758" y="2352"/>
                </a:lnTo>
                <a:lnTo>
                  <a:pt x="750" y="2348"/>
                </a:lnTo>
                <a:lnTo>
                  <a:pt x="748" y="2350"/>
                </a:lnTo>
                <a:lnTo>
                  <a:pt x="747" y="2349"/>
                </a:lnTo>
                <a:lnTo>
                  <a:pt x="743" y="2357"/>
                </a:lnTo>
                <a:lnTo>
                  <a:pt x="740" y="2352"/>
                </a:lnTo>
                <a:lnTo>
                  <a:pt x="735" y="2350"/>
                </a:lnTo>
                <a:lnTo>
                  <a:pt x="729" y="2350"/>
                </a:lnTo>
                <a:lnTo>
                  <a:pt x="725" y="2345"/>
                </a:lnTo>
                <a:lnTo>
                  <a:pt x="721" y="2344"/>
                </a:lnTo>
                <a:lnTo>
                  <a:pt x="721" y="2341"/>
                </a:lnTo>
                <a:lnTo>
                  <a:pt x="718" y="2343"/>
                </a:lnTo>
                <a:lnTo>
                  <a:pt x="718" y="2338"/>
                </a:lnTo>
                <a:lnTo>
                  <a:pt x="715" y="2336"/>
                </a:lnTo>
                <a:lnTo>
                  <a:pt x="711" y="2336"/>
                </a:lnTo>
                <a:lnTo>
                  <a:pt x="710" y="2337"/>
                </a:lnTo>
                <a:lnTo>
                  <a:pt x="708" y="2336"/>
                </a:lnTo>
                <a:lnTo>
                  <a:pt x="707" y="2337"/>
                </a:lnTo>
                <a:lnTo>
                  <a:pt x="704" y="2336"/>
                </a:lnTo>
                <a:lnTo>
                  <a:pt x="702" y="2337"/>
                </a:lnTo>
                <a:lnTo>
                  <a:pt x="698" y="2337"/>
                </a:lnTo>
                <a:lnTo>
                  <a:pt x="696" y="2336"/>
                </a:lnTo>
                <a:lnTo>
                  <a:pt x="693" y="2337"/>
                </a:lnTo>
                <a:lnTo>
                  <a:pt x="690" y="2333"/>
                </a:lnTo>
                <a:lnTo>
                  <a:pt x="686" y="2333"/>
                </a:lnTo>
                <a:lnTo>
                  <a:pt x="682" y="2335"/>
                </a:lnTo>
                <a:lnTo>
                  <a:pt x="677" y="2333"/>
                </a:lnTo>
                <a:lnTo>
                  <a:pt x="675" y="2337"/>
                </a:lnTo>
                <a:lnTo>
                  <a:pt x="669" y="2335"/>
                </a:lnTo>
                <a:lnTo>
                  <a:pt x="655" y="2335"/>
                </a:lnTo>
                <a:lnTo>
                  <a:pt x="654" y="2330"/>
                </a:lnTo>
                <a:lnTo>
                  <a:pt x="647" y="2330"/>
                </a:lnTo>
                <a:lnTo>
                  <a:pt x="644" y="2330"/>
                </a:lnTo>
                <a:lnTo>
                  <a:pt x="622" y="2325"/>
                </a:lnTo>
                <a:lnTo>
                  <a:pt x="616" y="2325"/>
                </a:lnTo>
                <a:lnTo>
                  <a:pt x="612" y="2328"/>
                </a:lnTo>
                <a:lnTo>
                  <a:pt x="612" y="2330"/>
                </a:lnTo>
                <a:lnTo>
                  <a:pt x="598" y="2330"/>
                </a:lnTo>
                <a:lnTo>
                  <a:pt x="590" y="2333"/>
                </a:lnTo>
                <a:lnTo>
                  <a:pt x="588" y="2336"/>
                </a:lnTo>
                <a:lnTo>
                  <a:pt x="584" y="2336"/>
                </a:lnTo>
                <a:lnTo>
                  <a:pt x="583" y="2338"/>
                </a:lnTo>
                <a:lnTo>
                  <a:pt x="580" y="2338"/>
                </a:lnTo>
                <a:lnTo>
                  <a:pt x="571" y="2345"/>
                </a:lnTo>
                <a:lnTo>
                  <a:pt x="561" y="2347"/>
                </a:lnTo>
                <a:lnTo>
                  <a:pt x="559" y="2349"/>
                </a:lnTo>
                <a:lnTo>
                  <a:pt x="545" y="2355"/>
                </a:lnTo>
                <a:lnTo>
                  <a:pt x="541" y="2358"/>
                </a:lnTo>
                <a:lnTo>
                  <a:pt x="522" y="2363"/>
                </a:lnTo>
                <a:lnTo>
                  <a:pt x="486" y="2307"/>
                </a:lnTo>
                <a:lnTo>
                  <a:pt x="465" y="2136"/>
                </a:lnTo>
                <a:lnTo>
                  <a:pt x="463" y="2133"/>
                </a:lnTo>
                <a:lnTo>
                  <a:pt x="463" y="2129"/>
                </a:lnTo>
                <a:lnTo>
                  <a:pt x="463" y="2127"/>
                </a:lnTo>
                <a:lnTo>
                  <a:pt x="463" y="2125"/>
                </a:lnTo>
                <a:lnTo>
                  <a:pt x="459" y="2122"/>
                </a:lnTo>
                <a:lnTo>
                  <a:pt x="458" y="2120"/>
                </a:lnTo>
                <a:lnTo>
                  <a:pt x="456" y="2120"/>
                </a:lnTo>
                <a:lnTo>
                  <a:pt x="374" y="2071"/>
                </a:lnTo>
                <a:lnTo>
                  <a:pt x="316" y="1938"/>
                </a:lnTo>
                <a:lnTo>
                  <a:pt x="312" y="1861"/>
                </a:lnTo>
                <a:lnTo>
                  <a:pt x="298" y="1843"/>
                </a:lnTo>
                <a:lnTo>
                  <a:pt x="291" y="1831"/>
                </a:lnTo>
                <a:lnTo>
                  <a:pt x="221" y="1760"/>
                </a:lnTo>
                <a:lnTo>
                  <a:pt x="207" y="1746"/>
                </a:lnTo>
                <a:lnTo>
                  <a:pt x="199" y="1688"/>
                </a:lnTo>
                <a:lnTo>
                  <a:pt x="203" y="1573"/>
                </a:lnTo>
                <a:lnTo>
                  <a:pt x="206" y="1543"/>
                </a:lnTo>
                <a:lnTo>
                  <a:pt x="206" y="1541"/>
                </a:lnTo>
                <a:lnTo>
                  <a:pt x="206" y="1539"/>
                </a:lnTo>
                <a:lnTo>
                  <a:pt x="209" y="1508"/>
                </a:lnTo>
                <a:lnTo>
                  <a:pt x="173" y="1402"/>
                </a:lnTo>
                <a:lnTo>
                  <a:pt x="170" y="1394"/>
                </a:lnTo>
                <a:lnTo>
                  <a:pt x="162" y="1366"/>
                </a:lnTo>
                <a:lnTo>
                  <a:pt x="159" y="1358"/>
                </a:lnTo>
                <a:lnTo>
                  <a:pt x="148" y="1325"/>
                </a:lnTo>
                <a:lnTo>
                  <a:pt x="129" y="1274"/>
                </a:lnTo>
                <a:lnTo>
                  <a:pt x="124" y="1258"/>
                </a:lnTo>
                <a:lnTo>
                  <a:pt x="101" y="1185"/>
                </a:lnTo>
                <a:lnTo>
                  <a:pt x="81" y="1126"/>
                </a:lnTo>
                <a:lnTo>
                  <a:pt x="74" y="1108"/>
                </a:lnTo>
                <a:lnTo>
                  <a:pt x="51" y="1037"/>
                </a:lnTo>
                <a:lnTo>
                  <a:pt x="34" y="988"/>
                </a:lnTo>
                <a:lnTo>
                  <a:pt x="34" y="984"/>
                </a:lnTo>
                <a:lnTo>
                  <a:pt x="29" y="972"/>
                </a:lnTo>
                <a:lnTo>
                  <a:pt x="23" y="954"/>
                </a:lnTo>
                <a:lnTo>
                  <a:pt x="17" y="934"/>
                </a:lnTo>
                <a:lnTo>
                  <a:pt x="16" y="931"/>
                </a:lnTo>
                <a:lnTo>
                  <a:pt x="10" y="914"/>
                </a:lnTo>
                <a:lnTo>
                  <a:pt x="9" y="910"/>
                </a:lnTo>
                <a:lnTo>
                  <a:pt x="4" y="899"/>
                </a:lnTo>
                <a:lnTo>
                  <a:pt x="4" y="896"/>
                </a:lnTo>
                <a:lnTo>
                  <a:pt x="3" y="896"/>
                </a:lnTo>
                <a:lnTo>
                  <a:pt x="2" y="896"/>
                </a:lnTo>
                <a:lnTo>
                  <a:pt x="2" y="894"/>
                </a:lnTo>
                <a:lnTo>
                  <a:pt x="0" y="894"/>
                </a:lnTo>
                <a:lnTo>
                  <a:pt x="23" y="880"/>
                </a:lnTo>
                <a:lnTo>
                  <a:pt x="43" y="867"/>
                </a:lnTo>
                <a:lnTo>
                  <a:pt x="54" y="859"/>
                </a:lnTo>
                <a:lnTo>
                  <a:pt x="63" y="854"/>
                </a:lnTo>
                <a:lnTo>
                  <a:pt x="143" y="772"/>
                </a:lnTo>
                <a:lnTo>
                  <a:pt x="162" y="757"/>
                </a:lnTo>
                <a:lnTo>
                  <a:pt x="181" y="731"/>
                </a:lnTo>
                <a:lnTo>
                  <a:pt x="234" y="678"/>
                </a:lnTo>
                <a:lnTo>
                  <a:pt x="245" y="670"/>
                </a:lnTo>
                <a:lnTo>
                  <a:pt x="269" y="645"/>
                </a:lnTo>
                <a:lnTo>
                  <a:pt x="303" y="608"/>
                </a:lnTo>
                <a:lnTo>
                  <a:pt x="341" y="570"/>
                </a:lnTo>
                <a:lnTo>
                  <a:pt x="372" y="539"/>
                </a:lnTo>
                <a:lnTo>
                  <a:pt x="380" y="529"/>
                </a:lnTo>
                <a:lnTo>
                  <a:pt x="394" y="514"/>
                </a:lnTo>
                <a:lnTo>
                  <a:pt x="477" y="430"/>
                </a:lnTo>
                <a:lnTo>
                  <a:pt x="484" y="424"/>
                </a:lnTo>
                <a:lnTo>
                  <a:pt x="517" y="390"/>
                </a:lnTo>
                <a:lnTo>
                  <a:pt x="531" y="375"/>
                </a:lnTo>
                <a:lnTo>
                  <a:pt x="641" y="259"/>
                </a:lnTo>
                <a:lnTo>
                  <a:pt x="648" y="253"/>
                </a:lnTo>
                <a:lnTo>
                  <a:pt x="661" y="241"/>
                </a:lnTo>
                <a:lnTo>
                  <a:pt x="740" y="159"/>
                </a:lnTo>
                <a:lnTo>
                  <a:pt x="766" y="131"/>
                </a:lnTo>
                <a:lnTo>
                  <a:pt x="796" y="101"/>
                </a:lnTo>
                <a:lnTo>
                  <a:pt x="870" y="26"/>
                </a:lnTo>
                <a:lnTo>
                  <a:pt x="890" y="5"/>
                </a:lnTo>
                <a:lnTo>
                  <a:pt x="903" y="1"/>
                </a:lnTo>
                <a:lnTo>
                  <a:pt x="914" y="0"/>
                </a:lnTo>
                <a:lnTo>
                  <a:pt x="923" y="1"/>
                </a:lnTo>
                <a:lnTo>
                  <a:pt x="946" y="14"/>
                </a:lnTo>
                <a:lnTo>
                  <a:pt x="956" y="19"/>
                </a:lnTo>
                <a:lnTo>
                  <a:pt x="961" y="26"/>
                </a:lnTo>
                <a:lnTo>
                  <a:pt x="965" y="27"/>
                </a:lnTo>
                <a:lnTo>
                  <a:pt x="971" y="31"/>
                </a:lnTo>
                <a:lnTo>
                  <a:pt x="974" y="31"/>
                </a:lnTo>
                <a:lnTo>
                  <a:pt x="975" y="38"/>
                </a:lnTo>
                <a:lnTo>
                  <a:pt x="981" y="46"/>
                </a:lnTo>
                <a:lnTo>
                  <a:pt x="992" y="50"/>
                </a:lnTo>
                <a:lnTo>
                  <a:pt x="997" y="56"/>
                </a:lnTo>
                <a:lnTo>
                  <a:pt x="1003" y="59"/>
                </a:lnTo>
                <a:lnTo>
                  <a:pt x="1007" y="64"/>
                </a:lnTo>
                <a:lnTo>
                  <a:pt x="1011" y="68"/>
                </a:lnTo>
                <a:lnTo>
                  <a:pt x="1015" y="68"/>
                </a:lnTo>
                <a:lnTo>
                  <a:pt x="1021" y="68"/>
                </a:lnTo>
                <a:lnTo>
                  <a:pt x="1025" y="67"/>
                </a:lnTo>
                <a:lnTo>
                  <a:pt x="1031" y="67"/>
                </a:lnTo>
                <a:lnTo>
                  <a:pt x="1039" y="64"/>
                </a:lnTo>
                <a:lnTo>
                  <a:pt x="1059" y="71"/>
                </a:lnTo>
                <a:lnTo>
                  <a:pt x="1067" y="68"/>
                </a:lnTo>
                <a:lnTo>
                  <a:pt x="1082" y="65"/>
                </a:lnTo>
                <a:lnTo>
                  <a:pt x="1085" y="65"/>
                </a:lnTo>
                <a:lnTo>
                  <a:pt x="1086" y="72"/>
                </a:lnTo>
                <a:lnTo>
                  <a:pt x="1089" y="75"/>
                </a:lnTo>
                <a:lnTo>
                  <a:pt x="1093" y="76"/>
                </a:lnTo>
                <a:lnTo>
                  <a:pt x="1099" y="79"/>
                </a:lnTo>
                <a:lnTo>
                  <a:pt x="1103" y="79"/>
                </a:lnTo>
                <a:lnTo>
                  <a:pt x="1104" y="79"/>
                </a:lnTo>
                <a:lnTo>
                  <a:pt x="1106" y="76"/>
                </a:lnTo>
                <a:lnTo>
                  <a:pt x="1107" y="80"/>
                </a:lnTo>
                <a:lnTo>
                  <a:pt x="1113" y="79"/>
                </a:lnTo>
                <a:lnTo>
                  <a:pt x="1121" y="81"/>
                </a:lnTo>
                <a:lnTo>
                  <a:pt x="1127" y="85"/>
                </a:lnTo>
                <a:lnTo>
                  <a:pt x="1134" y="89"/>
                </a:lnTo>
                <a:lnTo>
                  <a:pt x="1134" y="93"/>
                </a:lnTo>
                <a:lnTo>
                  <a:pt x="1132" y="94"/>
                </a:lnTo>
                <a:lnTo>
                  <a:pt x="1132" y="97"/>
                </a:lnTo>
                <a:lnTo>
                  <a:pt x="1138" y="104"/>
                </a:lnTo>
                <a:lnTo>
                  <a:pt x="1150" y="107"/>
                </a:lnTo>
                <a:lnTo>
                  <a:pt x="1157" y="107"/>
                </a:lnTo>
                <a:lnTo>
                  <a:pt x="1163" y="109"/>
                </a:lnTo>
                <a:lnTo>
                  <a:pt x="1182" y="119"/>
                </a:lnTo>
                <a:lnTo>
                  <a:pt x="1188" y="129"/>
                </a:lnTo>
                <a:lnTo>
                  <a:pt x="1186" y="131"/>
                </a:lnTo>
                <a:lnTo>
                  <a:pt x="1186" y="134"/>
                </a:lnTo>
                <a:lnTo>
                  <a:pt x="1194" y="137"/>
                </a:lnTo>
                <a:lnTo>
                  <a:pt x="1199" y="135"/>
                </a:lnTo>
                <a:lnTo>
                  <a:pt x="1203" y="138"/>
                </a:lnTo>
                <a:lnTo>
                  <a:pt x="1205" y="139"/>
                </a:lnTo>
                <a:lnTo>
                  <a:pt x="1209" y="143"/>
                </a:lnTo>
                <a:lnTo>
                  <a:pt x="1211" y="147"/>
                </a:lnTo>
                <a:lnTo>
                  <a:pt x="1217" y="150"/>
                </a:lnTo>
                <a:lnTo>
                  <a:pt x="1217" y="152"/>
                </a:lnTo>
                <a:lnTo>
                  <a:pt x="1222" y="156"/>
                </a:lnTo>
                <a:lnTo>
                  <a:pt x="1227" y="158"/>
                </a:lnTo>
                <a:lnTo>
                  <a:pt x="1231" y="154"/>
                </a:lnTo>
                <a:lnTo>
                  <a:pt x="1236" y="155"/>
                </a:lnTo>
                <a:lnTo>
                  <a:pt x="1239" y="151"/>
                </a:lnTo>
                <a:lnTo>
                  <a:pt x="1245" y="150"/>
                </a:lnTo>
                <a:lnTo>
                  <a:pt x="1252" y="152"/>
                </a:lnTo>
                <a:lnTo>
                  <a:pt x="1259" y="156"/>
                </a:lnTo>
                <a:lnTo>
                  <a:pt x="1266" y="156"/>
                </a:lnTo>
                <a:lnTo>
                  <a:pt x="1269" y="155"/>
                </a:lnTo>
                <a:lnTo>
                  <a:pt x="1277" y="143"/>
                </a:lnTo>
                <a:lnTo>
                  <a:pt x="1278" y="142"/>
                </a:lnTo>
                <a:lnTo>
                  <a:pt x="1282" y="143"/>
                </a:lnTo>
                <a:lnTo>
                  <a:pt x="1286" y="138"/>
                </a:lnTo>
                <a:lnTo>
                  <a:pt x="1289" y="138"/>
                </a:lnTo>
                <a:lnTo>
                  <a:pt x="1294" y="143"/>
                </a:lnTo>
                <a:lnTo>
                  <a:pt x="1305" y="150"/>
                </a:lnTo>
                <a:lnTo>
                  <a:pt x="1309" y="150"/>
                </a:lnTo>
                <a:lnTo>
                  <a:pt x="1313" y="152"/>
                </a:lnTo>
                <a:lnTo>
                  <a:pt x="1317" y="152"/>
                </a:lnTo>
                <a:lnTo>
                  <a:pt x="1325" y="159"/>
                </a:lnTo>
                <a:lnTo>
                  <a:pt x="1327" y="161"/>
                </a:lnTo>
                <a:lnTo>
                  <a:pt x="1325" y="162"/>
                </a:lnTo>
                <a:lnTo>
                  <a:pt x="1325" y="166"/>
                </a:lnTo>
                <a:lnTo>
                  <a:pt x="1331" y="174"/>
                </a:lnTo>
                <a:lnTo>
                  <a:pt x="1332" y="178"/>
                </a:lnTo>
                <a:lnTo>
                  <a:pt x="1334" y="180"/>
                </a:lnTo>
                <a:lnTo>
                  <a:pt x="1327" y="192"/>
                </a:lnTo>
                <a:lnTo>
                  <a:pt x="1327" y="194"/>
                </a:lnTo>
                <a:lnTo>
                  <a:pt x="1330" y="200"/>
                </a:lnTo>
                <a:lnTo>
                  <a:pt x="1332" y="200"/>
                </a:lnTo>
                <a:lnTo>
                  <a:pt x="1334" y="203"/>
                </a:lnTo>
                <a:lnTo>
                  <a:pt x="1344" y="203"/>
                </a:lnTo>
                <a:lnTo>
                  <a:pt x="1346" y="206"/>
                </a:lnTo>
                <a:lnTo>
                  <a:pt x="1348" y="209"/>
                </a:lnTo>
                <a:lnTo>
                  <a:pt x="1352" y="211"/>
                </a:lnTo>
                <a:lnTo>
                  <a:pt x="1367" y="211"/>
                </a:lnTo>
                <a:lnTo>
                  <a:pt x="1374" y="213"/>
                </a:lnTo>
                <a:lnTo>
                  <a:pt x="1380" y="211"/>
                </a:lnTo>
                <a:lnTo>
                  <a:pt x="1388" y="214"/>
                </a:lnTo>
                <a:lnTo>
                  <a:pt x="1395" y="214"/>
                </a:lnTo>
                <a:lnTo>
                  <a:pt x="1402" y="218"/>
                </a:lnTo>
                <a:lnTo>
                  <a:pt x="1410" y="218"/>
                </a:lnTo>
                <a:lnTo>
                  <a:pt x="1419" y="217"/>
                </a:lnTo>
                <a:lnTo>
                  <a:pt x="1419" y="209"/>
                </a:lnTo>
                <a:lnTo>
                  <a:pt x="1420" y="206"/>
                </a:lnTo>
                <a:lnTo>
                  <a:pt x="1426" y="206"/>
                </a:lnTo>
                <a:lnTo>
                  <a:pt x="1430" y="203"/>
                </a:lnTo>
                <a:lnTo>
                  <a:pt x="1431" y="199"/>
                </a:lnTo>
                <a:lnTo>
                  <a:pt x="1435" y="196"/>
                </a:lnTo>
                <a:lnTo>
                  <a:pt x="1435" y="192"/>
                </a:lnTo>
                <a:lnTo>
                  <a:pt x="1438" y="188"/>
                </a:lnTo>
                <a:lnTo>
                  <a:pt x="1452" y="184"/>
                </a:lnTo>
                <a:lnTo>
                  <a:pt x="1459" y="175"/>
                </a:lnTo>
                <a:lnTo>
                  <a:pt x="1463" y="172"/>
                </a:lnTo>
                <a:lnTo>
                  <a:pt x="1463" y="168"/>
                </a:lnTo>
                <a:lnTo>
                  <a:pt x="1467" y="168"/>
                </a:lnTo>
                <a:lnTo>
                  <a:pt x="1470" y="169"/>
                </a:lnTo>
                <a:lnTo>
                  <a:pt x="1476" y="169"/>
                </a:lnTo>
                <a:lnTo>
                  <a:pt x="1479" y="166"/>
                </a:lnTo>
                <a:lnTo>
                  <a:pt x="1479" y="164"/>
                </a:lnTo>
                <a:lnTo>
                  <a:pt x="1480" y="162"/>
                </a:lnTo>
                <a:lnTo>
                  <a:pt x="1484" y="162"/>
                </a:lnTo>
                <a:lnTo>
                  <a:pt x="1487" y="162"/>
                </a:lnTo>
                <a:lnTo>
                  <a:pt x="1490" y="162"/>
                </a:lnTo>
                <a:lnTo>
                  <a:pt x="1494" y="155"/>
                </a:lnTo>
                <a:lnTo>
                  <a:pt x="1499" y="151"/>
                </a:lnTo>
                <a:lnTo>
                  <a:pt x="1502" y="147"/>
                </a:lnTo>
                <a:lnTo>
                  <a:pt x="1510" y="143"/>
                </a:lnTo>
                <a:lnTo>
                  <a:pt x="1510" y="139"/>
                </a:lnTo>
                <a:lnTo>
                  <a:pt x="1517" y="135"/>
                </a:lnTo>
                <a:lnTo>
                  <a:pt x="1537" y="131"/>
                </a:lnTo>
                <a:lnTo>
                  <a:pt x="1540" y="133"/>
                </a:lnTo>
                <a:lnTo>
                  <a:pt x="1544" y="133"/>
                </a:lnTo>
                <a:lnTo>
                  <a:pt x="1551" y="129"/>
                </a:lnTo>
                <a:lnTo>
                  <a:pt x="1554" y="129"/>
                </a:lnTo>
                <a:lnTo>
                  <a:pt x="1559" y="131"/>
                </a:lnTo>
                <a:lnTo>
                  <a:pt x="1563" y="131"/>
                </a:lnTo>
                <a:lnTo>
                  <a:pt x="1570" y="138"/>
                </a:lnTo>
                <a:lnTo>
                  <a:pt x="1571" y="143"/>
                </a:lnTo>
                <a:lnTo>
                  <a:pt x="1577" y="146"/>
                </a:lnTo>
                <a:lnTo>
                  <a:pt x="1580" y="147"/>
                </a:lnTo>
                <a:lnTo>
                  <a:pt x="1583" y="150"/>
                </a:lnTo>
                <a:lnTo>
                  <a:pt x="1587" y="147"/>
                </a:lnTo>
                <a:lnTo>
                  <a:pt x="1596" y="155"/>
                </a:lnTo>
                <a:lnTo>
                  <a:pt x="1601" y="155"/>
                </a:lnTo>
                <a:lnTo>
                  <a:pt x="1583" y="178"/>
                </a:lnTo>
                <a:lnTo>
                  <a:pt x="1577" y="178"/>
                </a:lnTo>
                <a:lnTo>
                  <a:pt x="1576" y="172"/>
                </a:lnTo>
                <a:lnTo>
                  <a:pt x="1569" y="176"/>
                </a:lnTo>
                <a:lnTo>
                  <a:pt x="1555" y="176"/>
                </a:lnTo>
                <a:lnTo>
                  <a:pt x="1552" y="180"/>
                </a:lnTo>
                <a:lnTo>
                  <a:pt x="1551" y="187"/>
                </a:lnTo>
                <a:lnTo>
                  <a:pt x="1556" y="200"/>
                </a:lnTo>
                <a:lnTo>
                  <a:pt x="1558" y="206"/>
                </a:lnTo>
                <a:lnTo>
                  <a:pt x="1552" y="214"/>
                </a:lnTo>
                <a:lnTo>
                  <a:pt x="1535" y="218"/>
                </a:lnTo>
                <a:lnTo>
                  <a:pt x="1531" y="222"/>
                </a:lnTo>
                <a:lnTo>
                  <a:pt x="1527" y="231"/>
                </a:lnTo>
                <a:lnTo>
                  <a:pt x="1530" y="245"/>
                </a:lnTo>
                <a:lnTo>
                  <a:pt x="1527" y="249"/>
                </a:lnTo>
                <a:lnTo>
                  <a:pt x="1524" y="250"/>
                </a:lnTo>
                <a:lnTo>
                  <a:pt x="1519" y="246"/>
                </a:lnTo>
                <a:lnTo>
                  <a:pt x="1513" y="248"/>
                </a:lnTo>
                <a:lnTo>
                  <a:pt x="1492" y="301"/>
                </a:lnTo>
                <a:lnTo>
                  <a:pt x="1499" y="312"/>
                </a:lnTo>
                <a:lnTo>
                  <a:pt x="1516" y="346"/>
                </a:lnTo>
                <a:lnTo>
                  <a:pt x="1499" y="378"/>
                </a:lnTo>
                <a:lnTo>
                  <a:pt x="1498" y="386"/>
                </a:lnTo>
                <a:lnTo>
                  <a:pt x="1520" y="441"/>
                </a:lnTo>
                <a:lnTo>
                  <a:pt x="1562" y="504"/>
                </a:lnTo>
                <a:lnTo>
                  <a:pt x="1567" y="514"/>
                </a:lnTo>
                <a:lnTo>
                  <a:pt x="1596" y="539"/>
                </a:lnTo>
                <a:lnTo>
                  <a:pt x="1638" y="556"/>
                </a:lnTo>
                <a:lnTo>
                  <a:pt x="1631" y="577"/>
                </a:lnTo>
                <a:lnTo>
                  <a:pt x="1626" y="583"/>
                </a:lnTo>
                <a:lnTo>
                  <a:pt x="1624" y="587"/>
                </a:lnTo>
                <a:lnTo>
                  <a:pt x="1626" y="598"/>
                </a:lnTo>
                <a:lnTo>
                  <a:pt x="1624" y="602"/>
                </a:lnTo>
                <a:lnTo>
                  <a:pt x="1630" y="607"/>
                </a:lnTo>
                <a:lnTo>
                  <a:pt x="1629" y="611"/>
                </a:lnTo>
                <a:lnTo>
                  <a:pt x="1627" y="615"/>
                </a:lnTo>
                <a:lnTo>
                  <a:pt x="1629" y="620"/>
                </a:lnTo>
                <a:lnTo>
                  <a:pt x="1633" y="624"/>
                </a:lnTo>
                <a:lnTo>
                  <a:pt x="1643" y="626"/>
                </a:lnTo>
                <a:lnTo>
                  <a:pt x="1645" y="629"/>
                </a:lnTo>
                <a:lnTo>
                  <a:pt x="1647" y="633"/>
                </a:lnTo>
                <a:lnTo>
                  <a:pt x="1649" y="636"/>
                </a:lnTo>
                <a:lnTo>
                  <a:pt x="1649" y="638"/>
                </a:lnTo>
                <a:lnTo>
                  <a:pt x="1652" y="641"/>
                </a:lnTo>
                <a:lnTo>
                  <a:pt x="1651" y="648"/>
                </a:lnTo>
                <a:lnTo>
                  <a:pt x="1654" y="653"/>
                </a:lnTo>
                <a:lnTo>
                  <a:pt x="1655" y="656"/>
                </a:lnTo>
                <a:lnTo>
                  <a:pt x="1654" y="660"/>
                </a:lnTo>
                <a:lnTo>
                  <a:pt x="1655" y="664"/>
                </a:lnTo>
                <a:lnTo>
                  <a:pt x="1654" y="669"/>
                </a:lnTo>
                <a:lnTo>
                  <a:pt x="1652" y="673"/>
                </a:lnTo>
                <a:lnTo>
                  <a:pt x="1649" y="676"/>
                </a:lnTo>
                <a:lnTo>
                  <a:pt x="1637" y="676"/>
                </a:lnTo>
                <a:lnTo>
                  <a:pt x="1635" y="677"/>
                </a:lnTo>
                <a:lnTo>
                  <a:pt x="1635" y="685"/>
                </a:lnTo>
                <a:lnTo>
                  <a:pt x="1638" y="694"/>
                </a:lnTo>
                <a:lnTo>
                  <a:pt x="1635" y="699"/>
                </a:lnTo>
                <a:lnTo>
                  <a:pt x="1634" y="705"/>
                </a:lnTo>
                <a:lnTo>
                  <a:pt x="1635" y="708"/>
                </a:lnTo>
                <a:lnTo>
                  <a:pt x="1633" y="713"/>
                </a:lnTo>
                <a:lnTo>
                  <a:pt x="1631" y="722"/>
                </a:lnTo>
                <a:lnTo>
                  <a:pt x="1626" y="727"/>
                </a:lnTo>
                <a:lnTo>
                  <a:pt x="1626" y="733"/>
                </a:lnTo>
                <a:lnTo>
                  <a:pt x="1627" y="735"/>
                </a:lnTo>
                <a:lnTo>
                  <a:pt x="1627" y="743"/>
                </a:lnTo>
                <a:lnTo>
                  <a:pt x="1629" y="744"/>
                </a:lnTo>
                <a:lnTo>
                  <a:pt x="1627" y="747"/>
                </a:lnTo>
                <a:lnTo>
                  <a:pt x="1629" y="750"/>
                </a:lnTo>
                <a:lnTo>
                  <a:pt x="1637" y="753"/>
                </a:lnTo>
                <a:lnTo>
                  <a:pt x="1648" y="763"/>
                </a:lnTo>
                <a:lnTo>
                  <a:pt x="1658" y="764"/>
                </a:lnTo>
                <a:lnTo>
                  <a:pt x="1662" y="770"/>
                </a:lnTo>
                <a:lnTo>
                  <a:pt x="1662" y="775"/>
                </a:lnTo>
                <a:lnTo>
                  <a:pt x="1659" y="776"/>
                </a:lnTo>
                <a:lnTo>
                  <a:pt x="1662" y="778"/>
                </a:lnTo>
                <a:lnTo>
                  <a:pt x="1662" y="780"/>
                </a:lnTo>
                <a:lnTo>
                  <a:pt x="1659" y="782"/>
                </a:lnTo>
                <a:lnTo>
                  <a:pt x="1656" y="785"/>
                </a:lnTo>
                <a:lnTo>
                  <a:pt x="1656" y="788"/>
                </a:lnTo>
                <a:lnTo>
                  <a:pt x="1648" y="802"/>
                </a:lnTo>
                <a:lnTo>
                  <a:pt x="1648" y="809"/>
                </a:lnTo>
                <a:lnTo>
                  <a:pt x="1649" y="812"/>
                </a:lnTo>
                <a:lnTo>
                  <a:pt x="1652" y="813"/>
                </a:lnTo>
                <a:lnTo>
                  <a:pt x="1652" y="818"/>
                </a:lnTo>
                <a:lnTo>
                  <a:pt x="1652" y="825"/>
                </a:lnTo>
                <a:lnTo>
                  <a:pt x="1654" y="832"/>
                </a:lnTo>
                <a:lnTo>
                  <a:pt x="1658" y="838"/>
                </a:lnTo>
                <a:lnTo>
                  <a:pt x="1656" y="842"/>
                </a:lnTo>
                <a:lnTo>
                  <a:pt x="1663" y="847"/>
                </a:lnTo>
                <a:lnTo>
                  <a:pt x="1665" y="855"/>
                </a:lnTo>
                <a:lnTo>
                  <a:pt x="1672" y="859"/>
                </a:lnTo>
                <a:lnTo>
                  <a:pt x="1672" y="860"/>
                </a:lnTo>
                <a:lnTo>
                  <a:pt x="1670" y="863"/>
                </a:lnTo>
                <a:lnTo>
                  <a:pt x="1666" y="864"/>
                </a:lnTo>
                <a:lnTo>
                  <a:pt x="1662" y="860"/>
                </a:lnTo>
                <a:lnTo>
                  <a:pt x="1655" y="860"/>
                </a:lnTo>
                <a:lnTo>
                  <a:pt x="1647" y="855"/>
                </a:lnTo>
                <a:lnTo>
                  <a:pt x="1644" y="855"/>
                </a:lnTo>
                <a:lnTo>
                  <a:pt x="1640" y="856"/>
                </a:lnTo>
                <a:lnTo>
                  <a:pt x="1629" y="864"/>
                </a:lnTo>
                <a:lnTo>
                  <a:pt x="1626" y="864"/>
                </a:lnTo>
                <a:lnTo>
                  <a:pt x="1621" y="860"/>
                </a:lnTo>
                <a:lnTo>
                  <a:pt x="1617" y="862"/>
                </a:lnTo>
                <a:lnTo>
                  <a:pt x="1617" y="863"/>
                </a:lnTo>
                <a:lnTo>
                  <a:pt x="1619" y="865"/>
                </a:lnTo>
                <a:lnTo>
                  <a:pt x="1616" y="868"/>
                </a:lnTo>
                <a:lnTo>
                  <a:pt x="1617" y="869"/>
                </a:lnTo>
                <a:lnTo>
                  <a:pt x="1612" y="877"/>
                </a:lnTo>
                <a:lnTo>
                  <a:pt x="1612" y="881"/>
                </a:lnTo>
                <a:lnTo>
                  <a:pt x="1608" y="885"/>
                </a:lnTo>
                <a:lnTo>
                  <a:pt x="1613" y="892"/>
                </a:lnTo>
                <a:lnTo>
                  <a:pt x="1615" y="894"/>
                </a:lnTo>
                <a:lnTo>
                  <a:pt x="1609" y="902"/>
                </a:lnTo>
                <a:lnTo>
                  <a:pt x="1609" y="904"/>
                </a:lnTo>
                <a:lnTo>
                  <a:pt x="1609" y="907"/>
                </a:lnTo>
                <a:lnTo>
                  <a:pt x="1613" y="912"/>
                </a:lnTo>
                <a:lnTo>
                  <a:pt x="1609" y="914"/>
                </a:lnTo>
                <a:lnTo>
                  <a:pt x="1610" y="917"/>
                </a:lnTo>
                <a:lnTo>
                  <a:pt x="1608" y="918"/>
                </a:lnTo>
                <a:lnTo>
                  <a:pt x="1609" y="922"/>
                </a:lnTo>
                <a:lnTo>
                  <a:pt x="1606" y="927"/>
                </a:lnTo>
                <a:lnTo>
                  <a:pt x="1605" y="937"/>
                </a:lnTo>
                <a:lnTo>
                  <a:pt x="1602" y="939"/>
                </a:lnTo>
                <a:lnTo>
                  <a:pt x="1601" y="944"/>
                </a:lnTo>
                <a:lnTo>
                  <a:pt x="1596" y="952"/>
                </a:lnTo>
                <a:lnTo>
                  <a:pt x="1598" y="956"/>
                </a:lnTo>
                <a:lnTo>
                  <a:pt x="1596" y="960"/>
                </a:lnTo>
                <a:lnTo>
                  <a:pt x="1592" y="963"/>
                </a:lnTo>
                <a:lnTo>
                  <a:pt x="1594" y="971"/>
                </a:lnTo>
                <a:lnTo>
                  <a:pt x="1590" y="975"/>
                </a:lnTo>
                <a:lnTo>
                  <a:pt x="1591" y="980"/>
                </a:lnTo>
                <a:lnTo>
                  <a:pt x="1585" y="984"/>
                </a:lnTo>
                <a:lnTo>
                  <a:pt x="1588" y="989"/>
                </a:lnTo>
                <a:lnTo>
                  <a:pt x="1583" y="989"/>
                </a:lnTo>
                <a:lnTo>
                  <a:pt x="1580" y="996"/>
                </a:lnTo>
                <a:lnTo>
                  <a:pt x="1581" y="1000"/>
                </a:lnTo>
                <a:lnTo>
                  <a:pt x="1577" y="1003"/>
                </a:lnTo>
                <a:lnTo>
                  <a:pt x="1584" y="1008"/>
                </a:lnTo>
                <a:lnTo>
                  <a:pt x="1590" y="1012"/>
                </a:lnTo>
                <a:lnTo>
                  <a:pt x="1588" y="1019"/>
                </a:lnTo>
                <a:lnTo>
                  <a:pt x="1590" y="1025"/>
                </a:lnTo>
                <a:lnTo>
                  <a:pt x="1592" y="1025"/>
                </a:lnTo>
                <a:lnTo>
                  <a:pt x="1594" y="1025"/>
                </a:lnTo>
                <a:lnTo>
                  <a:pt x="1592" y="1028"/>
                </a:lnTo>
                <a:lnTo>
                  <a:pt x="1596" y="1028"/>
                </a:lnTo>
                <a:lnTo>
                  <a:pt x="1596" y="1031"/>
                </a:lnTo>
                <a:lnTo>
                  <a:pt x="1599" y="1033"/>
                </a:lnTo>
                <a:lnTo>
                  <a:pt x="1599" y="1038"/>
                </a:lnTo>
                <a:lnTo>
                  <a:pt x="1602" y="1042"/>
                </a:lnTo>
                <a:lnTo>
                  <a:pt x="1604" y="1046"/>
                </a:lnTo>
                <a:lnTo>
                  <a:pt x="1606" y="1047"/>
                </a:lnTo>
                <a:lnTo>
                  <a:pt x="1606" y="1054"/>
                </a:lnTo>
                <a:lnTo>
                  <a:pt x="1609" y="1055"/>
                </a:lnTo>
                <a:lnTo>
                  <a:pt x="1609" y="1054"/>
                </a:lnTo>
                <a:lnTo>
                  <a:pt x="1610" y="1054"/>
                </a:lnTo>
                <a:lnTo>
                  <a:pt x="1612" y="1056"/>
                </a:lnTo>
                <a:lnTo>
                  <a:pt x="1615" y="1059"/>
                </a:lnTo>
                <a:lnTo>
                  <a:pt x="1617" y="1063"/>
                </a:lnTo>
                <a:lnTo>
                  <a:pt x="1617" y="1066"/>
                </a:lnTo>
                <a:lnTo>
                  <a:pt x="1621" y="1072"/>
                </a:lnTo>
                <a:lnTo>
                  <a:pt x="1623" y="1083"/>
                </a:lnTo>
                <a:lnTo>
                  <a:pt x="1626" y="1090"/>
                </a:lnTo>
                <a:lnTo>
                  <a:pt x="1629" y="1090"/>
                </a:lnTo>
                <a:lnTo>
                  <a:pt x="1634" y="1085"/>
                </a:lnTo>
                <a:lnTo>
                  <a:pt x="1651" y="1083"/>
                </a:lnTo>
                <a:lnTo>
                  <a:pt x="1655" y="1093"/>
                </a:lnTo>
                <a:lnTo>
                  <a:pt x="1666" y="1096"/>
                </a:lnTo>
                <a:lnTo>
                  <a:pt x="1675" y="1100"/>
                </a:lnTo>
                <a:lnTo>
                  <a:pt x="1681" y="1105"/>
                </a:lnTo>
                <a:lnTo>
                  <a:pt x="1689" y="1108"/>
                </a:lnTo>
                <a:lnTo>
                  <a:pt x="1695" y="1113"/>
                </a:lnTo>
                <a:lnTo>
                  <a:pt x="1701" y="1120"/>
                </a:lnTo>
                <a:lnTo>
                  <a:pt x="1711" y="1121"/>
                </a:lnTo>
                <a:lnTo>
                  <a:pt x="1723" y="1121"/>
                </a:lnTo>
                <a:lnTo>
                  <a:pt x="1729" y="1124"/>
                </a:lnTo>
                <a:lnTo>
                  <a:pt x="1730" y="1128"/>
                </a:lnTo>
                <a:lnTo>
                  <a:pt x="1729" y="1132"/>
                </a:lnTo>
                <a:lnTo>
                  <a:pt x="1733" y="1141"/>
                </a:lnTo>
                <a:lnTo>
                  <a:pt x="1733" y="1143"/>
                </a:lnTo>
                <a:lnTo>
                  <a:pt x="1739" y="1150"/>
                </a:lnTo>
                <a:lnTo>
                  <a:pt x="1740" y="1153"/>
                </a:lnTo>
                <a:lnTo>
                  <a:pt x="1744" y="1154"/>
                </a:lnTo>
                <a:lnTo>
                  <a:pt x="1756" y="1158"/>
                </a:lnTo>
                <a:lnTo>
                  <a:pt x="1761" y="1162"/>
                </a:lnTo>
                <a:lnTo>
                  <a:pt x="1758" y="1166"/>
                </a:lnTo>
                <a:lnTo>
                  <a:pt x="1753" y="1171"/>
                </a:lnTo>
                <a:lnTo>
                  <a:pt x="1753" y="1179"/>
                </a:lnTo>
                <a:lnTo>
                  <a:pt x="1755" y="1183"/>
                </a:lnTo>
                <a:lnTo>
                  <a:pt x="1764" y="1180"/>
                </a:lnTo>
                <a:lnTo>
                  <a:pt x="1766" y="1184"/>
                </a:lnTo>
                <a:lnTo>
                  <a:pt x="1769" y="1188"/>
                </a:lnTo>
                <a:lnTo>
                  <a:pt x="1766" y="1193"/>
                </a:lnTo>
                <a:lnTo>
                  <a:pt x="1766" y="1196"/>
                </a:lnTo>
                <a:lnTo>
                  <a:pt x="1769" y="1202"/>
                </a:lnTo>
                <a:lnTo>
                  <a:pt x="1786" y="1215"/>
                </a:lnTo>
                <a:lnTo>
                  <a:pt x="1794" y="1215"/>
                </a:lnTo>
                <a:lnTo>
                  <a:pt x="1804" y="1225"/>
                </a:lnTo>
                <a:lnTo>
                  <a:pt x="1822" y="1233"/>
                </a:lnTo>
                <a:lnTo>
                  <a:pt x="1830" y="1246"/>
                </a:lnTo>
                <a:lnTo>
                  <a:pt x="1829" y="1252"/>
                </a:lnTo>
                <a:lnTo>
                  <a:pt x="1830" y="1255"/>
                </a:lnTo>
                <a:lnTo>
                  <a:pt x="1843" y="1263"/>
                </a:lnTo>
                <a:lnTo>
                  <a:pt x="1848" y="1274"/>
                </a:lnTo>
                <a:lnTo>
                  <a:pt x="1865" y="1278"/>
                </a:lnTo>
                <a:lnTo>
                  <a:pt x="1869" y="1277"/>
                </a:lnTo>
                <a:lnTo>
                  <a:pt x="1879" y="1270"/>
                </a:lnTo>
                <a:lnTo>
                  <a:pt x="1880" y="1270"/>
                </a:lnTo>
                <a:lnTo>
                  <a:pt x="1883" y="1270"/>
                </a:lnTo>
                <a:lnTo>
                  <a:pt x="1886" y="1278"/>
                </a:lnTo>
                <a:lnTo>
                  <a:pt x="1883" y="1282"/>
                </a:lnTo>
                <a:lnTo>
                  <a:pt x="1881" y="1286"/>
                </a:lnTo>
                <a:lnTo>
                  <a:pt x="1884" y="1291"/>
                </a:lnTo>
                <a:lnTo>
                  <a:pt x="1894" y="1296"/>
                </a:lnTo>
                <a:lnTo>
                  <a:pt x="1898" y="1307"/>
                </a:lnTo>
                <a:lnTo>
                  <a:pt x="1904" y="1314"/>
                </a:lnTo>
                <a:lnTo>
                  <a:pt x="1909" y="1315"/>
                </a:lnTo>
                <a:lnTo>
                  <a:pt x="1911" y="1317"/>
                </a:lnTo>
                <a:lnTo>
                  <a:pt x="1911" y="1319"/>
                </a:lnTo>
                <a:lnTo>
                  <a:pt x="1908" y="1322"/>
                </a:lnTo>
                <a:lnTo>
                  <a:pt x="1909" y="1328"/>
                </a:lnTo>
                <a:lnTo>
                  <a:pt x="1911" y="1329"/>
                </a:lnTo>
                <a:lnTo>
                  <a:pt x="1915" y="1331"/>
                </a:lnTo>
                <a:lnTo>
                  <a:pt x="1915" y="1333"/>
                </a:lnTo>
                <a:lnTo>
                  <a:pt x="1912" y="1340"/>
                </a:lnTo>
                <a:lnTo>
                  <a:pt x="1914" y="1341"/>
                </a:lnTo>
                <a:lnTo>
                  <a:pt x="1916" y="1345"/>
                </a:lnTo>
                <a:lnTo>
                  <a:pt x="1919" y="1348"/>
                </a:lnTo>
                <a:lnTo>
                  <a:pt x="1921" y="1354"/>
                </a:lnTo>
                <a:lnTo>
                  <a:pt x="1923" y="1358"/>
                </a:lnTo>
                <a:lnTo>
                  <a:pt x="1921" y="1359"/>
                </a:lnTo>
                <a:lnTo>
                  <a:pt x="1919" y="1361"/>
                </a:lnTo>
                <a:lnTo>
                  <a:pt x="1918" y="1367"/>
                </a:lnTo>
                <a:lnTo>
                  <a:pt x="1919" y="1370"/>
                </a:lnTo>
                <a:lnTo>
                  <a:pt x="1916" y="1373"/>
                </a:lnTo>
                <a:lnTo>
                  <a:pt x="1916" y="1376"/>
                </a:lnTo>
                <a:lnTo>
                  <a:pt x="1919" y="1379"/>
                </a:lnTo>
                <a:lnTo>
                  <a:pt x="1923" y="1379"/>
                </a:lnTo>
                <a:lnTo>
                  <a:pt x="1930" y="1384"/>
                </a:lnTo>
                <a:lnTo>
                  <a:pt x="1936" y="1386"/>
                </a:lnTo>
                <a:lnTo>
                  <a:pt x="1939" y="1389"/>
                </a:lnTo>
                <a:lnTo>
                  <a:pt x="1941" y="1393"/>
                </a:lnTo>
                <a:lnTo>
                  <a:pt x="1941" y="1398"/>
                </a:lnTo>
                <a:lnTo>
                  <a:pt x="1943" y="1399"/>
                </a:lnTo>
                <a:lnTo>
                  <a:pt x="1944" y="1403"/>
                </a:lnTo>
                <a:lnTo>
                  <a:pt x="1955" y="1408"/>
                </a:lnTo>
                <a:lnTo>
                  <a:pt x="1954" y="1412"/>
                </a:lnTo>
                <a:lnTo>
                  <a:pt x="1954" y="1416"/>
                </a:lnTo>
                <a:lnTo>
                  <a:pt x="1957" y="1419"/>
                </a:lnTo>
                <a:lnTo>
                  <a:pt x="1955" y="1424"/>
                </a:lnTo>
                <a:lnTo>
                  <a:pt x="1957" y="1428"/>
                </a:lnTo>
                <a:lnTo>
                  <a:pt x="1961" y="1431"/>
                </a:lnTo>
                <a:lnTo>
                  <a:pt x="1966" y="1427"/>
                </a:lnTo>
                <a:lnTo>
                  <a:pt x="1972" y="1424"/>
                </a:lnTo>
                <a:lnTo>
                  <a:pt x="1976" y="1426"/>
                </a:lnTo>
                <a:lnTo>
                  <a:pt x="1982" y="1423"/>
                </a:lnTo>
                <a:lnTo>
                  <a:pt x="1985" y="1424"/>
                </a:lnTo>
                <a:lnTo>
                  <a:pt x="1990" y="1433"/>
                </a:lnTo>
                <a:lnTo>
                  <a:pt x="1989" y="1437"/>
                </a:lnTo>
                <a:lnTo>
                  <a:pt x="1983" y="1443"/>
                </a:lnTo>
                <a:lnTo>
                  <a:pt x="1985" y="1446"/>
                </a:lnTo>
                <a:lnTo>
                  <a:pt x="1988" y="1448"/>
                </a:lnTo>
                <a:lnTo>
                  <a:pt x="2007" y="1456"/>
                </a:lnTo>
                <a:lnTo>
                  <a:pt x="2007" y="1460"/>
                </a:lnTo>
                <a:lnTo>
                  <a:pt x="2008" y="1464"/>
                </a:lnTo>
                <a:lnTo>
                  <a:pt x="2007" y="1469"/>
                </a:lnTo>
                <a:lnTo>
                  <a:pt x="2013" y="1476"/>
                </a:lnTo>
                <a:lnTo>
                  <a:pt x="2016" y="1477"/>
                </a:lnTo>
                <a:lnTo>
                  <a:pt x="2028" y="1480"/>
                </a:lnTo>
                <a:lnTo>
                  <a:pt x="2029" y="1483"/>
                </a:lnTo>
                <a:lnTo>
                  <a:pt x="2032" y="1486"/>
                </a:lnTo>
                <a:lnTo>
                  <a:pt x="2032" y="1489"/>
                </a:lnTo>
                <a:lnTo>
                  <a:pt x="2028" y="1491"/>
                </a:lnTo>
                <a:lnTo>
                  <a:pt x="2025" y="1495"/>
                </a:lnTo>
                <a:lnTo>
                  <a:pt x="2025" y="1498"/>
                </a:lnTo>
                <a:lnTo>
                  <a:pt x="2025" y="1502"/>
                </a:lnTo>
                <a:lnTo>
                  <a:pt x="2032" y="1505"/>
                </a:lnTo>
                <a:lnTo>
                  <a:pt x="2035" y="1506"/>
                </a:lnTo>
                <a:lnTo>
                  <a:pt x="2038" y="1506"/>
                </a:lnTo>
                <a:lnTo>
                  <a:pt x="2040" y="1505"/>
                </a:lnTo>
                <a:lnTo>
                  <a:pt x="2044" y="1505"/>
                </a:lnTo>
                <a:lnTo>
                  <a:pt x="2046" y="1506"/>
                </a:lnTo>
                <a:lnTo>
                  <a:pt x="2041" y="1510"/>
                </a:lnTo>
                <a:lnTo>
                  <a:pt x="2046" y="1516"/>
                </a:lnTo>
                <a:lnTo>
                  <a:pt x="2043" y="1519"/>
                </a:lnTo>
                <a:lnTo>
                  <a:pt x="2043" y="1522"/>
                </a:lnTo>
                <a:lnTo>
                  <a:pt x="2047" y="1522"/>
                </a:lnTo>
                <a:lnTo>
                  <a:pt x="2047" y="1523"/>
                </a:lnTo>
                <a:lnTo>
                  <a:pt x="2043" y="1527"/>
                </a:lnTo>
                <a:lnTo>
                  <a:pt x="2043" y="1535"/>
                </a:lnTo>
                <a:lnTo>
                  <a:pt x="2046" y="1539"/>
                </a:lnTo>
                <a:lnTo>
                  <a:pt x="2043" y="1545"/>
                </a:lnTo>
                <a:lnTo>
                  <a:pt x="2040" y="1548"/>
                </a:lnTo>
                <a:lnTo>
                  <a:pt x="2041" y="1551"/>
                </a:lnTo>
                <a:lnTo>
                  <a:pt x="2044" y="1555"/>
                </a:lnTo>
                <a:lnTo>
                  <a:pt x="2049" y="1555"/>
                </a:lnTo>
                <a:lnTo>
                  <a:pt x="2053" y="1555"/>
                </a:lnTo>
                <a:lnTo>
                  <a:pt x="2055" y="1555"/>
                </a:lnTo>
                <a:lnTo>
                  <a:pt x="2057" y="1558"/>
                </a:lnTo>
                <a:lnTo>
                  <a:pt x="2060" y="1561"/>
                </a:lnTo>
                <a:lnTo>
                  <a:pt x="2063" y="1568"/>
                </a:lnTo>
                <a:lnTo>
                  <a:pt x="2068" y="1573"/>
                </a:lnTo>
                <a:lnTo>
                  <a:pt x="2066" y="1577"/>
                </a:lnTo>
                <a:lnTo>
                  <a:pt x="2063" y="1577"/>
                </a:lnTo>
                <a:lnTo>
                  <a:pt x="2063" y="1581"/>
                </a:lnTo>
                <a:lnTo>
                  <a:pt x="2064" y="1585"/>
                </a:lnTo>
                <a:lnTo>
                  <a:pt x="2060" y="1589"/>
                </a:lnTo>
                <a:lnTo>
                  <a:pt x="2058" y="1594"/>
                </a:lnTo>
                <a:lnTo>
                  <a:pt x="2060" y="1599"/>
                </a:lnTo>
                <a:lnTo>
                  <a:pt x="2064" y="1603"/>
                </a:lnTo>
                <a:lnTo>
                  <a:pt x="2063" y="1611"/>
                </a:lnTo>
                <a:lnTo>
                  <a:pt x="2066" y="1614"/>
                </a:lnTo>
                <a:lnTo>
                  <a:pt x="2066" y="1615"/>
                </a:lnTo>
                <a:lnTo>
                  <a:pt x="2064" y="1615"/>
                </a:lnTo>
                <a:lnTo>
                  <a:pt x="2064" y="1618"/>
                </a:lnTo>
                <a:lnTo>
                  <a:pt x="2069" y="1622"/>
                </a:lnTo>
                <a:lnTo>
                  <a:pt x="2076" y="1620"/>
                </a:lnTo>
                <a:lnTo>
                  <a:pt x="2083" y="1619"/>
                </a:lnTo>
                <a:lnTo>
                  <a:pt x="2086" y="1619"/>
                </a:lnTo>
                <a:lnTo>
                  <a:pt x="2088" y="1620"/>
                </a:lnTo>
                <a:lnTo>
                  <a:pt x="2086" y="1630"/>
                </a:lnTo>
                <a:lnTo>
                  <a:pt x="2079" y="1635"/>
                </a:lnTo>
                <a:lnTo>
                  <a:pt x="2075" y="1636"/>
                </a:lnTo>
                <a:lnTo>
                  <a:pt x="2068" y="1634"/>
                </a:lnTo>
                <a:lnTo>
                  <a:pt x="2065" y="1632"/>
                </a:lnTo>
                <a:lnTo>
                  <a:pt x="2064" y="1632"/>
                </a:lnTo>
                <a:lnTo>
                  <a:pt x="2061" y="1638"/>
                </a:lnTo>
                <a:lnTo>
                  <a:pt x="2066" y="1640"/>
                </a:lnTo>
                <a:lnTo>
                  <a:pt x="2066" y="1642"/>
                </a:lnTo>
                <a:lnTo>
                  <a:pt x="2064" y="1643"/>
                </a:lnTo>
                <a:lnTo>
                  <a:pt x="2063" y="1647"/>
                </a:lnTo>
                <a:lnTo>
                  <a:pt x="2061" y="1648"/>
                </a:lnTo>
                <a:lnTo>
                  <a:pt x="2054" y="1648"/>
                </a:lnTo>
                <a:lnTo>
                  <a:pt x="2053" y="1643"/>
                </a:lnTo>
                <a:lnTo>
                  <a:pt x="2050" y="1640"/>
                </a:lnTo>
                <a:lnTo>
                  <a:pt x="2044" y="1640"/>
                </a:lnTo>
                <a:lnTo>
                  <a:pt x="2041" y="1643"/>
                </a:lnTo>
                <a:lnTo>
                  <a:pt x="2040" y="1644"/>
                </a:lnTo>
                <a:lnTo>
                  <a:pt x="2040" y="1648"/>
                </a:lnTo>
                <a:lnTo>
                  <a:pt x="2041" y="1654"/>
                </a:lnTo>
                <a:lnTo>
                  <a:pt x="2044" y="1656"/>
                </a:lnTo>
                <a:lnTo>
                  <a:pt x="2043" y="1659"/>
                </a:lnTo>
                <a:lnTo>
                  <a:pt x="2044" y="1661"/>
                </a:lnTo>
                <a:lnTo>
                  <a:pt x="2040" y="1670"/>
                </a:lnTo>
                <a:lnTo>
                  <a:pt x="2039" y="1674"/>
                </a:lnTo>
                <a:lnTo>
                  <a:pt x="2041" y="1677"/>
                </a:lnTo>
                <a:lnTo>
                  <a:pt x="2051" y="1677"/>
                </a:lnTo>
                <a:lnTo>
                  <a:pt x="2054" y="1680"/>
                </a:lnTo>
                <a:lnTo>
                  <a:pt x="2061" y="1682"/>
                </a:lnTo>
                <a:lnTo>
                  <a:pt x="2061" y="1684"/>
                </a:lnTo>
                <a:lnTo>
                  <a:pt x="2061" y="1685"/>
                </a:lnTo>
                <a:lnTo>
                  <a:pt x="2058" y="1686"/>
                </a:lnTo>
                <a:lnTo>
                  <a:pt x="2058" y="1688"/>
                </a:lnTo>
                <a:lnTo>
                  <a:pt x="2060" y="1690"/>
                </a:lnTo>
                <a:lnTo>
                  <a:pt x="2055" y="1693"/>
                </a:lnTo>
                <a:lnTo>
                  <a:pt x="2055" y="1697"/>
                </a:lnTo>
                <a:lnTo>
                  <a:pt x="2058" y="1699"/>
                </a:lnTo>
                <a:lnTo>
                  <a:pt x="2057" y="1704"/>
                </a:lnTo>
                <a:lnTo>
                  <a:pt x="2057" y="1705"/>
                </a:lnTo>
                <a:lnTo>
                  <a:pt x="2060" y="1709"/>
                </a:lnTo>
                <a:lnTo>
                  <a:pt x="2064" y="1709"/>
                </a:lnTo>
                <a:lnTo>
                  <a:pt x="2065" y="1711"/>
                </a:lnTo>
                <a:lnTo>
                  <a:pt x="2066" y="1711"/>
                </a:lnTo>
                <a:lnTo>
                  <a:pt x="2069" y="1709"/>
                </a:lnTo>
                <a:lnTo>
                  <a:pt x="2072" y="1711"/>
                </a:lnTo>
                <a:lnTo>
                  <a:pt x="2072" y="1715"/>
                </a:lnTo>
                <a:lnTo>
                  <a:pt x="2075" y="1715"/>
                </a:lnTo>
                <a:lnTo>
                  <a:pt x="2074" y="1719"/>
                </a:lnTo>
                <a:lnTo>
                  <a:pt x="2078" y="1726"/>
                </a:lnTo>
                <a:lnTo>
                  <a:pt x="2078" y="1729"/>
                </a:lnTo>
                <a:lnTo>
                  <a:pt x="2075" y="1731"/>
                </a:lnTo>
                <a:lnTo>
                  <a:pt x="2076" y="1738"/>
                </a:lnTo>
                <a:lnTo>
                  <a:pt x="2078" y="1741"/>
                </a:lnTo>
                <a:lnTo>
                  <a:pt x="2076" y="1742"/>
                </a:lnTo>
                <a:lnTo>
                  <a:pt x="2078" y="1748"/>
                </a:lnTo>
                <a:lnTo>
                  <a:pt x="2083" y="1749"/>
                </a:lnTo>
                <a:lnTo>
                  <a:pt x="2090" y="1748"/>
                </a:lnTo>
                <a:lnTo>
                  <a:pt x="2090" y="1747"/>
                </a:lnTo>
                <a:lnTo>
                  <a:pt x="2090" y="1746"/>
                </a:lnTo>
                <a:lnTo>
                  <a:pt x="2093" y="1744"/>
                </a:lnTo>
                <a:lnTo>
                  <a:pt x="2097" y="1747"/>
                </a:lnTo>
                <a:lnTo>
                  <a:pt x="2101" y="1746"/>
                </a:lnTo>
                <a:lnTo>
                  <a:pt x="2107" y="1748"/>
                </a:lnTo>
                <a:lnTo>
                  <a:pt x="2110" y="1757"/>
                </a:lnTo>
                <a:lnTo>
                  <a:pt x="2108" y="1759"/>
                </a:lnTo>
                <a:lnTo>
                  <a:pt x="2105" y="1760"/>
                </a:lnTo>
                <a:lnTo>
                  <a:pt x="2105" y="1764"/>
                </a:lnTo>
                <a:lnTo>
                  <a:pt x="2107" y="1767"/>
                </a:lnTo>
                <a:lnTo>
                  <a:pt x="2111" y="1768"/>
                </a:lnTo>
                <a:lnTo>
                  <a:pt x="2113" y="1774"/>
                </a:lnTo>
                <a:lnTo>
                  <a:pt x="2111" y="1777"/>
                </a:lnTo>
                <a:lnTo>
                  <a:pt x="2113" y="1777"/>
                </a:lnTo>
                <a:lnTo>
                  <a:pt x="2115" y="1776"/>
                </a:lnTo>
                <a:lnTo>
                  <a:pt x="2115" y="1779"/>
                </a:lnTo>
                <a:lnTo>
                  <a:pt x="2117" y="1780"/>
                </a:lnTo>
                <a:lnTo>
                  <a:pt x="2115" y="1784"/>
                </a:lnTo>
                <a:lnTo>
                  <a:pt x="2114" y="1784"/>
                </a:lnTo>
                <a:lnTo>
                  <a:pt x="2113" y="1784"/>
                </a:lnTo>
                <a:lnTo>
                  <a:pt x="2111" y="1783"/>
                </a:lnTo>
                <a:lnTo>
                  <a:pt x="2110" y="1785"/>
                </a:lnTo>
                <a:lnTo>
                  <a:pt x="2111" y="1786"/>
                </a:lnTo>
                <a:lnTo>
                  <a:pt x="2113" y="1786"/>
                </a:lnTo>
                <a:lnTo>
                  <a:pt x="2114" y="1789"/>
                </a:lnTo>
                <a:lnTo>
                  <a:pt x="2114" y="1791"/>
                </a:lnTo>
                <a:lnTo>
                  <a:pt x="2117" y="1791"/>
                </a:lnTo>
                <a:lnTo>
                  <a:pt x="2121" y="1797"/>
                </a:lnTo>
                <a:lnTo>
                  <a:pt x="2125" y="1797"/>
                </a:lnTo>
                <a:lnTo>
                  <a:pt x="2126" y="1799"/>
                </a:lnTo>
                <a:lnTo>
                  <a:pt x="2126" y="1801"/>
                </a:lnTo>
                <a:lnTo>
                  <a:pt x="2122" y="1804"/>
                </a:lnTo>
                <a:lnTo>
                  <a:pt x="2122" y="1808"/>
                </a:lnTo>
                <a:lnTo>
                  <a:pt x="2119" y="1809"/>
                </a:lnTo>
                <a:lnTo>
                  <a:pt x="2115" y="1811"/>
                </a:lnTo>
                <a:lnTo>
                  <a:pt x="2114" y="1811"/>
                </a:lnTo>
                <a:lnTo>
                  <a:pt x="2114" y="1813"/>
                </a:lnTo>
                <a:lnTo>
                  <a:pt x="2108" y="1818"/>
                </a:lnTo>
                <a:lnTo>
                  <a:pt x="2107" y="1823"/>
                </a:lnTo>
                <a:lnTo>
                  <a:pt x="2111" y="1823"/>
                </a:lnTo>
                <a:lnTo>
                  <a:pt x="2114" y="1827"/>
                </a:lnTo>
                <a:lnTo>
                  <a:pt x="2121" y="1827"/>
                </a:lnTo>
                <a:lnTo>
                  <a:pt x="2124" y="1827"/>
                </a:lnTo>
                <a:lnTo>
                  <a:pt x="2122" y="1831"/>
                </a:lnTo>
                <a:lnTo>
                  <a:pt x="2117" y="1838"/>
                </a:lnTo>
                <a:lnTo>
                  <a:pt x="2110" y="1841"/>
                </a:lnTo>
                <a:lnTo>
                  <a:pt x="2108" y="1844"/>
                </a:lnTo>
                <a:lnTo>
                  <a:pt x="2108" y="1851"/>
                </a:lnTo>
                <a:lnTo>
                  <a:pt x="2113" y="1855"/>
                </a:lnTo>
                <a:lnTo>
                  <a:pt x="2110" y="1856"/>
                </a:lnTo>
                <a:lnTo>
                  <a:pt x="2110" y="1860"/>
                </a:lnTo>
                <a:lnTo>
                  <a:pt x="2105" y="1861"/>
                </a:lnTo>
                <a:lnTo>
                  <a:pt x="2103" y="1864"/>
                </a:lnTo>
                <a:lnTo>
                  <a:pt x="2101" y="1866"/>
                </a:lnTo>
                <a:lnTo>
                  <a:pt x="2100" y="1864"/>
                </a:lnTo>
                <a:lnTo>
                  <a:pt x="2099" y="1867"/>
                </a:lnTo>
                <a:lnTo>
                  <a:pt x="2094" y="1870"/>
                </a:lnTo>
                <a:lnTo>
                  <a:pt x="2096" y="1872"/>
                </a:lnTo>
                <a:lnTo>
                  <a:pt x="2093" y="1876"/>
                </a:lnTo>
                <a:lnTo>
                  <a:pt x="2096" y="1876"/>
                </a:lnTo>
                <a:lnTo>
                  <a:pt x="2096" y="1880"/>
                </a:lnTo>
                <a:lnTo>
                  <a:pt x="2093" y="1880"/>
                </a:lnTo>
                <a:lnTo>
                  <a:pt x="2090" y="1880"/>
                </a:lnTo>
                <a:lnTo>
                  <a:pt x="2089" y="1880"/>
                </a:lnTo>
                <a:lnTo>
                  <a:pt x="2089" y="1884"/>
                </a:lnTo>
                <a:lnTo>
                  <a:pt x="2086" y="1886"/>
                </a:lnTo>
                <a:lnTo>
                  <a:pt x="2085" y="1888"/>
                </a:lnTo>
                <a:lnTo>
                  <a:pt x="2079" y="1889"/>
                </a:lnTo>
                <a:lnTo>
                  <a:pt x="2079" y="1892"/>
                </a:lnTo>
                <a:lnTo>
                  <a:pt x="2086" y="1893"/>
                </a:lnTo>
                <a:lnTo>
                  <a:pt x="2088" y="1896"/>
                </a:lnTo>
                <a:lnTo>
                  <a:pt x="2091" y="1896"/>
                </a:lnTo>
                <a:lnTo>
                  <a:pt x="2101" y="1892"/>
                </a:lnTo>
                <a:lnTo>
                  <a:pt x="2107" y="1884"/>
                </a:lnTo>
                <a:lnTo>
                  <a:pt x="2113" y="1884"/>
                </a:lnTo>
                <a:lnTo>
                  <a:pt x="2114" y="1895"/>
                </a:lnTo>
                <a:lnTo>
                  <a:pt x="2119" y="1901"/>
                </a:lnTo>
                <a:lnTo>
                  <a:pt x="2118" y="1903"/>
                </a:lnTo>
                <a:lnTo>
                  <a:pt x="2117" y="1909"/>
                </a:lnTo>
                <a:lnTo>
                  <a:pt x="2121" y="1910"/>
                </a:lnTo>
                <a:lnTo>
                  <a:pt x="2126" y="1909"/>
                </a:lnTo>
                <a:lnTo>
                  <a:pt x="2126" y="1914"/>
                </a:lnTo>
                <a:lnTo>
                  <a:pt x="2125" y="1917"/>
                </a:lnTo>
                <a:lnTo>
                  <a:pt x="2124" y="1917"/>
                </a:lnTo>
                <a:lnTo>
                  <a:pt x="2122" y="1920"/>
                </a:lnTo>
                <a:lnTo>
                  <a:pt x="2124" y="1920"/>
                </a:lnTo>
                <a:lnTo>
                  <a:pt x="2125" y="1921"/>
                </a:lnTo>
                <a:lnTo>
                  <a:pt x="2129" y="1922"/>
                </a:lnTo>
                <a:lnTo>
                  <a:pt x="2130" y="1923"/>
                </a:lnTo>
                <a:lnTo>
                  <a:pt x="2130" y="1926"/>
                </a:lnTo>
                <a:lnTo>
                  <a:pt x="2128" y="1928"/>
                </a:lnTo>
                <a:lnTo>
                  <a:pt x="2121" y="1928"/>
                </a:lnTo>
                <a:lnTo>
                  <a:pt x="2118" y="1929"/>
                </a:lnTo>
                <a:lnTo>
                  <a:pt x="2118" y="1933"/>
                </a:lnTo>
                <a:lnTo>
                  <a:pt x="2113" y="1934"/>
                </a:lnTo>
                <a:lnTo>
                  <a:pt x="2110" y="1937"/>
                </a:lnTo>
                <a:lnTo>
                  <a:pt x="2114" y="1940"/>
                </a:lnTo>
                <a:lnTo>
                  <a:pt x="2113" y="1946"/>
                </a:lnTo>
                <a:lnTo>
                  <a:pt x="2115" y="1950"/>
                </a:lnTo>
                <a:lnTo>
                  <a:pt x="2110" y="1955"/>
                </a:lnTo>
                <a:lnTo>
                  <a:pt x="2108" y="1960"/>
                </a:lnTo>
                <a:lnTo>
                  <a:pt x="2110" y="1963"/>
                </a:lnTo>
                <a:lnTo>
                  <a:pt x="2110" y="1966"/>
                </a:lnTo>
                <a:lnTo>
                  <a:pt x="2107" y="1968"/>
                </a:lnTo>
                <a:lnTo>
                  <a:pt x="2107" y="1973"/>
                </a:lnTo>
                <a:lnTo>
                  <a:pt x="2100" y="1980"/>
                </a:lnTo>
                <a:lnTo>
                  <a:pt x="2100" y="1982"/>
                </a:lnTo>
                <a:lnTo>
                  <a:pt x="2100" y="1984"/>
                </a:lnTo>
                <a:lnTo>
                  <a:pt x="2104" y="1985"/>
                </a:lnTo>
                <a:lnTo>
                  <a:pt x="2105" y="1990"/>
                </a:lnTo>
                <a:lnTo>
                  <a:pt x="2107" y="1991"/>
                </a:lnTo>
                <a:lnTo>
                  <a:pt x="2107" y="1993"/>
                </a:lnTo>
                <a:lnTo>
                  <a:pt x="2110" y="1996"/>
                </a:lnTo>
                <a:lnTo>
                  <a:pt x="2108" y="2000"/>
                </a:lnTo>
                <a:lnTo>
                  <a:pt x="2111" y="2004"/>
                </a:lnTo>
                <a:lnTo>
                  <a:pt x="2108" y="2008"/>
                </a:lnTo>
                <a:lnTo>
                  <a:pt x="2108" y="2010"/>
                </a:lnTo>
                <a:lnTo>
                  <a:pt x="2105" y="2013"/>
                </a:lnTo>
                <a:lnTo>
                  <a:pt x="2108" y="2016"/>
                </a:lnTo>
                <a:lnTo>
                  <a:pt x="2110" y="2015"/>
                </a:lnTo>
                <a:lnTo>
                  <a:pt x="2110" y="2017"/>
                </a:lnTo>
                <a:lnTo>
                  <a:pt x="2111" y="2018"/>
                </a:lnTo>
                <a:lnTo>
                  <a:pt x="2107" y="2020"/>
                </a:lnTo>
                <a:lnTo>
                  <a:pt x="2105" y="2025"/>
                </a:lnTo>
                <a:lnTo>
                  <a:pt x="2103" y="2027"/>
                </a:lnTo>
                <a:lnTo>
                  <a:pt x="2101" y="2025"/>
                </a:lnTo>
                <a:lnTo>
                  <a:pt x="2099" y="2029"/>
                </a:lnTo>
                <a:lnTo>
                  <a:pt x="2103" y="2034"/>
                </a:lnTo>
                <a:lnTo>
                  <a:pt x="2104" y="2034"/>
                </a:lnTo>
                <a:lnTo>
                  <a:pt x="2107" y="2037"/>
                </a:lnTo>
                <a:lnTo>
                  <a:pt x="2104" y="2040"/>
                </a:lnTo>
                <a:lnTo>
                  <a:pt x="2104" y="2044"/>
                </a:lnTo>
                <a:lnTo>
                  <a:pt x="2108" y="2044"/>
                </a:lnTo>
                <a:lnTo>
                  <a:pt x="2110" y="2045"/>
                </a:lnTo>
                <a:lnTo>
                  <a:pt x="2114" y="2047"/>
                </a:lnTo>
                <a:lnTo>
                  <a:pt x="2114" y="2049"/>
                </a:lnTo>
                <a:lnTo>
                  <a:pt x="2119" y="2049"/>
                </a:lnTo>
                <a:lnTo>
                  <a:pt x="2121" y="2054"/>
                </a:lnTo>
                <a:lnTo>
                  <a:pt x="2118" y="2057"/>
                </a:lnTo>
                <a:lnTo>
                  <a:pt x="2113" y="2059"/>
                </a:lnTo>
                <a:lnTo>
                  <a:pt x="2103" y="2062"/>
                </a:lnTo>
                <a:lnTo>
                  <a:pt x="2103" y="2065"/>
                </a:lnTo>
                <a:lnTo>
                  <a:pt x="2099" y="2063"/>
                </a:lnTo>
                <a:lnTo>
                  <a:pt x="2097" y="2065"/>
                </a:lnTo>
                <a:lnTo>
                  <a:pt x="2099" y="2066"/>
                </a:lnTo>
                <a:lnTo>
                  <a:pt x="2097" y="2067"/>
                </a:lnTo>
                <a:lnTo>
                  <a:pt x="2096" y="2067"/>
                </a:lnTo>
                <a:lnTo>
                  <a:pt x="2094" y="2067"/>
                </a:lnTo>
                <a:lnTo>
                  <a:pt x="2097" y="2071"/>
                </a:lnTo>
                <a:lnTo>
                  <a:pt x="2097" y="2077"/>
                </a:lnTo>
                <a:lnTo>
                  <a:pt x="2101" y="2079"/>
                </a:lnTo>
                <a:lnTo>
                  <a:pt x="2104" y="2079"/>
                </a:lnTo>
                <a:lnTo>
                  <a:pt x="2103" y="2083"/>
                </a:lnTo>
                <a:lnTo>
                  <a:pt x="2100" y="2087"/>
                </a:lnTo>
                <a:lnTo>
                  <a:pt x="2103" y="2092"/>
                </a:lnTo>
                <a:lnTo>
                  <a:pt x="2111" y="2099"/>
                </a:lnTo>
                <a:lnTo>
                  <a:pt x="2108" y="2103"/>
                </a:lnTo>
                <a:lnTo>
                  <a:pt x="2107" y="2104"/>
                </a:lnTo>
                <a:lnTo>
                  <a:pt x="2104" y="2107"/>
                </a:lnTo>
                <a:lnTo>
                  <a:pt x="2105" y="2109"/>
                </a:lnTo>
                <a:lnTo>
                  <a:pt x="2103" y="2112"/>
                </a:lnTo>
                <a:lnTo>
                  <a:pt x="2107" y="2115"/>
                </a:lnTo>
                <a:lnTo>
                  <a:pt x="2110" y="2116"/>
                </a:lnTo>
                <a:lnTo>
                  <a:pt x="2110" y="2124"/>
                </a:lnTo>
                <a:lnTo>
                  <a:pt x="2113" y="2132"/>
                </a:lnTo>
                <a:lnTo>
                  <a:pt x="2110" y="2138"/>
                </a:lnTo>
                <a:lnTo>
                  <a:pt x="2105" y="2142"/>
                </a:lnTo>
                <a:lnTo>
                  <a:pt x="2104" y="2145"/>
                </a:lnTo>
                <a:lnTo>
                  <a:pt x="2105" y="2149"/>
                </a:lnTo>
                <a:lnTo>
                  <a:pt x="2108" y="2150"/>
                </a:lnTo>
                <a:lnTo>
                  <a:pt x="2111" y="2150"/>
                </a:lnTo>
                <a:lnTo>
                  <a:pt x="2114" y="2149"/>
                </a:lnTo>
                <a:lnTo>
                  <a:pt x="2117" y="2152"/>
                </a:lnTo>
                <a:lnTo>
                  <a:pt x="2113" y="2158"/>
                </a:lnTo>
                <a:lnTo>
                  <a:pt x="2111" y="2159"/>
                </a:lnTo>
                <a:lnTo>
                  <a:pt x="2107" y="2161"/>
                </a:lnTo>
                <a:lnTo>
                  <a:pt x="2104" y="2163"/>
                </a:lnTo>
                <a:lnTo>
                  <a:pt x="2105" y="2165"/>
                </a:lnTo>
                <a:lnTo>
                  <a:pt x="2107" y="2169"/>
                </a:lnTo>
                <a:lnTo>
                  <a:pt x="2111" y="2170"/>
                </a:lnTo>
                <a:lnTo>
                  <a:pt x="2113" y="2174"/>
                </a:lnTo>
                <a:lnTo>
                  <a:pt x="2110" y="2179"/>
                </a:lnTo>
                <a:lnTo>
                  <a:pt x="2104" y="2179"/>
                </a:lnTo>
                <a:lnTo>
                  <a:pt x="2104" y="2183"/>
                </a:lnTo>
                <a:lnTo>
                  <a:pt x="2107" y="2187"/>
                </a:lnTo>
                <a:lnTo>
                  <a:pt x="2108" y="2195"/>
                </a:lnTo>
                <a:lnTo>
                  <a:pt x="2114" y="2206"/>
                </a:lnTo>
                <a:lnTo>
                  <a:pt x="2113" y="2208"/>
                </a:lnTo>
                <a:lnTo>
                  <a:pt x="2115" y="2209"/>
                </a:lnTo>
                <a:lnTo>
                  <a:pt x="2115" y="2213"/>
                </a:lnTo>
                <a:lnTo>
                  <a:pt x="2117" y="2213"/>
                </a:lnTo>
                <a:lnTo>
                  <a:pt x="2117" y="2221"/>
                </a:lnTo>
                <a:lnTo>
                  <a:pt x="2118" y="2224"/>
                </a:lnTo>
                <a:lnTo>
                  <a:pt x="2124" y="2224"/>
                </a:lnTo>
                <a:lnTo>
                  <a:pt x="2129" y="2220"/>
                </a:lnTo>
                <a:lnTo>
                  <a:pt x="2136" y="2223"/>
                </a:lnTo>
                <a:lnTo>
                  <a:pt x="2144" y="2219"/>
                </a:lnTo>
                <a:lnTo>
                  <a:pt x="2153" y="2224"/>
                </a:lnTo>
                <a:lnTo>
                  <a:pt x="2155" y="2232"/>
                </a:lnTo>
                <a:lnTo>
                  <a:pt x="2163" y="2234"/>
                </a:lnTo>
                <a:lnTo>
                  <a:pt x="2165" y="2320"/>
                </a:lnTo>
                <a:lnTo>
                  <a:pt x="2167" y="2362"/>
                </a:lnTo>
                <a:lnTo>
                  <a:pt x="2165" y="2445"/>
                </a:lnTo>
                <a:lnTo>
                  <a:pt x="2182" y="2464"/>
                </a:lnTo>
                <a:lnTo>
                  <a:pt x="2200" y="2490"/>
                </a:lnTo>
                <a:lnTo>
                  <a:pt x="2207" y="2497"/>
                </a:lnTo>
                <a:lnTo>
                  <a:pt x="2208" y="2502"/>
                </a:lnTo>
                <a:lnTo>
                  <a:pt x="2214" y="2509"/>
                </a:lnTo>
                <a:lnTo>
                  <a:pt x="2227" y="2524"/>
                </a:lnTo>
                <a:lnTo>
                  <a:pt x="2243" y="2539"/>
                </a:lnTo>
                <a:lnTo>
                  <a:pt x="2281" y="2593"/>
                </a:lnTo>
                <a:lnTo>
                  <a:pt x="2282" y="2594"/>
                </a:lnTo>
                <a:lnTo>
                  <a:pt x="2286" y="2591"/>
                </a:lnTo>
                <a:lnTo>
                  <a:pt x="2290" y="2588"/>
                </a:lnTo>
                <a:lnTo>
                  <a:pt x="2298" y="2588"/>
                </a:lnTo>
                <a:lnTo>
                  <a:pt x="2304" y="2584"/>
                </a:lnTo>
                <a:lnTo>
                  <a:pt x="2307" y="2580"/>
                </a:lnTo>
                <a:lnTo>
                  <a:pt x="2315" y="2580"/>
                </a:lnTo>
                <a:lnTo>
                  <a:pt x="2317" y="2579"/>
                </a:lnTo>
                <a:lnTo>
                  <a:pt x="2323" y="2577"/>
                </a:lnTo>
                <a:lnTo>
                  <a:pt x="2325" y="2580"/>
                </a:lnTo>
                <a:lnTo>
                  <a:pt x="2329" y="2580"/>
                </a:lnTo>
                <a:lnTo>
                  <a:pt x="2331" y="2577"/>
                </a:lnTo>
                <a:lnTo>
                  <a:pt x="2339" y="2576"/>
                </a:lnTo>
                <a:lnTo>
                  <a:pt x="2340" y="2571"/>
                </a:lnTo>
                <a:lnTo>
                  <a:pt x="2343" y="2568"/>
                </a:lnTo>
                <a:lnTo>
                  <a:pt x="2364" y="2561"/>
                </a:lnTo>
                <a:lnTo>
                  <a:pt x="2371" y="2560"/>
                </a:lnTo>
                <a:lnTo>
                  <a:pt x="2381" y="2554"/>
                </a:lnTo>
                <a:lnTo>
                  <a:pt x="2385" y="2554"/>
                </a:lnTo>
                <a:lnTo>
                  <a:pt x="2390" y="2556"/>
                </a:lnTo>
                <a:lnTo>
                  <a:pt x="2393" y="2556"/>
                </a:lnTo>
                <a:lnTo>
                  <a:pt x="2402" y="2551"/>
                </a:lnTo>
                <a:lnTo>
                  <a:pt x="2409" y="2549"/>
                </a:lnTo>
                <a:lnTo>
                  <a:pt x="2413" y="2549"/>
                </a:lnTo>
                <a:lnTo>
                  <a:pt x="2417" y="2552"/>
                </a:lnTo>
                <a:lnTo>
                  <a:pt x="2418" y="2552"/>
                </a:lnTo>
                <a:lnTo>
                  <a:pt x="2429" y="2549"/>
                </a:lnTo>
                <a:lnTo>
                  <a:pt x="2431" y="2547"/>
                </a:lnTo>
                <a:lnTo>
                  <a:pt x="2434" y="2543"/>
                </a:lnTo>
                <a:lnTo>
                  <a:pt x="2445" y="2537"/>
                </a:lnTo>
                <a:lnTo>
                  <a:pt x="2457" y="2536"/>
                </a:lnTo>
                <a:lnTo>
                  <a:pt x="2464" y="2536"/>
                </a:lnTo>
                <a:lnTo>
                  <a:pt x="2474" y="2532"/>
                </a:lnTo>
                <a:lnTo>
                  <a:pt x="2485" y="2532"/>
                </a:lnTo>
                <a:lnTo>
                  <a:pt x="2499" y="2526"/>
                </a:lnTo>
                <a:lnTo>
                  <a:pt x="2508" y="2527"/>
                </a:lnTo>
                <a:lnTo>
                  <a:pt x="2510" y="2530"/>
                </a:lnTo>
                <a:lnTo>
                  <a:pt x="2510" y="2532"/>
                </a:lnTo>
                <a:lnTo>
                  <a:pt x="2449" y="2594"/>
                </a:lnTo>
                <a:lnTo>
                  <a:pt x="2449" y="2596"/>
                </a:lnTo>
                <a:lnTo>
                  <a:pt x="2464" y="2597"/>
                </a:lnTo>
                <a:lnTo>
                  <a:pt x="2468" y="2601"/>
                </a:lnTo>
                <a:lnTo>
                  <a:pt x="2473" y="2610"/>
                </a:lnTo>
                <a:lnTo>
                  <a:pt x="2477" y="2617"/>
                </a:lnTo>
                <a:lnTo>
                  <a:pt x="2488" y="2630"/>
                </a:lnTo>
                <a:lnTo>
                  <a:pt x="2498" y="2638"/>
                </a:lnTo>
                <a:lnTo>
                  <a:pt x="2527" y="2672"/>
                </a:lnTo>
                <a:lnTo>
                  <a:pt x="2406" y="2733"/>
                </a:lnTo>
                <a:lnTo>
                  <a:pt x="2407" y="2758"/>
                </a:lnTo>
                <a:lnTo>
                  <a:pt x="2407" y="2801"/>
                </a:lnTo>
                <a:lnTo>
                  <a:pt x="2516" y="2810"/>
                </a:lnTo>
                <a:lnTo>
                  <a:pt x="2547" y="2855"/>
                </a:lnTo>
                <a:lnTo>
                  <a:pt x="2539" y="2855"/>
                </a:lnTo>
                <a:lnTo>
                  <a:pt x="2489" y="2875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54" name="Freeform 53"/>
          <p:cNvSpPr>
            <a:spLocks/>
          </p:cNvSpPr>
          <p:nvPr/>
        </p:nvSpPr>
        <p:spPr bwMode="auto">
          <a:xfrm>
            <a:off x="1761966" y="3430476"/>
            <a:ext cx="525202" cy="1341350"/>
          </a:xfrm>
          <a:custGeom>
            <a:avLst/>
            <a:gdLst>
              <a:gd name="T0" fmla="*/ 1527 w 1748"/>
              <a:gd name="T1" fmla="*/ 539 h 4174"/>
              <a:gd name="T2" fmla="*/ 1461 w 1748"/>
              <a:gd name="T3" fmla="*/ 888 h 4174"/>
              <a:gd name="T4" fmla="*/ 1481 w 1748"/>
              <a:gd name="T5" fmla="*/ 1191 h 4174"/>
              <a:gd name="T6" fmla="*/ 1535 w 1748"/>
              <a:gd name="T7" fmla="*/ 1228 h 4174"/>
              <a:gd name="T8" fmla="*/ 1499 w 1748"/>
              <a:gd name="T9" fmla="*/ 1464 h 4174"/>
              <a:gd name="T10" fmla="*/ 1364 w 1748"/>
              <a:gd name="T11" fmla="*/ 1476 h 4174"/>
              <a:gd name="T12" fmla="*/ 1335 w 1748"/>
              <a:gd name="T13" fmla="*/ 1399 h 4174"/>
              <a:gd name="T14" fmla="*/ 1167 w 1748"/>
              <a:gd name="T15" fmla="*/ 1515 h 4174"/>
              <a:gd name="T16" fmla="*/ 1181 w 1748"/>
              <a:gd name="T17" fmla="*/ 1597 h 4174"/>
              <a:gd name="T18" fmla="*/ 1204 w 1748"/>
              <a:gd name="T19" fmla="*/ 1657 h 4174"/>
              <a:gd name="T20" fmla="*/ 1192 w 1748"/>
              <a:gd name="T21" fmla="*/ 1707 h 4174"/>
              <a:gd name="T22" fmla="*/ 1090 w 1748"/>
              <a:gd name="T23" fmla="*/ 1846 h 4174"/>
              <a:gd name="T24" fmla="*/ 1214 w 1748"/>
              <a:gd name="T25" fmla="*/ 1928 h 4174"/>
              <a:gd name="T26" fmla="*/ 1304 w 1748"/>
              <a:gd name="T27" fmla="*/ 2028 h 4174"/>
              <a:gd name="T28" fmla="*/ 1263 w 1748"/>
              <a:gd name="T29" fmla="*/ 2388 h 4174"/>
              <a:gd name="T30" fmla="*/ 1122 w 1748"/>
              <a:gd name="T31" fmla="*/ 2617 h 4174"/>
              <a:gd name="T32" fmla="*/ 1175 w 1748"/>
              <a:gd name="T33" fmla="*/ 2750 h 4174"/>
              <a:gd name="T34" fmla="*/ 1103 w 1748"/>
              <a:gd name="T35" fmla="*/ 2896 h 4174"/>
              <a:gd name="T36" fmla="*/ 990 w 1748"/>
              <a:gd name="T37" fmla="*/ 2843 h 4174"/>
              <a:gd name="T38" fmla="*/ 944 w 1748"/>
              <a:gd name="T39" fmla="*/ 2887 h 4174"/>
              <a:gd name="T40" fmla="*/ 883 w 1748"/>
              <a:gd name="T41" fmla="*/ 2924 h 4174"/>
              <a:gd name="T42" fmla="*/ 821 w 1748"/>
              <a:gd name="T43" fmla="*/ 2971 h 4174"/>
              <a:gd name="T44" fmla="*/ 891 w 1748"/>
              <a:gd name="T45" fmla="*/ 3141 h 4174"/>
              <a:gd name="T46" fmla="*/ 1054 w 1748"/>
              <a:gd name="T47" fmla="*/ 3404 h 4174"/>
              <a:gd name="T48" fmla="*/ 1171 w 1748"/>
              <a:gd name="T49" fmla="*/ 3497 h 4174"/>
              <a:gd name="T50" fmla="*/ 1342 w 1748"/>
              <a:gd name="T51" fmla="*/ 3882 h 4174"/>
              <a:gd name="T52" fmla="*/ 1263 w 1748"/>
              <a:gd name="T53" fmla="*/ 3995 h 4174"/>
              <a:gd name="T54" fmla="*/ 1209 w 1748"/>
              <a:gd name="T55" fmla="*/ 4037 h 4174"/>
              <a:gd name="T56" fmla="*/ 1124 w 1748"/>
              <a:gd name="T57" fmla="*/ 4036 h 4174"/>
              <a:gd name="T58" fmla="*/ 1014 w 1748"/>
              <a:gd name="T59" fmla="*/ 4021 h 4174"/>
              <a:gd name="T60" fmla="*/ 908 w 1748"/>
              <a:gd name="T61" fmla="*/ 4023 h 4174"/>
              <a:gd name="T62" fmla="*/ 812 w 1748"/>
              <a:gd name="T63" fmla="*/ 4083 h 4174"/>
              <a:gd name="T64" fmla="*/ 709 w 1748"/>
              <a:gd name="T65" fmla="*/ 4087 h 4174"/>
              <a:gd name="T66" fmla="*/ 616 w 1748"/>
              <a:gd name="T67" fmla="*/ 4125 h 4174"/>
              <a:gd name="T68" fmla="*/ 520 w 1748"/>
              <a:gd name="T69" fmla="*/ 4169 h 4174"/>
              <a:gd name="T70" fmla="*/ 455 w 1748"/>
              <a:gd name="T71" fmla="*/ 4106 h 4174"/>
              <a:gd name="T72" fmla="*/ 357 w 1748"/>
              <a:gd name="T73" fmla="*/ 4103 h 4174"/>
              <a:gd name="T74" fmla="*/ 259 w 1748"/>
              <a:gd name="T75" fmla="*/ 4035 h 4174"/>
              <a:gd name="T76" fmla="*/ 149 w 1748"/>
              <a:gd name="T77" fmla="*/ 4015 h 4174"/>
              <a:gd name="T78" fmla="*/ 13 w 1748"/>
              <a:gd name="T79" fmla="*/ 3792 h 4174"/>
              <a:gd name="T80" fmla="*/ 225 w 1748"/>
              <a:gd name="T81" fmla="*/ 3354 h 4174"/>
              <a:gd name="T82" fmla="*/ 405 w 1748"/>
              <a:gd name="T83" fmla="*/ 3048 h 4174"/>
              <a:gd name="T84" fmla="*/ 553 w 1748"/>
              <a:gd name="T85" fmla="*/ 2741 h 4174"/>
              <a:gd name="T86" fmla="*/ 391 w 1748"/>
              <a:gd name="T87" fmla="*/ 2542 h 4174"/>
              <a:gd name="T88" fmla="*/ 390 w 1748"/>
              <a:gd name="T89" fmla="*/ 2277 h 4174"/>
              <a:gd name="T90" fmla="*/ 271 w 1748"/>
              <a:gd name="T91" fmla="*/ 2048 h 4174"/>
              <a:gd name="T92" fmla="*/ 473 w 1748"/>
              <a:gd name="T93" fmla="*/ 1856 h 4174"/>
              <a:gd name="T94" fmla="*/ 547 w 1748"/>
              <a:gd name="T95" fmla="*/ 1601 h 4174"/>
              <a:gd name="T96" fmla="*/ 485 w 1748"/>
              <a:gd name="T97" fmla="*/ 1399 h 4174"/>
              <a:gd name="T98" fmla="*/ 522 w 1748"/>
              <a:gd name="T99" fmla="*/ 1120 h 4174"/>
              <a:gd name="T100" fmla="*/ 477 w 1748"/>
              <a:gd name="T101" fmla="*/ 907 h 4174"/>
              <a:gd name="T102" fmla="*/ 569 w 1748"/>
              <a:gd name="T103" fmla="*/ 696 h 4174"/>
              <a:gd name="T104" fmla="*/ 611 w 1748"/>
              <a:gd name="T105" fmla="*/ 598 h 4174"/>
              <a:gd name="T106" fmla="*/ 637 w 1748"/>
              <a:gd name="T107" fmla="*/ 514 h 4174"/>
              <a:gd name="T108" fmla="*/ 704 w 1748"/>
              <a:gd name="T109" fmla="*/ 412 h 4174"/>
              <a:gd name="T110" fmla="*/ 759 w 1748"/>
              <a:gd name="T111" fmla="*/ 283 h 4174"/>
              <a:gd name="T112" fmla="*/ 827 w 1748"/>
              <a:gd name="T113" fmla="*/ 212 h 4174"/>
              <a:gd name="T114" fmla="*/ 876 w 1748"/>
              <a:gd name="T115" fmla="*/ 105 h 4174"/>
              <a:gd name="T116" fmla="*/ 1004 w 1748"/>
              <a:gd name="T117" fmla="*/ 34 h 4174"/>
              <a:gd name="T118" fmla="*/ 1125 w 1748"/>
              <a:gd name="T119" fmla="*/ 6 h 4174"/>
              <a:gd name="T120" fmla="*/ 1303 w 1748"/>
              <a:gd name="T121" fmla="*/ 149 h 4174"/>
              <a:gd name="T122" fmla="*/ 1483 w 1748"/>
              <a:gd name="T123" fmla="*/ 262 h 4174"/>
              <a:gd name="T124" fmla="*/ 1713 w 1748"/>
              <a:gd name="T125" fmla="*/ 315 h 417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748"/>
              <a:gd name="T190" fmla="*/ 0 h 4174"/>
              <a:gd name="T191" fmla="*/ 1748 w 1748"/>
              <a:gd name="T192" fmla="*/ 4174 h 4174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748" h="4174">
                <a:moveTo>
                  <a:pt x="1743" y="341"/>
                </a:moveTo>
                <a:lnTo>
                  <a:pt x="1741" y="348"/>
                </a:lnTo>
                <a:lnTo>
                  <a:pt x="1731" y="360"/>
                </a:lnTo>
                <a:lnTo>
                  <a:pt x="1729" y="362"/>
                </a:lnTo>
                <a:lnTo>
                  <a:pt x="1723" y="363"/>
                </a:lnTo>
                <a:lnTo>
                  <a:pt x="1720" y="371"/>
                </a:lnTo>
                <a:lnTo>
                  <a:pt x="1721" y="385"/>
                </a:lnTo>
                <a:lnTo>
                  <a:pt x="1729" y="386"/>
                </a:lnTo>
                <a:lnTo>
                  <a:pt x="1744" y="386"/>
                </a:lnTo>
                <a:lnTo>
                  <a:pt x="1743" y="388"/>
                </a:lnTo>
                <a:lnTo>
                  <a:pt x="1731" y="407"/>
                </a:lnTo>
                <a:lnTo>
                  <a:pt x="1727" y="416"/>
                </a:lnTo>
                <a:lnTo>
                  <a:pt x="1724" y="423"/>
                </a:lnTo>
                <a:lnTo>
                  <a:pt x="1719" y="431"/>
                </a:lnTo>
                <a:lnTo>
                  <a:pt x="1691" y="482"/>
                </a:lnTo>
                <a:lnTo>
                  <a:pt x="1638" y="498"/>
                </a:lnTo>
                <a:lnTo>
                  <a:pt x="1616" y="504"/>
                </a:lnTo>
                <a:lnTo>
                  <a:pt x="1591" y="510"/>
                </a:lnTo>
                <a:lnTo>
                  <a:pt x="1563" y="514"/>
                </a:lnTo>
                <a:lnTo>
                  <a:pt x="1527" y="539"/>
                </a:lnTo>
                <a:lnTo>
                  <a:pt x="1453" y="673"/>
                </a:lnTo>
                <a:lnTo>
                  <a:pt x="1470" y="681"/>
                </a:lnTo>
                <a:lnTo>
                  <a:pt x="1483" y="685"/>
                </a:lnTo>
                <a:lnTo>
                  <a:pt x="1484" y="689"/>
                </a:lnTo>
                <a:lnTo>
                  <a:pt x="1485" y="693"/>
                </a:lnTo>
                <a:lnTo>
                  <a:pt x="1486" y="693"/>
                </a:lnTo>
                <a:lnTo>
                  <a:pt x="1491" y="693"/>
                </a:lnTo>
                <a:lnTo>
                  <a:pt x="1496" y="697"/>
                </a:lnTo>
                <a:lnTo>
                  <a:pt x="1498" y="701"/>
                </a:lnTo>
                <a:lnTo>
                  <a:pt x="1499" y="705"/>
                </a:lnTo>
                <a:lnTo>
                  <a:pt x="1492" y="715"/>
                </a:lnTo>
                <a:lnTo>
                  <a:pt x="1478" y="730"/>
                </a:lnTo>
                <a:lnTo>
                  <a:pt x="1477" y="746"/>
                </a:lnTo>
                <a:lnTo>
                  <a:pt x="1467" y="786"/>
                </a:lnTo>
                <a:lnTo>
                  <a:pt x="1463" y="798"/>
                </a:lnTo>
                <a:lnTo>
                  <a:pt x="1463" y="801"/>
                </a:lnTo>
                <a:lnTo>
                  <a:pt x="1469" y="815"/>
                </a:lnTo>
                <a:lnTo>
                  <a:pt x="1475" y="826"/>
                </a:lnTo>
                <a:lnTo>
                  <a:pt x="1474" y="839"/>
                </a:lnTo>
                <a:lnTo>
                  <a:pt x="1461" y="888"/>
                </a:lnTo>
                <a:lnTo>
                  <a:pt x="1453" y="910"/>
                </a:lnTo>
                <a:lnTo>
                  <a:pt x="1424" y="970"/>
                </a:lnTo>
                <a:lnTo>
                  <a:pt x="1444" y="1000"/>
                </a:lnTo>
                <a:lnTo>
                  <a:pt x="1445" y="1007"/>
                </a:lnTo>
                <a:lnTo>
                  <a:pt x="1442" y="1047"/>
                </a:lnTo>
                <a:lnTo>
                  <a:pt x="1442" y="1051"/>
                </a:lnTo>
                <a:lnTo>
                  <a:pt x="1445" y="1053"/>
                </a:lnTo>
                <a:lnTo>
                  <a:pt x="1475" y="1071"/>
                </a:lnTo>
                <a:lnTo>
                  <a:pt x="1477" y="1075"/>
                </a:lnTo>
                <a:lnTo>
                  <a:pt x="1477" y="1082"/>
                </a:lnTo>
                <a:lnTo>
                  <a:pt x="1481" y="1092"/>
                </a:lnTo>
                <a:lnTo>
                  <a:pt x="1478" y="1104"/>
                </a:lnTo>
                <a:lnTo>
                  <a:pt x="1480" y="1114"/>
                </a:lnTo>
                <a:lnTo>
                  <a:pt x="1477" y="1124"/>
                </a:lnTo>
                <a:lnTo>
                  <a:pt x="1475" y="1137"/>
                </a:lnTo>
                <a:lnTo>
                  <a:pt x="1471" y="1151"/>
                </a:lnTo>
                <a:lnTo>
                  <a:pt x="1470" y="1165"/>
                </a:lnTo>
                <a:lnTo>
                  <a:pt x="1461" y="1191"/>
                </a:lnTo>
                <a:lnTo>
                  <a:pt x="1471" y="1193"/>
                </a:lnTo>
                <a:lnTo>
                  <a:pt x="1481" y="1191"/>
                </a:lnTo>
                <a:lnTo>
                  <a:pt x="1484" y="1191"/>
                </a:lnTo>
                <a:lnTo>
                  <a:pt x="1484" y="1195"/>
                </a:lnTo>
                <a:lnTo>
                  <a:pt x="1488" y="1196"/>
                </a:lnTo>
                <a:lnTo>
                  <a:pt x="1491" y="1200"/>
                </a:lnTo>
                <a:lnTo>
                  <a:pt x="1498" y="1198"/>
                </a:lnTo>
                <a:lnTo>
                  <a:pt x="1506" y="1199"/>
                </a:lnTo>
                <a:lnTo>
                  <a:pt x="1508" y="1201"/>
                </a:lnTo>
                <a:lnTo>
                  <a:pt x="1506" y="1204"/>
                </a:lnTo>
                <a:lnTo>
                  <a:pt x="1506" y="1205"/>
                </a:lnTo>
                <a:lnTo>
                  <a:pt x="1508" y="1205"/>
                </a:lnTo>
                <a:lnTo>
                  <a:pt x="1513" y="1213"/>
                </a:lnTo>
                <a:lnTo>
                  <a:pt x="1517" y="1213"/>
                </a:lnTo>
                <a:lnTo>
                  <a:pt x="1523" y="1217"/>
                </a:lnTo>
                <a:lnTo>
                  <a:pt x="1525" y="1224"/>
                </a:lnTo>
                <a:lnTo>
                  <a:pt x="1530" y="1224"/>
                </a:lnTo>
                <a:lnTo>
                  <a:pt x="1531" y="1224"/>
                </a:lnTo>
                <a:lnTo>
                  <a:pt x="1536" y="1227"/>
                </a:lnTo>
                <a:lnTo>
                  <a:pt x="1536" y="1228"/>
                </a:lnTo>
                <a:lnTo>
                  <a:pt x="1534" y="1228"/>
                </a:lnTo>
                <a:lnTo>
                  <a:pt x="1535" y="1228"/>
                </a:lnTo>
                <a:lnTo>
                  <a:pt x="1535" y="1236"/>
                </a:lnTo>
                <a:lnTo>
                  <a:pt x="1541" y="1242"/>
                </a:lnTo>
                <a:lnTo>
                  <a:pt x="1544" y="1243"/>
                </a:lnTo>
                <a:lnTo>
                  <a:pt x="1545" y="1246"/>
                </a:lnTo>
                <a:lnTo>
                  <a:pt x="1548" y="1246"/>
                </a:lnTo>
                <a:lnTo>
                  <a:pt x="1524" y="1277"/>
                </a:lnTo>
                <a:lnTo>
                  <a:pt x="1530" y="1280"/>
                </a:lnTo>
                <a:lnTo>
                  <a:pt x="1539" y="1299"/>
                </a:lnTo>
                <a:lnTo>
                  <a:pt x="1538" y="1307"/>
                </a:lnTo>
                <a:lnTo>
                  <a:pt x="1541" y="1322"/>
                </a:lnTo>
                <a:lnTo>
                  <a:pt x="1544" y="1340"/>
                </a:lnTo>
                <a:lnTo>
                  <a:pt x="1546" y="1354"/>
                </a:lnTo>
                <a:lnTo>
                  <a:pt x="1542" y="1361"/>
                </a:lnTo>
                <a:lnTo>
                  <a:pt x="1517" y="1471"/>
                </a:lnTo>
                <a:lnTo>
                  <a:pt x="1516" y="1471"/>
                </a:lnTo>
                <a:lnTo>
                  <a:pt x="1513" y="1464"/>
                </a:lnTo>
                <a:lnTo>
                  <a:pt x="1509" y="1462"/>
                </a:lnTo>
                <a:lnTo>
                  <a:pt x="1503" y="1462"/>
                </a:lnTo>
                <a:lnTo>
                  <a:pt x="1502" y="1464"/>
                </a:lnTo>
                <a:lnTo>
                  <a:pt x="1499" y="1464"/>
                </a:lnTo>
                <a:lnTo>
                  <a:pt x="1496" y="1460"/>
                </a:lnTo>
                <a:lnTo>
                  <a:pt x="1492" y="1460"/>
                </a:lnTo>
                <a:lnTo>
                  <a:pt x="1489" y="1460"/>
                </a:lnTo>
                <a:lnTo>
                  <a:pt x="1485" y="1456"/>
                </a:lnTo>
                <a:lnTo>
                  <a:pt x="1485" y="1453"/>
                </a:lnTo>
                <a:lnTo>
                  <a:pt x="1478" y="1449"/>
                </a:lnTo>
                <a:lnTo>
                  <a:pt x="1474" y="1449"/>
                </a:lnTo>
                <a:lnTo>
                  <a:pt x="1470" y="1448"/>
                </a:lnTo>
                <a:lnTo>
                  <a:pt x="1464" y="1449"/>
                </a:lnTo>
                <a:lnTo>
                  <a:pt x="1456" y="1459"/>
                </a:lnTo>
                <a:lnTo>
                  <a:pt x="1434" y="1502"/>
                </a:lnTo>
                <a:lnTo>
                  <a:pt x="1420" y="1507"/>
                </a:lnTo>
                <a:lnTo>
                  <a:pt x="1411" y="1507"/>
                </a:lnTo>
                <a:lnTo>
                  <a:pt x="1406" y="1504"/>
                </a:lnTo>
                <a:lnTo>
                  <a:pt x="1395" y="1497"/>
                </a:lnTo>
                <a:lnTo>
                  <a:pt x="1392" y="1490"/>
                </a:lnTo>
                <a:lnTo>
                  <a:pt x="1384" y="1486"/>
                </a:lnTo>
                <a:lnTo>
                  <a:pt x="1374" y="1472"/>
                </a:lnTo>
                <a:lnTo>
                  <a:pt x="1370" y="1471"/>
                </a:lnTo>
                <a:lnTo>
                  <a:pt x="1364" y="1476"/>
                </a:lnTo>
                <a:lnTo>
                  <a:pt x="1361" y="1474"/>
                </a:lnTo>
                <a:lnTo>
                  <a:pt x="1360" y="1472"/>
                </a:lnTo>
                <a:lnTo>
                  <a:pt x="1360" y="1464"/>
                </a:lnTo>
                <a:lnTo>
                  <a:pt x="1356" y="1460"/>
                </a:lnTo>
                <a:lnTo>
                  <a:pt x="1354" y="1457"/>
                </a:lnTo>
                <a:lnTo>
                  <a:pt x="1353" y="1449"/>
                </a:lnTo>
                <a:lnTo>
                  <a:pt x="1352" y="1448"/>
                </a:lnTo>
                <a:lnTo>
                  <a:pt x="1348" y="1448"/>
                </a:lnTo>
                <a:lnTo>
                  <a:pt x="1348" y="1445"/>
                </a:lnTo>
                <a:lnTo>
                  <a:pt x="1349" y="1441"/>
                </a:lnTo>
                <a:lnTo>
                  <a:pt x="1353" y="1437"/>
                </a:lnTo>
                <a:lnTo>
                  <a:pt x="1352" y="1429"/>
                </a:lnTo>
                <a:lnTo>
                  <a:pt x="1338" y="1426"/>
                </a:lnTo>
                <a:lnTo>
                  <a:pt x="1336" y="1423"/>
                </a:lnTo>
                <a:lnTo>
                  <a:pt x="1336" y="1422"/>
                </a:lnTo>
                <a:lnTo>
                  <a:pt x="1339" y="1415"/>
                </a:lnTo>
                <a:lnTo>
                  <a:pt x="1338" y="1411"/>
                </a:lnTo>
                <a:lnTo>
                  <a:pt x="1334" y="1410"/>
                </a:lnTo>
                <a:lnTo>
                  <a:pt x="1336" y="1403"/>
                </a:lnTo>
                <a:lnTo>
                  <a:pt x="1335" y="1399"/>
                </a:lnTo>
                <a:lnTo>
                  <a:pt x="1324" y="1395"/>
                </a:lnTo>
                <a:lnTo>
                  <a:pt x="1320" y="1395"/>
                </a:lnTo>
                <a:lnTo>
                  <a:pt x="1317" y="1397"/>
                </a:lnTo>
                <a:lnTo>
                  <a:pt x="1313" y="1403"/>
                </a:lnTo>
                <a:lnTo>
                  <a:pt x="1304" y="1401"/>
                </a:lnTo>
                <a:lnTo>
                  <a:pt x="1296" y="1401"/>
                </a:lnTo>
                <a:lnTo>
                  <a:pt x="1274" y="1397"/>
                </a:lnTo>
                <a:lnTo>
                  <a:pt x="1272" y="1392"/>
                </a:lnTo>
                <a:lnTo>
                  <a:pt x="1265" y="1410"/>
                </a:lnTo>
                <a:lnTo>
                  <a:pt x="1250" y="1432"/>
                </a:lnTo>
                <a:lnTo>
                  <a:pt x="1235" y="1466"/>
                </a:lnTo>
                <a:lnTo>
                  <a:pt x="1229" y="1471"/>
                </a:lnTo>
                <a:lnTo>
                  <a:pt x="1211" y="1472"/>
                </a:lnTo>
                <a:lnTo>
                  <a:pt x="1203" y="1478"/>
                </a:lnTo>
                <a:lnTo>
                  <a:pt x="1193" y="1482"/>
                </a:lnTo>
                <a:lnTo>
                  <a:pt x="1187" y="1486"/>
                </a:lnTo>
                <a:lnTo>
                  <a:pt x="1185" y="1502"/>
                </a:lnTo>
                <a:lnTo>
                  <a:pt x="1179" y="1511"/>
                </a:lnTo>
                <a:lnTo>
                  <a:pt x="1174" y="1513"/>
                </a:lnTo>
                <a:lnTo>
                  <a:pt x="1167" y="1515"/>
                </a:lnTo>
                <a:lnTo>
                  <a:pt x="1162" y="1516"/>
                </a:lnTo>
                <a:lnTo>
                  <a:pt x="1162" y="1521"/>
                </a:lnTo>
                <a:lnTo>
                  <a:pt x="1157" y="1524"/>
                </a:lnTo>
                <a:lnTo>
                  <a:pt x="1157" y="1527"/>
                </a:lnTo>
                <a:lnTo>
                  <a:pt x="1162" y="1534"/>
                </a:lnTo>
                <a:lnTo>
                  <a:pt x="1170" y="1531"/>
                </a:lnTo>
                <a:lnTo>
                  <a:pt x="1171" y="1531"/>
                </a:lnTo>
                <a:lnTo>
                  <a:pt x="1174" y="1535"/>
                </a:lnTo>
                <a:lnTo>
                  <a:pt x="1175" y="1539"/>
                </a:lnTo>
                <a:lnTo>
                  <a:pt x="1175" y="1546"/>
                </a:lnTo>
                <a:lnTo>
                  <a:pt x="1172" y="1549"/>
                </a:lnTo>
                <a:lnTo>
                  <a:pt x="1172" y="1553"/>
                </a:lnTo>
                <a:lnTo>
                  <a:pt x="1168" y="1560"/>
                </a:lnTo>
                <a:lnTo>
                  <a:pt x="1170" y="1561"/>
                </a:lnTo>
                <a:lnTo>
                  <a:pt x="1174" y="1565"/>
                </a:lnTo>
                <a:lnTo>
                  <a:pt x="1174" y="1575"/>
                </a:lnTo>
                <a:lnTo>
                  <a:pt x="1172" y="1580"/>
                </a:lnTo>
                <a:lnTo>
                  <a:pt x="1175" y="1584"/>
                </a:lnTo>
                <a:lnTo>
                  <a:pt x="1175" y="1590"/>
                </a:lnTo>
                <a:lnTo>
                  <a:pt x="1181" y="1597"/>
                </a:lnTo>
                <a:lnTo>
                  <a:pt x="1187" y="1597"/>
                </a:lnTo>
                <a:lnTo>
                  <a:pt x="1189" y="1598"/>
                </a:lnTo>
                <a:lnTo>
                  <a:pt x="1181" y="1606"/>
                </a:lnTo>
                <a:lnTo>
                  <a:pt x="1182" y="1618"/>
                </a:lnTo>
                <a:lnTo>
                  <a:pt x="1181" y="1623"/>
                </a:lnTo>
                <a:lnTo>
                  <a:pt x="1178" y="1625"/>
                </a:lnTo>
                <a:lnTo>
                  <a:pt x="1178" y="1627"/>
                </a:lnTo>
                <a:lnTo>
                  <a:pt x="1182" y="1632"/>
                </a:lnTo>
                <a:lnTo>
                  <a:pt x="1186" y="1632"/>
                </a:lnTo>
                <a:lnTo>
                  <a:pt x="1192" y="1631"/>
                </a:lnTo>
                <a:lnTo>
                  <a:pt x="1193" y="1623"/>
                </a:lnTo>
                <a:lnTo>
                  <a:pt x="1197" y="1621"/>
                </a:lnTo>
                <a:lnTo>
                  <a:pt x="1200" y="1622"/>
                </a:lnTo>
                <a:lnTo>
                  <a:pt x="1203" y="1627"/>
                </a:lnTo>
                <a:lnTo>
                  <a:pt x="1197" y="1632"/>
                </a:lnTo>
                <a:lnTo>
                  <a:pt x="1201" y="1636"/>
                </a:lnTo>
                <a:lnTo>
                  <a:pt x="1197" y="1640"/>
                </a:lnTo>
                <a:lnTo>
                  <a:pt x="1199" y="1651"/>
                </a:lnTo>
                <a:lnTo>
                  <a:pt x="1195" y="1655"/>
                </a:lnTo>
                <a:lnTo>
                  <a:pt x="1204" y="1657"/>
                </a:lnTo>
                <a:lnTo>
                  <a:pt x="1206" y="1665"/>
                </a:lnTo>
                <a:lnTo>
                  <a:pt x="1210" y="1668"/>
                </a:lnTo>
                <a:lnTo>
                  <a:pt x="1206" y="1672"/>
                </a:lnTo>
                <a:lnTo>
                  <a:pt x="1207" y="1677"/>
                </a:lnTo>
                <a:lnTo>
                  <a:pt x="1206" y="1681"/>
                </a:lnTo>
                <a:lnTo>
                  <a:pt x="1209" y="1685"/>
                </a:lnTo>
                <a:lnTo>
                  <a:pt x="1207" y="1694"/>
                </a:lnTo>
                <a:lnTo>
                  <a:pt x="1211" y="1696"/>
                </a:lnTo>
                <a:lnTo>
                  <a:pt x="1214" y="1704"/>
                </a:lnTo>
                <a:lnTo>
                  <a:pt x="1220" y="1707"/>
                </a:lnTo>
                <a:lnTo>
                  <a:pt x="1221" y="1712"/>
                </a:lnTo>
                <a:lnTo>
                  <a:pt x="1215" y="1714"/>
                </a:lnTo>
                <a:lnTo>
                  <a:pt x="1214" y="1715"/>
                </a:lnTo>
                <a:lnTo>
                  <a:pt x="1212" y="1717"/>
                </a:lnTo>
                <a:lnTo>
                  <a:pt x="1211" y="1714"/>
                </a:lnTo>
                <a:lnTo>
                  <a:pt x="1210" y="1710"/>
                </a:lnTo>
                <a:lnTo>
                  <a:pt x="1206" y="1712"/>
                </a:lnTo>
                <a:lnTo>
                  <a:pt x="1200" y="1704"/>
                </a:lnTo>
                <a:lnTo>
                  <a:pt x="1193" y="1707"/>
                </a:lnTo>
                <a:lnTo>
                  <a:pt x="1192" y="1707"/>
                </a:lnTo>
                <a:lnTo>
                  <a:pt x="1179" y="1714"/>
                </a:lnTo>
                <a:lnTo>
                  <a:pt x="1162" y="1718"/>
                </a:lnTo>
                <a:lnTo>
                  <a:pt x="1149" y="1718"/>
                </a:lnTo>
                <a:lnTo>
                  <a:pt x="1136" y="1713"/>
                </a:lnTo>
                <a:lnTo>
                  <a:pt x="1134" y="1713"/>
                </a:lnTo>
                <a:lnTo>
                  <a:pt x="1134" y="1729"/>
                </a:lnTo>
                <a:lnTo>
                  <a:pt x="1132" y="1740"/>
                </a:lnTo>
                <a:lnTo>
                  <a:pt x="1134" y="1771"/>
                </a:lnTo>
                <a:lnTo>
                  <a:pt x="1132" y="1775"/>
                </a:lnTo>
                <a:lnTo>
                  <a:pt x="1131" y="1777"/>
                </a:lnTo>
                <a:lnTo>
                  <a:pt x="1125" y="1779"/>
                </a:lnTo>
                <a:lnTo>
                  <a:pt x="1100" y="1782"/>
                </a:lnTo>
                <a:lnTo>
                  <a:pt x="1096" y="1785"/>
                </a:lnTo>
                <a:lnTo>
                  <a:pt x="1100" y="1806"/>
                </a:lnTo>
                <a:lnTo>
                  <a:pt x="1103" y="1812"/>
                </a:lnTo>
                <a:lnTo>
                  <a:pt x="1103" y="1816"/>
                </a:lnTo>
                <a:lnTo>
                  <a:pt x="1099" y="1826"/>
                </a:lnTo>
                <a:lnTo>
                  <a:pt x="1099" y="1830"/>
                </a:lnTo>
                <a:lnTo>
                  <a:pt x="1092" y="1841"/>
                </a:lnTo>
                <a:lnTo>
                  <a:pt x="1090" y="1846"/>
                </a:lnTo>
                <a:lnTo>
                  <a:pt x="1099" y="1861"/>
                </a:lnTo>
                <a:lnTo>
                  <a:pt x="1104" y="1863"/>
                </a:lnTo>
                <a:lnTo>
                  <a:pt x="1109" y="1868"/>
                </a:lnTo>
                <a:lnTo>
                  <a:pt x="1115" y="1871"/>
                </a:lnTo>
                <a:lnTo>
                  <a:pt x="1117" y="1868"/>
                </a:lnTo>
                <a:lnTo>
                  <a:pt x="1120" y="1868"/>
                </a:lnTo>
                <a:lnTo>
                  <a:pt x="1134" y="1879"/>
                </a:lnTo>
                <a:lnTo>
                  <a:pt x="1136" y="1880"/>
                </a:lnTo>
                <a:lnTo>
                  <a:pt x="1139" y="1883"/>
                </a:lnTo>
                <a:lnTo>
                  <a:pt x="1159" y="1894"/>
                </a:lnTo>
                <a:lnTo>
                  <a:pt x="1157" y="1897"/>
                </a:lnTo>
                <a:lnTo>
                  <a:pt x="1157" y="1903"/>
                </a:lnTo>
                <a:lnTo>
                  <a:pt x="1159" y="1905"/>
                </a:lnTo>
                <a:lnTo>
                  <a:pt x="1167" y="1913"/>
                </a:lnTo>
                <a:lnTo>
                  <a:pt x="1178" y="1917"/>
                </a:lnTo>
                <a:lnTo>
                  <a:pt x="1185" y="1928"/>
                </a:lnTo>
                <a:lnTo>
                  <a:pt x="1193" y="1928"/>
                </a:lnTo>
                <a:lnTo>
                  <a:pt x="1199" y="1921"/>
                </a:lnTo>
                <a:lnTo>
                  <a:pt x="1207" y="1926"/>
                </a:lnTo>
                <a:lnTo>
                  <a:pt x="1214" y="1928"/>
                </a:lnTo>
                <a:lnTo>
                  <a:pt x="1217" y="1928"/>
                </a:lnTo>
                <a:lnTo>
                  <a:pt x="1221" y="1924"/>
                </a:lnTo>
                <a:lnTo>
                  <a:pt x="1222" y="1925"/>
                </a:lnTo>
                <a:lnTo>
                  <a:pt x="1225" y="1929"/>
                </a:lnTo>
                <a:lnTo>
                  <a:pt x="1231" y="1931"/>
                </a:lnTo>
                <a:lnTo>
                  <a:pt x="1236" y="1949"/>
                </a:lnTo>
                <a:lnTo>
                  <a:pt x="1239" y="1950"/>
                </a:lnTo>
                <a:lnTo>
                  <a:pt x="1243" y="1951"/>
                </a:lnTo>
                <a:lnTo>
                  <a:pt x="1250" y="1965"/>
                </a:lnTo>
                <a:lnTo>
                  <a:pt x="1251" y="1970"/>
                </a:lnTo>
                <a:lnTo>
                  <a:pt x="1251" y="1979"/>
                </a:lnTo>
                <a:lnTo>
                  <a:pt x="1256" y="1991"/>
                </a:lnTo>
                <a:lnTo>
                  <a:pt x="1257" y="1992"/>
                </a:lnTo>
                <a:lnTo>
                  <a:pt x="1267" y="1996"/>
                </a:lnTo>
                <a:lnTo>
                  <a:pt x="1267" y="2001"/>
                </a:lnTo>
                <a:lnTo>
                  <a:pt x="1271" y="2007"/>
                </a:lnTo>
                <a:lnTo>
                  <a:pt x="1278" y="2009"/>
                </a:lnTo>
                <a:lnTo>
                  <a:pt x="1292" y="2018"/>
                </a:lnTo>
                <a:lnTo>
                  <a:pt x="1295" y="2018"/>
                </a:lnTo>
                <a:lnTo>
                  <a:pt x="1304" y="2028"/>
                </a:lnTo>
                <a:lnTo>
                  <a:pt x="1313" y="2032"/>
                </a:lnTo>
                <a:lnTo>
                  <a:pt x="1317" y="2037"/>
                </a:lnTo>
                <a:lnTo>
                  <a:pt x="1320" y="2041"/>
                </a:lnTo>
                <a:lnTo>
                  <a:pt x="1322" y="2043"/>
                </a:lnTo>
                <a:lnTo>
                  <a:pt x="1325" y="2041"/>
                </a:lnTo>
                <a:lnTo>
                  <a:pt x="1325" y="2037"/>
                </a:lnTo>
                <a:lnTo>
                  <a:pt x="1327" y="2036"/>
                </a:lnTo>
                <a:lnTo>
                  <a:pt x="1332" y="2036"/>
                </a:lnTo>
                <a:lnTo>
                  <a:pt x="1334" y="2037"/>
                </a:lnTo>
                <a:lnTo>
                  <a:pt x="1336" y="2041"/>
                </a:lnTo>
                <a:lnTo>
                  <a:pt x="1339" y="2036"/>
                </a:lnTo>
                <a:lnTo>
                  <a:pt x="1352" y="2045"/>
                </a:lnTo>
                <a:lnTo>
                  <a:pt x="1354" y="2048"/>
                </a:lnTo>
                <a:lnTo>
                  <a:pt x="1356" y="2052"/>
                </a:lnTo>
                <a:lnTo>
                  <a:pt x="1360" y="2055"/>
                </a:lnTo>
                <a:lnTo>
                  <a:pt x="1354" y="2055"/>
                </a:lnTo>
                <a:lnTo>
                  <a:pt x="1350" y="2060"/>
                </a:lnTo>
                <a:lnTo>
                  <a:pt x="1304" y="2190"/>
                </a:lnTo>
                <a:lnTo>
                  <a:pt x="1263" y="2303"/>
                </a:lnTo>
                <a:lnTo>
                  <a:pt x="1263" y="2388"/>
                </a:lnTo>
                <a:lnTo>
                  <a:pt x="1267" y="2389"/>
                </a:lnTo>
                <a:lnTo>
                  <a:pt x="1261" y="2415"/>
                </a:lnTo>
                <a:lnTo>
                  <a:pt x="1261" y="2580"/>
                </a:lnTo>
                <a:lnTo>
                  <a:pt x="1234" y="2580"/>
                </a:lnTo>
                <a:lnTo>
                  <a:pt x="1111" y="2579"/>
                </a:lnTo>
                <a:lnTo>
                  <a:pt x="1111" y="2582"/>
                </a:lnTo>
                <a:lnTo>
                  <a:pt x="1109" y="2582"/>
                </a:lnTo>
                <a:lnTo>
                  <a:pt x="1109" y="2581"/>
                </a:lnTo>
                <a:lnTo>
                  <a:pt x="1106" y="2582"/>
                </a:lnTo>
                <a:lnTo>
                  <a:pt x="1106" y="2588"/>
                </a:lnTo>
                <a:lnTo>
                  <a:pt x="1101" y="2590"/>
                </a:lnTo>
                <a:lnTo>
                  <a:pt x="1104" y="2593"/>
                </a:lnTo>
                <a:lnTo>
                  <a:pt x="1110" y="2593"/>
                </a:lnTo>
                <a:lnTo>
                  <a:pt x="1110" y="2594"/>
                </a:lnTo>
                <a:lnTo>
                  <a:pt x="1106" y="2594"/>
                </a:lnTo>
                <a:lnTo>
                  <a:pt x="1106" y="2597"/>
                </a:lnTo>
                <a:lnTo>
                  <a:pt x="1107" y="2601"/>
                </a:lnTo>
                <a:lnTo>
                  <a:pt x="1112" y="2601"/>
                </a:lnTo>
                <a:lnTo>
                  <a:pt x="1115" y="2612"/>
                </a:lnTo>
                <a:lnTo>
                  <a:pt x="1122" y="2617"/>
                </a:lnTo>
                <a:lnTo>
                  <a:pt x="1128" y="2625"/>
                </a:lnTo>
                <a:lnTo>
                  <a:pt x="1128" y="2629"/>
                </a:lnTo>
                <a:lnTo>
                  <a:pt x="1125" y="2632"/>
                </a:lnTo>
                <a:lnTo>
                  <a:pt x="1128" y="2638"/>
                </a:lnTo>
                <a:lnTo>
                  <a:pt x="1139" y="2643"/>
                </a:lnTo>
                <a:lnTo>
                  <a:pt x="1147" y="2646"/>
                </a:lnTo>
                <a:lnTo>
                  <a:pt x="1151" y="2647"/>
                </a:lnTo>
                <a:lnTo>
                  <a:pt x="1160" y="2651"/>
                </a:lnTo>
                <a:lnTo>
                  <a:pt x="1162" y="2655"/>
                </a:lnTo>
                <a:lnTo>
                  <a:pt x="1165" y="2664"/>
                </a:lnTo>
                <a:lnTo>
                  <a:pt x="1170" y="2672"/>
                </a:lnTo>
                <a:lnTo>
                  <a:pt x="1178" y="2681"/>
                </a:lnTo>
                <a:lnTo>
                  <a:pt x="1178" y="2696"/>
                </a:lnTo>
                <a:lnTo>
                  <a:pt x="1178" y="2699"/>
                </a:lnTo>
                <a:lnTo>
                  <a:pt x="1192" y="2718"/>
                </a:lnTo>
                <a:lnTo>
                  <a:pt x="1189" y="2722"/>
                </a:lnTo>
                <a:lnTo>
                  <a:pt x="1187" y="2728"/>
                </a:lnTo>
                <a:lnTo>
                  <a:pt x="1179" y="2739"/>
                </a:lnTo>
                <a:lnTo>
                  <a:pt x="1178" y="2745"/>
                </a:lnTo>
                <a:lnTo>
                  <a:pt x="1175" y="2750"/>
                </a:lnTo>
                <a:lnTo>
                  <a:pt x="1168" y="2781"/>
                </a:lnTo>
                <a:lnTo>
                  <a:pt x="1170" y="2792"/>
                </a:lnTo>
                <a:lnTo>
                  <a:pt x="1168" y="2806"/>
                </a:lnTo>
                <a:lnTo>
                  <a:pt x="1172" y="2820"/>
                </a:lnTo>
                <a:lnTo>
                  <a:pt x="1175" y="2837"/>
                </a:lnTo>
                <a:lnTo>
                  <a:pt x="1175" y="2845"/>
                </a:lnTo>
                <a:lnTo>
                  <a:pt x="1174" y="2847"/>
                </a:lnTo>
                <a:lnTo>
                  <a:pt x="1167" y="2849"/>
                </a:lnTo>
                <a:lnTo>
                  <a:pt x="1161" y="2855"/>
                </a:lnTo>
                <a:lnTo>
                  <a:pt x="1151" y="2857"/>
                </a:lnTo>
                <a:lnTo>
                  <a:pt x="1147" y="2859"/>
                </a:lnTo>
                <a:lnTo>
                  <a:pt x="1140" y="2868"/>
                </a:lnTo>
                <a:lnTo>
                  <a:pt x="1131" y="2875"/>
                </a:lnTo>
                <a:lnTo>
                  <a:pt x="1128" y="2883"/>
                </a:lnTo>
                <a:lnTo>
                  <a:pt x="1128" y="2887"/>
                </a:lnTo>
                <a:lnTo>
                  <a:pt x="1125" y="2893"/>
                </a:lnTo>
                <a:lnTo>
                  <a:pt x="1122" y="2896"/>
                </a:lnTo>
                <a:lnTo>
                  <a:pt x="1120" y="2897"/>
                </a:lnTo>
                <a:lnTo>
                  <a:pt x="1111" y="2897"/>
                </a:lnTo>
                <a:lnTo>
                  <a:pt x="1103" y="2896"/>
                </a:lnTo>
                <a:lnTo>
                  <a:pt x="1093" y="2888"/>
                </a:lnTo>
                <a:lnTo>
                  <a:pt x="1086" y="2885"/>
                </a:lnTo>
                <a:lnTo>
                  <a:pt x="1081" y="2878"/>
                </a:lnTo>
                <a:lnTo>
                  <a:pt x="1064" y="2866"/>
                </a:lnTo>
                <a:lnTo>
                  <a:pt x="1053" y="2851"/>
                </a:lnTo>
                <a:lnTo>
                  <a:pt x="1047" y="2849"/>
                </a:lnTo>
                <a:lnTo>
                  <a:pt x="1039" y="2853"/>
                </a:lnTo>
                <a:lnTo>
                  <a:pt x="1037" y="2851"/>
                </a:lnTo>
                <a:lnTo>
                  <a:pt x="1036" y="2849"/>
                </a:lnTo>
                <a:lnTo>
                  <a:pt x="1032" y="2849"/>
                </a:lnTo>
                <a:lnTo>
                  <a:pt x="1030" y="2849"/>
                </a:lnTo>
                <a:lnTo>
                  <a:pt x="1026" y="2857"/>
                </a:lnTo>
                <a:lnTo>
                  <a:pt x="1024" y="2859"/>
                </a:lnTo>
                <a:lnTo>
                  <a:pt x="1016" y="2860"/>
                </a:lnTo>
                <a:lnTo>
                  <a:pt x="1012" y="2860"/>
                </a:lnTo>
                <a:lnTo>
                  <a:pt x="1004" y="2857"/>
                </a:lnTo>
                <a:lnTo>
                  <a:pt x="1000" y="2853"/>
                </a:lnTo>
                <a:lnTo>
                  <a:pt x="994" y="2841"/>
                </a:lnTo>
                <a:lnTo>
                  <a:pt x="991" y="2841"/>
                </a:lnTo>
                <a:lnTo>
                  <a:pt x="990" y="2843"/>
                </a:lnTo>
                <a:lnTo>
                  <a:pt x="991" y="2849"/>
                </a:lnTo>
                <a:lnTo>
                  <a:pt x="989" y="2853"/>
                </a:lnTo>
                <a:lnTo>
                  <a:pt x="987" y="2860"/>
                </a:lnTo>
                <a:lnTo>
                  <a:pt x="986" y="2863"/>
                </a:lnTo>
                <a:lnTo>
                  <a:pt x="982" y="2865"/>
                </a:lnTo>
                <a:lnTo>
                  <a:pt x="977" y="2868"/>
                </a:lnTo>
                <a:lnTo>
                  <a:pt x="966" y="2871"/>
                </a:lnTo>
                <a:lnTo>
                  <a:pt x="962" y="2871"/>
                </a:lnTo>
                <a:lnTo>
                  <a:pt x="958" y="2870"/>
                </a:lnTo>
                <a:lnTo>
                  <a:pt x="957" y="2868"/>
                </a:lnTo>
                <a:lnTo>
                  <a:pt x="955" y="2868"/>
                </a:lnTo>
                <a:lnTo>
                  <a:pt x="955" y="2871"/>
                </a:lnTo>
                <a:lnTo>
                  <a:pt x="952" y="2874"/>
                </a:lnTo>
                <a:lnTo>
                  <a:pt x="952" y="2871"/>
                </a:lnTo>
                <a:lnTo>
                  <a:pt x="951" y="2871"/>
                </a:lnTo>
                <a:lnTo>
                  <a:pt x="951" y="2875"/>
                </a:lnTo>
                <a:lnTo>
                  <a:pt x="949" y="2878"/>
                </a:lnTo>
                <a:lnTo>
                  <a:pt x="949" y="2879"/>
                </a:lnTo>
                <a:lnTo>
                  <a:pt x="943" y="2883"/>
                </a:lnTo>
                <a:lnTo>
                  <a:pt x="944" y="2887"/>
                </a:lnTo>
                <a:lnTo>
                  <a:pt x="941" y="2890"/>
                </a:lnTo>
                <a:lnTo>
                  <a:pt x="940" y="2893"/>
                </a:lnTo>
                <a:lnTo>
                  <a:pt x="930" y="2896"/>
                </a:lnTo>
                <a:lnTo>
                  <a:pt x="929" y="2892"/>
                </a:lnTo>
                <a:lnTo>
                  <a:pt x="926" y="2893"/>
                </a:lnTo>
                <a:lnTo>
                  <a:pt x="921" y="2893"/>
                </a:lnTo>
                <a:lnTo>
                  <a:pt x="921" y="2897"/>
                </a:lnTo>
                <a:lnTo>
                  <a:pt x="921" y="2902"/>
                </a:lnTo>
                <a:lnTo>
                  <a:pt x="919" y="2905"/>
                </a:lnTo>
                <a:lnTo>
                  <a:pt x="911" y="2905"/>
                </a:lnTo>
                <a:lnTo>
                  <a:pt x="910" y="2902"/>
                </a:lnTo>
                <a:lnTo>
                  <a:pt x="907" y="2897"/>
                </a:lnTo>
                <a:lnTo>
                  <a:pt x="900" y="2900"/>
                </a:lnTo>
                <a:lnTo>
                  <a:pt x="896" y="2902"/>
                </a:lnTo>
                <a:lnTo>
                  <a:pt x="893" y="2902"/>
                </a:lnTo>
                <a:lnTo>
                  <a:pt x="889" y="2905"/>
                </a:lnTo>
                <a:lnTo>
                  <a:pt x="889" y="2910"/>
                </a:lnTo>
                <a:lnTo>
                  <a:pt x="886" y="2912"/>
                </a:lnTo>
                <a:lnTo>
                  <a:pt x="886" y="2920"/>
                </a:lnTo>
                <a:lnTo>
                  <a:pt x="883" y="2924"/>
                </a:lnTo>
                <a:lnTo>
                  <a:pt x="883" y="2930"/>
                </a:lnTo>
                <a:lnTo>
                  <a:pt x="882" y="2934"/>
                </a:lnTo>
                <a:lnTo>
                  <a:pt x="874" y="2940"/>
                </a:lnTo>
                <a:lnTo>
                  <a:pt x="875" y="2942"/>
                </a:lnTo>
                <a:lnTo>
                  <a:pt x="871" y="2942"/>
                </a:lnTo>
                <a:lnTo>
                  <a:pt x="868" y="2942"/>
                </a:lnTo>
                <a:lnTo>
                  <a:pt x="865" y="2941"/>
                </a:lnTo>
                <a:lnTo>
                  <a:pt x="861" y="2942"/>
                </a:lnTo>
                <a:lnTo>
                  <a:pt x="857" y="2942"/>
                </a:lnTo>
                <a:lnTo>
                  <a:pt x="852" y="2945"/>
                </a:lnTo>
                <a:lnTo>
                  <a:pt x="850" y="2945"/>
                </a:lnTo>
                <a:lnTo>
                  <a:pt x="847" y="2946"/>
                </a:lnTo>
                <a:lnTo>
                  <a:pt x="844" y="2950"/>
                </a:lnTo>
                <a:lnTo>
                  <a:pt x="840" y="2954"/>
                </a:lnTo>
                <a:lnTo>
                  <a:pt x="840" y="2958"/>
                </a:lnTo>
                <a:lnTo>
                  <a:pt x="836" y="2959"/>
                </a:lnTo>
                <a:lnTo>
                  <a:pt x="833" y="2962"/>
                </a:lnTo>
                <a:lnTo>
                  <a:pt x="823" y="2963"/>
                </a:lnTo>
                <a:lnTo>
                  <a:pt x="821" y="2965"/>
                </a:lnTo>
                <a:lnTo>
                  <a:pt x="821" y="2971"/>
                </a:lnTo>
                <a:lnTo>
                  <a:pt x="818" y="2977"/>
                </a:lnTo>
                <a:lnTo>
                  <a:pt x="819" y="2980"/>
                </a:lnTo>
                <a:lnTo>
                  <a:pt x="823" y="2986"/>
                </a:lnTo>
                <a:lnTo>
                  <a:pt x="832" y="2987"/>
                </a:lnTo>
                <a:lnTo>
                  <a:pt x="833" y="2995"/>
                </a:lnTo>
                <a:lnTo>
                  <a:pt x="877" y="3039"/>
                </a:lnTo>
                <a:lnTo>
                  <a:pt x="882" y="3054"/>
                </a:lnTo>
                <a:lnTo>
                  <a:pt x="891" y="3062"/>
                </a:lnTo>
                <a:lnTo>
                  <a:pt x="904" y="3093"/>
                </a:lnTo>
                <a:lnTo>
                  <a:pt x="904" y="3102"/>
                </a:lnTo>
                <a:lnTo>
                  <a:pt x="907" y="3106"/>
                </a:lnTo>
                <a:lnTo>
                  <a:pt x="910" y="3111"/>
                </a:lnTo>
                <a:lnTo>
                  <a:pt x="918" y="3115"/>
                </a:lnTo>
                <a:lnTo>
                  <a:pt x="922" y="3119"/>
                </a:lnTo>
                <a:lnTo>
                  <a:pt x="918" y="3121"/>
                </a:lnTo>
                <a:lnTo>
                  <a:pt x="908" y="3123"/>
                </a:lnTo>
                <a:lnTo>
                  <a:pt x="900" y="3128"/>
                </a:lnTo>
                <a:lnTo>
                  <a:pt x="897" y="3137"/>
                </a:lnTo>
                <a:lnTo>
                  <a:pt x="889" y="3137"/>
                </a:lnTo>
                <a:lnTo>
                  <a:pt x="891" y="3141"/>
                </a:lnTo>
                <a:lnTo>
                  <a:pt x="889" y="3145"/>
                </a:lnTo>
                <a:lnTo>
                  <a:pt x="889" y="3148"/>
                </a:lnTo>
                <a:lnTo>
                  <a:pt x="887" y="3149"/>
                </a:lnTo>
                <a:lnTo>
                  <a:pt x="887" y="3151"/>
                </a:lnTo>
                <a:lnTo>
                  <a:pt x="886" y="3152"/>
                </a:lnTo>
                <a:lnTo>
                  <a:pt x="908" y="3182"/>
                </a:lnTo>
                <a:lnTo>
                  <a:pt x="904" y="3186"/>
                </a:lnTo>
                <a:lnTo>
                  <a:pt x="889" y="3238"/>
                </a:lnTo>
                <a:lnTo>
                  <a:pt x="926" y="3269"/>
                </a:lnTo>
                <a:lnTo>
                  <a:pt x="977" y="3315"/>
                </a:lnTo>
                <a:lnTo>
                  <a:pt x="996" y="3331"/>
                </a:lnTo>
                <a:lnTo>
                  <a:pt x="1043" y="3334"/>
                </a:lnTo>
                <a:lnTo>
                  <a:pt x="1036" y="3347"/>
                </a:lnTo>
                <a:lnTo>
                  <a:pt x="1029" y="3381"/>
                </a:lnTo>
                <a:lnTo>
                  <a:pt x="1033" y="3386"/>
                </a:lnTo>
                <a:lnTo>
                  <a:pt x="1036" y="3388"/>
                </a:lnTo>
                <a:lnTo>
                  <a:pt x="1036" y="3390"/>
                </a:lnTo>
                <a:lnTo>
                  <a:pt x="1036" y="3392"/>
                </a:lnTo>
                <a:lnTo>
                  <a:pt x="1046" y="3399"/>
                </a:lnTo>
                <a:lnTo>
                  <a:pt x="1054" y="3404"/>
                </a:lnTo>
                <a:lnTo>
                  <a:pt x="1055" y="3406"/>
                </a:lnTo>
                <a:lnTo>
                  <a:pt x="1061" y="3407"/>
                </a:lnTo>
                <a:lnTo>
                  <a:pt x="1072" y="3414"/>
                </a:lnTo>
                <a:lnTo>
                  <a:pt x="1089" y="3421"/>
                </a:lnTo>
                <a:lnTo>
                  <a:pt x="1092" y="3469"/>
                </a:lnTo>
                <a:lnTo>
                  <a:pt x="1096" y="3473"/>
                </a:lnTo>
                <a:lnTo>
                  <a:pt x="1100" y="3474"/>
                </a:lnTo>
                <a:lnTo>
                  <a:pt x="1103" y="3479"/>
                </a:lnTo>
                <a:lnTo>
                  <a:pt x="1107" y="3479"/>
                </a:lnTo>
                <a:lnTo>
                  <a:pt x="1109" y="3480"/>
                </a:lnTo>
                <a:lnTo>
                  <a:pt x="1115" y="3481"/>
                </a:lnTo>
                <a:lnTo>
                  <a:pt x="1124" y="3484"/>
                </a:lnTo>
                <a:lnTo>
                  <a:pt x="1125" y="3485"/>
                </a:lnTo>
                <a:lnTo>
                  <a:pt x="1134" y="3488"/>
                </a:lnTo>
                <a:lnTo>
                  <a:pt x="1135" y="3489"/>
                </a:lnTo>
                <a:lnTo>
                  <a:pt x="1147" y="3489"/>
                </a:lnTo>
                <a:lnTo>
                  <a:pt x="1153" y="3492"/>
                </a:lnTo>
                <a:lnTo>
                  <a:pt x="1156" y="3496"/>
                </a:lnTo>
                <a:lnTo>
                  <a:pt x="1161" y="3497"/>
                </a:lnTo>
                <a:lnTo>
                  <a:pt x="1171" y="3497"/>
                </a:lnTo>
                <a:lnTo>
                  <a:pt x="1176" y="3493"/>
                </a:lnTo>
                <a:lnTo>
                  <a:pt x="1179" y="3493"/>
                </a:lnTo>
                <a:lnTo>
                  <a:pt x="1187" y="3497"/>
                </a:lnTo>
                <a:lnTo>
                  <a:pt x="1190" y="3499"/>
                </a:lnTo>
                <a:lnTo>
                  <a:pt x="1195" y="3508"/>
                </a:lnTo>
                <a:lnTo>
                  <a:pt x="1210" y="3518"/>
                </a:lnTo>
                <a:lnTo>
                  <a:pt x="1211" y="3525"/>
                </a:lnTo>
                <a:lnTo>
                  <a:pt x="1220" y="3530"/>
                </a:lnTo>
                <a:lnTo>
                  <a:pt x="1222" y="3538"/>
                </a:lnTo>
                <a:lnTo>
                  <a:pt x="1225" y="3541"/>
                </a:lnTo>
                <a:lnTo>
                  <a:pt x="1231" y="3542"/>
                </a:lnTo>
                <a:lnTo>
                  <a:pt x="1235" y="3597"/>
                </a:lnTo>
                <a:lnTo>
                  <a:pt x="1226" y="3707"/>
                </a:lnTo>
                <a:lnTo>
                  <a:pt x="1297" y="3707"/>
                </a:lnTo>
                <a:lnTo>
                  <a:pt x="1306" y="3707"/>
                </a:lnTo>
                <a:lnTo>
                  <a:pt x="1403" y="3766"/>
                </a:lnTo>
                <a:lnTo>
                  <a:pt x="1394" y="3809"/>
                </a:lnTo>
                <a:lnTo>
                  <a:pt x="1348" y="3837"/>
                </a:lnTo>
                <a:lnTo>
                  <a:pt x="1342" y="3870"/>
                </a:lnTo>
                <a:lnTo>
                  <a:pt x="1342" y="3882"/>
                </a:lnTo>
                <a:lnTo>
                  <a:pt x="1332" y="3890"/>
                </a:lnTo>
                <a:lnTo>
                  <a:pt x="1327" y="3899"/>
                </a:lnTo>
                <a:lnTo>
                  <a:pt x="1322" y="3911"/>
                </a:lnTo>
                <a:lnTo>
                  <a:pt x="1320" y="3952"/>
                </a:lnTo>
                <a:lnTo>
                  <a:pt x="1321" y="3956"/>
                </a:lnTo>
                <a:lnTo>
                  <a:pt x="1314" y="3957"/>
                </a:lnTo>
                <a:lnTo>
                  <a:pt x="1290" y="3957"/>
                </a:lnTo>
                <a:lnTo>
                  <a:pt x="1286" y="3953"/>
                </a:lnTo>
                <a:lnTo>
                  <a:pt x="1284" y="3953"/>
                </a:lnTo>
                <a:lnTo>
                  <a:pt x="1281" y="3953"/>
                </a:lnTo>
                <a:lnTo>
                  <a:pt x="1276" y="3957"/>
                </a:lnTo>
                <a:lnTo>
                  <a:pt x="1270" y="3960"/>
                </a:lnTo>
                <a:lnTo>
                  <a:pt x="1268" y="3965"/>
                </a:lnTo>
                <a:lnTo>
                  <a:pt x="1263" y="3966"/>
                </a:lnTo>
                <a:lnTo>
                  <a:pt x="1261" y="3969"/>
                </a:lnTo>
                <a:lnTo>
                  <a:pt x="1261" y="3975"/>
                </a:lnTo>
                <a:lnTo>
                  <a:pt x="1263" y="3979"/>
                </a:lnTo>
                <a:lnTo>
                  <a:pt x="1263" y="3983"/>
                </a:lnTo>
                <a:lnTo>
                  <a:pt x="1264" y="3987"/>
                </a:lnTo>
                <a:lnTo>
                  <a:pt x="1263" y="3995"/>
                </a:lnTo>
                <a:lnTo>
                  <a:pt x="1260" y="3998"/>
                </a:lnTo>
                <a:lnTo>
                  <a:pt x="1259" y="4004"/>
                </a:lnTo>
                <a:lnTo>
                  <a:pt x="1256" y="4006"/>
                </a:lnTo>
                <a:lnTo>
                  <a:pt x="1251" y="4006"/>
                </a:lnTo>
                <a:lnTo>
                  <a:pt x="1250" y="4008"/>
                </a:lnTo>
                <a:lnTo>
                  <a:pt x="1250" y="4012"/>
                </a:lnTo>
                <a:lnTo>
                  <a:pt x="1253" y="4013"/>
                </a:lnTo>
                <a:lnTo>
                  <a:pt x="1254" y="4015"/>
                </a:lnTo>
                <a:lnTo>
                  <a:pt x="1253" y="4016"/>
                </a:lnTo>
                <a:lnTo>
                  <a:pt x="1250" y="4019"/>
                </a:lnTo>
                <a:lnTo>
                  <a:pt x="1250" y="4023"/>
                </a:lnTo>
                <a:lnTo>
                  <a:pt x="1246" y="4024"/>
                </a:lnTo>
                <a:lnTo>
                  <a:pt x="1243" y="4028"/>
                </a:lnTo>
                <a:lnTo>
                  <a:pt x="1240" y="4028"/>
                </a:lnTo>
                <a:lnTo>
                  <a:pt x="1237" y="4027"/>
                </a:lnTo>
                <a:lnTo>
                  <a:pt x="1234" y="4027"/>
                </a:lnTo>
                <a:lnTo>
                  <a:pt x="1229" y="4032"/>
                </a:lnTo>
                <a:lnTo>
                  <a:pt x="1222" y="4032"/>
                </a:lnTo>
                <a:lnTo>
                  <a:pt x="1218" y="4035"/>
                </a:lnTo>
                <a:lnTo>
                  <a:pt x="1209" y="4037"/>
                </a:lnTo>
                <a:lnTo>
                  <a:pt x="1204" y="4040"/>
                </a:lnTo>
                <a:lnTo>
                  <a:pt x="1199" y="4037"/>
                </a:lnTo>
                <a:lnTo>
                  <a:pt x="1199" y="4035"/>
                </a:lnTo>
                <a:lnTo>
                  <a:pt x="1190" y="4032"/>
                </a:lnTo>
                <a:lnTo>
                  <a:pt x="1182" y="4024"/>
                </a:lnTo>
                <a:lnTo>
                  <a:pt x="1176" y="4024"/>
                </a:lnTo>
                <a:lnTo>
                  <a:pt x="1175" y="4020"/>
                </a:lnTo>
                <a:lnTo>
                  <a:pt x="1170" y="4020"/>
                </a:lnTo>
                <a:lnTo>
                  <a:pt x="1168" y="4021"/>
                </a:lnTo>
                <a:lnTo>
                  <a:pt x="1167" y="4021"/>
                </a:lnTo>
                <a:lnTo>
                  <a:pt x="1161" y="4018"/>
                </a:lnTo>
                <a:lnTo>
                  <a:pt x="1154" y="4019"/>
                </a:lnTo>
                <a:lnTo>
                  <a:pt x="1146" y="4018"/>
                </a:lnTo>
                <a:lnTo>
                  <a:pt x="1145" y="4015"/>
                </a:lnTo>
                <a:lnTo>
                  <a:pt x="1139" y="4016"/>
                </a:lnTo>
                <a:lnTo>
                  <a:pt x="1137" y="4021"/>
                </a:lnTo>
                <a:lnTo>
                  <a:pt x="1128" y="4024"/>
                </a:lnTo>
                <a:lnTo>
                  <a:pt x="1128" y="4027"/>
                </a:lnTo>
                <a:lnTo>
                  <a:pt x="1128" y="4032"/>
                </a:lnTo>
                <a:lnTo>
                  <a:pt x="1124" y="4036"/>
                </a:lnTo>
                <a:lnTo>
                  <a:pt x="1117" y="4040"/>
                </a:lnTo>
                <a:lnTo>
                  <a:pt x="1112" y="4038"/>
                </a:lnTo>
                <a:lnTo>
                  <a:pt x="1104" y="4045"/>
                </a:lnTo>
                <a:lnTo>
                  <a:pt x="1101" y="4047"/>
                </a:lnTo>
                <a:lnTo>
                  <a:pt x="1096" y="4043"/>
                </a:lnTo>
                <a:lnTo>
                  <a:pt x="1090" y="4041"/>
                </a:lnTo>
                <a:lnTo>
                  <a:pt x="1083" y="4036"/>
                </a:lnTo>
                <a:lnTo>
                  <a:pt x="1078" y="4037"/>
                </a:lnTo>
                <a:lnTo>
                  <a:pt x="1075" y="4032"/>
                </a:lnTo>
                <a:lnTo>
                  <a:pt x="1069" y="4032"/>
                </a:lnTo>
                <a:lnTo>
                  <a:pt x="1065" y="4035"/>
                </a:lnTo>
                <a:lnTo>
                  <a:pt x="1060" y="4027"/>
                </a:lnTo>
                <a:lnTo>
                  <a:pt x="1053" y="4024"/>
                </a:lnTo>
                <a:lnTo>
                  <a:pt x="1044" y="4021"/>
                </a:lnTo>
                <a:lnTo>
                  <a:pt x="1043" y="4020"/>
                </a:lnTo>
                <a:lnTo>
                  <a:pt x="1044" y="4015"/>
                </a:lnTo>
                <a:lnTo>
                  <a:pt x="1039" y="4012"/>
                </a:lnTo>
                <a:lnTo>
                  <a:pt x="1029" y="4012"/>
                </a:lnTo>
                <a:lnTo>
                  <a:pt x="1024" y="4019"/>
                </a:lnTo>
                <a:lnTo>
                  <a:pt x="1014" y="4021"/>
                </a:lnTo>
                <a:lnTo>
                  <a:pt x="1012" y="4021"/>
                </a:lnTo>
                <a:lnTo>
                  <a:pt x="1008" y="4019"/>
                </a:lnTo>
                <a:lnTo>
                  <a:pt x="1005" y="4018"/>
                </a:lnTo>
                <a:lnTo>
                  <a:pt x="1002" y="4019"/>
                </a:lnTo>
                <a:lnTo>
                  <a:pt x="999" y="4021"/>
                </a:lnTo>
                <a:lnTo>
                  <a:pt x="987" y="4021"/>
                </a:lnTo>
                <a:lnTo>
                  <a:pt x="983" y="4020"/>
                </a:lnTo>
                <a:lnTo>
                  <a:pt x="975" y="4019"/>
                </a:lnTo>
                <a:lnTo>
                  <a:pt x="969" y="4013"/>
                </a:lnTo>
                <a:lnTo>
                  <a:pt x="957" y="4015"/>
                </a:lnTo>
                <a:lnTo>
                  <a:pt x="954" y="4013"/>
                </a:lnTo>
                <a:lnTo>
                  <a:pt x="951" y="4010"/>
                </a:lnTo>
                <a:lnTo>
                  <a:pt x="944" y="4010"/>
                </a:lnTo>
                <a:lnTo>
                  <a:pt x="941" y="4008"/>
                </a:lnTo>
                <a:lnTo>
                  <a:pt x="940" y="4008"/>
                </a:lnTo>
                <a:lnTo>
                  <a:pt x="929" y="4010"/>
                </a:lnTo>
                <a:lnTo>
                  <a:pt x="927" y="4012"/>
                </a:lnTo>
                <a:lnTo>
                  <a:pt x="921" y="4013"/>
                </a:lnTo>
                <a:lnTo>
                  <a:pt x="910" y="4019"/>
                </a:lnTo>
                <a:lnTo>
                  <a:pt x="908" y="4023"/>
                </a:lnTo>
                <a:lnTo>
                  <a:pt x="904" y="4024"/>
                </a:lnTo>
                <a:lnTo>
                  <a:pt x="899" y="4035"/>
                </a:lnTo>
                <a:lnTo>
                  <a:pt x="893" y="4038"/>
                </a:lnTo>
                <a:lnTo>
                  <a:pt x="887" y="4038"/>
                </a:lnTo>
                <a:lnTo>
                  <a:pt x="882" y="4044"/>
                </a:lnTo>
                <a:lnTo>
                  <a:pt x="880" y="4047"/>
                </a:lnTo>
                <a:lnTo>
                  <a:pt x="882" y="4050"/>
                </a:lnTo>
                <a:lnTo>
                  <a:pt x="877" y="4062"/>
                </a:lnTo>
                <a:lnTo>
                  <a:pt x="875" y="4062"/>
                </a:lnTo>
                <a:lnTo>
                  <a:pt x="872" y="4061"/>
                </a:lnTo>
                <a:lnTo>
                  <a:pt x="862" y="4069"/>
                </a:lnTo>
                <a:lnTo>
                  <a:pt x="861" y="4069"/>
                </a:lnTo>
                <a:lnTo>
                  <a:pt x="858" y="4066"/>
                </a:lnTo>
                <a:lnTo>
                  <a:pt x="857" y="4068"/>
                </a:lnTo>
                <a:lnTo>
                  <a:pt x="847" y="4073"/>
                </a:lnTo>
                <a:lnTo>
                  <a:pt x="841" y="4075"/>
                </a:lnTo>
                <a:lnTo>
                  <a:pt x="832" y="4080"/>
                </a:lnTo>
                <a:lnTo>
                  <a:pt x="822" y="4087"/>
                </a:lnTo>
                <a:lnTo>
                  <a:pt x="818" y="4087"/>
                </a:lnTo>
                <a:lnTo>
                  <a:pt x="812" y="4083"/>
                </a:lnTo>
                <a:lnTo>
                  <a:pt x="808" y="4086"/>
                </a:lnTo>
                <a:lnTo>
                  <a:pt x="802" y="4087"/>
                </a:lnTo>
                <a:lnTo>
                  <a:pt x="800" y="4087"/>
                </a:lnTo>
                <a:lnTo>
                  <a:pt x="797" y="4085"/>
                </a:lnTo>
                <a:lnTo>
                  <a:pt x="794" y="4083"/>
                </a:lnTo>
                <a:lnTo>
                  <a:pt x="790" y="4083"/>
                </a:lnTo>
                <a:lnTo>
                  <a:pt x="786" y="4085"/>
                </a:lnTo>
                <a:lnTo>
                  <a:pt x="775" y="4090"/>
                </a:lnTo>
                <a:lnTo>
                  <a:pt x="770" y="4102"/>
                </a:lnTo>
                <a:lnTo>
                  <a:pt x="767" y="4103"/>
                </a:lnTo>
                <a:lnTo>
                  <a:pt x="759" y="4108"/>
                </a:lnTo>
                <a:lnTo>
                  <a:pt x="747" y="4111"/>
                </a:lnTo>
                <a:lnTo>
                  <a:pt x="742" y="4111"/>
                </a:lnTo>
                <a:lnTo>
                  <a:pt x="733" y="4103"/>
                </a:lnTo>
                <a:lnTo>
                  <a:pt x="729" y="4106"/>
                </a:lnTo>
                <a:lnTo>
                  <a:pt x="726" y="4103"/>
                </a:lnTo>
                <a:lnTo>
                  <a:pt x="723" y="4102"/>
                </a:lnTo>
                <a:lnTo>
                  <a:pt x="717" y="4099"/>
                </a:lnTo>
                <a:lnTo>
                  <a:pt x="716" y="4094"/>
                </a:lnTo>
                <a:lnTo>
                  <a:pt x="709" y="4087"/>
                </a:lnTo>
                <a:lnTo>
                  <a:pt x="705" y="4087"/>
                </a:lnTo>
                <a:lnTo>
                  <a:pt x="700" y="4085"/>
                </a:lnTo>
                <a:lnTo>
                  <a:pt x="697" y="4085"/>
                </a:lnTo>
                <a:lnTo>
                  <a:pt x="690" y="4089"/>
                </a:lnTo>
                <a:lnTo>
                  <a:pt x="686" y="4089"/>
                </a:lnTo>
                <a:lnTo>
                  <a:pt x="683" y="4087"/>
                </a:lnTo>
                <a:lnTo>
                  <a:pt x="663" y="4091"/>
                </a:lnTo>
                <a:lnTo>
                  <a:pt x="656" y="4095"/>
                </a:lnTo>
                <a:lnTo>
                  <a:pt x="656" y="4099"/>
                </a:lnTo>
                <a:lnTo>
                  <a:pt x="648" y="4103"/>
                </a:lnTo>
                <a:lnTo>
                  <a:pt x="645" y="4107"/>
                </a:lnTo>
                <a:lnTo>
                  <a:pt x="640" y="4111"/>
                </a:lnTo>
                <a:lnTo>
                  <a:pt x="636" y="4118"/>
                </a:lnTo>
                <a:lnTo>
                  <a:pt x="633" y="4118"/>
                </a:lnTo>
                <a:lnTo>
                  <a:pt x="630" y="4118"/>
                </a:lnTo>
                <a:lnTo>
                  <a:pt x="626" y="4118"/>
                </a:lnTo>
                <a:lnTo>
                  <a:pt x="625" y="4120"/>
                </a:lnTo>
                <a:lnTo>
                  <a:pt x="625" y="4122"/>
                </a:lnTo>
                <a:lnTo>
                  <a:pt x="622" y="4125"/>
                </a:lnTo>
                <a:lnTo>
                  <a:pt x="616" y="4125"/>
                </a:lnTo>
                <a:lnTo>
                  <a:pt x="613" y="4124"/>
                </a:lnTo>
                <a:lnTo>
                  <a:pt x="609" y="4124"/>
                </a:lnTo>
                <a:lnTo>
                  <a:pt x="609" y="4128"/>
                </a:lnTo>
                <a:lnTo>
                  <a:pt x="605" y="4131"/>
                </a:lnTo>
                <a:lnTo>
                  <a:pt x="598" y="4140"/>
                </a:lnTo>
                <a:lnTo>
                  <a:pt x="584" y="4144"/>
                </a:lnTo>
                <a:lnTo>
                  <a:pt x="581" y="4148"/>
                </a:lnTo>
                <a:lnTo>
                  <a:pt x="581" y="4152"/>
                </a:lnTo>
                <a:lnTo>
                  <a:pt x="577" y="4155"/>
                </a:lnTo>
                <a:lnTo>
                  <a:pt x="576" y="4159"/>
                </a:lnTo>
                <a:lnTo>
                  <a:pt x="572" y="4162"/>
                </a:lnTo>
                <a:lnTo>
                  <a:pt x="566" y="4162"/>
                </a:lnTo>
                <a:lnTo>
                  <a:pt x="565" y="4165"/>
                </a:lnTo>
                <a:lnTo>
                  <a:pt x="565" y="4173"/>
                </a:lnTo>
                <a:lnTo>
                  <a:pt x="556" y="4174"/>
                </a:lnTo>
                <a:lnTo>
                  <a:pt x="548" y="4174"/>
                </a:lnTo>
                <a:lnTo>
                  <a:pt x="541" y="4170"/>
                </a:lnTo>
                <a:lnTo>
                  <a:pt x="534" y="4170"/>
                </a:lnTo>
                <a:lnTo>
                  <a:pt x="526" y="4167"/>
                </a:lnTo>
                <a:lnTo>
                  <a:pt x="520" y="4169"/>
                </a:lnTo>
                <a:lnTo>
                  <a:pt x="513" y="4167"/>
                </a:lnTo>
                <a:lnTo>
                  <a:pt x="498" y="4167"/>
                </a:lnTo>
                <a:lnTo>
                  <a:pt x="494" y="4165"/>
                </a:lnTo>
                <a:lnTo>
                  <a:pt x="492" y="4162"/>
                </a:lnTo>
                <a:lnTo>
                  <a:pt x="490" y="4159"/>
                </a:lnTo>
                <a:lnTo>
                  <a:pt x="480" y="4159"/>
                </a:lnTo>
                <a:lnTo>
                  <a:pt x="478" y="4156"/>
                </a:lnTo>
                <a:lnTo>
                  <a:pt x="476" y="4156"/>
                </a:lnTo>
                <a:lnTo>
                  <a:pt x="473" y="4150"/>
                </a:lnTo>
                <a:lnTo>
                  <a:pt x="473" y="4148"/>
                </a:lnTo>
                <a:lnTo>
                  <a:pt x="480" y="4136"/>
                </a:lnTo>
                <a:lnTo>
                  <a:pt x="478" y="4134"/>
                </a:lnTo>
                <a:lnTo>
                  <a:pt x="477" y="4130"/>
                </a:lnTo>
                <a:lnTo>
                  <a:pt x="471" y="4122"/>
                </a:lnTo>
                <a:lnTo>
                  <a:pt x="471" y="4118"/>
                </a:lnTo>
                <a:lnTo>
                  <a:pt x="473" y="4117"/>
                </a:lnTo>
                <a:lnTo>
                  <a:pt x="471" y="4115"/>
                </a:lnTo>
                <a:lnTo>
                  <a:pt x="463" y="4108"/>
                </a:lnTo>
                <a:lnTo>
                  <a:pt x="459" y="4108"/>
                </a:lnTo>
                <a:lnTo>
                  <a:pt x="455" y="4106"/>
                </a:lnTo>
                <a:lnTo>
                  <a:pt x="451" y="4106"/>
                </a:lnTo>
                <a:lnTo>
                  <a:pt x="440" y="4099"/>
                </a:lnTo>
                <a:lnTo>
                  <a:pt x="435" y="4094"/>
                </a:lnTo>
                <a:lnTo>
                  <a:pt x="432" y="4094"/>
                </a:lnTo>
                <a:lnTo>
                  <a:pt x="428" y="4099"/>
                </a:lnTo>
                <a:lnTo>
                  <a:pt x="424" y="4098"/>
                </a:lnTo>
                <a:lnTo>
                  <a:pt x="423" y="4099"/>
                </a:lnTo>
                <a:lnTo>
                  <a:pt x="415" y="4111"/>
                </a:lnTo>
                <a:lnTo>
                  <a:pt x="412" y="4112"/>
                </a:lnTo>
                <a:lnTo>
                  <a:pt x="405" y="4112"/>
                </a:lnTo>
                <a:lnTo>
                  <a:pt x="398" y="4108"/>
                </a:lnTo>
                <a:lnTo>
                  <a:pt x="391" y="4106"/>
                </a:lnTo>
                <a:lnTo>
                  <a:pt x="385" y="4107"/>
                </a:lnTo>
                <a:lnTo>
                  <a:pt x="382" y="4111"/>
                </a:lnTo>
                <a:lnTo>
                  <a:pt x="377" y="4110"/>
                </a:lnTo>
                <a:lnTo>
                  <a:pt x="373" y="4114"/>
                </a:lnTo>
                <a:lnTo>
                  <a:pt x="368" y="4112"/>
                </a:lnTo>
                <a:lnTo>
                  <a:pt x="363" y="4108"/>
                </a:lnTo>
                <a:lnTo>
                  <a:pt x="363" y="4106"/>
                </a:lnTo>
                <a:lnTo>
                  <a:pt x="357" y="4103"/>
                </a:lnTo>
                <a:lnTo>
                  <a:pt x="355" y="4099"/>
                </a:lnTo>
                <a:lnTo>
                  <a:pt x="351" y="4095"/>
                </a:lnTo>
                <a:lnTo>
                  <a:pt x="349" y="4094"/>
                </a:lnTo>
                <a:lnTo>
                  <a:pt x="345" y="4091"/>
                </a:lnTo>
                <a:lnTo>
                  <a:pt x="340" y="4093"/>
                </a:lnTo>
                <a:lnTo>
                  <a:pt x="332" y="4090"/>
                </a:lnTo>
                <a:lnTo>
                  <a:pt x="332" y="4087"/>
                </a:lnTo>
                <a:lnTo>
                  <a:pt x="334" y="4085"/>
                </a:lnTo>
                <a:lnTo>
                  <a:pt x="328" y="4075"/>
                </a:lnTo>
                <a:lnTo>
                  <a:pt x="309" y="4065"/>
                </a:lnTo>
                <a:lnTo>
                  <a:pt x="303" y="4063"/>
                </a:lnTo>
                <a:lnTo>
                  <a:pt x="296" y="4063"/>
                </a:lnTo>
                <a:lnTo>
                  <a:pt x="284" y="4060"/>
                </a:lnTo>
                <a:lnTo>
                  <a:pt x="278" y="4053"/>
                </a:lnTo>
                <a:lnTo>
                  <a:pt x="278" y="4050"/>
                </a:lnTo>
                <a:lnTo>
                  <a:pt x="280" y="4049"/>
                </a:lnTo>
                <a:lnTo>
                  <a:pt x="280" y="4045"/>
                </a:lnTo>
                <a:lnTo>
                  <a:pt x="273" y="4041"/>
                </a:lnTo>
                <a:lnTo>
                  <a:pt x="267" y="4037"/>
                </a:lnTo>
                <a:lnTo>
                  <a:pt x="259" y="4035"/>
                </a:lnTo>
                <a:lnTo>
                  <a:pt x="253" y="4036"/>
                </a:lnTo>
                <a:lnTo>
                  <a:pt x="252" y="4032"/>
                </a:lnTo>
                <a:lnTo>
                  <a:pt x="250" y="4035"/>
                </a:lnTo>
                <a:lnTo>
                  <a:pt x="249" y="4035"/>
                </a:lnTo>
                <a:lnTo>
                  <a:pt x="245" y="4035"/>
                </a:lnTo>
                <a:lnTo>
                  <a:pt x="239" y="4032"/>
                </a:lnTo>
                <a:lnTo>
                  <a:pt x="235" y="4031"/>
                </a:lnTo>
                <a:lnTo>
                  <a:pt x="232" y="4028"/>
                </a:lnTo>
                <a:lnTo>
                  <a:pt x="231" y="4021"/>
                </a:lnTo>
                <a:lnTo>
                  <a:pt x="228" y="4021"/>
                </a:lnTo>
                <a:lnTo>
                  <a:pt x="213" y="4024"/>
                </a:lnTo>
                <a:lnTo>
                  <a:pt x="205" y="4027"/>
                </a:lnTo>
                <a:lnTo>
                  <a:pt x="185" y="4020"/>
                </a:lnTo>
                <a:lnTo>
                  <a:pt x="177" y="4023"/>
                </a:lnTo>
                <a:lnTo>
                  <a:pt x="171" y="4023"/>
                </a:lnTo>
                <a:lnTo>
                  <a:pt x="167" y="4024"/>
                </a:lnTo>
                <a:lnTo>
                  <a:pt x="161" y="4024"/>
                </a:lnTo>
                <a:lnTo>
                  <a:pt x="157" y="4024"/>
                </a:lnTo>
                <a:lnTo>
                  <a:pt x="153" y="4020"/>
                </a:lnTo>
                <a:lnTo>
                  <a:pt x="149" y="4015"/>
                </a:lnTo>
                <a:lnTo>
                  <a:pt x="143" y="4012"/>
                </a:lnTo>
                <a:lnTo>
                  <a:pt x="138" y="4006"/>
                </a:lnTo>
                <a:lnTo>
                  <a:pt x="127" y="4002"/>
                </a:lnTo>
                <a:lnTo>
                  <a:pt x="121" y="3994"/>
                </a:lnTo>
                <a:lnTo>
                  <a:pt x="120" y="3987"/>
                </a:lnTo>
                <a:lnTo>
                  <a:pt x="117" y="3987"/>
                </a:lnTo>
                <a:lnTo>
                  <a:pt x="111" y="3983"/>
                </a:lnTo>
                <a:lnTo>
                  <a:pt x="107" y="3982"/>
                </a:lnTo>
                <a:lnTo>
                  <a:pt x="102" y="3975"/>
                </a:lnTo>
                <a:lnTo>
                  <a:pt x="92" y="3970"/>
                </a:lnTo>
                <a:lnTo>
                  <a:pt x="88" y="3957"/>
                </a:lnTo>
                <a:lnTo>
                  <a:pt x="68" y="3928"/>
                </a:lnTo>
                <a:lnTo>
                  <a:pt x="53" y="3908"/>
                </a:lnTo>
                <a:lnTo>
                  <a:pt x="44" y="3890"/>
                </a:lnTo>
                <a:lnTo>
                  <a:pt x="27" y="3873"/>
                </a:lnTo>
                <a:lnTo>
                  <a:pt x="22" y="3862"/>
                </a:lnTo>
                <a:lnTo>
                  <a:pt x="32" y="3849"/>
                </a:lnTo>
                <a:lnTo>
                  <a:pt x="32" y="3844"/>
                </a:lnTo>
                <a:lnTo>
                  <a:pt x="0" y="3817"/>
                </a:lnTo>
                <a:lnTo>
                  <a:pt x="13" y="3792"/>
                </a:lnTo>
                <a:lnTo>
                  <a:pt x="29" y="3777"/>
                </a:lnTo>
                <a:lnTo>
                  <a:pt x="53" y="3750"/>
                </a:lnTo>
                <a:lnTo>
                  <a:pt x="58" y="3744"/>
                </a:lnTo>
                <a:lnTo>
                  <a:pt x="63" y="3740"/>
                </a:lnTo>
                <a:lnTo>
                  <a:pt x="92" y="3701"/>
                </a:lnTo>
                <a:lnTo>
                  <a:pt x="121" y="3634"/>
                </a:lnTo>
                <a:lnTo>
                  <a:pt x="121" y="3631"/>
                </a:lnTo>
                <a:lnTo>
                  <a:pt x="122" y="3618"/>
                </a:lnTo>
                <a:lnTo>
                  <a:pt x="122" y="3617"/>
                </a:lnTo>
                <a:lnTo>
                  <a:pt x="106" y="3547"/>
                </a:lnTo>
                <a:lnTo>
                  <a:pt x="104" y="3498"/>
                </a:lnTo>
                <a:lnTo>
                  <a:pt x="100" y="3459"/>
                </a:lnTo>
                <a:lnTo>
                  <a:pt x="96" y="3444"/>
                </a:lnTo>
                <a:lnTo>
                  <a:pt x="96" y="3440"/>
                </a:lnTo>
                <a:lnTo>
                  <a:pt x="95" y="3432"/>
                </a:lnTo>
                <a:lnTo>
                  <a:pt x="102" y="3399"/>
                </a:lnTo>
                <a:lnTo>
                  <a:pt x="153" y="3357"/>
                </a:lnTo>
                <a:lnTo>
                  <a:pt x="161" y="3354"/>
                </a:lnTo>
                <a:lnTo>
                  <a:pt x="216" y="3354"/>
                </a:lnTo>
                <a:lnTo>
                  <a:pt x="225" y="3354"/>
                </a:lnTo>
                <a:lnTo>
                  <a:pt x="234" y="3355"/>
                </a:lnTo>
                <a:lnTo>
                  <a:pt x="249" y="3343"/>
                </a:lnTo>
                <a:lnTo>
                  <a:pt x="260" y="3324"/>
                </a:lnTo>
                <a:lnTo>
                  <a:pt x="274" y="3298"/>
                </a:lnTo>
                <a:lnTo>
                  <a:pt x="298" y="3261"/>
                </a:lnTo>
                <a:lnTo>
                  <a:pt x="316" y="3239"/>
                </a:lnTo>
                <a:lnTo>
                  <a:pt x="331" y="3223"/>
                </a:lnTo>
                <a:lnTo>
                  <a:pt x="338" y="3215"/>
                </a:lnTo>
                <a:lnTo>
                  <a:pt x="346" y="3205"/>
                </a:lnTo>
                <a:lnTo>
                  <a:pt x="349" y="3186"/>
                </a:lnTo>
                <a:lnTo>
                  <a:pt x="355" y="3176"/>
                </a:lnTo>
                <a:lnTo>
                  <a:pt x="371" y="3160"/>
                </a:lnTo>
                <a:lnTo>
                  <a:pt x="399" y="3133"/>
                </a:lnTo>
                <a:lnTo>
                  <a:pt x="396" y="3124"/>
                </a:lnTo>
                <a:lnTo>
                  <a:pt x="402" y="3096"/>
                </a:lnTo>
                <a:lnTo>
                  <a:pt x="388" y="3089"/>
                </a:lnTo>
                <a:lnTo>
                  <a:pt x="380" y="3079"/>
                </a:lnTo>
                <a:lnTo>
                  <a:pt x="387" y="3065"/>
                </a:lnTo>
                <a:lnTo>
                  <a:pt x="406" y="3056"/>
                </a:lnTo>
                <a:lnTo>
                  <a:pt x="405" y="3048"/>
                </a:lnTo>
                <a:lnTo>
                  <a:pt x="393" y="3029"/>
                </a:lnTo>
                <a:lnTo>
                  <a:pt x="403" y="2991"/>
                </a:lnTo>
                <a:lnTo>
                  <a:pt x="405" y="2991"/>
                </a:lnTo>
                <a:lnTo>
                  <a:pt x="413" y="2986"/>
                </a:lnTo>
                <a:lnTo>
                  <a:pt x="418" y="2986"/>
                </a:lnTo>
                <a:lnTo>
                  <a:pt x="424" y="2995"/>
                </a:lnTo>
                <a:lnTo>
                  <a:pt x="437" y="2999"/>
                </a:lnTo>
                <a:lnTo>
                  <a:pt x="445" y="2995"/>
                </a:lnTo>
                <a:lnTo>
                  <a:pt x="443" y="2962"/>
                </a:lnTo>
                <a:lnTo>
                  <a:pt x="440" y="2950"/>
                </a:lnTo>
                <a:lnTo>
                  <a:pt x="445" y="2942"/>
                </a:lnTo>
                <a:lnTo>
                  <a:pt x="452" y="2938"/>
                </a:lnTo>
                <a:lnTo>
                  <a:pt x="473" y="2935"/>
                </a:lnTo>
                <a:lnTo>
                  <a:pt x="510" y="2922"/>
                </a:lnTo>
                <a:lnTo>
                  <a:pt x="517" y="2919"/>
                </a:lnTo>
                <a:lnTo>
                  <a:pt x="530" y="2871"/>
                </a:lnTo>
                <a:lnTo>
                  <a:pt x="531" y="2849"/>
                </a:lnTo>
                <a:lnTo>
                  <a:pt x="548" y="2770"/>
                </a:lnTo>
                <a:lnTo>
                  <a:pt x="547" y="2759"/>
                </a:lnTo>
                <a:lnTo>
                  <a:pt x="553" y="2741"/>
                </a:lnTo>
                <a:lnTo>
                  <a:pt x="552" y="2729"/>
                </a:lnTo>
                <a:lnTo>
                  <a:pt x="547" y="2722"/>
                </a:lnTo>
                <a:lnTo>
                  <a:pt x="540" y="2714"/>
                </a:lnTo>
                <a:lnTo>
                  <a:pt x="496" y="2696"/>
                </a:lnTo>
                <a:lnTo>
                  <a:pt x="476" y="2681"/>
                </a:lnTo>
                <a:lnTo>
                  <a:pt x="474" y="2672"/>
                </a:lnTo>
                <a:lnTo>
                  <a:pt x="492" y="2655"/>
                </a:lnTo>
                <a:lnTo>
                  <a:pt x="492" y="2639"/>
                </a:lnTo>
                <a:lnTo>
                  <a:pt x="484" y="2625"/>
                </a:lnTo>
                <a:lnTo>
                  <a:pt x="478" y="2625"/>
                </a:lnTo>
                <a:lnTo>
                  <a:pt x="466" y="2635"/>
                </a:lnTo>
                <a:lnTo>
                  <a:pt x="452" y="2639"/>
                </a:lnTo>
                <a:lnTo>
                  <a:pt x="420" y="2650"/>
                </a:lnTo>
                <a:lnTo>
                  <a:pt x="388" y="2650"/>
                </a:lnTo>
                <a:lnTo>
                  <a:pt x="377" y="2643"/>
                </a:lnTo>
                <a:lnTo>
                  <a:pt x="377" y="2635"/>
                </a:lnTo>
                <a:lnTo>
                  <a:pt x="390" y="2606"/>
                </a:lnTo>
                <a:lnTo>
                  <a:pt x="391" y="2601"/>
                </a:lnTo>
                <a:lnTo>
                  <a:pt x="387" y="2589"/>
                </a:lnTo>
                <a:lnTo>
                  <a:pt x="391" y="2542"/>
                </a:lnTo>
                <a:lnTo>
                  <a:pt x="390" y="2535"/>
                </a:lnTo>
                <a:lnTo>
                  <a:pt x="381" y="2523"/>
                </a:lnTo>
                <a:lnTo>
                  <a:pt x="381" y="2512"/>
                </a:lnTo>
                <a:lnTo>
                  <a:pt x="384" y="2490"/>
                </a:lnTo>
                <a:lnTo>
                  <a:pt x="384" y="2482"/>
                </a:lnTo>
                <a:lnTo>
                  <a:pt x="343" y="2481"/>
                </a:lnTo>
                <a:lnTo>
                  <a:pt x="330" y="2468"/>
                </a:lnTo>
                <a:lnTo>
                  <a:pt x="332" y="2445"/>
                </a:lnTo>
                <a:lnTo>
                  <a:pt x="331" y="2428"/>
                </a:lnTo>
                <a:lnTo>
                  <a:pt x="337" y="2416"/>
                </a:lnTo>
                <a:lnTo>
                  <a:pt x="337" y="2407"/>
                </a:lnTo>
                <a:lnTo>
                  <a:pt x="332" y="2402"/>
                </a:lnTo>
                <a:lnTo>
                  <a:pt x="331" y="2399"/>
                </a:lnTo>
                <a:lnTo>
                  <a:pt x="328" y="2397"/>
                </a:lnTo>
                <a:lnTo>
                  <a:pt x="330" y="2389"/>
                </a:lnTo>
                <a:lnTo>
                  <a:pt x="356" y="2369"/>
                </a:lnTo>
                <a:lnTo>
                  <a:pt x="388" y="2336"/>
                </a:lnTo>
                <a:lnTo>
                  <a:pt x="391" y="2323"/>
                </a:lnTo>
                <a:lnTo>
                  <a:pt x="388" y="2286"/>
                </a:lnTo>
                <a:lnTo>
                  <a:pt x="390" y="2277"/>
                </a:lnTo>
                <a:lnTo>
                  <a:pt x="391" y="2276"/>
                </a:lnTo>
                <a:lnTo>
                  <a:pt x="398" y="2242"/>
                </a:lnTo>
                <a:lnTo>
                  <a:pt x="410" y="2190"/>
                </a:lnTo>
                <a:lnTo>
                  <a:pt x="410" y="2178"/>
                </a:lnTo>
                <a:lnTo>
                  <a:pt x="406" y="2166"/>
                </a:lnTo>
                <a:lnTo>
                  <a:pt x="395" y="2161"/>
                </a:lnTo>
                <a:lnTo>
                  <a:pt x="390" y="2152"/>
                </a:lnTo>
                <a:lnTo>
                  <a:pt x="385" y="2119"/>
                </a:lnTo>
                <a:lnTo>
                  <a:pt x="376" y="2112"/>
                </a:lnTo>
                <a:lnTo>
                  <a:pt x="366" y="2113"/>
                </a:lnTo>
                <a:lnTo>
                  <a:pt x="356" y="2113"/>
                </a:lnTo>
                <a:lnTo>
                  <a:pt x="351" y="2113"/>
                </a:lnTo>
                <a:lnTo>
                  <a:pt x="342" y="2115"/>
                </a:lnTo>
                <a:lnTo>
                  <a:pt x="320" y="2123"/>
                </a:lnTo>
                <a:lnTo>
                  <a:pt x="302" y="2123"/>
                </a:lnTo>
                <a:lnTo>
                  <a:pt x="287" y="2119"/>
                </a:lnTo>
                <a:lnTo>
                  <a:pt x="281" y="2115"/>
                </a:lnTo>
                <a:lnTo>
                  <a:pt x="276" y="2100"/>
                </a:lnTo>
                <a:lnTo>
                  <a:pt x="268" y="2052"/>
                </a:lnTo>
                <a:lnTo>
                  <a:pt x="271" y="2048"/>
                </a:lnTo>
                <a:lnTo>
                  <a:pt x="273" y="2048"/>
                </a:lnTo>
                <a:lnTo>
                  <a:pt x="288" y="2043"/>
                </a:lnTo>
                <a:lnTo>
                  <a:pt x="292" y="2040"/>
                </a:lnTo>
                <a:lnTo>
                  <a:pt x="288" y="2011"/>
                </a:lnTo>
                <a:lnTo>
                  <a:pt x="271" y="1984"/>
                </a:lnTo>
                <a:lnTo>
                  <a:pt x="271" y="1975"/>
                </a:lnTo>
                <a:lnTo>
                  <a:pt x="278" y="1966"/>
                </a:lnTo>
                <a:lnTo>
                  <a:pt x="299" y="1953"/>
                </a:lnTo>
                <a:lnTo>
                  <a:pt x="306" y="1953"/>
                </a:lnTo>
                <a:lnTo>
                  <a:pt x="316" y="1950"/>
                </a:lnTo>
                <a:lnTo>
                  <a:pt x="330" y="1938"/>
                </a:lnTo>
                <a:lnTo>
                  <a:pt x="370" y="1921"/>
                </a:lnTo>
                <a:lnTo>
                  <a:pt x="382" y="1921"/>
                </a:lnTo>
                <a:lnTo>
                  <a:pt x="410" y="1936"/>
                </a:lnTo>
                <a:lnTo>
                  <a:pt x="423" y="1936"/>
                </a:lnTo>
                <a:lnTo>
                  <a:pt x="445" y="1920"/>
                </a:lnTo>
                <a:lnTo>
                  <a:pt x="451" y="1912"/>
                </a:lnTo>
                <a:lnTo>
                  <a:pt x="455" y="1894"/>
                </a:lnTo>
                <a:lnTo>
                  <a:pt x="468" y="1864"/>
                </a:lnTo>
                <a:lnTo>
                  <a:pt x="473" y="1856"/>
                </a:lnTo>
                <a:lnTo>
                  <a:pt x="471" y="1850"/>
                </a:lnTo>
                <a:lnTo>
                  <a:pt x="437" y="1796"/>
                </a:lnTo>
                <a:lnTo>
                  <a:pt x="428" y="1771"/>
                </a:lnTo>
                <a:lnTo>
                  <a:pt x="417" y="1762"/>
                </a:lnTo>
                <a:lnTo>
                  <a:pt x="426" y="1744"/>
                </a:lnTo>
                <a:lnTo>
                  <a:pt x="424" y="1732"/>
                </a:lnTo>
                <a:lnTo>
                  <a:pt x="416" y="1715"/>
                </a:lnTo>
                <a:lnTo>
                  <a:pt x="421" y="1704"/>
                </a:lnTo>
                <a:lnTo>
                  <a:pt x="428" y="1702"/>
                </a:lnTo>
                <a:lnTo>
                  <a:pt x="432" y="1696"/>
                </a:lnTo>
                <a:lnTo>
                  <a:pt x="441" y="1700"/>
                </a:lnTo>
                <a:lnTo>
                  <a:pt x="465" y="1690"/>
                </a:lnTo>
                <a:lnTo>
                  <a:pt x="477" y="1680"/>
                </a:lnTo>
                <a:lnTo>
                  <a:pt x="492" y="1689"/>
                </a:lnTo>
                <a:lnTo>
                  <a:pt x="520" y="1677"/>
                </a:lnTo>
                <a:lnTo>
                  <a:pt x="527" y="1663"/>
                </a:lnTo>
                <a:lnTo>
                  <a:pt x="527" y="1653"/>
                </a:lnTo>
                <a:lnTo>
                  <a:pt x="522" y="1643"/>
                </a:lnTo>
                <a:lnTo>
                  <a:pt x="528" y="1610"/>
                </a:lnTo>
                <a:lnTo>
                  <a:pt x="547" y="1601"/>
                </a:lnTo>
                <a:lnTo>
                  <a:pt x="548" y="1600"/>
                </a:lnTo>
                <a:lnTo>
                  <a:pt x="549" y="1596"/>
                </a:lnTo>
                <a:lnTo>
                  <a:pt x="553" y="1586"/>
                </a:lnTo>
                <a:lnTo>
                  <a:pt x="540" y="1572"/>
                </a:lnTo>
                <a:lnTo>
                  <a:pt x="541" y="1564"/>
                </a:lnTo>
                <a:lnTo>
                  <a:pt x="534" y="1557"/>
                </a:lnTo>
                <a:lnTo>
                  <a:pt x="519" y="1552"/>
                </a:lnTo>
                <a:lnTo>
                  <a:pt x="510" y="1539"/>
                </a:lnTo>
                <a:lnTo>
                  <a:pt x="508" y="1515"/>
                </a:lnTo>
                <a:lnTo>
                  <a:pt x="516" y="1489"/>
                </a:lnTo>
                <a:lnTo>
                  <a:pt x="516" y="1479"/>
                </a:lnTo>
                <a:lnTo>
                  <a:pt x="508" y="1460"/>
                </a:lnTo>
                <a:lnTo>
                  <a:pt x="508" y="1459"/>
                </a:lnTo>
                <a:lnTo>
                  <a:pt x="508" y="1456"/>
                </a:lnTo>
                <a:lnTo>
                  <a:pt x="506" y="1449"/>
                </a:lnTo>
                <a:lnTo>
                  <a:pt x="508" y="1434"/>
                </a:lnTo>
                <a:lnTo>
                  <a:pt x="499" y="1422"/>
                </a:lnTo>
                <a:lnTo>
                  <a:pt x="491" y="1419"/>
                </a:lnTo>
                <a:lnTo>
                  <a:pt x="487" y="1410"/>
                </a:lnTo>
                <a:lnTo>
                  <a:pt x="485" y="1399"/>
                </a:lnTo>
                <a:lnTo>
                  <a:pt x="488" y="1382"/>
                </a:lnTo>
                <a:lnTo>
                  <a:pt x="477" y="1352"/>
                </a:lnTo>
                <a:lnTo>
                  <a:pt x="476" y="1339"/>
                </a:lnTo>
                <a:lnTo>
                  <a:pt x="468" y="1322"/>
                </a:lnTo>
                <a:lnTo>
                  <a:pt x="463" y="1275"/>
                </a:lnTo>
                <a:lnTo>
                  <a:pt x="467" y="1266"/>
                </a:lnTo>
                <a:lnTo>
                  <a:pt x="470" y="1262"/>
                </a:lnTo>
                <a:lnTo>
                  <a:pt x="478" y="1266"/>
                </a:lnTo>
                <a:lnTo>
                  <a:pt x="484" y="1258"/>
                </a:lnTo>
                <a:lnTo>
                  <a:pt x="491" y="1228"/>
                </a:lnTo>
                <a:lnTo>
                  <a:pt x="474" y="1224"/>
                </a:lnTo>
                <a:lnTo>
                  <a:pt x="471" y="1213"/>
                </a:lnTo>
                <a:lnTo>
                  <a:pt x="471" y="1201"/>
                </a:lnTo>
                <a:lnTo>
                  <a:pt x="478" y="1179"/>
                </a:lnTo>
                <a:lnTo>
                  <a:pt x="477" y="1149"/>
                </a:lnTo>
                <a:lnTo>
                  <a:pt x="484" y="1137"/>
                </a:lnTo>
                <a:lnTo>
                  <a:pt x="501" y="1138"/>
                </a:lnTo>
                <a:lnTo>
                  <a:pt x="517" y="1137"/>
                </a:lnTo>
                <a:lnTo>
                  <a:pt x="519" y="1129"/>
                </a:lnTo>
                <a:lnTo>
                  <a:pt x="522" y="1120"/>
                </a:lnTo>
                <a:lnTo>
                  <a:pt x="520" y="1111"/>
                </a:lnTo>
                <a:lnTo>
                  <a:pt x="530" y="1105"/>
                </a:lnTo>
                <a:lnTo>
                  <a:pt x="530" y="1101"/>
                </a:lnTo>
                <a:lnTo>
                  <a:pt x="523" y="1096"/>
                </a:lnTo>
                <a:lnTo>
                  <a:pt x="510" y="1086"/>
                </a:lnTo>
                <a:lnTo>
                  <a:pt x="510" y="1075"/>
                </a:lnTo>
                <a:lnTo>
                  <a:pt x="512" y="1071"/>
                </a:lnTo>
                <a:lnTo>
                  <a:pt x="519" y="1074"/>
                </a:lnTo>
                <a:lnTo>
                  <a:pt x="526" y="1071"/>
                </a:lnTo>
                <a:lnTo>
                  <a:pt x="520" y="1066"/>
                </a:lnTo>
                <a:lnTo>
                  <a:pt x="519" y="1057"/>
                </a:lnTo>
                <a:lnTo>
                  <a:pt x="523" y="1030"/>
                </a:lnTo>
                <a:lnTo>
                  <a:pt x="530" y="1013"/>
                </a:lnTo>
                <a:lnTo>
                  <a:pt x="541" y="1004"/>
                </a:lnTo>
                <a:lnTo>
                  <a:pt x="544" y="977"/>
                </a:lnTo>
                <a:lnTo>
                  <a:pt x="516" y="950"/>
                </a:lnTo>
                <a:lnTo>
                  <a:pt x="494" y="943"/>
                </a:lnTo>
                <a:lnTo>
                  <a:pt x="488" y="929"/>
                </a:lnTo>
                <a:lnTo>
                  <a:pt x="481" y="920"/>
                </a:lnTo>
                <a:lnTo>
                  <a:pt x="477" y="907"/>
                </a:lnTo>
                <a:lnTo>
                  <a:pt x="478" y="879"/>
                </a:lnTo>
                <a:lnTo>
                  <a:pt x="495" y="858"/>
                </a:lnTo>
                <a:lnTo>
                  <a:pt x="508" y="856"/>
                </a:lnTo>
                <a:lnTo>
                  <a:pt x="510" y="826"/>
                </a:lnTo>
                <a:lnTo>
                  <a:pt x="515" y="813"/>
                </a:lnTo>
                <a:lnTo>
                  <a:pt x="526" y="794"/>
                </a:lnTo>
                <a:lnTo>
                  <a:pt x="545" y="771"/>
                </a:lnTo>
                <a:lnTo>
                  <a:pt x="549" y="763"/>
                </a:lnTo>
                <a:lnTo>
                  <a:pt x="552" y="756"/>
                </a:lnTo>
                <a:lnTo>
                  <a:pt x="553" y="752"/>
                </a:lnTo>
                <a:lnTo>
                  <a:pt x="551" y="750"/>
                </a:lnTo>
                <a:lnTo>
                  <a:pt x="549" y="741"/>
                </a:lnTo>
                <a:lnTo>
                  <a:pt x="548" y="738"/>
                </a:lnTo>
                <a:lnTo>
                  <a:pt x="549" y="734"/>
                </a:lnTo>
                <a:lnTo>
                  <a:pt x="555" y="726"/>
                </a:lnTo>
                <a:lnTo>
                  <a:pt x="562" y="719"/>
                </a:lnTo>
                <a:lnTo>
                  <a:pt x="562" y="711"/>
                </a:lnTo>
                <a:lnTo>
                  <a:pt x="565" y="707"/>
                </a:lnTo>
                <a:lnTo>
                  <a:pt x="566" y="699"/>
                </a:lnTo>
                <a:lnTo>
                  <a:pt x="569" y="696"/>
                </a:lnTo>
                <a:lnTo>
                  <a:pt x="569" y="691"/>
                </a:lnTo>
                <a:lnTo>
                  <a:pt x="573" y="688"/>
                </a:lnTo>
                <a:lnTo>
                  <a:pt x="581" y="684"/>
                </a:lnTo>
                <a:lnTo>
                  <a:pt x="583" y="684"/>
                </a:lnTo>
                <a:lnTo>
                  <a:pt x="583" y="669"/>
                </a:lnTo>
                <a:lnTo>
                  <a:pt x="584" y="661"/>
                </a:lnTo>
                <a:lnTo>
                  <a:pt x="584" y="656"/>
                </a:lnTo>
                <a:lnTo>
                  <a:pt x="581" y="652"/>
                </a:lnTo>
                <a:lnTo>
                  <a:pt x="583" y="648"/>
                </a:lnTo>
                <a:lnTo>
                  <a:pt x="581" y="644"/>
                </a:lnTo>
                <a:lnTo>
                  <a:pt x="583" y="640"/>
                </a:lnTo>
                <a:lnTo>
                  <a:pt x="583" y="636"/>
                </a:lnTo>
                <a:lnTo>
                  <a:pt x="586" y="634"/>
                </a:lnTo>
                <a:lnTo>
                  <a:pt x="594" y="626"/>
                </a:lnTo>
                <a:lnTo>
                  <a:pt x="595" y="624"/>
                </a:lnTo>
                <a:lnTo>
                  <a:pt x="595" y="618"/>
                </a:lnTo>
                <a:lnTo>
                  <a:pt x="597" y="614"/>
                </a:lnTo>
                <a:lnTo>
                  <a:pt x="612" y="602"/>
                </a:lnTo>
                <a:lnTo>
                  <a:pt x="612" y="599"/>
                </a:lnTo>
                <a:lnTo>
                  <a:pt x="611" y="598"/>
                </a:lnTo>
                <a:lnTo>
                  <a:pt x="602" y="595"/>
                </a:lnTo>
                <a:lnTo>
                  <a:pt x="601" y="595"/>
                </a:lnTo>
                <a:lnTo>
                  <a:pt x="600" y="585"/>
                </a:lnTo>
                <a:lnTo>
                  <a:pt x="594" y="581"/>
                </a:lnTo>
                <a:lnTo>
                  <a:pt x="592" y="577"/>
                </a:lnTo>
                <a:lnTo>
                  <a:pt x="594" y="576"/>
                </a:lnTo>
                <a:lnTo>
                  <a:pt x="605" y="572"/>
                </a:lnTo>
                <a:lnTo>
                  <a:pt x="606" y="565"/>
                </a:lnTo>
                <a:lnTo>
                  <a:pt x="613" y="564"/>
                </a:lnTo>
                <a:lnTo>
                  <a:pt x="613" y="554"/>
                </a:lnTo>
                <a:lnTo>
                  <a:pt x="615" y="550"/>
                </a:lnTo>
                <a:lnTo>
                  <a:pt x="625" y="549"/>
                </a:lnTo>
                <a:lnTo>
                  <a:pt x="626" y="543"/>
                </a:lnTo>
                <a:lnTo>
                  <a:pt x="625" y="540"/>
                </a:lnTo>
                <a:lnTo>
                  <a:pt x="626" y="532"/>
                </a:lnTo>
                <a:lnTo>
                  <a:pt x="625" y="524"/>
                </a:lnTo>
                <a:lnTo>
                  <a:pt x="626" y="520"/>
                </a:lnTo>
                <a:lnTo>
                  <a:pt x="633" y="516"/>
                </a:lnTo>
                <a:lnTo>
                  <a:pt x="633" y="514"/>
                </a:lnTo>
                <a:lnTo>
                  <a:pt x="637" y="514"/>
                </a:lnTo>
                <a:lnTo>
                  <a:pt x="638" y="510"/>
                </a:lnTo>
                <a:lnTo>
                  <a:pt x="645" y="510"/>
                </a:lnTo>
                <a:lnTo>
                  <a:pt x="647" y="506"/>
                </a:lnTo>
                <a:lnTo>
                  <a:pt x="662" y="497"/>
                </a:lnTo>
                <a:lnTo>
                  <a:pt x="666" y="493"/>
                </a:lnTo>
                <a:lnTo>
                  <a:pt x="672" y="487"/>
                </a:lnTo>
                <a:lnTo>
                  <a:pt x="675" y="487"/>
                </a:lnTo>
                <a:lnTo>
                  <a:pt x="673" y="486"/>
                </a:lnTo>
                <a:lnTo>
                  <a:pt x="679" y="483"/>
                </a:lnTo>
                <a:lnTo>
                  <a:pt x="680" y="483"/>
                </a:lnTo>
                <a:lnTo>
                  <a:pt x="684" y="479"/>
                </a:lnTo>
                <a:lnTo>
                  <a:pt x="687" y="475"/>
                </a:lnTo>
                <a:lnTo>
                  <a:pt x="686" y="472"/>
                </a:lnTo>
                <a:lnTo>
                  <a:pt x="681" y="465"/>
                </a:lnTo>
                <a:lnTo>
                  <a:pt x="683" y="461"/>
                </a:lnTo>
                <a:lnTo>
                  <a:pt x="691" y="449"/>
                </a:lnTo>
                <a:lnTo>
                  <a:pt x="692" y="438"/>
                </a:lnTo>
                <a:lnTo>
                  <a:pt x="700" y="427"/>
                </a:lnTo>
                <a:lnTo>
                  <a:pt x="700" y="423"/>
                </a:lnTo>
                <a:lnTo>
                  <a:pt x="704" y="412"/>
                </a:lnTo>
                <a:lnTo>
                  <a:pt x="706" y="408"/>
                </a:lnTo>
                <a:lnTo>
                  <a:pt x="712" y="399"/>
                </a:lnTo>
                <a:lnTo>
                  <a:pt x="717" y="393"/>
                </a:lnTo>
                <a:lnTo>
                  <a:pt x="727" y="388"/>
                </a:lnTo>
                <a:lnTo>
                  <a:pt x="731" y="382"/>
                </a:lnTo>
                <a:lnTo>
                  <a:pt x="736" y="378"/>
                </a:lnTo>
                <a:lnTo>
                  <a:pt x="738" y="375"/>
                </a:lnTo>
                <a:lnTo>
                  <a:pt x="741" y="362"/>
                </a:lnTo>
                <a:lnTo>
                  <a:pt x="737" y="356"/>
                </a:lnTo>
                <a:lnTo>
                  <a:pt x="741" y="348"/>
                </a:lnTo>
                <a:lnTo>
                  <a:pt x="742" y="341"/>
                </a:lnTo>
                <a:lnTo>
                  <a:pt x="741" y="333"/>
                </a:lnTo>
                <a:lnTo>
                  <a:pt x="742" y="332"/>
                </a:lnTo>
                <a:lnTo>
                  <a:pt x="747" y="321"/>
                </a:lnTo>
                <a:lnTo>
                  <a:pt x="747" y="315"/>
                </a:lnTo>
                <a:lnTo>
                  <a:pt x="748" y="307"/>
                </a:lnTo>
                <a:lnTo>
                  <a:pt x="752" y="303"/>
                </a:lnTo>
                <a:lnTo>
                  <a:pt x="752" y="295"/>
                </a:lnTo>
                <a:lnTo>
                  <a:pt x="761" y="288"/>
                </a:lnTo>
                <a:lnTo>
                  <a:pt x="759" y="283"/>
                </a:lnTo>
                <a:lnTo>
                  <a:pt x="763" y="276"/>
                </a:lnTo>
                <a:lnTo>
                  <a:pt x="767" y="274"/>
                </a:lnTo>
                <a:lnTo>
                  <a:pt x="769" y="274"/>
                </a:lnTo>
                <a:lnTo>
                  <a:pt x="769" y="270"/>
                </a:lnTo>
                <a:lnTo>
                  <a:pt x="767" y="266"/>
                </a:lnTo>
                <a:lnTo>
                  <a:pt x="772" y="258"/>
                </a:lnTo>
                <a:lnTo>
                  <a:pt x="780" y="251"/>
                </a:lnTo>
                <a:lnTo>
                  <a:pt x="780" y="254"/>
                </a:lnTo>
                <a:lnTo>
                  <a:pt x="780" y="250"/>
                </a:lnTo>
                <a:lnTo>
                  <a:pt x="781" y="247"/>
                </a:lnTo>
                <a:lnTo>
                  <a:pt x="786" y="247"/>
                </a:lnTo>
                <a:lnTo>
                  <a:pt x="793" y="247"/>
                </a:lnTo>
                <a:lnTo>
                  <a:pt x="795" y="247"/>
                </a:lnTo>
                <a:lnTo>
                  <a:pt x="801" y="247"/>
                </a:lnTo>
                <a:lnTo>
                  <a:pt x="809" y="242"/>
                </a:lnTo>
                <a:lnTo>
                  <a:pt x="812" y="228"/>
                </a:lnTo>
                <a:lnTo>
                  <a:pt x="818" y="224"/>
                </a:lnTo>
                <a:lnTo>
                  <a:pt x="826" y="221"/>
                </a:lnTo>
                <a:lnTo>
                  <a:pt x="827" y="217"/>
                </a:lnTo>
                <a:lnTo>
                  <a:pt x="827" y="212"/>
                </a:lnTo>
                <a:lnTo>
                  <a:pt x="825" y="207"/>
                </a:lnTo>
                <a:lnTo>
                  <a:pt x="825" y="201"/>
                </a:lnTo>
                <a:lnTo>
                  <a:pt x="833" y="195"/>
                </a:lnTo>
                <a:lnTo>
                  <a:pt x="839" y="189"/>
                </a:lnTo>
                <a:lnTo>
                  <a:pt x="848" y="184"/>
                </a:lnTo>
                <a:lnTo>
                  <a:pt x="851" y="175"/>
                </a:lnTo>
                <a:lnTo>
                  <a:pt x="855" y="172"/>
                </a:lnTo>
                <a:lnTo>
                  <a:pt x="857" y="171"/>
                </a:lnTo>
                <a:lnTo>
                  <a:pt x="860" y="162"/>
                </a:lnTo>
                <a:lnTo>
                  <a:pt x="868" y="160"/>
                </a:lnTo>
                <a:lnTo>
                  <a:pt x="869" y="157"/>
                </a:lnTo>
                <a:lnTo>
                  <a:pt x="866" y="152"/>
                </a:lnTo>
                <a:lnTo>
                  <a:pt x="861" y="146"/>
                </a:lnTo>
                <a:lnTo>
                  <a:pt x="864" y="132"/>
                </a:lnTo>
                <a:lnTo>
                  <a:pt x="862" y="126"/>
                </a:lnTo>
                <a:lnTo>
                  <a:pt x="858" y="120"/>
                </a:lnTo>
                <a:lnTo>
                  <a:pt x="858" y="113"/>
                </a:lnTo>
                <a:lnTo>
                  <a:pt x="860" y="112"/>
                </a:lnTo>
                <a:lnTo>
                  <a:pt x="868" y="112"/>
                </a:lnTo>
                <a:lnTo>
                  <a:pt x="876" y="105"/>
                </a:lnTo>
                <a:lnTo>
                  <a:pt x="877" y="101"/>
                </a:lnTo>
                <a:lnTo>
                  <a:pt x="885" y="90"/>
                </a:lnTo>
                <a:lnTo>
                  <a:pt x="886" y="79"/>
                </a:lnTo>
                <a:lnTo>
                  <a:pt x="887" y="77"/>
                </a:lnTo>
                <a:lnTo>
                  <a:pt x="893" y="73"/>
                </a:lnTo>
                <a:lnTo>
                  <a:pt x="901" y="75"/>
                </a:lnTo>
                <a:lnTo>
                  <a:pt x="912" y="71"/>
                </a:lnTo>
                <a:lnTo>
                  <a:pt x="919" y="56"/>
                </a:lnTo>
                <a:lnTo>
                  <a:pt x="925" y="48"/>
                </a:lnTo>
                <a:lnTo>
                  <a:pt x="930" y="46"/>
                </a:lnTo>
                <a:lnTo>
                  <a:pt x="944" y="42"/>
                </a:lnTo>
                <a:lnTo>
                  <a:pt x="952" y="34"/>
                </a:lnTo>
                <a:lnTo>
                  <a:pt x="957" y="30"/>
                </a:lnTo>
                <a:lnTo>
                  <a:pt x="961" y="30"/>
                </a:lnTo>
                <a:lnTo>
                  <a:pt x="968" y="34"/>
                </a:lnTo>
                <a:lnTo>
                  <a:pt x="974" y="30"/>
                </a:lnTo>
                <a:lnTo>
                  <a:pt x="982" y="29"/>
                </a:lnTo>
                <a:lnTo>
                  <a:pt x="991" y="33"/>
                </a:lnTo>
                <a:lnTo>
                  <a:pt x="994" y="34"/>
                </a:lnTo>
                <a:lnTo>
                  <a:pt x="1004" y="34"/>
                </a:lnTo>
                <a:lnTo>
                  <a:pt x="1012" y="37"/>
                </a:lnTo>
                <a:lnTo>
                  <a:pt x="1018" y="34"/>
                </a:lnTo>
                <a:lnTo>
                  <a:pt x="1021" y="34"/>
                </a:lnTo>
                <a:lnTo>
                  <a:pt x="1027" y="34"/>
                </a:lnTo>
                <a:lnTo>
                  <a:pt x="1030" y="30"/>
                </a:lnTo>
                <a:lnTo>
                  <a:pt x="1040" y="29"/>
                </a:lnTo>
                <a:lnTo>
                  <a:pt x="1053" y="26"/>
                </a:lnTo>
                <a:lnTo>
                  <a:pt x="1061" y="30"/>
                </a:lnTo>
                <a:lnTo>
                  <a:pt x="1069" y="26"/>
                </a:lnTo>
                <a:lnTo>
                  <a:pt x="1074" y="29"/>
                </a:lnTo>
                <a:lnTo>
                  <a:pt x="1078" y="34"/>
                </a:lnTo>
                <a:lnTo>
                  <a:pt x="1083" y="37"/>
                </a:lnTo>
                <a:lnTo>
                  <a:pt x="1087" y="33"/>
                </a:lnTo>
                <a:lnTo>
                  <a:pt x="1089" y="29"/>
                </a:lnTo>
                <a:lnTo>
                  <a:pt x="1092" y="26"/>
                </a:lnTo>
                <a:lnTo>
                  <a:pt x="1093" y="15"/>
                </a:lnTo>
                <a:lnTo>
                  <a:pt x="1103" y="10"/>
                </a:lnTo>
                <a:lnTo>
                  <a:pt x="1109" y="8"/>
                </a:lnTo>
                <a:lnTo>
                  <a:pt x="1112" y="10"/>
                </a:lnTo>
                <a:lnTo>
                  <a:pt x="1125" y="6"/>
                </a:lnTo>
                <a:lnTo>
                  <a:pt x="1129" y="6"/>
                </a:lnTo>
                <a:lnTo>
                  <a:pt x="1135" y="6"/>
                </a:lnTo>
                <a:lnTo>
                  <a:pt x="1146" y="0"/>
                </a:lnTo>
                <a:lnTo>
                  <a:pt x="1156" y="8"/>
                </a:lnTo>
                <a:lnTo>
                  <a:pt x="1164" y="14"/>
                </a:lnTo>
                <a:lnTo>
                  <a:pt x="1184" y="46"/>
                </a:lnTo>
                <a:lnTo>
                  <a:pt x="1190" y="60"/>
                </a:lnTo>
                <a:lnTo>
                  <a:pt x="1197" y="70"/>
                </a:lnTo>
                <a:lnTo>
                  <a:pt x="1210" y="77"/>
                </a:lnTo>
                <a:lnTo>
                  <a:pt x="1220" y="85"/>
                </a:lnTo>
                <a:lnTo>
                  <a:pt x="1229" y="97"/>
                </a:lnTo>
                <a:lnTo>
                  <a:pt x="1234" y="108"/>
                </a:lnTo>
                <a:lnTo>
                  <a:pt x="1240" y="113"/>
                </a:lnTo>
                <a:lnTo>
                  <a:pt x="1242" y="118"/>
                </a:lnTo>
                <a:lnTo>
                  <a:pt x="1246" y="122"/>
                </a:lnTo>
                <a:lnTo>
                  <a:pt x="1263" y="134"/>
                </a:lnTo>
                <a:lnTo>
                  <a:pt x="1271" y="145"/>
                </a:lnTo>
                <a:lnTo>
                  <a:pt x="1278" y="150"/>
                </a:lnTo>
                <a:lnTo>
                  <a:pt x="1285" y="150"/>
                </a:lnTo>
                <a:lnTo>
                  <a:pt x="1303" y="149"/>
                </a:lnTo>
                <a:lnTo>
                  <a:pt x="1311" y="150"/>
                </a:lnTo>
                <a:lnTo>
                  <a:pt x="1313" y="154"/>
                </a:lnTo>
                <a:lnTo>
                  <a:pt x="1310" y="169"/>
                </a:lnTo>
                <a:lnTo>
                  <a:pt x="1310" y="172"/>
                </a:lnTo>
                <a:lnTo>
                  <a:pt x="1315" y="179"/>
                </a:lnTo>
                <a:lnTo>
                  <a:pt x="1321" y="183"/>
                </a:lnTo>
                <a:lnTo>
                  <a:pt x="1328" y="184"/>
                </a:lnTo>
                <a:lnTo>
                  <a:pt x="1352" y="184"/>
                </a:lnTo>
                <a:lnTo>
                  <a:pt x="1364" y="176"/>
                </a:lnTo>
                <a:lnTo>
                  <a:pt x="1368" y="175"/>
                </a:lnTo>
                <a:lnTo>
                  <a:pt x="1381" y="184"/>
                </a:lnTo>
                <a:lnTo>
                  <a:pt x="1385" y="187"/>
                </a:lnTo>
                <a:lnTo>
                  <a:pt x="1406" y="187"/>
                </a:lnTo>
                <a:lnTo>
                  <a:pt x="1417" y="191"/>
                </a:lnTo>
                <a:lnTo>
                  <a:pt x="1424" y="202"/>
                </a:lnTo>
                <a:lnTo>
                  <a:pt x="1436" y="216"/>
                </a:lnTo>
                <a:lnTo>
                  <a:pt x="1452" y="239"/>
                </a:lnTo>
                <a:lnTo>
                  <a:pt x="1463" y="251"/>
                </a:lnTo>
                <a:lnTo>
                  <a:pt x="1477" y="258"/>
                </a:lnTo>
                <a:lnTo>
                  <a:pt x="1483" y="262"/>
                </a:lnTo>
                <a:lnTo>
                  <a:pt x="1516" y="262"/>
                </a:lnTo>
                <a:lnTo>
                  <a:pt x="1520" y="261"/>
                </a:lnTo>
                <a:lnTo>
                  <a:pt x="1523" y="254"/>
                </a:lnTo>
                <a:lnTo>
                  <a:pt x="1538" y="250"/>
                </a:lnTo>
                <a:lnTo>
                  <a:pt x="1544" y="251"/>
                </a:lnTo>
                <a:lnTo>
                  <a:pt x="1552" y="258"/>
                </a:lnTo>
                <a:lnTo>
                  <a:pt x="1573" y="261"/>
                </a:lnTo>
                <a:lnTo>
                  <a:pt x="1594" y="278"/>
                </a:lnTo>
                <a:lnTo>
                  <a:pt x="1602" y="281"/>
                </a:lnTo>
                <a:lnTo>
                  <a:pt x="1617" y="281"/>
                </a:lnTo>
                <a:lnTo>
                  <a:pt x="1671" y="270"/>
                </a:lnTo>
                <a:lnTo>
                  <a:pt x="1677" y="270"/>
                </a:lnTo>
                <a:lnTo>
                  <a:pt x="1683" y="270"/>
                </a:lnTo>
                <a:lnTo>
                  <a:pt x="1690" y="276"/>
                </a:lnTo>
                <a:lnTo>
                  <a:pt x="1698" y="284"/>
                </a:lnTo>
                <a:lnTo>
                  <a:pt x="1706" y="288"/>
                </a:lnTo>
                <a:lnTo>
                  <a:pt x="1708" y="299"/>
                </a:lnTo>
                <a:lnTo>
                  <a:pt x="1706" y="307"/>
                </a:lnTo>
                <a:lnTo>
                  <a:pt x="1709" y="313"/>
                </a:lnTo>
                <a:lnTo>
                  <a:pt x="1713" y="315"/>
                </a:lnTo>
                <a:lnTo>
                  <a:pt x="1721" y="313"/>
                </a:lnTo>
                <a:lnTo>
                  <a:pt x="1730" y="313"/>
                </a:lnTo>
                <a:lnTo>
                  <a:pt x="1745" y="326"/>
                </a:lnTo>
                <a:lnTo>
                  <a:pt x="1748" y="329"/>
                </a:lnTo>
                <a:lnTo>
                  <a:pt x="1743" y="341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55" name="Freeform 54"/>
          <p:cNvSpPr>
            <a:spLocks/>
          </p:cNvSpPr>
          <p:nvPr/>
        </p:nvSpPr>
        <p:spPr bwMode="auto">
          <a:xfrm>
            <a:off x="2232870" y="2181186"/>
            <a:ext cx="996921" cy="1089083"/>
          </a:xfrm>
          <a:custGeom>
            <a:avLst/>
            <a:gdLst>
              <a:gd name="T0" fmla="*/ 3256 w 3320"/>
              <a:gd name="T1" fmla="*/ 378 h 3392"/>
              <a:gd name="T2" fmla="*/ 3215 w 3320"/>
              <a:gd name="T3" fmla="*/ 686 h 3392"/>
              <a:gd name="T4" fmla="*/ 3094 w 3320"/>
              <a:gd name="T5" fmla="*/ 846 h 3392"/>
              <a:gd name="T6" fmla="*/ 2989 w 3320"/>
              <a:gd name="T7" fmla="*/ 966 h 3392"/>
              <a:gd name="T8" fmla="*/ 2957 w 3320"/>
              <a:gd name="T9" fmla="*/ 1091 h 3392"/>
              <a:gd name="T10" fmla="*/ 2970 w 3320"/>
              <a:gd name="T11" fmla="*/ 1212 h 3392"/>
              <a:gd name="T12" fmla="*/ 2930 w 3320"/>
              <a:gd name="T13" fmla="*/ 1364 h 3392"/>
              <a:gd name="T14" fmla="*/ 2995 w 3320"/>
              <a:gd name="T15" fmla="*/ 1501 h 3392"/>
              <a:gd name="T16" fmla="*/ 3107 w 3320"/>
              <a:gd name="T17" fmla="*/ 1535 h 3392"/>
              <a:gd name="T18" fmla="*/ 3076 w 3320"/>
              <a:gd name="T19" fmla="*/ 1608 h 3392"/>
              <a:gd name="T20" fmla="*/ 3006 w 3320"/>
              <a:gd name="T21" fmla="*/ 1692 h 3392"/>
              <a:gd name="T22" fmla="*/ 3057 w 3320"/>
              <a:gd name="T23" fmla="*/ 1933 h 3392"/>
              <a:gd name="T24" fmla="*/ 3099 w 3320"/>
              <a:gd name="T25" fmla="*/ 2068 h 3392"/>
              <a:gd name="T26" fmla="*/ 3163 w 3320"/>
              <a:gd name="T27" fmla="*/ 2181 h 3392"/>
              <a:gd name="T28" fmla="*/ 3240 w 3320"/>
              <a:gd name="T29" fmla="*/ 2289 h 3392"/>
              <a:gd name="T30" fmla="*/ 3096 w 3320"/>
              <a:gd name="T31" fmla="*/ 2374 h 3392"/>
              <a:gd name="T32" fmla="*/ 2878 w 3320"/>
              <a:gd name="T33" fmla="*/ 2459 h 3392"/>
              <a:gd name="T34" fmla="*/ 2686 w 3320"/>
              <a:gd name="T35" fmla="*/ 2423 h 3392"/>
              <a:gd name="T36" fmla="*/ 2575 w 3320"/>
              <a:gd name="T37" fmla="*/ 2526 h 3392"/>
              <a:gd name="T38" fmla="*/ 2423 w 3320"/>
              <a:gd name="T39" fmla="*/ 2619 h 3392"/>
              <a:gd name="T40" fmla="*/ 2254 w 3320"/>
              <a:gd name="T41" fmla="*/ 2679 h 3392"/>
              <a:gd name="T42" fmla="*/ 2066 w 3320"/>
              <a:gd name="T43" fmla="*/ 2805 h 3392"/>
              <a:gd name="T44" fmla="*/ 1969 w 3320"/>
              <a:gd name="T45" fmla="*/ 2912 h 3392"/>
              <a:gd name="T46" fmla="*/ 1888 w 3320"/>
              <a:gd name="T47" fmla="*/ 3041 h 3392"/>
              <a:gd name="T48" fmla="*/ 1821 w 3320"/>
              <a:gd name="T49" fmla="*/ 3133 h 3392"/>
              <a:gd name="T50" fmla="*/ 1710 w 3320"/>
              <a:gd name="T51" fmla="*/ 3207 h 3392"/>
              <a:gd name="T52" fmla="*/ 1652 w 3320"/>
              <a:gd name="T53" fmla="*/ 3230 h 3392"/>
              <a:gd name="T54" fmla="*/ 1616 w 3320"/>
              <a:gd name="T55" fmla="*/ 3238 h 3392"/>
              <a:gd name="T56" fmla="*/ 1606 w 3320"/>
              <a:gd name="T57" fmla="*/ 3256 h 3392"/>
              <a:gd name="T58" fmla="*/ 1588 w 3320"/>
              <a:gd name="T59" fmla="*/ 3277 h 3392"/>
              <a:gd name="T60" fmla="*/ 1577 w 3320"/>
              <a:gd name="T61" fmla="*/ 3295 h 3392"/>
              <a:gd name="T62" fmla="*/ 1558 w 3320"/>
              <a:gd name="T63" fmla="*/ 3314 h 3392"/>
              <a:gd name="T64" fmla="*/ 1540 w 3320"/>
              <a:gd name="T65" fmla="*/ 3339 h 3392"/>
              <a:gd name="T66" fmla="*/ 1557 w 3320"/>
              <a:gd name="T67" fmla="*/ 3370 h 3392"/>
              <a:gd name="T68" fmla="*/ 1458 w 3320"/>
              <a:gd name="T69" fmla="*/ 3367 h 3392"/>
              <a:gd name="T70" fmla="*/ 1429 w 3320"/>
              <a:gd name="T71" fmla="*/ 3356 h 3392"/>
              <a:gd name="T72" fmla="*/ 1141 w 3320"/>
              <a:gd name="T73" fmla="*/ 2647 h 3392"/>
              <a:gd name="T74" fmla="*/ 100 w 3320"/>
              <a:gd name="T75" fmla="*/ 1107 h 3392"/>
              <a:gd name="T76" fmla="*/ 859 w 3320"/>
              <a:gd name="T77" fmla="*/ 244 h 3392"/>
              <a:gd name="T78" fmla="*/ 926 w 3320"/>
              <a:gd name="T79" fmla="*/ 250 h 3392"/>
              <a:gd name="T80" fmla="*/ 984 w 3320"/>
              <a:gd name="T81" fmla="*/ 232 h 3392"/>
              <a:gd name="T82" fmla="*/ 1093 w 3320"/>
              <a:gd name="T83" fmla="*/ 174 h 3392"/>
              <a:gd name="T84" fmla="*/ 1168 w 3320"/>
              <a:gd name="T85" fmla="*/ 143 h 3392"/>
              <a:gd name="T86" fmla="*/ 1278 w 3320"/>
              <a:gd name="T87" fmla="*/ 133 h 3392"/>
              <a:gd name="T88" fmla="*/ 1359 w 3320"/>
              <a:gd name="T89" fmla="*/ 196 h 3392"/>
              <a:gd name="T90" fmla="*/ 1472 w 3320"/>
              <a:gd name="T91" fmla="*/ 230 h 3392"/>
              <a:gd name="T92" fmla="*/ 1489 w 3320"/>
              <a:gd name="T93" fmla="*/ 351 h 3392"/>
              <a:gd name="T94" fmla="*/ 1590 w 3320"/>
              <a:gd name="T95" fmla="*/ 360 h 3392"/>
              <a:gd name="T96" fmla="*/ 1729 w 3320"/>
              <a:gd name="T97" fmla="*/ 374 h 3392"/>
              <a:gd name="T98" fmla="*/ 1837 w 3320"/>
              <a:gd name="T99" fmla="*/ 378 h 3392"/>
              <a:gd name="T100" fmla="*/ 1985 w 3320"/>
              <a:gd name="T101" fmla="*/ 237 h 3392"/>
              <a:gd name="T102" fmla="*/ 2084 w 3320"/>
              <a:gd name="T103" fmla="*/ 267 h 3392"/>
              <a:gd name="T104" fmla="*/ 2215 w 3320"/>
              <a:gd name="T105" fmla="*/ 294 h 3392"/>
              <a:gd name="T106" fmla="*/ 2347 w 3320"/>
              <a:gd name="T107" fmla="*/ 301 h 3392"/>
              <a:gd name="T108" fmla="*/ 2465 w 3320"/>
              <a:gd name="T109" fmla="*/ 338 h 3392"/>
              <a:gd name="T110" fmla="*/ 2604 w 3320"/>
              <a:gd name="T111" fmla="*/ 289 h 3392"/>
              <a:gd name="T112" fmla="*/ 2754 w 3320"/>
              <a:gd name="T113" fmla="*/ 205 h 3392"/>
              <a:gd name="T114" fmla="*/ 2796 w 3320"/>
              <a:gd name="T115" fmla="*/ 41 h 3392"/>
              <a:gd name="T116" fmla="*/ 2909 w 3320"/>
              <a:gd name="T117" fmla="*/ 9 h 3392"/>
              <a:gd name="T118" fmla="*/ 3052 w 3320"/>
              <a:gd name="T119" fmla="*/ 22 h 3392"/>
              <a:gd name="T120" fmla="*/ 3152 w 3320"/>
              <a:gd name="T121" fmla="*/ 41 h 3392"/>
              <a:gd name="T122" fmla="*/ 3276 w 3320"/>
              <a:gd name="T123" fmla="*/ 112 h 339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320"/>
              <a:gd name="T187" fmla="*/ 0 h 3392"/>
              <a:gd name="T188" fmla="*/ 3320 w 3320"/>
              <a:gd name="T189" fmla="*/ 3392 h 339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320" h="3392">
                <a:moveTo>
                  <a:pt x="3312" y="147"/>
                </a:moveTo>
                <a:lnTo>
                  <a:pt x="3309" y="150"/>
                </a:lnTo>
                <a:lnTo>
                  <a:pt x="3299" y="163"/>
                </a:lnTo>
                <a:lnTo>
                  <a:pt x="3291" y="182"/>
                </a:lnTo>
                <a:lnTo>
                  <a:pt x="3285" y="200"/>
                </a:lnTo>
                <a:lnTo>
                  <a:pt x="3280" y="217"/>
                </a:lnTo>
                <a:lnTo>
                  <a:pt x="3274" y="228"/>
                </a:lnTo>
                <a:lnTo>
                  <a:pt x="3276" y="228"/>
                </a:lnTo>
                <a:lnTo>
                  <a:pt x="3274" y="228"/>
                </a:lnTo>
                <a:lnTo>
                  <a:pt x="3274" y="230"/>
                </a:lnTo>
                <a:lnTo>
                  <a:pt x="3273" y="232"/>
                </a:lnTo>
                <a:lnTo>
                  <a:pt x="3271" y="232"/>
                </a:lnTo>
                <a:lnTo>
                  <a:pt x="3271" y="236"/>
                </a:lnTo>
                <a:lnTo>
                  <a:pt x="3271" y="237"/>
                </a:lnTo>
                <a:lnTo>
                  <a:pt x="3269" y="241"/>
                </a:lnTo>
                <a:lnTo>
                  <a:pt x="3269" y="245"/>
                </a:lnTo>
                <a:lnTo>
                  <a:pt x="3267" y="258"/>
                </a:lnTo>
                <a:lnTo>
                  <a:pt x="3265" y="273"/>
                </a:lnTo>
                <a:lnTo>
                  <a:pt x="3260" y="281"/>
                </a:lnTo>
                <a:lnTo>
                  <a:pt x="3260" y="289"/>
                </a:lnTo>
                <a:lnTo>
                  <a:pt x="3265" y="301"/>
                </a:lnTo>
                <a:lnTo>
                  <a:pt x="3265" y="308"/>
                </a:lnTo>
                <a:lnTo>
                  <a:pt x="3265" y="312"/>
                </a:lnTo>
                <a:lnTo>
                  <a:pt x="3260" y="324"/>
                </a:lnTo>
                <a:lnTo>
                  <a:pt x="3259" y="333"/>
                </a:lnTo>
                <a:lnTo>
                  <a:pt x="3260" y="346"/>
                </a:lnTo>
                <a:lnTo>
                  <a:pt x="3260" y="361"/>
                </a:lnTo>
                <a:lnTo>
                  <a:pt x="3259" y="366"/>
                </a:lnTo>
                <a:lnTo>
                  <a:pt x="3258" y="370"/>
                </a:lnTo>
                <a:lnTo>
                  <a:pt x="3256" y="374"/>
                </a:lnTo>
                <a:lnTo>
                  <a:pt x="3256" y="378"/>
                </a:lnTo>
                <a:lnTo>
                  <a:pt x="3256" y="382"/>
                </a:lnTo>
                <a:lnTo>
                  <a:pt x="3262" y="387"/>
                </a:lnTo>
                <a:lnTo>
                  <a:pt x="3263" y="395"/>
                </a:lnTo>
                <a:lnTo>
                  <a:pt x="3263" y="396"/>
                </a:lnTo>
                <a:lnTo>
                  <a:pt x="3265" y="396"/>
                </a:lnTo>
                <a:lnTo>
                  <a:pt x="3262" y="413"/>
                </a:lnTo>
                <a:lnTo>
                  <a:pt x="3263" y="421"/>
                </a:lnTo>
                <a:lnTo>
                  <a:pt x="3263" y="423"/>
                </a:lnTo>
                <a:lnTo>
                  <a:pt x="3265" y="428"/>
                </a:lnTo>
                <a:lnTo>
                  <a:pt x="3267" y="441"/>
                </a:lnTo>
                <a:lnTo>
                  <a:pt x="3273" y="453"/>
                </a:lnTo>
                <a:lnTo>
                  <a:pt x="3273" y="462"/>
                </a:lnTo>
                <a:lnTo>
                  <a:pt x="3266" y="477"/>
                </a:lnTo>
                <a:lnTo>
                  <a:pt x="3267" y="485"/>
                </a:lnTo>
                <a:lnTo>
                  <a:pt x="3273" y="507"/>
                </a:lnTo>
                <a:lnTo>
                  <a:pt x="3267" y="535"/>
                </a:lnTo>
                <a:lnTo>
                  <a:pt x="3260" y="552"/>
                </a:lnTo>
                <a:lnTo>
                  <a:pt x="3256" y="573"/>
                </a:lnTo>
                <a:lnTo>
                  <a:pt x="3254" y="587"/>
                </a:lnTo>
                <a:lnTo>
                  <a:pt x="3255" y="597"/>
                </a:lnTo>
                <a:lnTo>
                  <a:pt x="3249" y="610"/>
                </a:lnTo>
                <a:lnTo>
                  <a:pt x="3246" y="619"/>
                </a:lnTo>
                <a:lnTo>
                  <a:pt x="3248" y="632"/>
                </a:lnTo>
                <a:lnTo>
                  <a:pt x="3241" y="640"/>
                </a:lnTo>
                <a:lnTo>
                  <a:pt x="3235" y="651"/>
                </a:lnTo>
                <a:lnTo>
                  <a:pt x="3235" y="655"/>
                </a:lnTo>
                <a:lnTo>
                  <a:pt x="3238" y="659"/>
                </a:lnTo>
                <a:lnTo>
                  <a:pt x="3238" y="672"/>
                </a:lnTo>
                <a:lnTo>
                  <a:pt x="3229" y="681"/>
                </a:lnTo>
                <a:lnTo>
                  <a:pt x="3217" y="685"/>
                </a:lnTo>
                <a:lnTo>
                  <a:pt x="3215" y="686"/>
                </a:lnTo>
                <a:lnTo>
                  <a:pt x="3212" y="690"/>
                </a:lnTo>
                <a:lnTo>
                  <a:pt x="3205" y="690"/>
                </a:lnTo>
                <a:lnTo>
                  <a:pt x="3196" y="690"/>
                </a:lnTo>
                <a:lnTo>
                  <a:pt x="3180" y="702"/>
                </a:lnTo>
                <a:lnTo>
                  <a:pt x="3167" y="703"/>
                </a:lnTo>
                <a:lnTo>
                  <a:pt x="3159" y="713"/>
                </a:lnTo>
                <a:lnTo>
                  <a:pt x="3142" y="721"/>
                </a:lnTo>
                <a:lnTo>
                  <a:pt x="3119" y="740"/>
                </a:lnTo>
                <a:lnTo>
                  <a:pt x="3110" y="744"/>
                </a:lnTo>
                <a:lnTo>
                  <a:pt x="3113" y="751"/>
                </a:lnTo>
                <a:lnTo>
                  <a:pt x="3115" y="753"/>
                </a:lnTo>
                <a:lnTo>
                  <a:pt x="3115" y="756"/>
                </a:lnTo>
                <a:lnTo>
                  <a:pt x="3117" y="758"/>
                </a:lnTo>
                <a:lnTo>
                  <a:pt x="3116" y="763"/>
                </a:lnTo>
                <a:lnTo>
                  <a:pt x="3120" y="766"/>
                </a:lnTo>
                <a:lnTo>
                  <a:pt x="3120" y="771"/>
                </a:lnTo>
                <a:lnTo>
                  <a:pt x="3117" y="780"/>
                </a:lnTo>
                <a:lnTo>
                  <a:pt x="3110" y="789"/>
                </a:lnTo>
                <a:lnTo>
                  <a:pt x="3110" y="797"/>
                </a:lnTo>
                <a:lnTo>
                  <a:pt x="3113" y="797"/>
                </a:lnTo>
                <a:lnTo>
                  <a:pt x="3113" y="801"/>
                </a:lnTo>
                <a:lnTo>
                  <a:pt x="3109" y="802"/>
                </a:lnTo>
                <a:lnTo>
                  <a:pt x="3104" y="805"/>
                </a:lnTo>
                <a:lnTo>
                  <a:pt x="3102" y="814"/>
                </a:lnTo>
                <a:lnTo>
                  <a:pt x="3098" y="815"/>
                </a:lnTo>
                <a:lnTo>
                  <a:pt x="3095" y="823"/>
                </a:lnTo>
                <a:lnTo>
                  <a:pt x="3096" y="827"/>
                </a:lnTo>
                <a:lnTo>
                  <a:pt x="3094" y="831"/>
                </a:lnTo>
                <a:lnTo>
                  <a:pt x="3092" y="833"/>
                </a:lnTo>
                <a:lnTo>
                  <a:pt x="3094" y="838"/>
                </a:lnTo>
                <a:lnTo>
                  <a:pt x="3094" y="846"/>
                </a:lnTo>
                <a:lnTo>
                  <a:pt x="3095" y="847"/>
                </a:lnTo>
                <a:lnTo>
                  <a:pt x="3098" y="847"/>
                </a:lnTo>
                <a:lnTo>
                  <a:pt x="3098" y="850"/>
                </a:lnTo>
                <a:lnTo>
                  <a:pt x="3091" y="855"/>
                </a:lnTo>
                <a:lnTo>
                  <a:pt x="3088" y="864"/>
                </a:lnTo>
                <a:lnTo>
                  <a:pt x="3084" y="868"/>
                </a:lnTo>
                <a:lnTo>
                  <a:pt x="3076" y="873"/>
                </a:lnTo>
                <a:lnTo>
                  <a:pt x="3073" y="881"/>
                </a:lnTo>
                <a:lnTo>
                  <a:pt x="3070" y="883"/>
                </a:lnTo>
                <a:lnTo>
                  <a:pt x="3070" y="887"/>
                </a:lnTo>
                <a:lnTo>
                  <a:pt x="3064" y="890"/>
                </a:lnTo>
                <a:lnTo>
                  <a:pt x="3062" y="890"/>
                </a:lnTo>
                <a:lnTo>
                  <a:pt x="3057" y="898"/>
                </a:lnTo>
                <a:lnTo>
                  <a:pt x="3055" y="898"/>
                </a:lnTo>
                <a:lnTo>
                  <a:pt x="3049" y="902"/>
                </a:lnTo>
                <a:lnTo>
                  <a:pt x="3041" y="904"/>
                </a:lnTo>
                <a:lnTo>
                  <a:pt x="3038" y="912"/>
                </a:lnTo>
                <a:lnTo>
                  <a:pt x="3034" y="915"/>
                </a:lnTo>
                <a:lnTo>
                  <a:pt x="3031" y="918"/>
                </a:lnTo>
                <a:lnTo>
                  <a:pt x="3032" y="921"/>
                </a:lnTo>
                <a:lnTo>
                  <a:pt x="3024" y="926"/>
                </a:lnTo>
                <a:lnTo>
                  <a:pt x="3019" y="934"/>
                </a:lnTo>
                <a:lnTo>
                  <a:pt x="3011" y="935"/>
                </a:lnTo>
                <a:lnTo>
                  <a:pt x="3009" y="938"/>
                </a:lnTo>
                <a:lnTo>
                  <a:pt x="3000" y="939"/>
                </a:lnTo>
                <a:lnTo>
                  <a:pt x="2999" y="945"/>
                </a:lnTo>
                <a:lnTo>
                  <a:pt x="3000" y="949"/>
                </a:lnTo>
                <a:lnTo>
                  <a:pt x="2997" y="954"/>
                </a:lnTo>
                <a:lnTo>
                  <a:pt x="2997" y="957"/>
                </a:lnTo>
                <a:lnTo>
                  <a:pt x="2995" y="962"/>
                </a:lnTo>
                <a:lnTo>
                  <a:pt x="2989" y="966"/>
                </a:lnTo>
                <a:lnTo>
                  <a:pt x="2989" y="970"/>
                </a:lnTo>
                <a:lnTo>
                  <a:pt x="2992" y="970"/>
                </a:lnTo>
                <a:lnTo>
                  <a:pt x="2991" y="976"/>
                </a:lnTo>
                <a:lnTo>
                  <a:pt x="2994" y="976"/>
                </a:lnTo>
                <a:lnTo>
                  <a:pt x="2994" y="980"/>
                </a:lnTo>
                <a:lnTo>
                  <a:pt x="2996" y="979"/>
                </a:lnTo>
                <a:lnTo>
                  <a:pt x="2997" y="983"/>
                </a:lnTo>
                <a:lnTo>
                  <a:pt x="2997" y="992"/>
                </a:lnTo>
                <a:lnTo>
                  <a:pt x="2995" y="996"/>
                </a:lnTo>
                <a:lnTo>
                  <a:pt x="2996" y="997"/>
                </a:lnTo>
                <a:lnTo>
                  <a:pt x="2992" y="1001"/>
                </a:lnTo>
                <a:lnTo>
                  <a:pt x="2991" y="1011"/>
                </a:lnTo>
                <a:lnTo>
                  <a:pt x="2984" y="1016"/>
                </a:lnTo>
                <a:lnTo>
                  <a:pt x="2986" y="1020"/>
                </a:lnTo>
                <a:lnTo>
                  <a:pt x="2982" y="1025"/>
                </a:lnTo>
                <a:lnTo>
                  <a:pt x="2978" y="1032"/>
                </a:lnTo>
                <a:lnTo>
                  <a:pt x="2975" y="1033"/>
                </a:lnTo>
                <a:lnTo>
                  <a:pt x="2972" y="1033"/>
                </a:lnTo>
                <a:lnTo>
                  <a:pt x="2970" y="1037"/>
                </a:lnTo>
                <a:lnTo>
                  <a:pt x="2970" y="1045"/>
                </a:lnTo>
                <a:lnTo>
                  <a:pt x="2967" y="1051"/>
                </a:lnTo>
                <a:lnTo>
                  <a:pt x="2971" y="1059"/>
                </a:lnTo>
                <a:lnTo>
                  <a:pt x="2974" y="1061"/>
                </a:lnTo>
                <a:lnTo>
                  <a:pt x="2972" y="1064"/>
                </a:lnTo>
                <a:lnTo>
                  <a:pt x="2971" y="1067"/>
                </a:lnTo>
                <a:lnTo>
                  <a:pt x="2969" y="1069"/>
                </a:lnTo>
                <a:lnTo>
                  <a:pt x="2966" y="1074"/>
                </a:lnTo>
                <a:lnTo>
                  <a:pt x="2960" y="1078"/>
                </a:lnTo>
                <a:lnTo>
                  <a:pt x="2961" y="1083"/>
                </a:lnTo>
                <a:lnTo>
                  <a:pt x="2959" y="1084"/>
                </a:lnTo>
                <a:lnTo>
                  <a:pt x="2957" y="1091"/>
                </a:lnTo>
                <a:lnTo>
                  <a:pt x="2955" y="1096"/>
                </a:lnTo>
                <a:lnTo>
                  <a:pt x="2955" y="1099"/>
                </a:lnTo>
                <a:lnTo>
                  <a:pt x="2953" y="1100"/>
                </a:lnTo>
                <a:lnTo>
                  <a:pt x="2955" y="1103"/>
                </a:lnTo>
                <a:lnTo>
                  <a:pt x="2952" y="1113"/>
                </a:lnTo>
                <a:lnTo>
                  <a:pt x="2953" y="1117"/>
                </a:lnTo>
                <a:lnTo>
                  <a:pt x="2952" y="1119"/>
                </a:lnTo>
                <a:lnTo>
                  <a:pt x="2952" y="1121"/>
                </a:lnTo>
                <a:lnTo>
                  <a:pt x="2950" y="1125"/>
                </a:lnTo>
                <a:lnTo>
                  <a:pt x="2955" y="1126"/>
                </a:lnTo>
                <a:lnTo>
                  <a:pt x="2956" y="1125"/>
                </a:lnTo>
                <a:lnTo>
                  <a:pt x="2957" y="1126"/>
                </a:lnTo>
                <a:lnTo>
                  <a:pt x="2959" y="1129"/>
                </a:lnTo>
                <a:lnTo>
                  <a:pt x="2959" y="1132"/>
                </a:lnTo>
                <a:lnTo>
                  <a:pt x="2963" y="1136"/>
                </a:lnTo>
                <a:lnTo>
                  <a:pt x="2964" y="1145"/>
                </a:lnTo>
                <a:lnTo>
                  <a:pt x="2966" y="1148"/>
                </a:lnTo>
                <a:lnTo>
                  <a:pt x="2963" y="1154"/>
                </a:lnTo>
                <a:lnTo>
                  <a:pt x="2964" y="1158"/>
                </a:lnTo>
                <a:lnTo>
                  <a:pt x="2961" y="1162"/>
                </a:lnTo>
                <a:lnTo>
                  <a:pt x="2963" y="1166"/>
                </a:lnTo>
                <a:lnTo>
                  <a:pt x="2961" y="1167"/>
                </a:lnTo>
                <a:lnTo>
                  <a:pt x="2960" y="1171"/>
                </a:lnTo>
                <a:lnTo>
                  <a:pt x="2963" y="1181"/>
                </a:lnTo>
                <a:lnTo>
                  <a:pt x="2960" y="1184"/>
                </a:lnTo>
                <a:lnTo>
                  <a:pt x="2959" y="1184"/>
                </a:lnTo>
                <a:lnTo>
                  <a:pt x="2964" y="1194"/>
                </a:lnTo>
                <a:lnTo>
                  <a:pt x="2964" y="1198"/>
                </a:lnTo>
                <a:lnTo>
                  <a:pt x="2966" y="1203"/>
                </a:lnTo>
                <a:lnTo>
                  <a:pt x="2970" y="1207"/>
                </a:lnTo>
                <a:lnTo>
                  <a:pt x="2970" y="1212"/>
                </a:lnTo>
                <a:lnTo>
                  <a:pt x="2970" y="1216"/>
                </a:lnTo>
                <a:lnTo>
                  <a:pt x="2964" y="1225"/>
                </a:lnTo>
                <a:lnTo>
                  <a:pt x="2961" y="1232"/>
                </a:lnTo>
                <a:lnTo>
                  <a:pt x="2959" y="1235"/>
                </a:lnTo>
                <a:lnTo>
                  <a:pt x="2960" y="1242"/>
                </a:lnTo>
                <a:lnTo>
                  <a:pt x="2956" y="1246"/>
                </a:lnTo>
                <a:lnTo>
                  <a:pt x="2953" y="1250"/>
                </a:lnTo>
                <a:lnTo>
                  <a:pt x="2953" y="1252"/>
                </a:lnTo>
                <a:lnTo>
                  <a:pt x="2956" y="1261"/>
                </a:lnTo>
                <a:lnTo>
                  <a:pt x="2963" y="1260"/>
                </a:lnTo>
                <a:lnTo>
                  <a:pt x="2964" y="1265"/>
                </a:lnTo>
                <a:lnTo>
                  <a:pt x="2969" y="1267"/>
                </a:lnTo>
                <a:lnTo>
                  <a:pt x="2969" y="1273"/>
                </a:lnTo>
                <a:lnTo>
                  <a:pt x="2963" y="1278"/>
                </a:lnTo>
                <a:lnTo>
                  <a:pt x="2959" y="1287"/>
                </a:lnTo>
                <a:lnTo>
                  <a:pt x="2955" y="1291"/>
                </a:lnTo>
                <a:lnTo>
                  <a:pt x="2953" y="1297"/>
                </a:lnTo>
                <a:lnTo>
                  <a:pt x="2949" y="1299"/>
                </a:lnTo>
                <a:lnTo>
                  <a:pt x="2949" y="1304"/>
                </a:lnTo>
                <a:lnTo>
                  <a:pt x="2953" y="1306"/>
                </a:lnTo>
                <a:lnTo>
                  <a:pt x="2955" y="1310"/>
                </a:lnTo>
                <a:lnTo>
                  <a:pt x="2955" y="1314"/>
                </a:lnTo>
                <a:lnTo>
                  <a:pt x="2942" y="1327"/>
                </a:lnTo>
                <a:lnTo>
                  <a:pt x="2941" y="1335"/>
                </a:lnTo>
                <a:lnTo>
                  <a:pt x="2938" y="1336"/>
                </a:lnTo>
                <a:lnTo>
                  <a:pt x="2936" y="1341"/>
                </a:lnTo>
                <a:lnTo>
                  <a:pt x="2934" y="1345"/>
                </a:lnTo>
                <a:lnTo>
                  <a:pt x="2932" y="1349"/>
                </a:lnTo>
                <a:lnTo>
                  <a:pt x="2928" y="1357"/>
                </a:lnTo>
                <a:lnTo>
                  <a:pt x="2930" y="1358"/>
                </a:lnTo>
                <a:lnTo>
                  <a:pt x="2930" y="1364"/>
                </a:lnTo>
                <a:lnTo>
                  <a:pt x="2931" y="1367"/>
                </a:lnTo>
                <a:lnTo>
                  <a:pt x="2930" y="1370"/>
                </a:lnTo>
                <a:lnTo>
                  <a:pt x="2931" y="1375"/>
                </a:lnTo>
                <a:lnTo>
                  <a:pt x="2931" y="1379"/>
                </a:lnTo>
                <a:lnTo>
                  <a:pt x="2927" y="1381"/>
                </a:lnTo>
                <a:lnTo>
                  <a:pt x="2922" y="1390"/>
                </a:lnTo>
                <a:lnTo>
                  <a:pt x="2919" y="1394"/>
                </a:lnTo>
                <a:lnTo>
                  <a:pt x="2910" y="1399"/>
                </a:lnTo>
                <a:lnTo>
                  <a:pt x="2905" y="1406"/>
                </a:lnTo>
                <a:lnTo>
                  <a:pt x="2899" y="1406"/>
                </a:lnTo>
                <a:lnTo>
                  <a:pt x="2888" y="1419"/>
                </a:lnTo>
                <a:lnTo>
                  <a:pt x="2885" y="1420"/>
                </a:lnTo>
                <a:lnTo>
                  <a:pt x="2882" y="1429"/>
                </a:lnTo>
                <a:lnTo>
                  <a:pt x="2884" y="1435"/>
                </a:lnTo>
                <a:lnTo>
                  <a:pt x="2896" y="1443"/>
                </a:lnTo>
                <a:lnTo>
                  <a:pt x="2919" y="1468"/>
                </a:lnTo>
                <a:lnTo>
                  <a:pt x="2927" y="1471"/>
                </a:lnTo>
                <a:lnTo>
                  <a:pt x="2932" y="1469"/>
                </a:lnTo>
                <a:lnTo>
                  <a:pt x="2935" y="1471"/>
                </a:lnTo>
                <a:lnTo>
                  <a:pt x="2945" y="1474"/>
                </a:lnTo>
                <a:lnTo>
                  <a:pt x="2947" y="1477"/>
                </a:lnTo>
                <a:lnTo>
                  <a:pt x="2953" y="1474"/>
                </a:lnTo>
                <a:lnTo>
                  <a:pt x="2960" y="1477"/>
                </a:lnTo>
                <a:lnTo>
                  <a:pt x="2963" y="1478"/>
                </a:lnTo>
                <a:lnTo>
                  <a:pt x="2967" y="1482"/>
                </a:lnTo>
                <a:lnTo>
                  <a:pt x="2981" y="1484"/>
                </a:lnTo>
                <a:lnTo>
                  <a:pt x="2985" y="1488"/>
                </a:lnTo>
                <a:lnTo>
                  <a:pt x="2985" y="1493"/>
                </a:lnTo>
                <a:lnTo>
                  <a:pt x="2991" y="1493"/>
                </a:lnTo>
                <a:lnTo>
                  <a:pt x="2992" y="1497"/>
                </a:lnTo>
                <a:lnTo>
                  <a:pt x="2995" y="1501"/>
                </a:lnTo>
                <a:lnTo>
                  <a:pt x="3002" y="1501"/>
                </a:lnTo>
                <a:lnTo>
                  <a:pt x="3003" y="1501"/>
                </a:lnTo>
                <a:lnTo>
                  <a:pt x="3009" y="1503"/>
                </a:lnTo>
                <a:lnTo>
                  <a:pt x="3024" y="1510"/>
                </a:lnTo>
                <a:lnTo>
                  <a:pt x="3030" y="1509"/>
                </a:lnTo>
                <a:lnTo>
                  <a:pt x="3031" y="1510"/>
                </a:lnTo>
                <a:lnTo>
                  <a:pt x="3041" y="1510"/>
                </a:lnTo>
                <a:lnTo>
                  <a:pt x="3052" y="1506"/>
                </a:lnTo>
                <a:lnTo>
                  <a:pt x="3057" y="1497"/>
                </a:lnTo>
                <a:lnTo>
                  <a:pt x="3064" y="1493"/>
                </a:lnTo>
                <a:lnTo>
                  <a:pt x="3071" y="1491"/>
                </a:lnTo>
                <a:lnTo>
                  <a:pt x="3077" y="1493"/>
                </a:lnTo>
                <a:lnTo>
                  <a:pt x="3080" y="1491"/>
                </a:lnTo>
                <a:lnTo>
                  <a:pt x="3082" y="1488"/>
                </a:lnTo>
                <a:lnTo>
                  <a:pt x="3084" y="1488"/>
                </a:lnTo>
                <a:lnTo>
                  <a:pt x="3091" y="1490"/>
                </a:lnTo>
                <a:lnTo>
                  <a:pt x="3102" y="1493"/>
                </a:lnTo>
                <a:lnTo>
                  <a:pt x="3102" y="1496"/>
                </a:lnTo>
                <a:lnTo>
                  <a:pt x="3104" y="1496"/>
                </a:lnTo>
                <a:lnTo>
                  <a:pt x="3104" y="1497"/>
                </a:lnTo>
                <a:lnTo>
                  <a:pt x="3106" y="1501"/>
                </a:lnTo>
                <a:lnTo>
                  <a:pt x="3106" y="1503"/>
                </a:lnTo>
                <a:lnTo>
                  <a:pt x="3104" y="1503"/>
                </a:lnTo>
                <a:lnTo>
                  <a:pt x="3104" y="1504"/>
                </a:lnTo>
                <a:lnTo>
                  <a:pt x="3106" y="1510"/>
                </a:lnTo>
                <a:lnTo>
                  <a:pt x="3106" y="1514"/>
                </a:lnTo>
                <a:lnTo>
                  <a:pt x="3107" y="1514"/>
                </a:lnTo>
                <a:lnTo>
                  <a:pt x="3109" y="1514"/>
                </a:lnTo>
                <a:lnTo>
                  <a:pt x="3107" y="1523"/>
                </a:lnTo>
                <a:lnTo>
                  <a:pt x="3110" y="1528"/>
                </a:lnTo>
                <a:lnTo>
                  <a:pt x="3107" y="1535"/>
                </a:lnTo>
                <a:lnTo>
                  <a:pt x="3107" y="1536"/>
                </a:lnTo>
                <a:lnTo>
                  <a:pt x="3105" y="1540"/>
                </a:lnTo>
                <a:lnTo>
                  <a:pt x="3104" y="1541"/>
                </a:lnTo>
                <a:lnTo>
                  <a:pt x="3099" y="1541"/>
                </a:lnTo>
                <a:lnTo>
                  <a:pt x="3101" y="1546"/>
                </a:lnTo>
                <a:lnTo>
                  <a:pt x="3101" y="1549"/>
                </a:lnTo>
                <a:lnTo>
                  <a:pt x="3099" y="1549"/>
                </a:lnTo>
                <a:lnTo>
                  <a:pt x="3099" y="1553"/>
                </a:lnTo>
                <a:lnTo>
                  <a:pt x="3096" y="1555"/>
                </a:lnTo>
                <a:lnTo>
                  <a:pt x="3096" y="1558"/>
                </a:lnTo>
                <a:lnTo>
                  <a:pt x="3094" y="1559"/>
                </a:lnTo>
                <a:lnTo>
                  <a:pt x="3095" y="1563"/>
                </a:lnTo>
                <a:lnTo>
                  <a:pt x="3092" y="1564"/>
                </a:lnTo>
                <a:lnTo>
                  <a:pt x="3092" y="1572"/>
                </a:lnTo>
                <a:lnTo>
                  <a:pt x="3094" y="1576"/>
                </a:lnTo>
                <a:lnTo>
                  <a:pt x="3094" y="1577"/>
                </a:lnTo>
                <a:lnTo>
                  <a:pt x="3091" y="1581"/>
                </a:lnTo>
                <a:lnTo>
                  <a:pt x="3090" y="1584"/>
                </a:lnTo>
                <a:lnTo>
                  <a:pt x="3090" y="1585"/>
                </a:lnTo>
                <a:lnTo>
                  <a:pt x="3090" y="1586"/>
                </a:lnTo>
                <a:lnTo>
                  <a:pt x="3087" y="1586"/>
                </a:lnTo>
                <a:lnTo>
                  <a:pt x="3087" y="1590"/>
                </a:lnTo>
                <a:lnTo>
                  <a:pt x="3084" y="1590"/>
                </a:lnTo>
                <a:lnTo>
                  <a:pt x="3085" y="1594"/>
                </a:lnTo>
                <a:lnTo>
                  <a:pt x="3084" y="1600"/>
                </a:lnTo>
                <a:lnTo>
                  <a:pt x="3082" y="1600"/>
                </a:lnTo>
                <a:lnTo>
                  <a:pt x="3078" y="1600"/>
                </a:lnTo>
                <a:lnTo>
                  <a:pt x="3078" y="1603"/>
                </a:lnTo>
                <a:lnTo>
                  <a:pt x="3077" y="1603"/>
                </a:lnTo>
                <a:lnTo>
                  <a:pt x="3078" y="1608"/>
                </a:lnTo>
                <a:lnTo>
                  <a:pt x="3076" y="1608"/>
                </a:lnTo>
                <a:lnTo>
                  <a:pt x="3074" y="1613"/>
                </a:lnTo>
                <a:lnTo>
                  <a:pt x="3074" y="1617"/>
                </a:lnTo>
                <a:lnTo>
                  <a:pt x="3071" y="1621"/>
                </a:lnTo>
                <a:lnTo>
                  <a:pt x="3073" y="1622"/>
                </a:lnTo>
                <a:lnTo>
                  <a:pt x="3077" y="1621"/>
                </a:lnTo>
                <a:lnTo>
                  <a:pt x="3078" y="1622"/>
                </a:lnTo>
                <a:lnTo>
                  <a:pt x="3074" y="1625"/>
                </a:lnTo>
                <a:lnTo>
                  <a:pt x="3076" y="1630"/>
                </a:lnTo>
                <a:lnTo>
                  <a:pt x="3073" y="1634"/>
                </a:lnTo>
                <a:lnTo>
                  <a:pt x="3074" y="1635"/>
                </a:lnTo>
                <a:lnTo>
                  <a:pt x="3078" y="1635"/>
                </a:lnTo>
                <a:lnTo>
                  <a:pt x="3078" y="1639"/>
                </a:lnTo>
                <a:lnTo>
                  <a:pt x="3081" y="1639"/>
                </a:lnTo>
                <a:lnTo>
                  <a:pt x="3078" y="1642"/>
                </a:lnTo>
                <a:lnTo>
                  <a:pt x="3077" y="1642"/>
                </a:lnTo>
                <a:lnTo>
                  <a:pt x="3076" y="1643"/>
                </a:lnTo>
                <a:lnTo>
                  <a:pt x="3071" y="1648"/>
                </a:lnTo>
                <a:lnTo>
                  <a:pt x="3069" y="1652"/>
                </a:lnTo>
                <a:lnTo>
                  <a:pt x="3064" y="1655"/>
                </a:lnTo>
                <a:lnTo>
                  <a:pt x="3063" y="1658"/>
                </a:lnTo>
                <a:lnTo>
                  <a:pt x="3060" y="1660"/>
                </a:lnTo>
                <a:lnTo>
                  <a:pt x="3052" y="1670"/>
                </a:lnTo>
                <a:lnTo>
                  <a:pt x="3050" y="1671"/>
                </a:lnTo>
                <a:lnTo>
                  <a:pt x="3052" y="1677"/>
                </a:lnTo>
                <a:lnTo>
                  <a:pt x="3049" y="1678"/>
                </a:lnTo>
                <a:lnTo>
                  <a:pt x="3042" y="1684"/>
                </a:lnTo>
                <a:lnTo>
                  <a:pt x="3031" y="1684"/>
                </a:lnTo>
                <a:lnTo>
                  <a:pt x="3019" y="1687"/>
                </a:lnTo>
                <a:lnTo>
                  <a:pt x="3013" y="1684"/>
                </a:lnTo>
                <a:lnTo>
                  <a:pt x="3009" y="1684"/>
                </a:lnTo>
                <a:lnTo>
                  <a:pt x="3006" y="1692"/>
                </a:lnTo>
                <a:lnTo>
                  <a:pt x="3006" y="1696"/>
                </a:lnTo>
                <a:lnTo>
                  <a:pt x="3002" y="1696"/>
                </a:lnTo>
                <a:lnTo>
                  <a:pt x="2997" y="1701"/>
                </a:lnTo>
                <a:lnTo>
                  <a:pt x="2981" y="1710"/>
                </a:lnTo>
                <a:lnTo>
                  <a:pt x="2972" y="1720"/>
                </a:lnTo>
                <a:lnTo>
                  <a:pt x="2967" y="1723"/>
                </a:lnTo>
                <a:lnTo>
                  <a:pt x="2966" y="1729"/>
                </a:lnTo>
                <a:lnTo>
                  <a:pt x="2961" y="1733"/>
                </a:lnTo>
                <a:lnTo>
                  <a:pt x="2982" y="1806"/>
                </a:lnTo>
                <a:lnTo>
                  <a:pt x="2995" y="1800"/>
                </a:lnTo>
                <a:lnTo>
                  <a:pt x="3016" y="1795"/>
                </a:lnTo>
                <a:lnTo>
                  <a:pt x="3017" y="1799"/>
                </a:lnTo>
                <a:lnTo>
                  <a:pt x="3020" y="1806"/>
                </a:lnTo>
                <a:lnTo>
                  <a:pt x="3021" y="1812"/>
                </a:lnTo>
                <a:lnTo>
                  <a:pt x="3024" y="1812"/>
                </a:lnTo>
                <a:lnTo>
                  <a:pt x="3035" y="1817"/>
                </a:lnTo>
                <a:lnTo>
                  <a:pt x="3039" y="1821"/>
                </a:lnTo>
                <a:lnTo>
                  <a:pt x="3041" y="1826"/>
                </a:lnTo>
                <a:lnTo>
                  <a:pt x="3041" y="1830"/>
                </a:lnTo>
                <a:lnTo>
                  <a:pt x="3048" y="1839"/>
                </a:lnTo>
                <a:lnTo>
                  <a:pt x="3046" y="1856"/>
                </a:lnTo>
                <a:lnTo>
                  <a:pt x="3049" y="1874"/>
                </a:lnTo>
                <a:lnTo>
                  <a:pt x="3052" y="1875"/>
                </a:lnTo>
                <a:lnTo>
                  <a:pt x="3053" y="1878"/>
                </a:lnTo>
                <a:lnTo>
                  <a:pt x="3049" y="1905"/>
                </a:lnTo>
                <a:lnTo>
                  <a:pt x="3050" y="1911"/>
                </a:lnTo>
                <a:lnTo>
                  <a:pt x="3049" y="1918"/>
                </a:lnTo>
                <a:lnTo>
                  <a:pt x="3053" y="1920"/>
                </a:lnTo>
                <a:lnTo>
                  <a:pt x="3055" y="1924"/>
                </a:lnTo>
                <a:lnTo>
                  <a:pt x="3057" y="1929"/>
                </a:lnTo>
                <a:lnTo>
                  <a:pt x="3057" y="1933"/>
                </a:lnTo>
                <a:lnTo>
                  <a:pt x="3059" y="1937"/>
                </a:lnTo>
                <a:lnTo>
                  <a:pt x="3063" y="1937"/>
                </a:lnTo>
                <a:lnTo>
                  <a:pt x="3070" y="1941"/>
                </a:lnTo>
                <a:lnTo>
                  <a:pt x="3071" y="1945"/>
                </a:lnTo>
                <a:lnTo>
                  <a:pt x="3069" y="1950"/>
                </a:lnTo>
                <a:lnTo>
                  <a:pt x="3067" y="1951"/>
                </a:lnTo>
                <a:lnTo>
                  <a:pt x="3069" y="1962"/>
                </a:lnTo>
                <a:lnTo>
                  <a:pt x="3066" y="1968"/>
                </a:lnTo>
                <a:lnTo>
                  <a:pt x="3066" y="1978"/>
                </a:lnTo>
                <a:lnTo>
                  <a:pt x="3063" y="1981"/>
                </a:lnTo>
                <a:lnTo>
                  <a:pt x="3063" y="1991"/>
                </a:lnTo>
                <a:lnTo>
                  <a:pt x="3062" y="1998"/>
                </a:lnTo>
                <a:lnTo>
                  <a:pt x="3062" y="2003"/>
                </a:lnTo>
                <a:lnTo>
                  <a:pt x="3067" y="2004"/>
                </a:lnTo>
                <a:lnTo>
                  <a:pt x="3069" y="2008"/>
                </a:lnTo>
                <a:lnTo>
                  <a:pt x="3067" y="2020"/>
                </a:lnTo>
                <a:lnTo>
                  <a:pt x="3071" y="2017"/>
                </a:lnTo>
                <a:lnTo>
                  <a:pt x="3078" y="2023"/>
                </a:lnTo>
                <a:lnTo>
                  <a:pt x="3078" y="2025"/>
                </a:lnTo>
                <a:lnTo>
                  <a:pt x="3078" y="2030"/>
                </a:lnTo>
                <a:lnTo>
                  <a:pt x="3085" y="2036"/>
                </a:lnTo>
                <a:lnTo>
                  <a:pt x="3085" y="2038"/>
                </a:lnTo>
                <a:lnTo>
                  <a:pt x="3088" y="2040"/>
                </a:lnTo>
                <a:lnTo>
                  <a:pt x="3090" y="2042"/>
                </a:lnTo>
                <a:lnTo>
                  <a:pt x="3095" y="2045"/>
                </a:lnTo>
                <a:lnTo>
                  <a:pt x="3094" y="2055"/>
                </a:lnTo>
                <a:lnTo>
                  <a:pt x="3094" y="2058"/>
                </a:lnTo>
                <a:lnTo>
                  <a:pt x="3092" y="2062"/>
                </a:lnTo>
                <a:lnTo>
                  <a:pt x="3094" y="2065"/>
                </a:lnTo>
                <a:lnTo>
                  <a:pt x="3098" y="2066"/>
                </a:lnTo>
                <a:lnTo>
                  <a:pt x="3099" y="2068"/>
                </a:lnTo>
                <a:lnTo>
                  <a:pt x="3105" y="2070"/>
                </a:lnTo>
                <a:lnTo>
                  <a:pt x="3104" y="2070"/>
                </a:lnTo>
                <a:lnTo>
                  <a:pt x="3102" y="2074"/>
                </a:lnTo>
                <a:lnTo>
                  <a:pt x="3102" y="2075"/>
                </a:lnTo>
                <a:lnTo>
                  <a:pt x="3105" y="2078"/>
                </a:lnTo>
                <a:lnTo>
                  <a:pt x="3104" y="2080"/>
                </a:lnTo>
                <a:lnTo>
                  <a:pt x="3107" y="2085"/>
                </a:lnTo>
                <a:lnTo>
                  <a:pt x="3115" y="2092"/>
                </a:lnTo>
                <a:lnTo>
                  <a:pt x="3117" y="2092"/>
                </a:lnTo>
                <a:lnTo>
                  <a:pt x="3119" y="2098"/>
                </a:lnTo>
                <a:lnTo>
                  <a:pt x="3126" y="2103"/>
                </a:lnTo>
                <a:lnTo>
                  <a:pt x="3127" y="2111"/>
                </a:lnTo>
                <a:lnTo>
                  <a:pt x="3134" y="2116"/>
                </a:lnTo>
                <a:lnTo>
                  <a:pt x="3134" y="2120"/>
                </a:lnTo>
                <a:lnTo>
                  <a:pt x="3135" y="2127"/>
                </a:lnTo>
                <a:lnTo>
                  <a:pt x="3140" y="2128"/>
                </a:lnTo>
                <a:lnTo>
                  <a:pt x="3141" y="2133"/>
                </a:lnTo>
                <a:lnTo>
                  <a:pt x="3142" y="2136"/>
                </a:lnTo>
                <a:lnTo>
                  <a:pt x="3141" y="2141"/>
                </a:lnTo>
                <a:lnTo>
                  <a:pt x="3140" y="2142"/>
                </a:lnTo>
                <a:lnTo>
                  <a:pt x="3141" y="2149"/>
                </a:lnTo>
                <a:lnTo>
                  <a:pt x="3141" y="2152"/>
                </a:lnTo>
                <a:lnTo>
                  <a:pt x="3146" y="2155"/>
                </a:lnTo>
                <a:lnTo>
                  <a:pt x="3149" y="2154"/>
                </a:lnTo>
                <a:lnTo>
                  <a:pt x="3156" y="2160"/>
                </a:lnTo>
                <a:lnTo>
                  <a:pt x="3157" y="2169"/>
                </a:lnTo>
                <a:lnTo>
                  <a:pt x="3155" y="2169"/>
                </a:lnTo>
                <a:lnTo>
                  <a:pt x="3155" y="2173"/>
                </a:lnTo>
                <a:lnTo>
                  <a:pt x="3159" y="2173"/>
                </a:lnTo>
                <a:lnTo>
                  <a:pt x="3162" y="2178"/>
                </a:lnTo>
                <a:lnTo>
                  <a:pt x="3163" y="2181"/>
                </a:lnTo>
                <a:lnTo>
                  <a:pt x="3163" y="2182"/>
                </a:lnTo>
                <a:lnTo>
                  <a:pt x="3166" y="2185"/>
                </a:lnTo>
                <a:lnTo>
                  <a:pt x="3163" y="2186"/>
                </a:lnTo>
                <a:lnTo>
                  <a:pt x="3157" y="2199"/>
                </a:lnTo>
                <a:lnTo>
                  <a:pt x="3157" y="2200"/>
                </a:lnTo>
                <a:lnTo>
                  <a:pt x="3162" y="2207"/>
                </a:lnTo>
                <a:lnTo>
                  <a:pt x="3167" y="2209"/>
                </a:lnTo>
                <a:lnTo>
                  <a:pt x="3169" y="2214"/>
                </a:lnTo>
                <a:lnTo>
                  <a:pt x="3179" y="2222"/>
                </a:lnTo>
                <a:lnTo>
                  <a:pt x="3179" y="2223"/>
                </a:lnTo>
                <a:lnTo>
                  <a:pt x="3180" y="2227"/>
                </a:lnTo>
                <a:lnTo>
                  <a:pt x="3185" y="2234"/>
                </a:lnTo>
                <a:lnTo>
                  <a:pt x="3190" y="2234"/>
                </a:lnTo>
                <a:lnTo>
                  <a:pt x="3190" y="2236"/>
                </a:lnTo>
                <a:lnTo>
                  <a:pt x="3192" y="2240"/>
                </a:lnTo>
                <a:lnTo>
                  <a:pt x="3195" y="2244"/>
                </a:lnTo>
                <a:lnTo>
                  <a:pt x="3199" y="2242"/>
                </a:lnTo>
                <a:lnTo>
                  <a:pt x="3201" y="2244"/>
                </a:lnTo>
                <a:lnTo>
                  <a:pt x="3198" y="2245"/>
                </a:lnTo>
                <a:lnTo>
                  <a:pt x="3202" y="2249"/>
                </a:lnTo>
                <a:lnTo>
                  <a:pt x="3202" y="2253"/>
                </a:lnTo>
                <a:lnTo>
                  <a:pt x="3205" y="2253"/>
                </a:lnTo>
                <a:lnTo>
                  <a:pt x="3210" y="2249"/>
                </a:lnTo>
                <a:lnTo>
                  <a:pt x="3212" y="2252"/>
                </a:lnTo>
                <a:lnTo>
                  <a:pt x="3210" y="2259"/>
                </a:lnTo>
                <a:lnTo>
                  <a:pt x="3223" y="2276"/>
                </a:lnTo>
                <a:lnTo>
                  <a:pt x="3223" y="2285"/>
                </a:lnTo>
                <a:lnTo>
                  <a:pt x="3224" y="2289"/>
                </a:lnTo>
                <a:lnTo>
                  <a:pt x="3230" y="2291"/>
                </a:lnTo>
                <a:lnTo>
                  <a:pt x="3238" y="2289"/>
                </a:lnTo>
                <a:lnTo>
                  <a:pt x="3240" y="2289"/>
                </a:lnTo>
                <a:lnTo>
                  <a:pt x="3245" y="2294"/>
                </a:lnTo>
                <a:lnTo>
                  <a:pt x="3248" y="2301"/>
                </a:lnTo>
                <a:lnTo>
                  <a:pt x="3249" y="2303"/>
                </a:lnTo>
                <a:lnTo>
                  <a:pt x="3252" y="2306"/>
                </a:lnTo>
                <a:lnTo>
                  <a:pt x="3256" y="2306"/>
                </a:lnTo>
                <a:lnTo>
                  <a:pt x="3240" y="2315"/>
                </a:lnTo>
                <a:lnTo>
                  <a:pt x="3231" y="2316"/>
                </a:lnTo>
                <a:lnTo>
                  <a:pt x="3226" y="2316"/>
                </a:lnTo>
                <a:lnTo>
                  <a:pt x="3223" y="2319"/>
                </a:lnTo>
                <a:lnTo>
                  <a:pt x="3217" y="2320"/>
                </a:lnTo>
                <a:lnTo>
                  <a:pt x="3213" y="2324"/>
                </a:lnTo>
                <a:lnTo>
                  <a:pt x="3212" y="2329"/>
                </a:lnTo>
                <a:lnTo>
                  <a:pt x="3207" y="2334"/>
                </a:lnTo>
                <a:lnTo>
                  <a:pt x="3202" y="2334"/>
                </a:lnTo>
                <a:lnTo>
                  <a:pt x="3184" y="2323"/>
                </a:lnTo>
                <a:lnTo>
                  <a:pt x="3180" y="2323"/>
                </a:lnTo>
                <a:lnTo>
                  <a:pt x="3171" y="2329"/>
                </a:lnTo>
                <a:lnTo>
                  <a:pt x="3162" y="2329"/>
                </a:lnTo>
                <a:lnTo>
                  <a:pt x="3159" y="2329"/>
                </a:lnTo>
                <a:lnTo>
                  <a:pt x="3156" y="2334"/>
                </a:lnTo>
                <a:lnTo>
                  <a:pt x="3152" y="2338"/>
                </a:lnTo>
                <a:lnTo>
                  <a:pt x="3146" y="2336"/>
                </a:lnTo>
                <a:lnTo>
                  <a:pt x="3144" y="2338"/>
                </a:lnTo>
                <a:lnTo>
                  <a:pt x="3135" y="2339"/>
                </a:lnTo>
                <a:lnTo>
                  <a:pt x="3129" y="2343"/>
                </a:lnTo>
                <a:lnTo>
                  <a:pt x="3120" y="2355"/>
                </a:lnTo>
                <a:lnTo>
                  <a:pt x="3115" y="2355"/>
                </a:lnTo>
                <a:lnTo>
                  <a:pt x="3113" y="2356"/>
                </a:lnTo>
                <a:lnTo>
                  <a:pt x="3107" y="2361"/>
                </a:lnTo>
                <a:lnTo>
                  <a:pt x="3106" y="2365"/>
                </a:lnTo>
                <a:lnTo>
                  <a:pt x="3096" y="2374"/>
                </a:lnTo>
                <a:lnTo>
                  <a:pt x="3090" y="2385"/>
                </a:lnTo>
                <a:lnTo>
                  <a:pt x="3084" y="2388"/>
                </a:lnTo>
                <a:lnTo>
                  <a:pt x="3080" y="2390"/>
                </a:lnTo>
                <a:lnTo>
                  <a:pt x="3060" y="2391"/>
                </a:lnTo>
                <a:lnTo>
                  <a:pt x="3052" y="2395"/>
                </a:lnTo>
                <a:lnTo>
                  <a:pt x="3041" y="2403"/>
                </a:lnTo>
                <a:lnTo>
                  <a:pt x="3032" y="2414"/>
                </a:lnTo>
                <a:lnTo>
                  <a:pt x="3024" y="2413"/>
                </a:lnTo>
                <a:lnTo>
                  <a:pt x="3020" y="2409"/>
                </a:lnTo>
                <a:lnTo>
                  <a:pt x="3013" y="2405"/>
                </a:lnTo>
                <a:lnTo>
                  <a:pt x="3011" y="2409"/>
                </a:lnTo>
                <a:lnTo>
                  <a:pt x="3003" y="2414"/>
                </a:lnTo>
                <a:lnTo>
                  <a:pt x="2995" y="2416"/>
                </a:lnTo>
                <a:lnTo>
                  <a:pt x="2988" y="2414"/>
                </a:lnTo>
                <a:lnTo>
                  <a:pt x="2984" y="2409"/>
                </a:lnTo>
                <a:lnTo>
                  <a:pt x="2974" y="2409"/>
                </a:lnTo>
                <a:lnTo>
                  <a:pt x="2966" y="2407"/>
                </a:lnTo>
                <a:lnTo>
                  <a:pt x="2961" y="2405"/>
                </a:lnTo>
                <a:lnTo>
                  <a:pt x="2959" y="2405"/>
                </a:lnTo>
                <a:lnTo>
                  <a:pt x="2950" y="2405"/>
                </a:lnTo>
                <a:lnTo>
                  <a:pt x="2947" y="2405"/>
                </a:lnTo>
                <a:lnTo>
                  <a:pt x="2939" y="2410"/>
                </a:lnTo>
                <a:lnTo>
                  <a:pt x="2927" y="2418"/>
                </a:lnTo>
                <a:lnTo>
                  <a:pt x="2910" y="2427"/>
                </a:lnTo>
                <a:lnTo>
                  <a:pt x="2906" y="2432"/>
                </a:lnTo>
                <a:lnTo>
                  <a:pt x="2906" y="2436"/>
                </a:lnTo>
                <a:lnTo>
                  <a:pt x="2899" y="2442"/>
                </a:lnTo>
                <a:lnTo>
                  <a:pt x="2894" y="2448"/>
                </a:lnTo>
                <a:lnTo>
                  <a:pt x="2888" y="2453"/>
                </a:lnTo>
                <a:lnTo>
                  <a:pt x="2881" y="2456"/>
                </a:lnTo>
                <a:lnTo>
                  <a:pt x="2878" y="2459"/>
                </a:lnTo>
                <a:lnTo>
                  <a:pt x="2874" y="2459"/>
                </a:lnTo>
                <a:lnTo>
                  <a:pt x="2866" y="2455"/>
                </a:lnTo>
                <a:lnTo>
                  <a:pt x="2853" y="2443"/>
                </a:lnTo>
                <a:lnTo>
                  <a:pt x="2846" y="2432"/>
                </a:lnTo>
                <a:lnTo>
                  <a:pt x="2834" y="2427"/>
                </a:lnTo>
                <a:lnTo>
                  <a:pt x="2835" y="2422"/>
                </a:lnTo>
                <a:lnTo>
                  <a:pt x="2831" y="2416"/>
                </a:lnTo>
                <a:lnTo>
                  <a:pt x="2817" y="2403"/>
                </a:lnTo>
                <a:lnTo>
                  <a:pt x="2810" y="2405"/>
                </a:lnTo>
                <a:lnTo>
                  <a:pt x="2800" y="2409"/>
                </a:lnTo>
                <a:lnTo>
                  <a:pt x="2788" y="2405"/>
                </a:lnTo>
                <a:lnTo>
                  <a:pt x="2781" y="2405"/>
                </a:lnTo>
                <a:lnTo>
                  <a:pt x="2774" y="2403"/>
                </a:lnTo>
                <a:lnTo>
                  <a:pt x="2771" y="2401"/>
                </a:lnTo>
                <a:lnTo>
                  <a:pt x="2764" y="2401"/>
                </a:lnTo>
                <a:lnTo>
                  <a:pt x="2760" y="2405"/>
                </a:lnTo>
                <a:lnTo>
                  <a:pt x="2758" y="2410"/>
                </a:lnTo>
                <a:lnTo>
                  <a:pt x="2754" y="2416"/>
                </a:lnTo>
                <a:lnTo>
                  <a:pt x="2754" y="2418"/>
                </a:lnTo>
                <a:lnTo>
                  <a:pt x="2749" y="2423"/>
                </a:lnTo>
                <a:lnTo>
                  <a:pt x="2742" y="2423"/>
                </a:lnTo>
                <a:lnTo>
                  <a:pt x="2737" y="2430"/>
                </a:lnTo>
                <a:lnTo>
                  <a:pt x="2731" y="2430"/>
                </a:lnTo>
                <a:lnTo>
                  <a:pt x="2726" y="2432"/>
                </a:lnTo>
                <a:lnTo>
                  <a:pt x="2725" y="2436"/>
                </a:lnTo>
                <a:lnTo>
                  <a:pt x="2717" y="2444"/>
                </a:lnTo>
                <a:lnTo>
                  <a:pt x="2708" y="2444"/>
                </a:lnTo>
                <a:lnTo>
                  <a:pt x="2703" y="2445"/>
                </a:lnTo>
                <a:lnTo>
                  <a:pt x="2701" y="2444"/>
                </a:lnTo>
                <a:lnTo>
                  <a:pt x="2690" y="2427"/>
                </a:lnTo>
                <a:lnTo>
                  <a:pt x="2686" y="2423"/>
                </a:lnTo>
                <a:lnTo>
                  <a:pt x="2683" y="2423"/>
                </a:lnTo>
                <a:lnTo>
                  <a:pt x="2671" y="2423"/>
                </a:lnTo>
                <a:lnTo>
                  <a:pt x="2661" y="2427"/>
                </a:lnTo>
                <a:lnTo>
                  <a:pt x="2658" y="2427"/>
                </a:lnTo>
                <a:lnTo>
                  <a:pt x="2654" y="2427"/>
                </a:lnTo>
                <a:lnTo>
                  <a:pt x="2653" y="2431"/>
                </a:lnTo>
                <a:lnTo>
                  <a:pt x="2645" y="2436"/>
                </a:lnTo>
                <a:lnTo>
                  <a:pt x="2639" y="2436"/>
                </a:lnTo>
                <a:lnTo>
                  <a:pt x="2633" y="2435"/>
                </a:lnTo>
                <a:lnTo>
                  <a:pt x="2625" y="2432"/>
                </a:lnTo>
                <a:lnTo>
                  <a:pt x="2617" y="2436"/>
                </a:lnTo>
                <a:lnTo>
                  <a:pt x="2614" y="2440"/>
                </a:lnTo>
                <a:lnTo>
                  <a:pt x="2615" y="2445"/>
                </a:lnTo>
                <a:lnTo>
                  <a:pt x="2614" y="2450"/>
                </a:lnTo>
                <a:lnTo>
                  <a:pt x="2615" y="2453"/>
                </a:lnTo>
                <a:lnTo>
                  <a:pt x="2620" y="2461"/>
                </a:lnTo>
                <a:lnTo>
                  <a:pt x="2620" y="2468"/>
                </a:lnTo>
                <a:lnTo>
                  <a:pt x="2625" y="2478"/>
                </a:lnTo>
                <a:lnTo>
                  <a:pt x="2625" y="2481"/>
                </a:lnTo>
                <a:lnTo>
                  <a:pt x="2623" y="2485"/>
                </a:lnTo>
                <a:lnTo>
                  <a:pt x="2617" y="2488"/>
                </a:lnTo>
                <a:lnTo>
                  <a:pt x="2606" y="2497"/>
                </a:lnTo>
                <a:lnTo>
                  <a:pt x="2598" y="2503"/>
                </a:lnTo>
                <a:lnTo>
                  <a:pt x="2595" y="2503"/>
                </a:lnTo>
                <a:lnTo>
                  <a:pt x="2592" y="2506"/>
                </a:lnTo>
                <a:lnTo>
                  <a:pt x="2592" y="2509"/>
                </a:lnTo>
                <a:lnTo>
                  <a:pt x="2585" y="2515"/>
                </a:lnTo>
                <a:lnTo>
                  <a:pt x="2585" y="2519"/>
                </a:lnTo>
                <a:lnTo>
                  <a:pt x="2585" y="2520"/>
                </a:lnTo>
                <a:lnTo>
                  <a:pt x="2579" y="2520"/>
                </a:lnTo>
                <a:lnTo>
                  <a:pt x="2575" y="2526"/>
                </a:lnTo>
                <a:lnTo>
                  <a:pt x="2571" y="2527"/>
                </a:lnTo>
                <a:lnTo>
                  <a:pt x="2562" y="2526"/>
                </a:lnTo>
                <a:lnTo>
                  <a:pt x="2558" y="2525"/>
                </a:lnTo>
                <a:lnTo>
                  <a:pt x="2554" y="2519"/>
                </a:lnTo>
                <a:lnTo>
                  <a:pt x="2548" y="2515"/>
                </a:lnTo>
                <a:lnTo>
                  <a:pt x="2539" y="2512"/>
                </a:lnTo>
                <a:lnTo>
                  <a:pt x="2529" y="2512"/>
                </a:lnTo>
                <a:lnTo>
                  <a:pt x="2525" y="2510"/>
                </a:lnTo>
                <a:lnTo>
                  <a:pt x="2519" y="2512"/>
                </a:lnTo>
                <a:lnTo>
                  <a:pt x="2517" y="2517"/>
                </a:lnTo>
                <a:lnTo>
                  <a:pt x="2512" y="2517"/>
                </a:lnTo>
                <a:lnTo>
                  <a:pt x="2511" y="2520"/>
                </a:lnTo>
                <a:lnTo>
                  <a:pt x="2510" y="2527"/>
                </a:lnTo>
                <a:lnTo>
                  <a:pt x="2507" y="2530"/>
                </a:lnTo>
                <a:lnTo>
                  <a:pt x="2507" y="2537"/>
                </a:lnTo>
                <a:lnTo>
                  <a:pt x="2497" y="2542"/>
                </a:lnTo>
                <a:lnTo>
                  <a:pt x="2485" y="2547"/>
                </a:lnTo>
                <a:lnTo>
                  <a:pt x="2477" y="2552"/>
                </a:lnTo>
                <a:lnTo>
                  <a:pt x="2466" y="2563"/>
                </a:lnTo>
                <a:lnTo>
                  <a:pt x="2466" y="2565"/>
                </a:lnTo>
                <a:lnTo>
                  <a:pt x="2468" y="2569"/>
                </a:lnTo>
                <a:lnTo>
                  <a:pt x="2465" y="2579"/>
                </a:lnTo>
                <a:lnTo>
                  <a:pt x="2465" y="2587"/>
                </a:lnTo>
                <a:lnTo>
                  <a:pt x="2461" y="2587"/>
                </a:lnTo>
                <a:lnTo>
                  <a:pt x="2454" y="2592"/>
                </a:lnTo>
                <a:lnTo>
                  <a:pt x="2447" y="2592"/>
                </a:lnTo>
                <a:lnTo>
                  <a:pt x="2446" y="2596"/>
                </a:lnTo>
                <a:lnTo>
                  <a:pt x="2440" y="2600"/>
                </a:lnTo>
                <a:lnTo>
                  <a:pt x="2436" y="2605"/>
                </a:lnTo>
                <a:lnTo>
                  <a:pt x="2427" y="2610"/>
                </a:lnTo>
                <a:lnTo>
                  <a:pt x="2423" y="2619"/>
                </a:lnTo>
                <a:lnTo>
                  <a:pt x="2421" y="2622"/>
                </a:lnTo>
                <a:lnTo>
                  <a:pt x="2412" y="2625"/>
                </a:lnTo>
                <a:lnTo>
                  <a:pt x="2407" y="2630"/>
                </a:lnTo>
                <a:lnTo>
                  <a:pt x="2401" y="2632"/>
                </a:lnTo>
                <a:lnTo>
                  <a:pt x="2400" y="2635"/>
                </a:lnTo>
                <a:lnTo>
                  <a:pt x="2402" y="2637"/>
                </a:lnTo>
                <a:lnTo>
                  <a:pt x="2404" y="2641"/>
                </a:lnTo>
                <a:lnTo>
                  <a:pt x="2400" y="2646"/>
                </a:lnTo>
                <a:lnTo>
                  <a:pt x="2387" y="2654"/>
                </a:lnTo>
                <a:lnTo>
                  <a:pt x="2382" y="2655"/>
                </a:lnTo>
                <a:lnTo>
                  <a:pt x="2377" y="2658"/>
                </a:lnTo>
                <a:lnTo>
                  <a:pt x="2363" y="2663"/>
                </a:lnTo>
                <a:lnTo>
                  <a:pt x="2352" y="2668"/>
                </a:lnTo>
                <a:lnTo>
                  <a:pt x="2344" y="2669"/>
                </a:lnTo>
                <a:lnTo>
                  <a:pt x="2336" y="2675"/>
                </a:lnTo>
                <a:lnTo>
                  <a:pt x="2332" y="2680"/>
                </a:lnTo>
                <a:lnTo>
                  <a:pt x="2329" y="2680"/>
                </a:lnTo>
                <a:lnTo>
                  <a:pt x="2326" y="2681"/>
                </a:lnTo>
                <a:lnTo>
                  <a:pt x="2319" y="2681"/>
                </a:lnTo>
                <a:lnTo>
                  <a:pt x="2318" y="2689"/>
                </a:lnTo>
                <a:lnTo>
                  <a:pt x="2315" y="2692"/>
                </a:lnTo>
                <a:lnTo>
                  <a:pt x="2307" y="2689"/>
                </a:lnTo>
                <a:lnTo>
                  <a:pt x="2304" y="2691"/>
                </a:lnTo>
                <a:lnTo>
                  <a:pt x="2300" y="2694"/>
                </a:lnTo>
                <a:lnTo>
                  <a:pt x="2297" y="2694"/>
                </a:lnTo>
                <a:lnTo>
                  <a:pt x="2294" y="2694"/>
                </a:lnTo>
                <a:lnTo>
                  <a:pt x="2285" y="2688"/>
                </a:lnTo>
                <a:lnTo>
                  <a:pt x="2276" y="2676"/>
                </a:lnTo>
                <a:lnTo>
                  <a:pt x="2266" y="2681"/>
                </a:lnTo>
                <a:lnTo>
                  <a:pt x="2259" y="2681"/>
                </a:lnTo>
                <a:lnTo>
                  <a:pt x="2254" y="2679"/>
                </a:lnTo>
                <a:lnTo>
                  <a:pt x="2251" y="2679"/>
                </a:lnTo>
                <a:lnTo>
                  <a:pt x="2247" y="2681"/>
                </a:lnTo>
                <a:lnTo>
                  <a:pt x="2240" y="2691"/>
                </a:lnTo>
                <a:lnTo>
                  <a:pt x="2226" y="2697"/>
                </a:lnTo>
                <a:lnTo>
                  <a:pt x="2219" y="2704"/>
                </a:lnTo>
                <a:lnTo>
                  <a:pt x="2215" y="2708"/>
                </a:lnTo>
                <a:lnTo>
                  <a:pt x="2203" y="2717"/>
                </a:lnTo>
                <a:lnTo>
                  <a:pt x="2201" y="2719"/>
                </a:lnTo>
                <a:lnTo>
                  <a:pt x="2198" y="2719"/>
                </a:lnTo>
                <a:lnTo>
                  <a:pt x="2195" y="2719"/>
                </a:lnTo>
                <a:lnTo>
                  <a:pt x="2190" y="2721"/>
                </a:lnTo>
                <a:lnTo>
                  <a:pt x="2184" y="2729"/>
                </a:lnTo>
                <a:lnTo>
                  <a:pt x="2174" y="2734"/>
                </a:lnTo>
                <a:lnTo>
                  <a:pt x="2166" y="2739"/>
                </a:lnTo>
                <a:lnTo>
                  <a:pt x="2159" y="2739"/>
                </a:lnTo>
                <a:lnTo>
                  <a:pt x="2155" y="2739"/>
                </a:lnTo>
                <a:lnTo>
                  <a:pt x="2140" y="2746"/>
                </a:lnTo>
                <a:lnTo>
                  <a:pt x="2131" y="2747"/>
                </a:lnTo>
                <a:lnTo>
                  <a:pt x="2117" y="2762"/>
                </a:lnTo>
                <a:lnTo>
                  <a:pt x="2108" y="2768"/>
                </a:lnTo>
                <a:lnTo>
                  <a:pt x="2101" y="2770"/>
                </a:lnTo>
                <a:lnTo>
                  <a:pt x="2098" y="2775"/>
                </a:lnTo>
                <a:lnTo>
                  <a:pt x="2094" y="2774"/>
                </a:lnTo>
                <a:lnTo>
                  <a:pt x="2087" y="2778"/>
                </a:lnTo>
                <a:lnTo>
                  <a:pt x="2083" y="2784"/>
                </a:lnTo>
                <a:lnTo>
                  <a:pt x="2084" y="2791"/>
                </a:lnTo>
                <a:lnTo>
                  <a:pt x="2083" y="2792"/>
                </a:lnTo>
                <a:lnTo>
                  <a:pt x="2080" y="2800"/>
                </a:lnTo>
                <a:lnTo>
                  <a:pt x="2076" y="2801"/>
                </a:lnTo>
                <a:lnTo>
                  <a:pt x="2072" y="2805"/>
                </a:lnTo>
                <a:lnTo>
                  <a:pt x="2066" y="2805"/>
                </a:lnTo>
                <a:lnTo>
                  <a:pt x="2058" y="2808"/>
                </a:lnTo>
                <a:lnTo>
                  <a:pt x="2051" y="2815"/>
                </a:lnTo>
                <a:lnTo>
                  <a:pt x="2036" y="2820"/>
                </a:lnTo>
                <a:lnTo>
                  <a:pt x="2034" y="2824"/>
                </a:lnTo>
                <a:lnTo>
                  <a:pt x="2036" y="2828"/>
                </a:lnTo>
                <a:lnTo>
                  <a:pt x="2033" y="2830"/>
                </a:lnTo>
                <a:lnTo>
                  <a:pt x="2026" y="2836"/>
                </a:lnTo>
                <a:lnTo>
                  <a:pt x="2020" y="2837"/>
                </a:lnTo>
                <a:lnTo>
                  <a:pt x="2014" y="2841"/>
                </a:lnTo>
                <a:lnTo>
                  <a:pt x="2011" y="2843"/>
                </a:lnTo>
                <a:lnTo>
                  <a:pt x="2008" y="2849"/>
                </a:lnTo>
                <a:lnTo>
                  <a:pt x="1999" y="2858"/>
                </a:lnTo>
                <a:lnTo>
                  <a:pt x="1997" y="2863"/>
                </a:lnTo>
                <a:lnTo>
                  <a:pt x="1997" y="2868"/>
                </a:lnTo>
                <a:lnTo>
                  <a:pt x="2001" y="2873"/>
                </a:lnTo>
                <a:lnTo>
                  <a:pt x="2003" y="2871"/>
                </a:lnTo>
                <a:lnTo>
                  <a:pt x="2005" y="2873"/>
                </a:lnTo>
                <a:lnTo>
                  <a:pt x="2003" y="2876"/>
                </a:lnTo>
                <a:lnTo>
                  <a:pt x="2001" y="2878"/>
                </a:lnTo>
                <a:lnTo>
                  <a:pt x="1998" y="2878"/>
                </a:lnTo>
                <a:lnTo>
                  <a:pt x="1995" y="2875"/>
                </a:lnTo>
                <a:lnTo>
                  <a:pt x="1992" y="2876"/>
                </a:lnTo>
                <a:lnTo>
                  <a:pt x="1991" y="2888"/>
                </a:lnTo>
                <a:lnTo>
                  <a:pt x="1991" y="2891"/>
                </a:lnTo>
                <a:lnTo>
                  <a:pt x="1997" y="2892"/>
                </a:lnTo>
                <a:lnTo>
                  <a:pt x="1997" y="2895"/>
                </a:lnTo>
                <a:lnTo>
                  <a:pt x="1989" y="2899"/>
                </a:lnTo>
                <a:lnTo>
                  <a:pt x="1984" y="2899"/>
                </a:lnTo>
                <a:lnTo>
                  <a:pt x="1978" y="2899"/>
                </a:lnTo>
                <a:lnTo>
                  <a:pt x="1976" y="2904"/>
                </a:lnTo>
                <a:lnTo>
                  <a:pt x="1969" y="2912"/>
                </a:lnTo>
                <a:lnTo>
                  <a:pt x="1967" y="2917"/>
                </a:lnTo>
                <a:lnTo>
                  <a:pt x="1960" y="2920"/>
                </a:lnTo>
                <a:lnTo>
                  <a:pt x="1960" y="2921"/>
                </a:lnTo>
                <a:lnTo>
                  <a:pt x="1955" y="2929"/>
                </a:lnTo>
                <a:lnTo>
                  <a:pt x="1953" y="2929"/>
                </a:lnTo>
                <a:lnTo>
                  <a:pt x="1944" y="2930"/>
                </a:lnTo>
                <a:lnTo>
                  <a:pt x="1939" y="2933"/>
                </a:lnTo>
                <a:lnTo>
                  <a:pt x="1941" y="2934"/>
                </a:lnTo>
                <a:lnTo>
                  <a:pt x="1944" y="2938"/>
                </a:lnTo>
                <a:lnTo>
                  <a:pt x="1939" y="2946"/>
                </a:lnTo>
                <a:lnTo>
                  <a:pt x="1941" y="2952"/>
                </a:lnTo>
                <a:lnTo>
                  <a:pt x="1934" y="2957"/>
                </a:lnTo>
                <a:lnTo>
                  <a:pt x="1926" y="2962"/>
                </a:lnTo>
                <a:lnTo>
                  <a:pt x="1921" y="2974"/>
                </a:lnTo>
                <a:lnTo>
                  <a:pt x="1918" y="2978"/>
                </a:lnTo>
                <a:lnTo>
                  <a:pt x="1913" y="2979"/>
                </a:lnTo>
                <a:lnTo>
                  <a:pt x="1906" y="2989"/>
                </a:lnTo>
                <a:lnTo>
                  <a:pt x="1903" y="2992"/>
                </a:lnTo>
                <a:lnTo>
                  <a:pt x="1896" y="2998"/>
                </a:lnTo>
                <a:lnTo>
                  <a:pt x="1893" y="3000"/>
                </a:lnTo>
                <a:lnTo>
                  <a:pt x="1892" y="3002"/>
                </a:lnTo>
                <a:lnTo>
                  <a:pt x="1887" y="3002"/>
                </a:lnTo>
                <a:lnTo>
                  <a:pt x="1884" y="3007"/>
                </a:lnTo>
                <a:lnTo>
                  <a:pt x="1887" y="3009"/>
                </a:lnTo>
                <a:lnTo>
                  <a:pt x="1889" y="3011"/>
                </a:lnTo>
                <a:lnTo>
                  <a:pt x="1891" y="3011"/>
                </a:lnTo>
                <a:lnTo>
                  <a:pt x="1891" y="3015"/>
                </a:lnTo>
                <a:lnTo>
                  <a:pt x="1887" y="3021"/>
                </a:lnTo>
                <a:lnTo>
                  <a:pt x="1889" y="3024"/>
                </a:lnTo>
                <a:lnTo>
                  <a:pt x="1885" y="3027"/>
                </a:lnTo>
                <a:lnTo>
                  <a:pt x="1888" y="3041"/>
                </a:lnTo>
                <a:lnTo>
                  <a:pt x="1887" y="3044"/>
                </a:lnTo>
                <a:lnTo>
                  <a:pt x="1879" y="3046"/>
                </a:lnTo>
                <a:lnTo>
                  <a:pt x="1878" y="3053"/>
                </a:lnTo>
                <a:lnTo>
                  <a:pt x="1879" y="3056"/>
                </a:lnTo>
                <a:lnTo>
                  <a:pt x="1871" y="3059"/>
                </a:lnTo>
                <a:lnTo>
                  <a:pt x="1871" y="3066"/>
                </a:lnTo>
                <a:lnTo>
                  <a:pt x="1866" y="3069"/>
                </a:lnTo>
                <a:lnTo>
                  <a:pt x="1864" y="3067"/>
                </a:lnTo>
                <a:lnTo>
                  <a:pt x="1860" y="3069"/>
                </a:lnTo>
                <a:lnTo>
                  <a:pt x="1859" y="3077"/>
                </a:lnTo>
                <a:lnTo>
                  <a:pt x="1860" y="3078"/>
                </a:lnTo>
                <a:lnTo>
                  <a:pt x="1860" y="3081"/>
                </a:lnTo>
                <a:lnTo>
                  <a:pt x="1859" y="3081"/>
                </a:lnTo>
                <a:lnTo>
                  <a:pt x="1860" y="3082"/>
                </a:lnTo>
                <a:lnTo>
                  <a:pt x="1857" y="3082"/>
                </a:lnTo>
                <a:lnTo>
                  <a:pt x="1856" y="3094"/>
                </a:lnTo>
                <a:lnTo>
                  <a:pt x="1851" y="3095"/>
                </a:lnTo>
                <a:lnTo>
                  <a:pt x="1845" y="3091"/>
                </a:lnTo>
                <a:lnTo>
                  <a:pt x="1841" y="3091"/>
                </a:lnTo>
                <a:lnTo>
                  <a:pt x="1839" y="3091"/>
                </a:lnTo>
                <a:lnTo>
                  <a:pt x="1838" y="3091"/>
                </a:lnTo>
                <a:lnTo>
                  <a:pt x="1832" y="3101"/>
                </a:lnTo>
                <a:lnTo>
                  <a:pt x="1829" y="3103"/>
                </a:lnTo>
                <a:lnTo>
                  <a:pt x="1827" y="3112"/>
                </a:lnTo>
                <a:lnTo>
                  <a:pt x="1827" y="3120"/>
                </a:lnTo>
                <a:lnTo>
                  <a:pt x="1826" y="3124"/>
                </a:lnTo>
                <a:lnTo>
                  <a:pt x="1823" y="3126"/>
                </a:lnTo>
                <a:lnTo>
                  <a:pt x="1824" y="3129"/>
                </a:lnTo>
                <a:lnTo>
                  <a:pt x="1821" y="3129"/>
                </a:lnTo>
                <a:lnTo>
                  <a:pt x="1820" y="3131"/>
                </a:lnTo>
                <a:lnTo>
                  <a:pt x="1821" y="3133"/>
                </a:lnTo>
                <a:lnTo>
                  <a:pt x="1818" y="3135"/>
                </a:lnTo>
                <a:lnTo>
                  <a:pt x="1812" y="3136"/>
                </a:lnTo>
                <a:lnTo>
                  <a:pt x="1807" y="3144"/>
                </a:lnTo>
                <a:lnTo>
                  <a:pt x="1806" y="3144"/>
                </a:lnTo>
                <a:lnTo>
                  <a:pt x="1802" y="3144"/>
                </a:lnTo>
                <a:lnTo>
                  <a:pt x="1795" y="3144"/>
                </a:lnTo>
                <a:lnTo>
                  <a:pt x="1796" y="3148"/>
                </a:lnTo>
                <a:lnTo>
                  <a:pt x="1791" y="3149"/>
                </a:lnTo>
                <a:lnTo>
                  <a:pt x="1787" y="3157"/>
                </a:lnTo>
                <a:lnTo>
                  <a:pt x="1784" y="3160"/>
                </a:lnTo>
                <a:lnTo>
                  <a:pt x="1782" y="3169"/>
                </a:lnTo>
                <a:lnTo>
                  <a:pt x="1774" y="3173"/>
                </a:lnTo>
                <a:lnTo>
                  <a:pt x="1771" y="3178"/>
                </a:lnTo>
                <a:lnTo>
                  <a:pt x="1767" y="3178"/>
                </a:lnTo>
                <a:lnTo>
                  <a:pt x="1766" y="3178"/>
                </a:lnTo>
                <a:lnTo>
                  <a:pt x="1763" y="3180"/>
                </a:lnTo>
                <a:lnTo>
                  <a:pt x="1763" y="3176"/>
                </a:lnTo>
                <a:lnTo>
                  <a:pt x="1759" y="3180"/>
                </a:lnTo>
                <a:lnTo>
                  <a:pt x="1759" y="3186"/>
                </a:lnTo>
                <a:lnTo>
                  <a:pt x="1756" y="3189"/>
                </a:lnTo>
                <a:lnTo>
                  <a:pt x="1751" y="3189"/>
                </a:lnTo>
                <a:lnTo>
                  <a:pt x="1746" y="3189"/>
                </a:lnTo>
                <a:lnTo>
                  <a:pt x="1739" y="3191"/>
                </a:lnTo>
                <a:lnTo>
                  <a:pt x="1739" y="3196"/>
                </a:lnTo>
                <a:lnTo>
                  <a:pt x="1735" y="3198"/>
                </a:lnTo>
                <a:lnTo>
                  <a:pt x="1737" y="3202"/>
                </a:lnTo>
                <a:lnTo>
                  <a:pt x="1735" y="3205"/>
                </a:lnTo>
                <a:lnTo>
                  <a:pt x="1727" y="3206"/>
                </a:lnTo>
                <a:lnTo>
                  <a:pt x="1725" y="3205"/>
                </a:lnTo>
                <a:lnTo>
                  <a:pt x="1717" y="3210"/>
                </a:lnTo>
                <a:lnTo>
                  <a:pt x="1710" y="3207"/>
                </a:lnTo>
                <a:lnTo>
                  <a:pt x="1704" y="3208"/>
                </a:lnTo>
                <a:lnTo>
                  <a:pt x="1702" y="3210"/>
                </a:lnTo>
                <a:lnTo>
                  <a:pt x="1700" y="3215"/>
                </a:lnTo>
                <a:lnTo>
                  <a:pt x="1699" y="3220"/>
                </a:lnTo>
                <a:lnTo>
                  <a:pt x="1693" y="3222"/>
                </a:lnTo>
                <a:lnTo>
                  <a:pt x="1688" y="3224"/>
                </a:lnTo>
                <a:lnTo>
                  <a:pt x="1681" y="3222"/>
                </a:lnTo>
                <a:lnTo>
                  <a:pt x="1675" y="3224"/>
                </a:lnTo>
                <a:lnTo>
                  <a:pt x="1674" y="3222"/>
                </a:lnTo>
                <a:lnTo>
                  <a:pt x="1674" y="3224"/>
                </a:lnTo>
                <a:lnTo>
                  <a:pt x="1672" y="3224"/>
                </a:lnTo>
                <a:lnTo>
                  <a:pt x="1674" y="3224"/>
                </a:lnTo>
                <a:lnTo>
                  <a:pt x="1672" y="3224"/>
                </a:lnTo>
                <a:lnTo>
                  <a:pt x="1671" y="3224"/>
                </a:lnTo>
                <a:lnTo>
                  <a:pt x="1670" y="3224"/>
                </a:lnTo>
                <a:lnTo>
                  <a:pt x="1670" y="3227"/>
                </a:lnTo>
                <a:lnTo>
                  <a:pt x="1668" y="3227"/>
                </a:lnTo>
                <a:lnTo>
                  <a:pt x="1667" y="3227"/>
                </a:lnTo>
                <a:lnTo>
                  <a:pt x="1666" y="3227"/>
                </a:lnTo>
                <a:lnTo>
                  <a:pt x="1666" y="3228"/>
                </a:lnTo>
                <a:lnTo>
                  <a:pt x="1664" y="3230"/>
                </a:lnTo>
                <a:lnTo>
                  <a:pt x="1663" y="3230"/>
                </a:lnTo>
                <a:lnTo>
                  <a:pt x="1661" y="3228"/>
                </a:lnTo>
                <a:lnTo>
                  <a:pt x="1660" y="3228"/>
                </a:lnTo>
                <a:lnTo>
                  <a:pt x="1658" y="3228"/>
                </a:lnTo>
                <a:lnTo>
                  <a:pt x="1657" y="3228"/>
                </a:lnTo>
                <a:lnTo>
                  <a:pt x="1657" y="3230"/>
                </a:lnTo>
                <a:lnTo>
                  <a:pt x="1656" y="3230"/>
                </a:lnTo>
                <a:lnTo>
                  <a:pt x="1654" y="3230"/>
                </a:lnTo>
                <a:lnTo>
                  <a:pt x="1653" y="3230"/>
                </a:lnTo>
                <a:lnTo>
                  <a:pt x="1652" y="3230"/>
                </a:lnTo>
                <a:lnTo>
                  <a:pt x="1650" y="3230"/>
                </a:lnTo>
                <a:lnTo>
                  <a:pt x="1649" y="3230"/>
                </a:lnTo>
                <a:lnTo>
                  <a:pt x="1649" y="3231"/>
                </a:lnTo>
                <a:lnTo>
                  <a:pt x="1649" y="3232"/>
                </a:lnTo>
                <a:lnTo>
                  <a:pt x="1647" y="3232"/>
                </a:lnTo>
                <a:lnTo>
                  <a:pt x="1647" y="3231"/>
                </a:lnTo>
                <a:lnTo>
                  <a:pt x="1644" y="3231"/>
                </a:lnTo>
                <a:lnTo>
                  <a:pt x="1643" y="3231"/>
                </a:lnTo>
                <a:lnTo>
                  <a:pt x="1642" y="3232"/>
                </a:lnTo>
                <a:lnTo>
                  <a:pt x="1641" y="3232"/>
                </a:lnTo>
                <a:lnTo>
                  <a:pt x="1639" y="3232"/>
                </a:lnTo>
                <a:lnTo>
                  <a:pt x="1638" y="3232"/>
                </a:lnTo>
                <a:lnTo>
                  <a:pt x="1638" y="3233"/>
                </a:lnTo>
                <a:lnTo>
                  <a:pt x="1636" y="3233"/>
                </a:lnTo>
                <a:lnTo>
                  <a:pt x="1635" y="3233"/>
                </a:lnTo>
                <a:lnTo>
                  <a:pt x="1633" y="3233"/>
                </a:lnTo>
                <a:lnTo>
                  <a:pt x="1632" y="3233"/>
                </a:lnTo>
                <a:lnTo>
                  <a:pt x="1631" y="3233"/>
                </a:lnTo>
                <a:lnTo>
                  <a:pt x="1631" y="3236"/>
                </a:lnTo>
                <a:lnTo>
                  <a:pt x="1629" y="3233"/>
                </a:lnTo>
                <a:lnTo>
                  <a:pt x="1629" y="3236"/>
                </a:lnTo>
                <a:lnTo>
                  <a:pt x="1628" y="3236"/>
                </a:lnTo>
                <a:lnTo>
                  <a:pt x="1627" y="3236"/>
                </a:lnTo>
                <a:lnTo>
                  <a:pt x="1625" y="3236"/>
                </a:lnTo>
                <a:lnTo>
                  <a:pt x="1624" y="3236"/>
                </a:lnTo>
                <a:lnTo>
                  <a:pt x="1624" y="3238"/>
                </a:lnTo>
                <a:lnTo>
                  <a:pt x="1622" y="3238"/>
                </a:lnTo>
                <a:lnTo>
                  <a:pt x="1621" y="3238"/>
                </a:lnTo>
                <a:lnTo>
                  <a:pt x="1619" y="3238"/>
                </a:lnTo>
                <a:lnTo>
                  <a:pt x="1617" y="3238"/>
                </a:lnTo>
                <a:lnTo>
                  <a:pt x="1616" y="3238"/>
                </a:lnTo>
                <a:lnTo>
                  <a:pt x="1614" y="3238"/>
                </a:lnTo>
                <a:lnTo>
                  <a:pt x="1613" y="3238"/>
                </a:lnTo>
                <a:lnTo>
                  <a:pt x="1611" y="3238"/>
                </a:lnTo>
                <a:lnTo>
                  <a:pt x="1611" y="3240"/>
                </a:lnTo>
                <a:lnTo>
                  <a:pt x="1613" y="3240"/>
                </a:lnTo>
                <a:lnTo>
                  <a:pt x="1613" y="3241"/>
                </a:lnTo>
                <a:lnTo>
                  <a:pt x="1611" y="3241"/>
                </a:lnTo>
                <a:lnTo>
                  <a:pt x="1613" y="3241"/>
                </a:lnTo>
                <a:lnTo>
                  <a:pt x="1613" y="3243"/>
                </a:lnTo>
                <a:lnTo>
                  <a:pt x="1611" y="3243"/>
                </a:lnTo>
                <a:lnTo>
                  <a:pt x="1611" y="3241"/>
                </a:lnTo>
                <a:lnTo>
                  <a:pt x="1610" y="3241"/>
                </a:lnTo>
                <a:lnTo>
                  <a:pt x="1610" y="3243"/>
                </a:lnTo>
                <a:lnTo>
                  <a:pt x="1610" y="3244"/>
                </a:lnTo>
                <a:lnTo>
                  <a:pt x="1608" y="3244"/>
                </a:lnTo>
                <a:lnTo>
                  <a:pt x="1608" y="3243"/>
                </a:lnTo>
                <a:lnTo>
                  <a:pt x="1608" y="3244"/>
                </a:lnTo>
                <a:lnTo>
                  <a:pt x="1607" y="3244"/>
                </a:lnTo>
                <a:lnTo>
                  <a:pt x="1608" y="3244"/>
                </a:lnTo>
                <a:lnTo>
                  <a:pt x="1610" y="3244"/>
                </a:lnTo>
                <a:lnTo>
                  <a:pt x="1608" y="3244"/>
                </a:lnTo>
                <a:lnTo>
                  <a:pt x="1607" y="3244"/>
                </a:lnTo>
                <a:lnTo>
                  <a:pt x="1607" y="3247"/>
                </a:lnTo>
                <a:lnTo>
                  <a:pt x="1607" y="3250"/>
                </a:lnTo>
                <a:lnTo>
                  <a:pt x="1607" y="3251"/>
                </a:lnTo>
                <a:lnTo>
                  <a:pt x="1607" y="3253"/>
                </a:lnTo>
                <a:lnTo>
                  <a:pt x="1606" y="3253"/>
                </a:lnTo>
                <a:lnTo>
                  <a:pt x="1607" y="3253"/>
                </a:lnTo>
                <a:lnTo>
                  <a:pt x="1607" y="3255"/>
                </a:lnTo>
                <a:lnTo>
                  <a:pt x="1607" y="3256"/>
                </a:lnTo>
                <a:lnTo>
                  <a:pt x="1606" y="3256"/>
                </a:lnTo>
                <a:lnTo>
                  <a:pt x="1604" y="3256"/>
                </a:lnTo>
                <a:lnTo>
                  <a:pt x="1604" y="3258"/>
                </a:lnTo>
                <a:lnTo>
                  <a:pt x="1604" y="3256"/>
                </a:lnTo>
                <a:lnTo>
                  <a:pt x="1603" y="3256"/>
                </a:lnTo>
                <a:lnTo>
                  <a:pt x="1603" y="3258"/>
                </a:lnTo>
                <a:lnTo>
                  <a:pt x="1603" y="3260"/>
                </a:lnTo>
                <a:lnTo>
                  <a:pt x="1602" y="3258"/>
                </a:lnTo>
                <a:lnTo>
                  <a:pt x="1600" y="3258"/>
                </a:lnTo>
                <a:lnTo>
                  <a:pt x="1600" y="3260"/>
                </a:lnTo>
                <a:lnTo>
                  <a:pt x="1602" y="3260"/>
                </a:lnTo>
                <a:lnTo>
                  <a:pt x="1599" y="3260"/>
                </a:lnTo>
                <a:lnTo>
                  <a:pt x="1599" y="3263"/>
                </a:lnTo>
                <a:lnTo>
                  <a:pt x="1597" y="3263"/>
                </a:lnTo>
                <a:lnTo>
                  <a:pt x="1597" y="3264"/>
                </a:lnTo>
                <a:lnTo>
                  <a:pt x="1596" y="3265"/>
                </a:lnTo>
                <a:lnTo>
                  <a:pt x="1594" y="3267"/>
                </a:lnTo>
                <a:lnTo>
                  <a:pt x="1593" y="3267"/>
                </a:lnTo>
                <a:lnTo>
                  <a:pt x="1594" y="3267"/>
                </a:lnTo>
                <a:lnTo>
                  <a:pt x="1594" y="3269"/>
                </a:lnTo>
                <a:lnTo>
                  <a:pt x="1593" y="3269"/>
                </a:lnTo>
                <a:lnTo>
                  <a:pt x="1592" y="3269"/>
                </a:lnTo>
                <a:lnTo>
                  <a:pt x="1592" y="3272"/>
                </a:lnTo>
                <a:lnTo>
                  <a:pt x="1593" y="3272"/>
                </a:lnTo>
                <a:lnTo>
                  <a:pt x="1592" y="3272"/>
                </a:lnTo>
                <a:lnTo>
                  <a:pt x="1592" y="3273"/>
                </a:lnTo>
                <a:lnTo>
                  <a:pt x="1590" y="3273"/>
                </a:lnTo>
                <a:lnTo>
                  <a:pt x="1590" y="3276"/>
                </a:lnTo>
                <a:lnTo>
                  <a:pt x="1589" y="3276"/>
                </a:lnTo>
                <a:lnTo>
                  <a:pt x="1588" y="3276"/>
                </a:lnTo>
                <a:lnTo>
                  <a:pt x="1589" y="3277"/>
                </a:lnTo>
                <a:lnTo>
                  <a:pt x="1588" y="3277"/>
                </a:lnTo>
                <a:lnTo>
                  <a:pt x="1588" y="3278"/>
                </a:lnTo>
                <a:lnTo>
                  <a:pt x="1589" y="3278"/>
                </a:lnTo>
                <a:lnTo>
                  <a:pt x="1588" y="3280"/>
                </a:lnTo>
                <a:lnTo>
                  <a:pt x="1588" y="3281"/>
                </a:lnTo>
                <a:lnTo>
                  <a:pt x="1589" y="3281"/>
                </a:lnTo>
                <a:lnTo>
                  <a:pt x="1588" y="3281"/>
                </a:lnTo>
                <a:lnTo>
                  <a:pt x="1588" y="3282"/>
                </a:lnTo>
                <a:lnTo>
                  <a:pt x="1586" y="3282"/>
                </a:lnTo>
                <a:lnTo>
                  <a:pt x="1585" y="3282"/>
                </a:lnTo>
                <a:lnTo>
                  <a:pt x="1583" y="3282"/>
                </a:lnTo>
                <a:lnTo>
                  <a:pt x="1582" y="3282"/>
                </a:lnTo>
                <a:lnTo>
                  <a:pt x="1581" y="3282"/>
                </a:lnTo>
                <a:lnTo>
                  <a:pt x="1581" y="3285"/>
                </a:lnTo>
                <a:lnTo>
                  <a:pt x="1579" y="3285"/>
                </a:lnTo>
                <a:lnTo>
                  <a:pt x="1581" y="3286"/>
                </a:lnTo>
                <a:lnTo>
                  <a:pt x="1582" y="3286"/>
                </a:lnTo>
                <a:lnTo>
                  <a:pt x="1581" y="3286"/>
                </a:lnTo>
                <a:lnTo>
                  <a:pt x="1579" y="3286"/>
                </a:lnTo>
                <a:lnTo>
                  <a:pt x="1579" y="3289"/>
                </a:lnTo>
                <a:lnTo>
                  <a:pt x="1581" y="3289"/>
                </a:lnTo>
                <a:lnTo>
                  <a:pt x="1581" y="3290"/>
                </a:lnTo>
                <a:lnTo>
                  <a:pt x="1579" y="3290"/>
                </a:lnTo>
                <a:lnTo>
                  <a:pt x="1579" y="3292"/>
                </a:lnTo>
                <a:lnTo>
                  <a:pt x="1578" y="3292"/>
                </a:lnTo>
                <a:lnTo>
                  <a:pt x="1577" y="3292"/>
                </a:lnTo>
                <a:lnTo>
                  <a:pt x="1577" y="3294"/>
                </a:lnTo>
                <a:lnTo>
                  <a:pt x="1575" y="3294"/>
                </a:lnTo>
                <a:lnTo>
                  <a:pt x="1577" y="3294"/>
                </a:lnTo>
                <a:lnTo>
                  <a:pt x="1577" y="3295"/>
                </a:lnTo>
                <a:lnTo>
                  <a:pt x="1575" y="3295"/>
                </a:lnTo>
                <a:lnTo>
                  <a:pt x="1574" y="3295"/>
                </a:lnTo>
                <a:lnTo>
                  <a:pt x="1575" y="3295"/>
                </a:lnTo>
                <a:lnTo>
                  <a:pt x="1575" y="3298"/>
                </a:lnTo>
                <a:lnTo>
                  <a:pt x="1574" y="3298"/>
                </a:lnTo>
                <a:lnTo>
                  <a:pt x="1574" y="3300"/>
                </a:lnTo>
                <a:lnTo>
                  <a:pt x="1572" y="3300"/>
                </a:lnTo>
                <a:lnTo>
                  <a:pt x="1571" y="3300"/>
                </a:lnTo>
                <a:lnTo>
                  <a:pt x="1569" y="3300"/>
                </a:lnTo>
                <a:lnTo>
                  <a:pt x="1568" y="3300"/>
                </a:lnTo>
                <a:lnTo>
                  <a:pt x="1568" y="3301"/>
                </a:lnTo>
                <a:lnTo>
                  <a:pt x="1568" y="3302"/>
                </a:lnTo>
                <a:lnTo>
                  <a:pt x="1567" y="3302"/>
                </a:lnTo>
                <a:lnTo>
                  <a:pt x="1567" y="3301"/>
                </a:lnTo>
                <a:lnTo>
                  <a:pt x="1567" y="3302"/>
                </a:lnTo>
                <a:lnTo>
                  <a:pt x="1568" y="3302"/>
                </a:lnTo>
                <a:lnTo>
                  <a:pt x="1568" y="3303"/>
                </a:lnTo>
                <a:lnTo>
                  <a:pt x="1567" y="3303"/>
                </a:lnTo>
                <a:lnTo>
                  <a:pt x="1567" y="3302"/>
                </a:lnTo>
                <a:lnTo>
                  <a:pt x="1567" y="3303"/>
                </a:lnTo>
                <a:lnTo>
                  <a:pt x="1567" y="3305"/>
                </a:lnTo>
                <a:lnTo>
                  <a:pt x="1565" y="3305"/>
                </a:lnTo>
                <a:lnTo>
                  <a:pt x="1564" y="3305"/>
                </a:lnTo>
                <a:lnTo>
                  <a:pt x="1564" y="3307"/>
                </a:lnTo>
                <a:lnTo>
                  <a:pt x="1564" y="3309"/>
                </a:lnTo>
                <a:lnTo>
                  <a:pt x="1563" y="3309"/>
                </a:lnTo>
                <a:lnTo>
                  <a:pt x="1561" y="3309"/>
                </a:lnTo>
                <a:lnTo>
                  <a:pt x="1560" y="3311"/>
                </a:lnTo>
                <a:lnTo>
                  <a:pt x="1558" y="3313"/>
                </a:lnTo>
                <a:lnTo>
                  <a:pt x="1558" y="3314"/>
                </a:lnTo>
                <a:lnTo>
                  <a:pt x="1557" y="3315"/>
                </a:lnTo>
                <a:lnTo>
                  <a:pt x="1557" y="3317"/>
                </a:lnTo>
                <a:lnTo>
                  <a:pt x="1556" y="3317"/>
                </a:lnTo>
                <a:lnTo>
                  <a:pt x="1556" y="3318"/>
                </a:lnTo>
                <a:lnTo>
                  <a:pt x="1556" y="3320"/>
                </a:lnTo>
                <a:lnTo>
                  <a:pt x="1554" y="3320"/>
                </a:lnTo>
                <a:lnTo>
                  <a:pt x="1554" y="3322"/>
                </a:lnTo>
                <a:lnTo>
                  <a:pt x="1553" y="3322"/>
                </a:lnTo>
                <a:lnTo>
                  <a:pt x="1552" y="3322"/>
                </a:lnTo>
                <a:lnTo>
                  <a:pt x="1550" y="3322"/>
                </a:lnTo>
                <a:lnTo>
                  <a:pt x="1549" y="3322"/>
                </a:lnTo>
                <a:lnTo>
                  <a:pt x="1549" y="3323"/>
                </a:lnTo>
                <a:lnTo>
                  <a:pt x="1547" y="3323"/>
                </a:lnTo>
                <a:lnTo>
                  <a:pt x="1546" y="3323"/>
                </a:lnTo>
                <a:lnTo>
                  <a:pt x="1546" y="3322"/>
                </a:lnTo>
                <a:lnTo>
                  <a:pt x="1544" y="3322"/>
                </a:lnTo>
                <a:lnTo>
                  <a:pt x="1543" y="3322"/>
                </a:lnTo>
                <a:lnTo>
                  <a:pt x="1542" y="3322"/>
                </a:lnTo>
                <a:lnTo>
                  <a:pt x="1542" y="3323"/>
                </a:lnTo>
                <a:lnTo>
                  <a:pt x="1540" y="3323"/>
                </a:lnTo>
                <a:lnTo>
                  <a:pt x="1540" y="3322"/>
                </a:lnTo>
                <a:lnTo>
                  <a:pt x="1540" y="3323"/>
                </a:lnTo>
                <a:lnTo>
                  <a:pt x="1540" y="3326"/>
                </a:lnTo>
                <a:lnTo>
                  <a:pt x="1540" y="3327"/>
                </a:lnTo>
                <a:lnTo>
                  <a:pt x="1540" y="3330"/>
                </a:lnTo>
                <a:lnTo>
                  <a:pt x="1540" y="3331"/>
                </a:lnTo>
                <a:lnTo>
                  <a:pt x="1540" y="3334"/>
                </a:lnTo>
                <a:lnTo>
                  <a:pt x="1540" y="3335"/>
                </a:lnTo>
                <a:lnTo>
                  <a:pt x="1540" y="3337"/>
                </a:lnTo>
                <a:lnTo>
                  <a:pt x="1540" y="3338"/>
                </a:lnTo>
                <a:lnTo>
                  <a:pt x="1540" y="3339"/>
                </a:lnTo>
                <a:lnTo>
                  <a:pt x="1542" y="3339"/>
                </a:lnTo>
                <a:lnTo>
                  <a:pt x="1542" y="3340"/>
                </a:lnTo>
                <a:lnTo>
                  <a:pt x="1540" y="3340"/>
                </a:lnTo>
                <a:lnTo>
                  <a:pt x="1540" y="3343"/>
                </a:lnTo>
                <a:lnTo>
                  <a:pt x="1540" y="3344"/>
                </a:lnTo>
                <a:lnTo>
                  <a:pt x="1542" y="3344"/>
                </a:lnTo>
                <a:lnTo>
                  <a:pt x="1542" y="3347"/>
                </a:lnTo>
                <a:lnTo>
                  <a:pt x="1543" y="3347"/>
                </a:lnTo>
                <a:lnTo>
                  <a:pt x="1543" y="3348"/>
                </a:lnTo>
                <a:lnTo>
                  <a:pt x="1543" y="3350"/>
                </a:lnTo>
                <a:lnTo>
                  <a:pt x="1542" y="3350"/>
                </a:lnTo>
                <a:lnTo>
                  <a:pt x="1542" y="3351"/>
                </a:lnTo>
                <a:lnTo>
                  <a:pt x="1542" y="3352"/>
                </a:lnTo>
                <a:lnTo>
                  <a:pt x="1540" y="3352"/>
                </a:lnTo>
                <a:lnTo>
                  <a:pt x="1542" y="3354"/>
                </a:lnTo>
                <a:lnTo>
                  <a:pt x="1543" y="3357"/>
                </a:lnTo>
                <a:lnTo>
                  <a:pt x="1544" y="3359"/>
                </a:lnTo>
                <a:lnTo>
                  <a:pt x="1546" y="3359"/>
                </a:lnTo>
                <a:lnTo>
                  <a:pt x="1547" y="3360"/>
                </a:lnTo>
                <a:lnTo>
                  <a:pt x="1549" y="3360"/>
                </a:lnTo>
                <a:lnTo>
                  <a:pt x="1549" y="3363"/>
                </a:lnTo>
                <a:lnTo>
                  <a:pt x="1550" y="3363"/>
                </a:lnTo>
                <a:lnTo>
                  <a:pt x="1552" y="3363"/>
                </a:lnTo>
                <a:lnTo>
                  <a:pt x="1552" y="3365"/>
                </a:lnTo>
                <a:lnTo>
                  <a:pt x="1553" y="3365"/>
                </a:lnTo>
                <a:lnTo>
                  <a:pt x="1553" y="3367"/>
                </a:lnTo>
                <a:lnTo>
                  <a:pt x="1554" y="3367"/>
                </a:lnTo>
                <a:lnTo>
                  <a:pt x="1556" y="3367"/>
                </a:lnTo>
                <a:lnTo>
                  <a:pt x="1557" y="3367"/>
                </a:lnTo>
                <a:lnTo>
                  <a:pt x="1558" y="3369"/>
                </a:lnTo>
                <a:lnTo>
                  <a:pt x="1557" y="3370"/>
                </a:lnTo>
                <a:lnTo>
                  <a:pt x="1557" y="3372"/>
                </a:lnTo>
                <a:lnTo>
                  <a:pt x="1558" y="3372"/>
                </a:lnTo>
                <a:lnTo>
                  <a:pt x="1558" y="3373"/>
                </a:lnTo>
                <a:lnTo>
                  <a:pt x="1557" y="3375"/>
                </a:lnTo>
                <a:lnTo>
                  <a:pt x="1557" y="3376"/>
                </a:lnTo>
                <a:lnTo>
                  <a:pt x="1556" y="3376"/>
                </a:lnTo>
                <a:lnTo>
                  <a:pt x="1554" y="3376"/>
                </a:lnTo>
                <a:lnTo>
                  <a:pt x="1554" y="3379"/>
                </a:lnTo>
                <a:lnTo>
                  <a:pt x="1554" y="3380"/>
                </a:lnTo>
                <a:lnTo>
                  <a:pt x="1550" y="3388"/>
                </a:lnTo>
                <a:lnTo>
                  <a:pt x="1547" y="3392"/>
                </a:lnTo>
                <a:lnTo>
                  <a:pt x="1525" y="3388"/>
                </a:lnTo>
                <a:lnTo>
                  <a:pt x="1477" y="3370"/>
                </a:lnTo>
                <a:lnTo>
                  <a:pt x="1475" y="3370"/>
                </a:lnTo>
                <a:lnTo>
                  <a:pt x="1474" y="3372"/>
                </a:lnTo>
                <a:lnTo>
                  <a:pt x="1472" y="3372"/>
                </a:lnTo>
                <a:lnTo>
                  <a:pt x="1471" y="3372"/>
                </a:lnTo>
                <a:lnTo>
                  <a:pt x="1471" y="3373"/>
                </a:lnTo>
                <a:lnTo>
                  <a:pt x="1469" y="3373"/>
                </a:lnTo>
                <a:lnTo>
                  <a:pt x="1468" y="3373"/>
                </a:lnTo>
                <a:lnTo>
                  <a:pt x="1468" y="3372"/>
                </a:lnTo>
                <a:lnTo>
                  <a:pt x="1467" y="3372"/>
                </a:lnTo>
                <a:lnTo>
                  <a:pt x="1465" y="3372"/>
                </a:lnTo>
                <a:lnTo>
                  <a:pt x="1464" y="3372"/>
                </a:lnTo>
                <a:lnTo>
                  <a:pt x="1464" y="3370"/>
                </a:lnTo>
                <a:lnTo>
                  <a:pt x="1463" y="3370"/>
                </a:lnTo>
                <a:lnTo>
                  <a:pt x="1463" y="3369"/>
                </a:lnTo>
                <a:lnTo>
                  <a:pt x="1461" y="3369"/>
                </a:lnTo>
                <a:lnTo>
                  <a:pt x="1461" y="3367"/>
                </a:lnTo>
                <a:lnTo>
                  <a:pt x="1460" y="3367"/>
                </a:lnTo>
                <a:lnTo>
                  <a:pt x="1458" y="3367"/>
                </a:lnTo>
                <a:lnTo>
                  <a:pt x="1457" y="3367"/>
                </a:lnTo>
                <a:lnTo>
                  <a:pt x="1458" y="3365"/>
                </a:lnTo>
                <a:lnTo>
                  <a:pt x="1457" y="3365"/>
                </a:lnTo>
                <a:lnTo>
                  <a:pt x="1455" y="3365"/>
                </a:lnTo>
                <a:lnTo>
                  <a:pt x="1455" y="3363"/>
                </a:lnTo>
                <a:lnTo>
                  <a:pt x="1454" y="3363"/>
                </a:lnTo>
                <a:lnTo>
                  <a:pt x="1453" y="3363"/>
                </a:lnTo>
                <a:lnTo>
                  <a:pt x="1453" y="3362"/>
                </a:lnTo>
                <a:lnTo>
                  <a:pt x="1452" y="3362"/>
                </a:lnTo>
                <a:lnTo>
                  <a:pt x="1450" y="3362"/>
                </a:lnTo>
                <a:lnTo>
                  <a:pt x="1449" y="3362"/>
                </a:lnTo>
                <a:lnTo>
                  <a:pt x="1447" y="3362"/>
                </a:lnTo>
                <a:lnTo>
                  <a:pt x="1446" y="3362"/>
                </a:lnTo>
                <a:lnTo>
                  <a:pt x="1444" y="3362"/>
                </a:lnTo>
                <a:lnTo>
                  <a:pt x="1443" y="3362"/>
                </a:lnTo>
                <a:lnTo>
                  <a:pt x="1442" y="3362"/>
                </a:lnTo>
                <a:lnTo>
                  <a:pt x="1440" y="3362"/>
                </a:lnTo>
                <a:lnTo>
                  <a:pt x="1440" y="3363"/>
                </a:lnTo>
                <a:lnTo>
                  <a:pt x="1439" y="3363"/>
                </a:lnTo>
                <a:lnTo>
                  <a:pt x="1438" y="3363"/>
                </a:lnTo>
                <a:lnTo>
                  <a:pt x="1438" y="3362"/>
                </a:lnTo>
                <a:lnTo>
                  <a:pt x="1436" y="3362"/>
                </a:lnTo>
                <a:lnTo>
                  <a:pt x="1436" y="3360"/>
                </a:lnTo>
                <a:lnTo>
                  <a:pt x="1435" y="3360"/>
                </a:lnTo>
                <a:lnTo>
                  <a:pt x="1435" y="3359"/>
                </a:lnTo>
                <a:lnTo>
                  <a:pt x="1433" y="3359"/>
                </a:lnTo>
                <a:lnTo>
                  <a:pt x="1432" y="3359"/>
                </a:lnTo>
                <a:lnTo>
                  <a:pt x="1430" y="3359"/>
                </a:lnTo>
                <a:lnTo>
                  <a:pt x="1430" y="3357"/>
                </a:lnTo>
                <a:lnTo>
                  <a:pt x="1430" y="3356"/>
                </a:lnTo>
                <a:lnTo>
                  <a:pt x="1429" y="3356"/>
                </a:lnTo>
                <a:lnTo>
                  <a:pt x="1428" y="3356"/>
                </a:lnTo>
                <a:lnTo>
                  <a:pt x="1428" y="3354"/>
                </a:lnTo>
                <a:lnTo>
                  <a:pt x="1426" y="3356"/>
                </a:lnTo>
                <a:lnTo>
                  <a:pt x="1425" y="3356"/>
                </a:lnTo>
                <a:lnTo>
                  <a:pt x="1425" y="3354"/>
                </a:lnTo>
                <a:lnTo>
                  <a:pt x="1426" y="3354"/>
                </a:lnTo>
                <a:lnTo>
                  <a:pt x="1425" y="3354"/>
                </a:lnTo>
                <a:lnTo>
                  <a:pt x="1425" y="3352"/>
                </a:lnTo>
                <a:lnTo>
                  <a:pt x="1424" y="3352"/>
                </a:lnTo>
                <a:lnTo>
                  <a:pt x="1422" y="3352"/>
                </a:lnTo>
                <a:lnTo>
                  <a:pt x="1421" y="3352"/>
                </a:lnTo>
                <a:lnTo>
                  <a:pt x="1419" y="3352"/>
                </a:lnTo>
                <a:lnTo>
                  <a:pt x="1418" y="3352"/>
                </a:lnTo>
                <a:lnTo>
                  <a:pt x="1417" y="3354"/>
                </a:lnTo>
                <a:lnTo>
                  <a:pt x="1415" y="3354"/>
                </a:lnTo>
                <a:lnTo>
                  <a:pt x="1414" y="3354"/>
                </a:lnTo>
                <a:lnTo>
                  <a:pt x="1412" y="3354"/>
                </a:lnTo>
                <a:lnTo>
                  <a:pt x="1396" y="3367"/>
                </a:lnTo>
                <a:lnTo>
                  <a:pt x="1365" y="3367"/>
                </a:lnTo>
                <a:lnTo>
                  <a:pt x="1351" y="3367"/>
                </a:lnTo>
                <a:lnTo>
                  <a:pt x="1325" y="3365"/>
                </a:lnTo>
                <a:lnTo>
                  <a:pt x="1207" y="3362"/>
                </a:lnTo>
                <a:lnTo>
                  <a:pt x="1207" y="3339"/>
                </a:lnTo>
                <a:lnTo>
                  <a:pt x="1157" y="3144"/>
                </a:lnTo>
                <a:lnTo>
                  <a:pt x="1158" y="3143"/>
                </a:lnTo>
                <a:lnTo>
                  <a:pt x="1259" y="2921"/>
                </a:lnTo>
                <a:lnTo>
                  <a:pt x="1223" y="2921"/>
                </a:lnTo>
                <a:lnTo>
                  <a:pt x="1223" y="2743"/>
                </a:lnTo>
                <a:lnTo>
                  <a:pt x="1222" y="2742"/>
                </a:lnTo>
                <a:lnTo>
                  <a:pt x="1219" y="2739"/>
                </a:lnTo>
                <a:lnTo>
                  <a:pt x="1141" y="2647"/>
                </a:lnTo>
                <a:lnTo>
                  <a:pt x="940" y="2410"/>
                </a:lnTo>
                <a:lnTo>
                  <a:pt x="912" y="2339"/>
                </a:lnTo>
                <a:lnTo>
                  <a:pt x="848" y="2268"/>
                </a:lnTo>
                <a:lnTo>
                  <a:pt x="833" y="2249"/>
                </a:lnTo>
                <a:lnTo>
                  <a:pt x="705" y="2107"/>
                </a:lnTo>
                <a:lnTo>
                  <a:pt x="652" y="2036"/>
                </a:lnTo>
                <a:lnTo>
                  <a:pt x="642" y="2023"/>
                </a:lnTo>
                <a:lnTo>
                  <a:pt x="598" y="1965"/>
                </a:lnTo>
                <a:lnTo>
                  <a:pt x="417" y="1791"/>
                </a:lnTo>
                <a:lnTo>
                  <a:pt x="414" y="1789"/>
                </a:lnTo>
                <a:lnTo>
                  <a:pt x="411" y="1789"/>
                </a:lnTo>
                <a:lnTo>
                  <a:pt x="204" y="1787"/>
                </a:lnTo>
                <a:lnTo>
                  <a:pt x="183" y="1729"/>
                </a:lnTo>
                <a:lnTo>
                  <a:pt x="143" y="1680"/>
                </a:lnTo>
                <a:lnTo>
                  <a:pt x="149" y="1642"/>
                </a:lnTo>
                <a:lnTo>
                  <a:pt x="154" y="1626"/>
                </a:lnTo>
                <a:lnTo>
                  <a:pt x="157" y="1589"/>
                </a:lnTo>
                <a:lnTo>
                  <a:pt x="155" y="1532"/>
                </a:lnTo>
                <a:lnTo>
                  <a:pt x="157" y="1514"/>
                </a:lnTo>
                <a:lnTo>
                  <a:pt x="161" y="1468"/>
                </a:lnTo>
                <a:lnTo>
                  <a:pt x="165" y="1452"/>
                </a:lnTo>
                <a:lnTo>
                  <a:pt x="161" y="1424"/>
                </a:lnTo>
                <a:lnTo>
                  <a:pt x="154" y="1399"/>
                </a:lnTo>
                <a:lnTo>
                  <a:pt x="146" y="1330"/>
                </a:lnTo>
                <a:lnTo>
                  <a:pt x="129" y="1291"/>
                </a:lnTo>
                <a:lnTo>
                  <a:pt x="125" y="1273"/>
                </a:lnTo>
                <a:lnTo>
                  <a:pt x="130" y="1245"/>
                </a:lnTo>
                <a:lnTo>
                  <a:pt x="136" y="1229"/>
                </a:lnTo>
                <a:lnTo>
                  <a:pt x="139" y="1198"/>
                </a:lnTo>
                <a:lnTo>
                  <a:pt x="129" y="1166"/>
                </a:lnTo>
                <a:lnTo>
                  <a:pt x="100" y="1107"/>
                </a:lnTo>
                <a:lnTo>
                  <a:pt x="100" y="1041"/>
                </a:lnTo>
                <a:lnTo>
                  <a:pt x="60" y="980"/>
                </a:lnTo>
                <a:lnTo>
                  <a:pt x="51" y="958"/>
                </a:lnTo>
                <a:lnTo>
                  <a:pt x="52" y="926"/>
                </a:lnTo>
                <a:lnTo>
                  <a:pt x="50" y="915"/>
                </a:lnTo>
                <a:lnTo>
                  <a:pt x="19" y="883"/>
                </a:lnTo>
                <a:lnTo>
                  <a:pt x="15" y="873"/>
                </a:lnTo>
                <a:lnTo>
                  <a:pt x="9" y="823"/>
                </a:lnTo>
                <a:lnTo>
                  <a:pt x="11" y="820"/>
                </a:lnTo>
                <a:lnTo>
                  <a:pt x="9" y="784"/>
                </a:lnTo>
                <a:lnTo>
                  <a:pt x="0" y="748"/>
                </a:lnTo>
                <a:lnTo>
                  <a:pt x="4" y="740"/>
                </a:lnTo>
                <a:lnTo>
                  <a:pt x="57" y="660"/>
                </a:lnTo>
                <a:lnTo>
                  <a:pt x="86" y="637"/>
                </a:lnTo>
                <a:lnTo>
                  <a:pt x="116" y="593"/>
                </a:lnTo>
                <a:lnTo>
                  <a:pt x="135" y="580"/>
                </a:lnTo>
                <a:lnTo>
                  <a:pt x="146" y="565"/>
                </a:lnTo>
                <a:lnTo>
                  <a:pt x="164" y="512"/>
                </a:lnTo>
                <a:lnTo>
                  <a:pt x="176" y="490"/>
                </a:lnTo>
                <a:lnTo>
                  <a:pt x="210" y="450"/>
                </a:lnTo>
                <a:lnTo>
                  <a:pt x="227" y="415"/>
                </a:lnTo>
                <a:lnTo>
                  <a:pt x="237" y="346"/>
                </a:lnTo>
                <a:lnTo>
                  <a:pt x="232" y="312"/>
                </a:lnTo>
                <a:lnTo>
                  <a:pt x="218" y="254"/>
                </a:lnTo>
                <a:lnTo>
                  <a:pt x="489" y="253"/>
                </a:lnTo>
                <a:lnTo>
                  <a:pt x="493" y="253"/>
                </a:lnTo>
                <a:lnTo>
                  <a:pt x="853" y="250"/>
                </a:lnTo>
                <a:lnTo>
                  <a:pt x="855" y="245"/>
                </a:lnTo>
                <a:lnTo>
                  <a:pt x="853" y="244"/>
                </a:lnTo>
                <a:lnTo>
                  <a:pt x="855" y="241"/>
                </a:lnTo>
                <a:lnTo>
                  <a:pt x="859" y="244"/>
                </a:lnTo>
                <a:lnTo>
                  <a:pt x="860" y="245"/>
                </a:lnTo>
                <a:lnTo>
                  <a:pt x="863" y="249"/>
                </a:lnTo>
                <a:lnTo>
                  <a:pt x="863" y="250"/>
                </a:lnTo>
                <a:lnTo>
                  <a:pt x="859" y="254"/>
                </a:lnTo>
                <a:lnTo>
                  <a:pt x="860" y="258"/>
                </a:lnTo>
                <a:lnTo>
                  <a:pt x="867" y="254"/>
                </a:lnTo>
                <a:lnTo>
                  <a:pt x="871" y="257"/>
                </a:lnTo>
                <a:lnTo>
                  <a:pt x="874" y="258"/>
                </a:lnTo>
                <a:lnTo>
                  <a:pt x="877" y="258"/>
                </a:lnTo>
                <a:lnTo>
                  <a:pt x="879" y="258"/>
                </a:lnTo>
                <a:lnTo>
                  <a:pt x="879" y="254"/>
                </a:lnTo>
                <a:lnTo>
                  <a:pt x="881" y="250"/>
                </a:lnTo>
                <a:lnTo>
                  <a:pt x="883" y="254"/>
                </a:lnTo>
                <a:lnTo>
                  <a:pt x="884" y="254"/>
                </a:lnTo>
                <a:lnTo>
                  <a:pt x="888" y="254"/>
                </a:lnTo>
                <a:lnTo>
                  <a:pt x="893" y="257"/>
                </a:lnTo>
                <a:lnTo>
                  <a:pt x="896" y="257"/>
                </a:lnTo>
                <a:lnTo>
                  <a:pt x="905" y="254"/>
                </a:lnTo>
                <a:lnTo>
                  <a:pt x="908" y="253"/>
                </a:lnTo>
                <a:lnTo>
                  <a:pt x="908" y="250"/>
                </a:lnTo>
                <a:lnTo>
                  <a:pt x="905" y="245"/>
                </a:lnTo>
                <a:lnTo>
                  <a:pt x="902" y="244"/>
                </a:lnTo>
                <a:lnTo>
                  <a:pt x="902" y="241"/>
                </a:lnTo>
                <a:lnTo>
                  <a:pt x="904" y="241"/>
                </a:lnTo>
                <a:lnTo>
                  <a:pt x="905" y="241"/>
                </a:lnTo>
                <a:lnTo>
                  <a:pt x="913" y="241"/>
                </a:lnTo>
                <a:lnTo>
                  <a:pt x="918" y="241"/>
                </a:lnTo>
                <a:lnTo>
                  <a:pt x="924" y="241"/>
                </a:lnTo>
                <a:lnTo>
                  <a:pt x="926" y="241"/>
                </a:lnTo>
                <a:lnTo>
                  <a:pt x="926" y="244"/>
                </a:lnTo>
                <a:lnTo>
                  <a:pt x="926" y="250"/>
                </a:lnTo>
                <a:lnTo>
                  <a:pt x="927" y="254"/>
                </a:lnTo>
                <a:lnTo>
                  <a:pt x="930" y="258"/>
                </a:lnTo>
                <a:lnTo>
                  <a:pt x="935" y="258"/>
                </a:lnTo>
                <a:lnTo>
                  <a:pt x="937" y="258"/>
                </a:lnTo>
                <a:lnTo>
                  <a:pt x="943" y="254"/>
                </a:lnTo>
                <a:lnTo>
                  <a:pt x="945" y="254"/>
                </a:lnTo>
                <a:lnTo>
                  <a:pt x="945" y="253"/>
                </a:lnTo>
                <a:lnTo>
                  <a:pt x="941" y="250"/>
                </a:lnTo>
                <a:lnTo>
                  <a:pt x="941" y="245"/>
                </a:lnTo>
                <a:lnTo>
                  <a:pt x="944" y="241"/>
                </a:lnTo>
                <a:lnTo>
                  <a:pt x="945" y="239"/>
                </a:lnTo>
                <a:lnTo>
                  <a:pt x="948" y="237"/>
                </a:lnTo>
                <a:lnTo>
                  <a:pt x="949" y="239"/>
                </a:lnTo>
                <a:lnTo>
                  <a:pt x="952" y="244"/>
                </a:lnTo>
                <a:lnTo>
                  <a:pt x="954" y="245"/>
                </a:lnTo>
                <a:lnTo>
                  <a:pt x="956" y="245"/>
                </a:lnTo>
                <a:lnTo>
                  <a:pt x="956" y="244"/>
                </a:lnTo>
                <a:lnTo>
                  <a:pt x="954" y="241"/>
                </a:lnTo>
                <a:lnTo>
                  <a:pt x="955" y="239"/>
                </a:lnTo>
                <a:lnTo>
                  <a:pt x="959" y="241"/>
                </a:lnTo>
                <a:lnTo>
                  <a:pt x="963" y="245"/>
                </a:lnTo>
                <a:lnTo>
                  <a:pt x="965" y="249"/>
                </a:lnTo>
                <a:lnTo>
                  <a:pt x="965" y="245"/>
                </a:lnTo>
                <a:lnTo>
                  <a:pt x="968" y="244"/>
                </a:lnTo>
                <a:lnTo>
                  <a:pt x="969" y="244"/>
                </a:lnTo>
                <a:lnTo>
                  <a:pt x="972" y="245"/>
                </a:lnTo>
                <a:lnTo>
                  <a:pt x="977" y="244"/>
                </a:lnTo>
                <a:lnTo>
                  <a:pt x="979" y="241"/>
                </a:lnTo>
                <a:lnTo>
                  <a:pt x="979" y="237"/>
                </a:lnTo>
                <a:lnTo>
                  <a:pt x="983" y="232"/>
                </a:lnTo>
                <a:lnTo>
                  <a:pt x="984" y="232"/>
                </a:lnTo>
                <a:lnTo>
                  <a:pt x="987" y="232"/>
                </a:lnTo>
                <a:lnTo>
                  <a:pt x="990" y="237"/>
                </a:lnTo>
                <a:lnTo>
                  <a:pt x="994" y="237"/>
                </a:lnTo>
                <a:lnTo>
                  <a:pt x="1001" y="241"/>
                </a:lnTo>
                <a:lnTo>
                  <a:pt x="1004" y="241"/>
                </a:lnTo>
                <a:lnTo>
                  <a:pt x="1013" y="237"/>
                </a:lnTo>
                <a:lnTo>
                  <a:pt x="1024" y="237"/>
                </a:lnTo>
                <a:lnTo>
                  <a:pt x="1030" y="236"/>
                </a:lnTo>
                <a:lnTo>
                  <a:pt x="1033" y="236"/>
                </a:lnTo>
                <a:lnTo>
                  <a:pt x="1038" y="241"/>
                </a:lnTo>
                <a:lnTo>
                  <a:pt x="1041" y="241"/>
                </a:lnTo>
                <a:lnTo>
                  <a:pt x="1043" y="239"/>
                </a:lnTo>
                <a:lnTo>
                  <a:pt x="1044" y="232"/>
                </a:lnTo>
                <a:lnTo>
                  <a:pt x="1051" y="228"/>
                </a:lnTo>
                <a:lnTo>
                  <a:pt x="1059" y="221"/>
                </a:lnTo>
                <a:lnTo>
                  <a:pt x="1063" y="219"/>
                </a:lnTo>
                <a:lnTo>
                  <a:pt x="1069" y="219"/>
                </a:lnTo>
                <a:lnTo>
                  <a:pt x="1077" y="213"/>
                </a:lnTo>
                <a:lnTo>
                  <a:pt x="1083" y="205"/>
                </a:lnTo>
                <a:lnTo>
                  <a:pt x="1082" y="200"/>
                </a:lnTo>
                <a:lnTo>
                  <a:pt x="1083" y="196"/>
                </a:lnTo>
                <a:lnTo>
                  <a:pt x="1090" y="196"/>
                </a:lnTo>
                <a:lnTo>
                  <a:pt x="1094" y="196"/>
                </a:lnTo>
                <a:lnTo>
                  <a:pt x="1095" y="195"/>
                </a:lnTo>
                <a:lnTo>
                  <a:pt x="1094" y="192"/>
                </a:lnTo>
                <a:lnTo>
                  <a:pt x="1088" y="191"/>
                </a:lnTo>
                <a:lnTo>
                  <a:pt x="1087" y="187"/>
                </a:lnTo>
                <a:lnTo>
                  <a:pt x="1090" y="186"/>
                </a:lnTo>
                <a:lnTo>
                  <a:pt x="1095" y="183"/>
                </a:lnTo>
                <a:lnTo>
                  <a:pt x="1097" y="183"/>
                </a:lnTo>
                <a:lnTo>
                  <a:pt x="1093" y="174"/>
                </a:lnTo>
                <a:lnTo>
                  <a:pt x="1101" y="172"/>
                </a:lnTo>
                <a:lnTo>
                  <a:pt x="1111" y="174"/>
                </a:lnTo>
                <a:lnTo>
                  <a:pt x="1112" y="174"/>
                </a:lnTo>
                <a:lnTo>
                  <a:pt x="1113" y="164"/>
                </a:lnTo>
                <a:lnTo>
                  <a:pt x="1122" y="172"/>
                </a:lnTo>
                <a:lnTo>
                  <a:pt x="1123" y="172"/>
                </a:lnTo>
                <a:lnTo>
                  <a:pt x="1126" y="170"/>
                </a:lnTo>
                <a:lnTo>
                  <a:pt x="1132" y="169"/>
                </a:lnTo>
                <a:lnTo>
                  <a:pt x="1137" y="169"/>
                </a:lnTo>
                <a:lnTo>
                  <a:pt x="1139" y="170"/>
                </a:lnTo>
                <a:lnTo>
                  <a:pt x="1140" y="169"/>
                </a:lnTo>
                <a:lnTo>
                  <a:pt x="1139" y="164"/>
                </a:lnTo>
                <a:lnTo>
                  <a:pt x="1137" y="160"/>
                </a:lnTo>
                <a:lnTo>
                  <a:pt x="1139" y="160"/>
                </a:lnTo>
                <a:lnTo>
                  <a:pt x="1143" y="160"/>
                </a:lnTo>
                <a:lnTo>
                  <a:pt x="1143" y="169"/>
                </a:lnTo>
                <a:lnTo>
                  <a:pt x="1144" y="169"/>
                </a:lnTo>
                <a:lnTo>
                  <a:pt x="1145" y="163"/>
                </a:lnTo>
                <a:lnTo>
                  <a:pt x="1150" y="160"/>
                </a:lnTo>
                <a:lnTo>
                  <a:pt x="1151" y="159"/>
                </a:lnTo>
                <a:lnTo>
                  <a:pt x="1152" y="157"/>
                </a:lnTo>
                <a:lnTo>
                  <a:pt x="1152" y="151"/>
                </a:lnTo>
                <a:lnTo>
                  <a:pt x="1154" y="151"/>
                </a:lnTo>
                <a:lnTo>
                  <a:pt x="1155" y="151"/>
                </a:lnTo>
                <a:lnTo>
                  <a:pt x="1158" y="151"/>
                </a:lnTo>
                <a:lnTo>
                  <a:pt x="1159" y="151"/>
                </a:lnTo>
                <a:lnTo>
                  <a:pt x="1158" y="146"/>
                </a:lnTo>
                <a:lnTo>
                  <a:pt x="1159" y="143"/>
                </a:lnTo>
                <a:lnTo>
                  <a:pt x="1162" y="146"/>
                </a:lnTo>
                <a:lnTo>
                  <a:pt x="1166" y="143"/>
                </a:lnTo>
                <a:lnTo>
                  <a:pt x="1168" y="143"/>
                </a:lnTo>
                <a:lnTo>
                  <a:pt x="1166" y="138"/>
                </a:lnTo>
                <a:lnTo>
                  <a:pt x="1169" y="137"/>
                </a:lnTo>
                <a:lnTo>
                  <a:pt x="1172" y="137"/>
                </a:lnTo>
                <a:lnTo>
                  <a:pt x="1176" y="134"/>
                </a:lnTo>
                <a:lnTo>
                  <a:pt x="1175" y="134"/>
                </a:lnTo>
                <a:lnTo>
                  <a:pt x="1172" y="133"/>
                </a:lnTo>
                <a:lnTo>
                  <a:pt x="1172" y="129"/>
                </a:lnTo>
                <a:lnTo>
                  <a:pt x="1173" y="125"/>
                </a:lnTo>
                <a:lnTo>
                  <a:pt x="1183" y="125"/>
                </a:lnTo>
                <a:lnTo>
                  <a:pt x="1184" y="125"/>
                </a:lnTo>
                <a:lnTo>
                  <a:pt x="1184" y="124"/>
                </a:lnTo>
                <a:lnTo>
                  <a:pt x="1186" y="121"/>
                </a:lnTo>
                <a:lnTo>
                  <a:pt x="1192" y="121"/>
                </a:lnTo>
                <a:lnTo>
                  <a:pt x="1200" y="121"/>
                </a:lnTo>
                <a:lnTo>
                  <a:pt x="1204" y="124"/>
                </a:lnTo>
                <a:lnTo>
                  <a:pt x="1207" y="125"/>
                </a:lnTo>
                <a:lnTo>
                  <a:pt x="1205" y="129"/>
                </a:lnTo>
                <a:lnTo>
                  <a:pt x="1205" y="133"/>
                </a:lnTo>
                <a:lnTo>
                  <a:pt x="1214" y="137"/>
                </a:lnTo>
                <a:lnTo>
                  <a:pt x="1223" y="137"/>
                </a:lnTo>
                <a:lnTo>
                  <a:pt x="1230" y="133"/>
                </a:lnTo>
                <a:lnTo>
                  <a:pt x="1232" y="133"/>
                </a:lnTo>
                <a:lnTo>
                  <a:pt x="1236" y="137"/>
                </a:lnTo>
                <a:lnTo>
                  <a:pt x="1248" y="138"/>
                </a:lnTo>
                <a:lnTo>
                  <a:pt x="1253" y="143"/>
                </a:lnTo>
                <a:lnTo>
                  <a:pt x="1257" y="139"/>
                </a:lnTo>
                <a:lnTo>
                  <a:pt x="1262" y="138"/>
                </a:lnTo>
                <a:lnTo>
                  <a:pt x="1268" y="143"/>
                </a:lnTo>
                <a:lnTo>
                  <a:pt x="1272" y="138"/>
                </a:lnTo>
                <a:lnTo>
                  <a:pt x="1272" y="137"/>
                </a:lnTo>
                <a:lnTo>
                  <a:pt x="1278" y="133"/>
                </a:lnTo>
                <a:lnTo>
                  <a:pt x="1280" y="134"/>
                </a:lnTo>
                <a:lnTo>
                  <a:pt x="1283" y="138"/>
                </a:lnTo>
                <a:lnTo>
                  <a:pt x="1286" y="151"/>
                </a:lnTo>
                <a:lnTo>
                  <a:pt x="1289" y="155"/>
                </a:lnTo>
                <a:lnTo>
                  <a:pt x="1289" y="160"/>
                </a:lnTo>
                <a:lnTo>
                  <a:pt x="1292" y="163"/>
                </a:lnTo>
                <a:lnTo>
                  <a:pt x="1294" y="169"/>
                </a:lnTo>
                <a:lnTo>
                  <a:pt x="1298" y="164"/>
                </a:lnTo>
                <a:lnTo>
                  <a:pt x="1298" y="160"/>
                </a:lnTo>
                <a:lnTo>
                  <a:pt x="1297" y="160"/>
                </a:lnTo>
                <a:lnTo>
                  <a:pt x="1297" y="157"/>
                </a:lnTo>
                <a:lnTo>
                  <a:pt x="1298" y="157"/>
                </a:lnTo>
                <a:lnTo>
                  <a:pt x="1303" y="160"/>
                </a:lnTo>
                <a:lnTo>
                  <a:pt x="1304" y="160"/>
                </a:lnTo>
                <a:lnTo>
                  <a:pt x="1307" y="160"/>
                </a:lnTo>
                <a:lnTo>
                  <a:pt x="1311" y="160"/>
                </a:lnTo>
                <a:lnTo>
                  <a:pt x="1312" y="160"/>
                </a:lnTo>
                <a:lnTo>
                  <a:pt x="1314" y="162"/>
                </a:lnTo>
                <a:lnTo>
                  <a:pt x="1314" y="164"/>
                </a:lnTo>
                <a:lnTo>
                  <a:pt x="1312" y="164"/>
                </a:lnTo>
                <a:lnTo>
                  <a:pt x="1315" y="170"/>
                </a:lnTo>
                <a:lnTo>
                  <a:pt x="1315" y="172"/>
                </a:lnTo>
                <a:lnTo>
                  <a:pt x="1312" y="177"/>
                </a:lnTo>
                <a:lnTo>
                  <a:pt x="1312" y="179"/>
                </a:lnTo>
                <a:lnTo>
                  <a:pt x="1326" y="179"/>
                </a:lnTo>
                <a:lnTo>
                  <a:pt x="1330" y="183"/>
                </a:lnTo>
                <a:lnTo>
                  <a:pt x="1340" y="183"/>
                </a:lnTo>
                <a:lnTo>
                  <a:pt x="1351" y="186"/>
                </a:lnTo>
                <a:lnTo>
                  <a:pt x="1357" y="187"/>
                </a:lnTo>
                <a:lnTo>
                  <a:pt x="1358" y="192"/>
                </a:lnTo>
                <a:lnTo>
                  <a:pt x="1359" y="196"/>
                </a:lnTo>
                <a:lnTo>
                  <a:pt x="1365" y="200"/>
                </a:lnTo>
                <a:lnTo>
                  <a:pt x="1371" y="214"/>
                </a:lnTo>
                <a:lnTo>
                  <a:pt x="1373" y="214"/>
                </a:lnTo>
                <a:lnTo>
                  <a:pt x="1375" y="222"/>
                </a:lnTo>
                <a:lnTo>
                  <a:pt x="1378" y="222"/>
                </a:lnTo>
                <a:lnTo>
                  <a:pt x="1384" y="226"/>
                </a:lnTo>
                <a:lnTo>
                  <a:pt x="1390" y="222"/>
                </a:lnTo>
                <a:lnTo>
                  <a:pt x="1397" y="219"/>
                </a:lnTo>
                <a:lnTo>
                  <a:pt x="1405" y="219"/>
                </a:lnTo>
                <a:lnTo>
                  <a:pt x="1408" y="214"/>
                </a:lnTo>
                <a:lnTo>
                  <a:pt x="1411" y="214"/>
                </a:lnTo>
                <a:lnTo>
                  <a:pt x="1414" y="213"/>
                </a:lnTo>
                <a:lnTo>
                  <a:pt x="1414" y="205"/>
                </a:lnTo>
                <a:lnTo>
                  <a:pt x="1417" y="204"/>
                </a:lnTo>
                <a:lnTo>
                  <a:pt x="1421" y="200"/>
                </a:lnTo>
                <a:lnTo>
                  <a:pt x="1425" y="205"/>
                </a:lnTo>
                <a:lnTo>
                  <a:pt x="1426" y="209"/>
                </a:lnTo>
                <a:lnTo>
                  <a:pt x="1428" y="217"/>
                </a:lnTo>
                <a:lnTo>
                  <a:pt x="1428" y="221"/>
                </a:lnTo>
                <a:lnTo>
                  <a:pt x="1425" y="222"/>
                </a:lnTo>
                <a:lnTo>
                  <a:pt x="1426" y="230"/>
                </a:lnTo>
                <a:lnTo>
                  <a:pt x="1432" y="237"/>
                </a:lnTo>
                <a:lnTo>
                  <a:pt x="1436" y="241"/>
                </a:lnTo>
                <a:lnTo>
                  <a:pt x="1443" y="245"/>
                </a:lnTo>
                <a:lnTo>
                  <a:pt x="1452" y="250"/>
                </a:lnTo>
                <a:lnTo>
                  <a:pt x="1454" y="250"/>
                </a:lnTo>
                <a:lnTo>
                  <a:pt x="1457" y="250"/>
                </a:lnTo>
                <a:lnTo>
                  <a:pt x="1463" y="244"/>
                </a:lnTo>
                <a:lnTo>
                  <a:pt x="1468" y="230"/>
                </a:lnTo>
                <a:lnTo>
                  <a:pt x="1471" y="228"/>
                </a:lnTo>
                <a:lnTo>
                  <a:pt x="1472" y="230"/>
                </a:lnTo>
                <a:lnTo>
                  <a:pt x="1474" y="232"/>
                </a:lnTo>
                <a:lnTo>
                  <a:pt x="1474" y="236"/>
                </a:lnTo>
                <a:lnTo>
                  <a:pt x="1474" y="241"/>
                </a:lnTo>
                <a:lnTo>
                  <a:pt x="1472" y="244"/>
                </a:lnTo>
                <a:lnTo>
                  <a:pt x="1468" y="244"/>
                </a:lnTo>
                <a:lnTo>
                  <a:pt x="1467" y="245"/>
                </a:lnTo>
                <a:lnTo>
                  <a:pt x="1472" y="249"/>
                </a:lnTo>
                <a:lnTo>
                  <a:pt x="1475" y="253"/>
                </a:lnTo>
                <a:lnTo>
                  <a:pt x="1479" y="253"/>
                </a:lnTo>
                <a:lnTo>
                  <a:pt x="1482" y="254"/>
                </a:lnTo>
                <a:lnTo>
                  <a:pt x="1483" y="254"/>
                </a:lnTo>
                <a:lnTo>
                  <a:pt x="1485" y="258"/>
                </a:lnTo>
                <a:lnTo>
                  <a:pt x="1483" y="263"/>
                </a:lnTo>
                <a:lnTo>
                  <a:pt x="1479" y="266"/>
                </a:lnTo>
                <a:lnTo>
                  <a:pt x="1479" y="267"/>
                </a:lnTo>
                <a:lnTo>
                  <a:pt x="1475" y="273"/>
                </a:lnTo>
                <a:lnTo>
                  <a:pt x="1475" y="279"/>
                </a:lnTo>
                <a:lnTo>
                  <a:pt x="1477" y="286"/>
                </a:lnTo>
                <a:lnTo>
                  <a:pt x="1471" y="299"/>
                </a:lnTo>
                <a:lnTo>
                  <a:pt x="1472" y="316"/>
                </a:lnTo>
                <a:lnTo>
                  <a:pt x="1471" y="320"/>
                </a:lnTo>
                <a:lnTo>
                  <a:pt x="1468" y="320"/>
                </a:lnTo>
                <a:lnTo>
                  <a:pt x="1468" y="321"/>
                </a:lnTo>
                <a:lnTo>
                  <a:pt x="1471" y="321"/>
                </a:lnTo>
                <a:lnTo>
                  <a:pt x="1472" y="324"/>
                </a:lnTo>
                <a:lnTo>
                  <a:pt x="1474" y="325"/>
                </a:lnTo>
                <a:lnTo>
                  <a:pt x="1477" y="334"/>
                </a:lnTo>
                <a:lnTo>
                  <a:pt x="1482" y="343"/>
                </a:lnTo>
                <a:lnTo>
                  <a:pt x="1485" y="344"/>
                </a:lnTo>
                <a:lnTo>
                  <a:pt x="1486" y="346"/>
                </a:lnTo>
                <a:lnTo>
                  <a:pt x="1489" y="351"/>
                </a:lnTo>
                <a:lnTo>
                  <a:pt x="1493" y="351"/>
                </a:lnTo>
                <a:lnTo>
                  <a:pt x="1494" y="357"/>
                </a:lnTo>
                <a:lnTo>
                  <a:pt x="1497" y="360"/>
                </a:lnTo>
                <a:lnTo>
                  <a:pt x="1502" y="361"/>
                </a:lnTo>
                <a:lnTo>
                  <a:pt x="1503" y="360"/>
                </a:lnTo>
                <a:lnTo>
                  <a:pt x="1510" y="357"/>
                </a:lnTo>
                <a:lnTo>
                  <a:pt x="1515" y="350"/>
                </a:lnTo>
                <a:lnTo>
                  <a:pt x="1518" y="350"/>
                </a:lnTo>
                <a:lnTo>
                  <a:pt x="1524" y="351"/>
                </a:lnTo>
                <a:lnTo>
                  <a:pt x="1528" y="350"/>
                </a:lnTo>
                <a:lnTo>
                  <a:pt x="1532" y="346"/>
                </a:lnTo>
                <a:lnTo>
                  <a:pt x="1542" y="346"/>
                </a:lnTo>
                <a:lnTo>
                  <a:pt x="1544" y="346"/>
                </a:lnTo>
                <a:lnTo>
                  <a:pt x="1546" y="346"/>
                </a:lnTo>
                <a:lnTo>
                  <a:pt x="1547" y="346"/>
                </a:lnTo>
                <a:lnTo>
                  <a:pt x="1549" y="351"/>
                </a:lnTo>
                <a:lnTo>
                  <a:pt x="1550" y="361"/>
                </a:lnTo>
                <a:lnTo>
                  <a:pt x="1553" y="366"/>
                </a:lnTo>
                <a:lnTo>
                  <a:pt x="1556" y="369"/>
                </a:lnTo>
                <a:lnTo>
                  <a:pt x="1549" y="370"/>
                </a:lnTo>
                <a:lnTo>
                  <a:pt x="1546" y="370"/>
                </a:lnTo>
                <a:lnTo>
                  <a:pt x="1544" y="373"/>
                </a:lnTo>
                <a:lnTo>
                  <a:pt x="1549" y="370"/>
                </a:lnTo>
                <a:lnTo>
                  <a:pt x="1554" y="370"/>
                </a:lnTo>
                <a:lnTo>
                  <a:pt x="1563" y="369"/>
                </a:lnTo>
                <a:lnTo>
                  <a:pt x="1572" y="370"/>
                </a:lnTo>
                <a:lnTo>
                  <a:pt x="1582" y="366"/>
                </a:lnTo>
                <a:lnTo>
                  <a:pt x="1583" y="365"/>
                </a:lnTo>
                <a:lnTo>
                  <a:pt x="1586" y="361"/>
                </a:lnTo>
                <a:lnTo>
                  <a:pt x="1588" y="360"/>
                </a:lnTo>
                <a:lnTo>
                  <a:pt x="1590" y="360"/>
                </a:lnTo>
                <a:lnTo>
                  <a:pt x="1599" y="361"/>
                </a:lnTo>
                <a:lnTo>
                  <a:pt x="1604" y="366"/>
                </a:lnTo>
                <a:lnTo>
                  <a:pt x="1617" y="360"/>
                </a:lnTo>
                <a:lnTo>
                  <a:pt x="1625" y="344"/>
                </a:lnTo>
                <a:lnTo>
                  <a:pt x="1629" y="343"/>
                </a:lnTo>
                <a:lnTo>
                  <a:pt x="1631" y="337"/>
                </a:lnTo>
                <a:lnTo>
                  <a:pt x="1633" y="334"/>
                </a:lnTo>
                <a:lnTo>
                  <a:pt x="1638" y="334"/>
                </a:lnTo>
                <a:lnTo>
                  <a:pt x="1641" y="338"/>
                </a:lnTo>
                <a:lnTo>
                  <a:pt x="1647" y="344"/>
                </a:lnTo>
                <a:lnTo>
                  <a:pt x="1657" y="338"/>
                </a:lnTo>
                <a:lnTo>
                  <a:pt x="1664" y="337"/>
                </a:lnTo>
                <a:lnTo>
                  <a:pt x="1666" y="337"/>
                </a:lnTo>
                <a:lnTo>
                  <a:pt x="1668" y="338"/>
                </a:lnTo>
                <a:lnTo>
                  <a:pt x="1675" y="338"/>
                </a:lnTo>
                <a:lnTo>
                  <a:pt x="1682" y="338"/>
                </a:lnTo>
                <a:lnTo>
                  <a:pt x="1700" y="337"/>
                </a:lnTo>
                <a:lnTo>
                  <a:pt x="1704" y="338"/>
                </a:lnTo>
                <a:lnTo>
                  <a:pt x="1712" y="337"/>
                </a:lnTo>
                <a:lnTo>
                  <a:pt x="1716" y="338"/>
                </a:lnTo>
                <a:lnTo>
                  <a:pt x="1725" y="338"/>
                </a:lnTo>
                <a:lnTo>
                  <a:pt x="1729" y="344"/>
                </a:lnTo>
                <a:lnTo>
                  <a:pt x="1737" y="346"/>
                </a:lnTo>
                <a:lnTo>
                  <a:pt x="1737" y="350"/>
                </a:lnTo>
                <a:lnTo>
                  <a:pt x="1739" y="351"/>
                </a:lnTo>
                <a:lnTo>
                  <a:pt x="1738" y="351"/>
                </a:lnTo>
                <a:lnTo>
                  <a:pt x="1734" y="361"/>
                </a:lnTo>
                <a:lnTo>
                  <a:pt x="1735" y="365"/>
                </a:lnTo>
                <a:lnTo>
                  <a:pt x="1735" y="369"/>
                </a:lnTo>
                <a:lnTo>
                  <a:pt x="1734" y="370"/>
                </a:lnTo>
                <a:lnTo>
                  <a:pt x="1729" y="374"/>
                </a:lnTo>
                <a:lnTo>
                  <a:pt x="1729" y="382"/>
                </a:lnTo>
                <a:lnTo>
                  <a:pt x="1729" y="383"/>
                </a:lnTo>
                <a:lnTo>
                  <a:pt x="1728" y="387"/>
                </a:lnTo>
                <a:lnTo>
                  <a:pt x="1729" y="387"/>
                </a:lnTo>
                <a:lnTo>
                  <a:pt x="1731" y="391"/>
                </a:lnTo>
                <a:lnTo>
                  <a:pt x="1731" y="396"/>
                </a:lnTo>
                <a:lnTo>
                  <a:pt x="1734" y="396"/>
                </a:lnTo>
                <a:lnTo>
                  <a:pt x="1737" y="400"/>
                </a:lnTo>
                <a:lnTo>
                  <a:pt x="1739" y="402"/>
                </a:lnTo>
                <a:lnTo>
                  <a:pt x="1743" y="402"/>
                </a:lnTo>
                <a:lnTo>
                  <a:pt x="1746" y="400"/>
                </a:lnTo>
                <a:lnTo>
                  <a:pt x="1756" y="387"/>
                </a:lnTo>
                <a:lnTo>
                  <a:pt x="1756" y="386"/>
                </a:lnTo>
                <a:lnTo>
                  <a:pt x="1759" y="383"/>
                </a:lnTo>
                <a:lnTo>
                  <a:pt x="1773" y="374"/>
                </a:lnTo>
                <a:lnTo>
                  <a:pt x="1777" y="366"/>
                </a:lnTo>
                <a:lnTo>
                  <a:pt x="1781" y="357"/>
                </a:lnTo>
                <a:lnTo>
                  <a:pt x="1784" y="351"/>
                </a:lnTo>
                <a:lnTo>
                  <a:pt x="1785" y="351"/>
                </a:lnTo>
                <a:lnTo>
                  <a:pt x="1791" y="351"/>
                </a:lnTo>
                <a:lnTo>
                  <a:pt x="1799" y="351"/>
                </a:lnTo>
                <a:lnTo>
                  <a:pt x="1802" y="360"/>
                </a:lnTo>
                <a:lnTo>
                  <a:pt x="1803" y="361"/>
                </a:lnTo>
                <a:lnTo>
                  <a:pt x="1807" y="361"/>
                </a:lnTo>
                <a:lnTo>
                  <a:pt x="1812" y="366"/>
                </a:lnTo>
                <a:lnTo>
                  <a:pt x="1813" y="370"/>
                </a:lnTo>
                <a:lnTo>
                  <a:pt x="1814" y="370"/>
                </a:lnTo>
                <a:lnTo>
                  <a:pt x="1816" y="370"/>
                </a:lnTo>
                <a:lnTo>
                  <a:pt x="1818" y="374"/>
                </a:lnTo>
                <a:lnTo>
                  <a:pt x="1829" y="379"/>
                </a:lnTo>
                <a:lnTo>
                  <a:pt x="1837" y="378"/>
                </a:lnTo>
                <a:lnTo>
                  <a:pt x="1846" y="373"/>
                </a:lnTo>
                <a:lnTo>
                  <a:pt x="1856" y="370"/>
                </a:lnTo>
                <a:lnTo>
                  <a:pt x="1859" y="366"/>
                </a:lnTo>
                <a:lnTo>
                  <a:pt x="1867" y="361"/>
                </a:lnTo>
                <a:lnTo>
                  <a:pt x="1878" y="356"/>
                </a:lnTo>
                <a:lnTo>
                  <a:pt x="1885" y="351"/>
                </a:lnTo>
                <a:lnTo>
                  <a:pt x="1895" y="337"/>
                </a:lnTo>
                <a:lnTo>
                  <a:pt x="1899" y="333"/>
                </a:lnTo>
                <a:lnTo>
                  <a:pt x="1907" y="329"/>
                </a:lnTo>
                <a:lnTo>
                  <a:pt x="1917" y="324"/>
                </a:lnTo>
                <a:lnTo>
                  <a:pt x="1927" y="320"/>
                </a:lnTo>
                <a:lnTo>
                  <a:pt x="1932" y="315"/>
                </a:lnTo>
                <a:lnTo>
                  <a:pt x="1935" y="312"/>
                </a:lnTo>
                <a:lnTo>
                  <a:pt x="1938" y="312"/>
                </a:lnTo>
                <a:lnTo>
                  <a:pt x="1942" y="311"/>
                </a:lnTo>
                <a:lnTo>
                  <a:pt x="1944" y="308"/>
                </a:lnTo>
                <a:lnTo>
                  <a:pt x="1951" y="298"/>
                </a:lnTo>
                <a:lnTo>
                  <a:pt x="1952" y="289"/>
                </a:lnTo>
                <a:lnTo>
                  <a:pt x="1953" y="289"/>
                </a:lnTo>
                <a:lnTo>
                  <a:pt x="1956" y="289"/>
                </a:lnTo>
                <a:lnTo>
                  <a:pt x="1964" y="276"/>
                </a:lnTo>
                <a:lnTo>
                  <a:pt x="1966" y="267"/>
                </a:lnTo>
                <a:lnTo>
                  <a:pt x="1969" y="257"/>
                </a:lnTo>
                <a:lnTo>
                  <a:pt x="1971" y="250"/>
                </a:lnTo>
                <a:lnTo>
                  <a:pt x="1969" y="245"/>
                </a:lnTo>
                <a:lnTo>
                  <a:pt x="1971" y="244"/>
                </a:lnTo>
                <a:lnTo>
                  <a:pt x="1973" y="236"/>
                </a:lnTo>
                <a:lnTo>
                  <a:pt x="1978" y="232"/>
                </a:lnTo>
                <a:lnTo>
                  <a:pt x="1980" y="232"/>
                </a:lnTo>
                <a:lnTo>
                  <a:pt x="1981" y="236"/>
                </a:lnTo>
                <a:lnTo>
                  <a:pt x="1985" y="237"/>
                </a:lnTo>
                <a:lnTo>
                  <a:pt x="1987" y="237"/>
                </a:lnTo>
                <a:lnTo>
                  <a:pt x="1985" y="241"/>
                </a:lnTo>
                <a:lnTo>
                  <a:pt x="1988" y="250"/>
                </a:lnTo>
                <a:lnTo>
                  <a:pt x="1991" y="250"/>
                </a:lnTo>
                <a:lnTo>
                  <a:pt x="1994" y="257"/>
                </a:lnTo>
                <a:lnTo>
                  <a:pt x="1998" y="258"/>
                </a:lnTo>
                <a:lnTo>
                  <a:pt x="2002" y="258"/>
                </a:lnTo>
                <a:lnTo>
                  <a:pt x="2006" y="258"/>
                </a:lnTo>
                <a:lnTo>
                  <a:pt x="2013" y="263"/>
                </a:lnTo>
                <a:lnTo>
                  <a:pt x="2017" y="262"/>
                </a:lnTo>
                <a:lnTo>
                  <a:pt x="2019" y="263"/>
                </a:lnTo>
                <a:lnTo>
                  <a:pt x="2022" y="267"/>
                </a:lnTo>
                <a:lnTo>
                  <a:pt x="2023" y="267"/>
                </a:lnTo>
                <a:lnTo>
                  <a:pt x="2026" y="266"/>
                </a:lnTo>
                <a:lnTo>
                  <a:pt x="2027" y="266"/>
                </a:lnTo>
                <a:lnTo>
                  <a:pt x="2030" y="267"/>
                </a:lnTo>
                <a:lnTo>
                  <a:pt x="2033" y="267"/>
                </a:lnTo>
                <a:lnTo>
                  <a:pt x="2034" y="267"/>
                </a:lnTo>
                <a:lnTo>
                  <a:pt x="2036" y="263"/>
                </a:lnTo>
                <a:lnTo>
                  <a:pt x="2045" y="266"/>
                </a:lnTo>
                <a:lnTo>
                  <a:pt x="2047" y="267"/>
                </a:lnTo>
                <a:lnTo>
                  <a:pt x="2048" y="273"/>
                </a:lnTo>
                <a:lnTo>
                  <a:pt x="2051" y="273"/>
                </a:lnTo>
                <a:lnTo>
                  <a:pt x="2056" y="276"/>
                </a:lnTo>
                <a:lnTo>
                  <a:pt x="2058" y="276"/>
                </a:lnTo>
                <a:lnTo>
                  <a:pt x="2064" y="276"/>
                </a:lnTo>
                <a:lnTo>
                  <a:pt x="2067" y="276"/>
                </a:lnTo>
                <a:lnTo>
                  <a:pt x="2069" y="276"/>
                </a:lnTo>
                <a:lnTo>
                  <a:pt x="2074" y="271"/>
                </a:lnTo>
                <a:lnTo>
                  <a:pt x="2078" y="267"/>
                </a:lnTo>
                <a:lnTo>
                  <a:pt x="2084" y="267"/>
                </a:lnTo>
                <a:lnTo>
                  <a:pt x="2087" y="271"/>
                </a:lnTo>
                <a:lnTo>
                  <a:pt x="2088" y="271"/>
                </a:lnTo>
                <a:lnTo>
                  <a:pt x="2095" y="267"/>
                </a:lnTo>
                <a:lnTo>
                  <a:pt x="2101" y="267"/>
                </a:lnTo>
                <a:lnTo>
                  <a:pt x="2103" y="263"/>
                </a:lnTo>
                <a:lnTo>
                  <a:pt x="2112" y="258"/>
                </a:lnTo>
                <a:lnTo>
                  <a:pt x="2117" y="257"/>
                </a:lnTo>
                <a:lnTo>
                  <a:pt x="2119" y="257"/>
                </a:lnTo>
                <a:lnTo>
                  <a:pt x="2119" y="258"/>
                </a:lnTo>
                <a:lnTo>
                  <a:pt x="2123" y="258"/>
                </a:lnTo>
                <a:lnTo>
                  <a:pt x="2124" y="262"/>
                </a:lnTo>
                <a:lnTo>
                  <a:pt x="2126" y="262"/>
                </a:lnTo>
                <a:lnTo>
                  <a:pt x="2134" y="263"/>
                </a:lnTo>
                <a:lnTo>
                  <a:pt x="2145" y="258"/>
                </a:lnTo>
                <a:lnTo>
                  <a:pt x="2148" y="263"/>
                </a:lnTo>
                <a:lnTo>
                  <a:pt x="2151" y="263"/>
                </a:lnTo>
                <a:lnTo>
                  <a:pt x="2155" y="266"/>
                </a:lnTo>
                <a:lnTo>
                  <a:pt x="2158" y="266"/>
                </a:lnTo>
                <a:lnTo>
                  <a:pt x="2161" y="267"/>
                </a:lnTo>
                <a:lnTo>
                  <a:pt x="2167" y="267"/>
                </a:lnTo>
                <a:lnTo>
                  <a:pt x="2177" y="276"/>
                </a:lnTo>
                <a:lnTo>
                  <a:pt x="2180" y="281"/>
                </a:lnTo>
                <a:lnTo>
                  <a:pt x="2181" y="281"/>
                </a:lnTo>
                <a:lnTo>
                  <a:pt x="2181" y="284"/>
                </a:lnTo>
                <a:lnTo>
                  <a:pt x="2183" y="286"/>
                </a:lnTo>
                <a:lnTo>
                  <a:pt x="2197" y="294"/>
                </a:lnTo>
                <a:lnTo>
                  <a:pt x="2201" y="294"/>
                </a:lnTo>
                <a:lnTo>
                  <a:pt x="2203" y="298"/>
                </a:lnTo>
                <a:lnTo>
                  <a:pt x="2205" y="298"/>
                </a:lnTo>
                <a:lnTo>
                  <a:pt x="2209" y="294"/>
                </a:lnTo>
                <a:lnTo>
                  <a:pt x="2215" y="294"/>
                </a:lnTo>
                <a:lnTo>
                  <a:pt x="2220" y="294"/>
                </a:lnTo>
                <a:lnTo>
                  <a:pt x="2227" y="294"/>
                </a:lnTo>
                <a:lnTo>
                  <a:pt x="2230" y="298"/>
                </a:lnTo>
                <a:lnTo>
                  <a:pt x="2231" y="299"/>
                </a:lnTo>
                <a:lnTo>
                  <a:pt x="2237" y="301"/>
                </a:lnTo>
                <a:lnTo>
                  <a:pt x="2238" y="299"/>
                </a:lnTo>
                <a:lnTo>
                  <a:pt x="2245" y="299"/>
                </a:lnTo>
                <a:lnTo>
                  <a:pt x="2250" y="298"/>
                </a:lnTo>
                <a:lnTo>
                  <a:pt x="2252" y="299"/>
                </a:lnTo>
                <a:lnTo>
                  <a:pt x="2257" y="299"/>
                </a:lnTo>
                <a:lnTo>
                  <a:pt x="2261" y="301"/>
                </a:lnTo>
                <a:lnTo>
                  <a:pt x="2273" y="301"/>
                </a:lnTo>
                <a:lnTo>
                  <a:pt x="2282" y="308"/>
                </a:lnTo>
                <a:lnTo>
                  <a:pt x="2287" y="308"/>
                </a:lnTo>
                <a:lnTo>
                  <a:pt x="2290" y="312"/>
                </a:lnTo>
                <a:lnTo>
                  <a:pt x="2296" y="312"/>
                </a:lnTo>
                <a:lnTo>
                  <a:pt x="2298" y="312"/>
                </a:lnTo>
                <a:lnTo>
                  <a:pt x="2301" y="316"/>
                </a:lnTo>
                <a:lnTo>
                  <a:pt x="2308" y="316"/>
                </a:lnTo>
                <a:lnTo>
                  <a:pt x="2311" y="316"/>
                </a:lnTo>
                <a:lnTo>
                  <a:pt x="2315" y="312"/>
                </a:lnTo>
                <a:lnTo>
                  <a:pt x="2321" y="312"/>
                </a:lnTo>
                <a:lnTo>
                  <a:pt x="2323" y="311"/>
                </a:lnTo>
                <a:lnTo>
                  <a:pt x="2326" y="311"/>
                </a:lnTo>
                <a:lnTo>
                  <a:pt x="2327" y="308"/>
                </a:lnTo>
                <a:lnTo>
                  <a:pt x="2329" y="308"/>
                </a:lnTo>
                <a:lnTo>
                  <a:pt x="2332" y="307"/>
                </a:lnTo>
                <a:lnTo>
                  <a:pt x="2337" y="303"/>
                </a:lnTo>
                <a:lnTo>
                  <a:pt x="2338" y="301"/>
                </a:lnTo>
                <a:lnTo>
                  <a:pt x="2346" y="299"/>
                </a:lnTo>
                <a:lnTo>
                  <a:pt x="2347" y="301"/>
                </a:lnTo>
                <a:lnTo>
                  <a:pt x="2351" y="299"/>
                </a:lnTo>
                <a:lnTo>
                  <a:pt x="2358" y="301"/>
                </a:lnTo>
                <a:lnTo>
                  <a:pt x="2362" y="301"/>
                </a:lnTo>
                <a:lnTo>
                  <a:pt x="2365" y="301"/>
                </a:lnTo>
                <a:lnTo>
                  <a:pt x="2371" y="303"/>
                </a:lnTo>
                <a:lnTo>
                  <a:pt x="2373" y="308"/>
                </a:lnTo>
                <a:lnTo>
                  <a:pt x="2375" y="315"/>
                </a:lnTo>
                <a:lnTo>
                  <a:pt x="2379" y="315"/>
                </a:lnTo>
                <a:lnTo>
                  <a:pt x="2380" y="316"/>
                </a:lnTo>
                <a:lnTo>
                  <a:pt x="2383" y="320"/>
                </a:lnTo>
                <a:lnTo>
                  <a:pt x="2383" y="324"/>
                </a:lnTo>
                <a:lnTo>
                  <a:pt x="2385" y="324"/>
                </a:lnTo>
                <a:lnTo>
                  <a:pt x="2387" y="325"/>
                </a:lnTo>
                <a:lnTo>
                  <a:pt x="2393" y="325"/>
                </a:lnTo>
                <a:lnTo>
                  <a:pt x="2396" y="333"/>
                </a:lnTo>
                <a:lnTo>
                  <a:pt x="2401" y="337"/>
                </a:lnTo>
                <a:lnTo>
                  <a:pt x="2404" y="337"/>
                </a:lnTo>
                <a:lnTo>
                  <a:pt x="2405" y="334"/>
                </a:lnTo>
                <a:lnTo>
                  <a:pt x="2410" y="334"/>
                </a:lnTo>
                <a:lnTo>
                  <a:pt x="2411" y="334"/>
                </a:lnTo>
                <a:lnTo>
                  <a:pt x="2415" y="337"/>
                </a:lnTo>
                <a:lnTo>
                  <a:pt x="2419" y="337"/>
                </a:lnTo>
                <a:lnTo>
                  <a:pt x="2426" y="338"/>
                </a:lnTo>
                <a:lnTo>
                  <a:pt x="2429" y="343"/>
                </a:lnTo>
                <a:lnTo>
                  <a:pt x="2437" y="346"/>
                </a:lnTo>
                <a:lnTo>
                  <a:pt x="2440" y="346"/>
                </a:lnTo>
                <a:lnTo>
                  <a:pt x="2446" y="344"/>
                </a:lnTo>
                <a:lnTo>
                  <a:pt x="2450" y="344"/>
                </a:lnTo>
                <a:lnTo>
                  <a:pt x="2457" y="343"/>
                </a:lnTo>
                <a:lnTo>
                  <a:pt x="2462" y="343"/>
                </a:lnTo>
                <a:lnTo>
                  <a:pt x="2465" y="338"/>
                </a:lnTo>
                <a:lnTo>
                  <a:pt x="2473" y="324"/>
                </a:lnTo>
                <a:lnTo>
                  <a:pt x="2475" y="316"/>
                </a:lnTo>
                <a:lnTo>
                  <a:pt x="2485" y="308"/>
                </a:lnTo>
                <a:lnTo>
                  <a:pt x="2493" y="301"/>
                </a:lnTo>
                <a:lnTo>
                  <a:pt x="2503" y="299"/>
                </a:lnTo>
                <a:lnTo>
                  <a:pt x="2507" y="299"/>
                </a:lnTo>
                <a:lnTo>
                  <a:pt x="2512" y="294"/>
                </a:lnTo>
                <a:lnTo>
                  <a:pt x="2517" y="294"/>
                </a:lnTo>
                <a:lnTo>
                  <a:pt x="2523" y="294"/>
                </a:lnTo>
                <a:lnTo>
                  <a:pt x="2528" y="289"/>
                </a:lnTo>
                <a:lnTo>
                  <a:pt x="2531" y="286"/>
                </a:lnTo>
                <a:lnTo>
                  <a:pt x="2533" y="286"/>
                </a:lnTo>
                <a:lnTo>
                  <a:pt x="2535" y="286"/>
                </a:lnTo>
                <a:lnTo>
                  <a:pt x="2536" y="284"/>
                </a:lnTo>
                <a:lnTo>
                  <a:pt x="2540" y="286"/>
                </a:lnTo>
                <a:lnTo>
                  <a:pt x="2547" y="288"/>
                </a:lnTo>
                <a:lnTo>
                  <a:pt x="2550" y="288"/>
                </a:lnTo>
                <a:lnTo>
                  <a:pt x="2554" y="281"/>
                </a:lnTo>
                <a:lnTo>
                  <a:pt x="2557" y="286"/>
                </a:lnTo>
                <a:lnTo>
                  <a:pt x="2561" y="288"/>
                </a:lnTo>
                <a:lnTo>
                  <a:pt x="2570" y="288"/>
                </a:lnTo>
                <a:lnTo>
                  <a:pt x="2572" y="289"/>
                </a:lnTo>
                <a:lnTo>
                  <a:pt x="2578" y="289"/>
                </a:lnTo>
                <a:lnTo>
                  <a:pt x="2581" y="294"/>
                </a:lnTo>
                <a:lnTo>
                  <a:pt x="2583" y="289"/>
                </a:lnTo>
                <a:lnTo>
                  <a:pt x="2586" y="289"/>
                </a:lnTo>
                <a:lnTo>
                  <a:pt x="2595" y="294"/>
                </a:lnTo>
                <a:lnTo>
                  <a:pt x="2598" y="294"/>
                </a:lnTo>
                <a:lnTo>
                  <a:pt x="2600" y="294"/>
                </a:lnTo>
                <a:lnTo>
                  <a:pt x="2603" y="294"/>
                </a:lnTo>
                <a:lnTo>
                  <a:pt x="2604" y="289"/>
                </a:lnTo>
                <a:lnTo>
                  <a:pt x="2610" y="289"/>
                </a:lnTo>
                <a:lnTo>
                  <a:pt x="2615" y="286"/>
                </a:lnTo>
                <a:lnTo>
                  <a:pt x="2617" y="286"/>
                </a:lnTo>
                <a:lnTo>
                  <a:pt x="2621" y="281"/>
                </a:lnTo>
                <a:lnTo>
                  <a:pt x="2628" y="281"/>
                </a:lnTo>
                <a:lnTo>
                  <a:pt x="2633" y="276"/>
                </a:lnTo>
                <a:lnTo>
                  <a:pt x="2639" y="273"/>
                </a:lnTo>
                <a:lnTo>
                  <a:pt x="2640" y="267"/>
                </a:lnTo>
                <a:lnTo>
                  <a:pt x="2645" y="266"/>
                </a:lnTo>
                <a:lnTo>
                  <a:pt x="2647" y="263"/>
                </a:lnTo>
                <a:lnTo>
                  <a:pt x="2651" y="258"/>
                </a:lnTo>
                <a:lnTo>
                  <a:pt x="2654" y="257"/>
                </a:lnTo>
                <a:lnTo>
                  <a:pt x="2657" y="254"/>
                </a:lnTo>
                <a:lnTo>
                  <a:pt x="2662" y="254"/>
                </a:lnTo>
                <a:lnTo>
                  <a:pt x="2664" y="253"/>
                </a:lnTo>
                <a:lnTo>
                  <a:pt x="2671" y="254"/>
                </a:lnTo>
                <a:lnTo>
                  <a:pt x="2675" y="250"/>
                </a:lnTo>
                <a:lnTo>
                  <a:pt x="2679" y="249"/>
                </a:lnTo>
                <a:lnTo>
                  <a:pt x="2683" y="245"/>
                </a:lnTo>
                <a:lnTo>
                  <a:pt x="2693" y="245"/>
                </a:lnTo>
                <a:lnTo>
                  <a:pt x="2699" y="241"/>
                </a:lnTo>
                <a:lnTo>
                  <a:pt x="2703" y="241"/>
                </a:lnTo>
                <a:lnTo>
                  <a:pt x="2715" y="237"/>
                </a:lnTo>
                <a:lnTo>
                  <a:pt x="2718" y="237"/>
                </a:lnTo>
                <a:lnTo>
                  <a:pt x="2725" y="236"/>
                </a:lnTo>
                <a:lnTo>
                  <a:pt x="2732" y="232"/>
                </a:lnTo>
                <a:lnTo>
                  <a:pt x="2733" y="232"/>
                </a:lnTo>
                <a:lnTo>
                  <a:pt x="2737" y="222"/>
                </a:lnTo>
                <a:lnTo>
                  <a:pt x="2742" y="221"/>
                </a:lnTo>
                <a:lnTo>
                  <a:pt x="2750" y="209"/>
                </a:lnTo>
                <a:lnTo>
                  <a:pt x="2754" y="205"/>
                </a:lnTo>
                <a:lnTo>
                  <a:pt x="2760" y="200"/>
                </a:lnTo>
                <a:lnTo>
                  <a:pt x="2760" y="192"/>
                </a:lnTo>
                <a:lnTo>
                  <a:pt x="2763" y="183"/>
                </a:lnTo>
                <a:lnTo>
                  <a:pt x="2764" y="174"/>
                </a:lnTo>
                <a:lnTo>
                  <a:pt x="2760" y="172"/>
                </a:lnTo>
                <a:lnTo>
                  <a:pt x="2756" y="170"/>
                </a:lnTo>
                <a:lnTo>
                  <a:pt x="2756" y="164"/>
                </a:lnTo>
                <a:lnTo>
                  <a:pt x="2753" y="159"/>
                </a:lnTo>
                <a:lnTo>
                  <a:pt x="2757" y="151"/>
                </a:lnTo>
                <a:lnTo>
                  <a:pt x="2757" y="143"/>
                </a:lnTo>
                <a:lnTo>
                  <a:pt x="2761" y="138"/>
                </a:lnTo>
                <a:lnTo>
                  <a:pt x="2761" y="134"/>
                </a:lnTo>
                <a:lnTo>
                  <a:pt x="2761" y="133"/>
                </a:lnTo>
                <a:lnTo>
                  <a:pt x="2767" y="125"/>
                </a:lnTo>
                <a:lnTo>
                  <a:pt x="2768" y="125"/>
                </a:lnTo>
                <a:lnTo>
                  <a:pt x="2772" y="125"/>
                </a:lnTo>
                <a:lnTo>
                  <a:pt x="2776" y="121"/>
                </a:lnTo>
                <a:lnTo>
                  <a:pt x="2778" y="116"/>
                </a:lnTo>
                <a:lnTo>
                  <a:pt x="2781" y="112"/>
                </a:lnTo>
                <a:lnTo>
                  <a:pt x="2784" y="108"/>
                </a:lnTo>
                <a:lnTo>
                  <a:pt x="2785" y="93"/>
                </a:lnTo>
                <a:lnTo>
                  <a:pt x="2792" y="89"/>
                </a:lnTo>
                <a:lnTo>
                  <a:pt x="2793" y="89"/>
                </a:lnTo>
                <a:lnTo>
                  <a:pt x="2795" y="85"/>
                </a:lnTo>
                <a:lnTo>
                  <a:pt x="2793" y="79"/>
                </a:lnTo>
                <a:lnTo>
                  <a:pt x="2793" y="71"/>
                </a:lnTo>
                <a:lnTo>
                  <a:pt x="2795" y="67"/>
                </a:lnTo>
                <a:lnTo>
                  <a:pt x="2795" y="62"/>
                </a:lnTo>
                <a:lnTo>
                  <a:pt x="2796" y="56"/>
                </a:lnTo>
                <a:lnTo>
                  <a:pt x="2796" y="45"/>
                </a:lnTo>
                <a:lnTo>
                  <a:pt x="2796" y="41"/>
                </a:lnTo>
                <a:lnTo>
                  <a:pt x="2797" y="35"/>
                </a:lnTo>
                <a:lnTo>
                  <a:pt x="2803" y="39"/>
                </a:lnTo>
                <a:lnTo>
                  <a:pt x="2807" y="35"/>
                </a:lnTo>
                <a:lnTo>
                  <a:pt x="2810" y="35"/>
                </a:lnTo>
                <a:lnTo>
                  <a:pt x="2818" y="35"/>
                </a:lnTo>
                <a:lnTo>
                  <a:pt x="2820" y="35"/>
                </a:lnTo>
                <a:lnTo>
                  <a:pt x="2820" y="31"/>
                </a:lnTo>
                <a:lnTo>
                  <a:pt x="2822" y="30"/>
                </a:lnTo>
                <a:lnTo>
                  <a:pt x="2825" y="30"/>
                </a:lnTo>
                <a:lnTo>
                  <a:pt x="2828" y="23"/>
                </a:lnTo>
                <a:lnTo>
                  <a:pt x="2828" y="21"/>
                </a:lnTo>
                <a:lnTo>
                  <a:pt x="2834" y="18"/>
                </a:lnTo>
                <a:lnTo>
                  <a:pt x="2841" y="14"/>
                </a:lnTo>
                <a:lnTo>
                  <a:pt x="2849" y="17"/>
                </a:lnTo>
                <a:lnTo>
                  <a:pt x="2852" y="14"/>
                </a:lnTo>
                <a:lnTo>
                  <a:pt x="2855" y="9"/>
                </a:lnTo>
                <a:lnTo>
                  <a:pt x="2859" y="8"/>
                </a:lnTo>
                <a:lnTo>
                  <a:pt x="2861" y="5"/>
                </a:lnTo>
                <a:lnTo>
                  <a:pt x="2864" y="1"/>
                </a:lnTo>
                <a:lnTo>
                  <a:pt x="2867" y="5"/>
                </a:lnTo>
                <a:lnTo>
                  <a:pt x="2872" y="0"/>
                </a:lnTo>
                <a:lnTo>
                  <a:pt x="2875" y="0"/>
                </a:lnTo>
                <a:lnTo>
                  <a:pt x="2878" y="0"/>
                </a:lnTo>
                <a:lnTo>
                  <a:pt x="2881" y="0"/>
                </a:lnTo>
                <a:lnTo>
                  <a:pt x="2884" y="0"/>
                </a:lnTo>
                <a:lnTo>
                  <a:pt x="2888" y="0"/>
                </a:lnTo>
                <a:lnTo>
                  <a:pt x="2891" y="0"/>
                </a:lnTo>
                <a:lnTo>
                  <a:pt x="2894" y="5"/>
                </a:lnTo>
                <a:lnTo>
                  <a:pt x="2900" y="9"/>
                </a:lnTo>
                <a:lnTo>
                  <a:pt x="2903" y="9"/>
                </a:lnTo>
                <a:lnTo>
                  <a:pt x="2909" y="9"/>
                </a:lnTo>
                <a:lnTo>
                  <a:pt x="2910" y="9"/>
                </a:lnTo>
                <a:lnTo>
                  <a:pt x="2913" y="9"/>
                </a:lnTo>
                <a:lnTo>
                  <a:pt x="2917" y="5"/>
                </a:lnTo>
                <a:lnTo>
                  <a:pt x="2922" y="1"/>
                </a:lnTo>
                <a:lnTo>
                  <a:pt x="2927" y="1"/>
                </a:lnTo>
                <a:lnTo>
                  <a:pt x="2932" y="5"/>
                </a:lnTo>
                <a:lnTo>
                  <a:pt x="2939" y="9"/>
                </a:lnTo>
                <a:lnTo>
                  <a:pt x="2941" y="9"/>
                </a:lnTo>
                <a:lnTo>
                  <a:pt x="2947" y="13"/>
                </a:lnTo>
                <a:lnTo>
                  <a:pt x="2949" y="9"/>
                </a:lnTo>
                <a:lnTo>
                  <a:pt x="2952" y="9"/>
                </a:lnTo>
                <a:lnTo>
                  <a:pt x="2957" y="9"/>
                </a:lnTo>
                <a:lnTo>
                  <a:pt x="2960" y="9"/>
                </a:lnTo>
                <a:lnTo>
                  <a:pt x="2967" y="9"/>
                </a:lnTo>
                <a:lnTo>
                  <a:pt x="2974" y="14"/>
                </a:lnTo>
                <a:lnTo>
                  <a:pt x="2980" y="14"/>
                </a:lnTo>
                <a:lnTo>
                  <a:pt x="2994" y="9"/>
                </a:lnTo>
                <a:lnTo>
                  <a:pt x="2996" y="8"/>
                </a:lnTo>
                <a:lnTo>
                  <a:pt x="3007" y="5"/>
                </a:lnTo>
                <a:lnTo>
                  <a:pt x="3009" y="1"/>
                </a:lnTo>
                <a:lnTo>
                  <a:pt x="3014" y="0"/>
                </a:lnTo>
                <a:lnTo>
                  <a:pt x="3022" y="0"/>
                </a:lnTo>
                <a:lnTo>
                  <a:pt x="3024" y="0"/>
                </a:lnTo>
                <a:lnTo>
                  <a:pt x="3028" y="1"/>
                </a:lnTo>
                <a:lnTo>
                  <a:pt x="3031" y="5"/>
                </a:lnTo>
                <a:lnTo>
                  <a:pt x="3034" y="14"/>
                </a:lnTo>
                <a:lnTo>
                  <a:pt x="3035" y="14"/>
                </a:lnTo>
                <a:lnTo>
                  <a:pt x="3041" y="17"/>
                </a:lnTo>
                <a:lnTo>
                  <a:pt x="3042" y="18"/>
                </a:lnTo>
                <a:lnTo>
                  <a:pt x="3045" y="22"/>
                </a:lnTo>
                <a:lnTo>
                  <a:pt x="3052" y="22"/>
                </a:lnTo>
                <a:lnTo>
                  <a:pt x="3055" y="18"/>
                </a:lnTo>
                <a:lnTo>
                  <a:pt x="3059" y="17"/>
                </a:lnTo>
                <a:lnTo>
                  <a:pt x="3063" y="18"/>
                </a:lnTo>
                <a:lnTo>
                  <a:pt x="3070" y="17"/>
                </a:lnTo>
                <a:lnTo>
                  <a:pt x="3078" y="18"/>
                </a:lnTo>
                <a:lnTo>
                  <a:pt x="3082" y="18"/>
                </a:lnTo>
                <a:lnTo>
                  <a:pt x="3087" y="14"/>
                </a:lnTo>
                <a:lnTo>
                  <a:pt x="3094" y="14"/>
                </a:lnTo>
                <a:lnTo>
                  <a:pt x="3095" y="17"/>
                </a:lnTo>
                <a:lnTo>
                  <a:pt x="3095" y="18"/>
                </a:lnTo>
                <a:lnTo>
                  <a:pt x="3098" y="22"/>
                </a:lnTo>
                <a:lnTo>
                  <a:pt x="3099" y="22"/>
                </a:lnTo>
                <a:lnTo>
                  <a:pt x="3101" y="22"/>
                </a:lnTo>
                <a:lnTo>
                  <a:pt x="3104" y="22"/>
                </a:lnTo>
                <a:lnTo>
                  <a:pt x="3105" y="22"/>
                </a:lnTo>
                <a:lnTo>
                  <a:pt x="3106" y="22"/>
                </a:lnTo>
                <a:lnTo>
                  <a:pt x="3107" y="23"/>
                </a:lnTo>
                <a:lnTo>
                  <a:pt x="3110" y="22"/>
                </a:lnTo>
                <a:lnTo>
                  <a:pt x="3112" y="28"/>
                </a:lnTo>
                <a:lnTo>
                  <a:pt x="3117" y="28"/>
                </a:lnTo>
                <a:lnTo>
                  <a:pt x="3123" y="18"/>
                </a:lnTo>
                <a:lnTo>
                  <a:pt x="3130" y="22"/>
                </a:lnTo>
                <a:lnTo>
                  <a:pt x="3132" y="23"/>
                </a:lnTo>
                <a:lnTo>
                  <a:pt x="3135" y="28"/>
                </a:lnTo>
                <a:lnTo>
                  <a:pt x="3141" y="22"/>
                </a:lnTo>
                <a:lnTo>
                  <a:pt x="3142" y="22"/>
                </a:lnTo>
                <a:lnTo>
                  <a:pt x="3146" y="23"/>
                </a:lnTo>
                <a:lnTo>
                  <a:pt x="3146" y="30"/>
                </a:lnTo>
                <a:lnTo>
                  <a:pt x="3151" y="31"/>
                </a:lnTo>
                <a:lnTo>
                  <a:pt x="3149" y="35"/>
                </a:lnTo>
                <a:lnTo>
                  <a:pt x="3152" y="41"/>
                </a:lnTo>
                <a:lnTo>
                  <a:pt x="3152" y="48"/>
                </a:lnTo>
                <a:lnTo>
                  <a:pt x="3152" y="53"/>
                </a:lnTo>
                <a:lnTo>
                  <a:pt x="3152" y="58"/>
                </a:lnTo>
                <a:lnTo>
                  <a:pt x="3157" y="63"/>
                </a:lnTo>
                <a:lnTo>
                  <a:pt x="3162" y="62"/>
                </a:lnTo>
                <a:lnTo>
                  <a:pt x="3163" y="58"/>
                </a:lnTo>
                <a:lnTo>
                  <a:pt x="3170" y="58"/>
                </a:lnTo>
                <a:lnTo>
                  <a:pt x="3176" y="56"/>
                </a:lnTo>
                <a:lnTo>
                  <a:pt x="3187" y="56"/>
                </a:lnTo>
                <a:lnTo>
                  <a:pt x="3191" y="58"/>
                </a:lnTo>
                <a:lnTo>
                  <a:pt x="3196" y="62"/>
                </a:lnTo>
                <a:lnTo>
                  <a:pt x="3198" y="63"/>
                </a:lnTo>
                <a:lnTo>
                  <a:pt x="3201" y="67"/>
                </a:lnTo>
                <a:lnTo>
                  <a:pt x="3205" y="67"/>
                </a:lnTo>
                <a:lnTo>
                  <a:pt x="3206" y="71"/>
                </a:lnTo>
                <a:lnTo>
                  <a:pt x="3207" y="71"/>
                </a:lnTo>
                <a:lnTo>
                  <a:pt x="3207" y="76"/>
                </a:lnTo>
                <a:lnTo>
                  <a:pt x="3221" y="92"/>
                </a:lnTo>
                <a:lnTo>
                  <a:pt x="3227" y="93"/>
                </a:lnTo>
                <a:lnTo>
                  <a:pt x="3229" y="97"/>
                </a:lnTo>
                <a:lnTo>
                  <a:pt x="3229" y="101"/>
                </a:lnTo>
                <a:lnTo>
                  <a:pt x="3232" y="103"/>
                </a:lnTo>
                <a:lnTo>
                  <a:pt x="3238" y="103"/>
                </a:lnTo>
                <a:lnTo>
                  <a:pt x="3246" y="103"/>
                </a:lnTo>
                <a:lnTo>
                  <a:pt x="3251" y="107"/>
                </a:lnTo>
                <a:lnTo>
                  <a:pt x="3258" y="108"/>
                </a:lnTo>
                <a:lnTo>
                  <a:pt x="3262" y="108"/>
                </a:lnTo>
                <a:lnTo>
                  <a:pt x="3266" y="107"/>
                </a:lnTo>
                <a:lnTo>
                  <a:pt x="3271" y="108"/>
                </a:lnTo>
                <a:lnTo>
                  <a:pt x="3274" y="108"/>
                </a:lnTo>
                <a:lnTo>
                  <a:pt x="3276" y="112"/>
                </a:lnTo>
                <a:lnTo>
                  <a:pt x="3276" y="116"/>
                </a:lnTo>
                <a:lnTo>
                  <a:pt x="3279" y="120"/>
                </a:lnTo>
                <a:lnTo>
                  <a:pt x="3288" y="125"/>
                </a:lnTo>
                <a:lnTo>
                  <a:pt x="3291" y="129"/>
                </a:lnTo>
                <a:lnTo>
                  <a:pt x="3294" y="129"/>
                </a:lnTo>
                <a:lnTo>
                  <a:pt x="3296" y="133"/>
                </a:lnTo>
                <a:lnTo>
                  <a:pt x="3299" y="129"/>
                </a:lnTo>
                <a:lnTo>
                  <a:pt x="3301" y="129"/>
                </a:lnTo>
                <a:lnTo>
                  <a:pt x="3306" y="129"/>
                </a:lnTo>
                <a:lnTo>
                  <a:pt x="3308" y="129"/>
                </a:lnTo>
                <a:lnTo>
                  <a:pt x="3313" y="129"/>
                </a:lnTo>
                <a:lnTo>
                  <a:pt x="3320" y="133"/>
                </a:lnTo>
                <a:lnTo>
                  <a:pt x="3319" y="137"/>
                </a:lnTo>
                <a:lnTo>
                  <a:pt x="3312" y="147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PT" sz="1200" kern="0">
              <a:solidFill>
                <a:srgbClr val="000000"/>
              </a:solidFill>
            </a:endParaRPr>
          </a:p>
        </p:txBody>
      </p:sp>
      <p:sp>
        <p:nvSpPr>
          <p:cNvPr id="56" name="Freeform 55"/>
          <p:cNvSpPr>
            <a:spLocks noEditPoints="1"/>
          </p:cNvSpPr>
          <p:nvPr/>
        </p:nvSpPr>
        <p:spPr bwMode="auto">
          <a:xfrm>
            <a:off x="3106818" y="1903061"/>
            <a:ext cx="671224" cy="952827"/>
          </a:xfrm>
          <a:custGeom>
            <a:avLst/>
            <a:gdLst>
              <a:gd name="T0" fmla="*/ 2047 w 2234"/>
              <a:gd name="T1" fmla="*/ 258 h 2965"/>
              <a:gd name="T2" fmla="*/ 2054 w 2234"/>
              <a:gd name="T3" fmla="*/ 382 h 2965"/>
              <a:gd name="T4" fmla="*/ 2068 w 2234"/>
              <a:gd name="T5" fmla="*/ 430 h 2965"/>
              <a:gd name="T6" fmla="*/ 1997 w 2234"/>
              <a:gd name="T7" fmla="*/ 640 h 2965"/>
              <a:gd name="T8" fmla="*/ 1976 w 2234"/>
              <a:gd name="T9" fmla="*/ 711 h 2965"/>
              <a:gd name="T10" fmla="*/ 2024 w 2234"/>
              <a:gd name="T11" fmla="*/ 800 h 2965"/>
              <a:gd name="T12" fmla="*/ 2012 w 2234"/>
              <a:gd name="T13" fmla="*/ 943 h 2965"/>
              <a:gd name="T14" fmla="*/ 2030 w 2234"/>
              <a:gd name="T15" fmla="*/ 1058 h 2965"/>
              <a:gd name="T16" fmla="*/ 2064 w 2234"/>
              <a:gd name="T17" fmla="*/ 1250 h 2965"/>
              <a:gd name="T18" fmla="*/ 2035 w 2234"/>
              <a:gd name="T19" fmla="*/ 1428 h 2965"/>
              <a:gd name="T20" fmla="*/ 2054 w 2234"/>
              <a:gd name="T21" fmla="*/ 1504 h 2965"/>
              <a:gd name="T22" fmla="*/ 2079 w 2234"/>
              <a:gd name="T23" fmla="*/ 1539 h 2965"/>
              <a:gd name="T24" fmla="*/ 2054 w 2234"/>
              <a:gd name="T25" fmla="*/ 1601 h 2965"/>
              <a:gd name="T26" fmla="*/ 2043 w 2234"/>
              <a:gd name="T27" fmla="*/ 1647 h 2965"/>
              <a:gd name="T28" fmla="*/ 2107 w 2234"/>
              <a:gd name="T29" fmla="*/ 1700 h 2965"/>
              <a:gd name="T30" fmla="*/ 2121 w 2234"/>
              <a:gd name="T31" fmla="*/ 1793 h 2965"/>
              <a:gd name="T32" fmla="*/ 2146 w 2234"/>
              <a:gd name="T33" fmla="*/ 1832 h 2965"/>
              <a:gd name="T34" fmla="*/ 2100 w 2234"/>
              <a:gd name="T35" fmla="*/ 1898 h 2965"/>
              <a:gd name="T36" fmla="*/ 2008 w 2234"/>
              <a:gd name="T37" fmla="*/ 1953 h 2965"/>
              <a:gd name="T38" fmla="*/ 2007 w 2234"/>
              <a:gd name="T39" fmla="*/ 2033 h 2965"/>
              <a:gd name="T40" fmla="*/ 2069 w 2234"/>
              <a:gd name="T41" fmla="*/ 2030 h 2965"/>
              <a:gd name="T42" fmla="*/ 2105 w 2234"/>
              <a:gd name="T43" fmla="*/ 2211 h 2965"/>
              <a:gd name="T44" fmla="*/ 2022 w 2234"/>
              <a:gd name="T45" fmla="*/ 2435 h 2965"/>
              <a:gd name="T46" fmla="*/ 1791 w 2234"/>
              <a:gd name="T47" fmla="*/ 2402 h 2965"/>
              <a:gd name="T48" fmla="*/ 1549 w 2234"/>
              <a:gd name="T49" fmla="*/ 2568 h 2965"/>
              <a:gd name="T50" fmla="*/ 1323 w 2234"/>
              <a:gd name="T51" fmla="*/ 2630 h 2965"/>
              <a:gd name="T52" fmla="*/ 1147 w 2234"/>
              <a:gd name="T53" fmla="*/ 2725 h 2965"/>
              <a:gd name="T54" fmla="*/ 923 w 2234"/>
              <a:gd name="T55" fmla="*/ 2809 h 2965"/>
              <a:gd name="T56" fmla="*/ 622 w 2234"/>
              <a:gd name="T57" fmla="*/ 2959 h 2965"/>
              <a:gd name="T58" fmla="*/ 356 w 2234"/>
              <a:gd name="T59" fmla="*/ 2920 h 2965"/>
              <a:gd name="T60" fmla="*/ 259 w 2234"/>
              <a:gd name="T61" fmla="*/ 2780 h 2965"/>
              <a:gd name="T62" fmla="*/ 180 w 2234"/>
              <a:gd name="T63" fmla="*/ 2629 h 2965"/>
              <a:gd name="T64" fmla="*/ 115 w 2234"/>
              <a:gd name="T65" fmla="*/ 2332 h 2965"/>
              <a:gd name="T66" fmla="*/ 202 w 2234"/>
              <a:gd name="T67" fmla="*/ 2231 h 2965"/>
              <a:gd name="T68" fmla="*/ 209 w 2234"/>
              <a:gd name="T69" fmla="*/ 2121 h 2965"/>
              <a:gd name="T70" fmla="*/ 37 w 2234"/>
              <a:gd name="T71" fmla="*/ 2025 h 2965"/>
              <a:gd name="T72" fmla="*/ 84 w 2234"/>
              <a:gd name="T73" fmla="*/ 1834 h 2965"/>
              <a:gd name="T74" fmla="*/ 88 w 2234"/>
              <a:gd name="T75" fmla="*/ 1676 h 2965"/>
              <a:gd name="T76" fmla="*/ 182 w 2234"/>
              <a:gd name="T77" fmla="*/ 1521 h 2965"/>
              <a:gd name="T78" fmla="*/ 323 w 2234"/>
              <a:gd name="T79" fmla="*/ 1321 h 2965"/>
              <a:gd name="T80" fmla="*/ 378 w 2234"/>
              <a:gd name="T81" fmla="*/ 955 h 2965"/>
              <a:gd name="T82" fmla="*/ 540 w 2234"/>
              <a:gd name="T83" fmla="*/ 672 h 2965"/>
              <a:gd name="T84" fmla="*/ 753 w 2234"/>
              <a:gd name="T85" fmla="*/ 573 h 2965"/>
              <a:gd name="T86" fmla="*/ 914 w 2234"/>
              <a:gd name="T87" fmla="*/ 560 h 2965"/>
              <a:gd name="T88" fmla="*/ 1120 w 2234"/>
              <a:gd name="T89" fmla="*/ 520 h 2965"/>
              <a:gd name="T90" fmla="*/ 1351 w 2234"/>
              <a:gd name="T91" fmla="*/ 391 h 2965"/>
              <a:gd name="T92" fmla="*/ 1501 w 2234"/>
              <a:gd name="T93" fmla="*/ 346 h 2965"/>
              <a:gd name="T94" fmla="*/ 1727 w 2234"/>
              <a:gd name="T95" fmla="*/ 216 h 2965"/>
              <a:gd name="T96" fmla="*/ 1930 w 2234"/>
              <a:gd name="T97" fmla="*/ 83 h 2965"/>
              <a:gd name="T98" fmla="*/ 2065 w 2234"/>
              <a:gd name="T99" fmla="*/ 15 h 2965"/>
              <a:gd name="T100" fmla="*/ 2040 w 2234"/>
              <a:gd name="T101" fmla="*/ 65 h 2965"/>
              <a:gd name="T102" fmla="*/ 2172 w 2234"/>
              <a:gd name="T103" fmla="*/ 172 h 2965"/>
              <a:gd name="T104" fmla="*/ 2115 w 2234"/>
              <a:gd name="T105" fmla="*/ 1527 h 2965"/>
              <a:gd name="T106" fmla="*/ 2140 w 2234"/>
              <a:gd name="T107" fmla="*/ 1486 h 2965"/>
              <a:gd name="T108" fmla="*/ 2132 w 2234"/>
              <a:gd name="T109" fmla="*/ 1556 h 2965"/>
              <a:gd name="T110" fmla="*/ 2171 w 2234"/>
              <a:gd name="T111" fmla="*/ 453 h 2965"/>
              <a:gd name="T112" fmla="*/ 2193 w 2234"/>
              <a:gd name="T113" fmla="*/ 306 h 2965"/>
              <a:gd name="T114" fmla="*/ 2199 w 2234"/>
              <a:gd name="T115" fmla="*/ 560 h 2965"/>
              <a:gd name="T116" fmla="*/ 2058 w 2234"/>
              <a:gd name="T117" fmla="*/ 79 h 2965"/>
              <a:gd name="T118" fmla="*/ 2142 w 2234"/>
              <a:gd name="T119" fmla="*/ 1705 h 2965"/>
              <a:gd name="T120" fmla="*/ 2164 w 2234"/>
              <a:gd name="T121" fmla="*/ 355 h 2965"/>
              <a:gd name="T122" fmla="*/ 2050 w 2234"/>
              <a:gd name="T123" fmla="*/ 2065 h 2965"/>
              <a:gd name="T124" fmla="*/ 2052 w 2234"/>
              <a:gd name="T125" fmla="*/ 1529 h 296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234"/>
              <a:gd name="T190" fmla="*/ 0 h 2965"/>
              <a:gd name="T191" fmla="*/ 2234 w 2234"/>
              <a:gd name="T192" fmla="*/ 2965 h 296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234" h="2965">
                <a:moveTo>
                  <a:pt x="2165" y="185"/>
                </a:moveTo>
                <a:lnTo>
                  <a:pt x="2162" y="185"/>
                </a:lnTo>
                <a:lnTo>
                  <a:pt x="2159" y="181"/>
                </a:lnTo>
                <a:lnTo>
                  <a:pt x="2153" y="180"/>
                </a:lnTo>
                <a:lnTo>
                  <a:pt x="2137" y="177"/>
                </a:lnTo>
                <a:lnTo>
                  <a:pt x="2132" y="177"/>
                </a:lnTo>
                <a:lnTo>
                  <a:pt x="2128" y="172"/>
                </a:lnTo>
                <a:lnTo>
                  <a:pt x="2124" y="172"/>
                </a:lnTo>
                <a:lnTo>
                  <a:pt x="2111" y="177"/>
                </a:lnTo>
                <a:lnTo>
                  <a:pt x="2101" y="185"/>
                </a:lnTo>
                <a:lnTo>
                  <a:pt x="2069" y="208"/>
                </a:lnTo>
                <a:lnTo>
                  <a:pt x="2065" y="208"/>
                </a:lnTo>
                <a:lnTo>
                  <a:pt x="2064" y="212"/>
                </a:lnTo>
                <a:lnTo>
                  <a:pt x="2064" y="208"/>
                </a:lnTo>
                <a:lnTo>
                  <a:pt x="2058" y="208"/>
                </a:lnTo>
                <a:lnTo>
                  <a:pt x="2061" y="212"/>
                </a:lnTo>
                <a:lnTo>
                  <a:pt x="2060" y="208"/>
                </a:lnTo>
                <a:lnTo>
                  <a:pt x="2060" y="212"/>
                </a:lnTo>
                <a:lnTo>
                  <a:pt x="2058" y="212"/>
                </a:lnTo>
                <a:lnTo>
                  <a:pt x="2058" y="213"/>
                </a:lnTo>
                <a:lnTo>
                  <a:pt x="2057" y="213"/>
                </a:lnTo>
                <a:lnTo>
                  <a:pt x="2055" y="208"/>
                </a:lnTo>
                <a:lnTo>
                  <a:pt x="2055" y="204"/>
                </a:lnTo>
                <a:lnTo>
                  <a:pt x="2057" y="208"/>
                </a:lnTo>
                <a:lnTo>
                  <a:pt x="2064" y="200"/>
                </a:lnTo>
                <a:lnTo>
                  <a:pt x="2060" y="200"/>
                </a:lnTo>
                <a:lnTo>
                  <a:pt x="2054" y="204"/>
                </a:lnTo>
                <a:lnTo>
                  <a:pt x="2054" y="208"/>
                </a:lnTo>
                <a:lnTo>
                  <a:pt x="2047" y="225"/>
                </a:lnTo>
                <a:lnTo>
                  <a:pt x="2047" y="230"/>
                </a:lnTo>
                <a:lnTo>
                  <a:pt x="2049" y="236"/>
                </a:lnTo>
                <a:lnTo>
                  <a:pt x="2047" y="236"/>
                </a:lnTo>
                <a:lnTo>
                  <a:pt x="2046" y="239"/>
                </a:lnTo>
                <a:lnTo>
                  <a:pt x="2050" y="253"/>
                </a:lnTo>
                <a:lnTo>
                  <a:pt x="2051" y="247"/>
                </a:lnTo>
                <a:lnTo>
                  <a:pt x="2051" y="253"/>
                </a:lnTo>
                <a:lnTo>
                  <a:pt x="2043" y="258"/>
                </a:lnTo>
                <a:lnTo>
                  <a:pt x="2044" y="261"/>
                </a:lnTo>
                <a:lnTo>
                  <a:pt x="2047" y="262"/>
                </a:lnTo>
                <a:lnTo>
                  <a:pt x="2047" y="258"/>
                </a:lnTo>
                <a:lnTo>
                  <a:pt x="2051" y="258"/>
                </a:lnTo>
                <a:lnTo>
                  <a:pt x="2052" y="253"/>
                </a:lnTo>
                <a:lnTo>
                  <a:pt x="2054" y="249"/>
                </a:lnTo>
                <a:lnTo>
                  <a:pt x="2051" y="239"/>
                </a:lnTo>
                <a:lnTo>
                  <a:pt x="2054" y="239"/>
                </a:lnTo>
                <a:lnTo>
                  <a:pt x="2058" y="239"/>
                </a:lnTo>
                <a:lnTo>
                  <a:pt x="2080" y="253"/>
                </a:lnTo>
                <a:lnTo>
                  <a:pt x="2117" y="275"/>
                </a:lnTo>
                <a:lnTo>
                  <a:pt x="2129" y="279"/>
                </a:lnTo>
                <a:lnTo>
                  <a:pt x="2146" y="283"/>
                </a:lnTo>
                <a:lnTo>
                  <a:pt x="2151" y="283"/>
                </a:lnTo>
                <a:lnTo>
                  <a:pt x="2154" y="284"/>
                </a:lnTo>
                <a:lnTo>
                  <a:pt x="2154" y="288"/>
                </a:lnTo>
                <a:lnTo>
                  <a:pt x="2142" y="296"/>
                </a:lnTo>
                <a:lnTo>
                  <a:pt x="2139" y="297"/>
                </a:lnTo>
                <a:lnTo>
                  <a:pt x="2142" y="297"/>
                </a:lnTo>
                <a:lnTo>
                  <a:pt x="2143" y="297"/>
                </a:lnTo>
                <a:lnTo>
                  <a:pt x="2143" y="301"/>
                </a:lnTo>
                <a:lnTo>
                  <a:pt x="2145" y="301"/>
                </a:lnTo>
                <a:lnTo>
                  <a:pt x="2145" y="297"/>
                </a:lnTo>
                <a:lnTo>
                  <a:pt x="2147" y="297"/>
                </a:lnTo>
                <a:lnTo>
                  <a:pt x="2149" y="293"/>
                </a:lnTo>
                <a:lnTo>
                  <a:pt x="2149" y="297"/>
                </a:lnTo>
                <a:lnTo>
                  <a:pt x="2132" y="314"/>
                </a:lnTo>
                <a:lnTo>
                  <a:pt x="2096" y="331"/>
                </a:lnTo>
                <a:lnTo>
                  <a:pt x="2072" y="350"/>
                </a:lnTo>
                <a:lnTo>
                  <a:pt x="2068" y="355"/>
                </a:lnTo>
                <a:lnTo>
                  <a:pt x="2068" y="359"/>
                </a:lnTo>
                <a:lnTo>
                  <a:pt x="2065" y="359"/>
                </a:lnTo>
                <a:lnTo>
                  <a:pt x="2066" y="363"/>
                </a:lnTo>
                <a:lnTo>
                  <a:pt x="2065" y="365"/>
                </a:lnTo>
                <a:lnTo>
                  <a:pt x="2064" y="363"/>
                </a:lnTo>
                <a:lnTo>
                  <a:pt x="2062" y="363"/>
                </a:lnTo>
                <a:lnTo>
                  <a:pt x="2061" y="367"/>
                </a:lnTo>
                <a:lnTo>
                  <a:pt x="2062" y="367"/>
                </a:lnTo>
                <a:lnTo>
                  <a:pt x="2055" y="373"/>
                </a:lnTo>
                <a:lnTo>
                  <a:pt x="2055" y="378"/>
                </a:lnTo>
                <a:lnTo>
                  <a:pt x="2057" y="380"/>
                </a:lnTo>
                <a:lnTo>
                  <a:pt x="2055" y="380"/>
                </a:lnTo>
                <a:lnTo>
                  <a:pt x="2054" y="382"/>
                </a:lnTo>
                <a:lnTo>
                  <a:pt x="2057" y="382"/>
                </a:lnTo>
                <a:lnTo>
                  <a:pt x="2058" y="382"/>
                </a:lnTo>
                <a:lnTo>
                  <a:pt x="2055" y="382"/>
                </a:lnTo>
                <a:lnTo>
                  <a:pt x="2057" y="387"/>
                </a:lnTo>
                <a:lnTo>
                  <a:pt x="2052" y="386"/>
                </a:lnTo>
                <a:lnTo>
                  <a:pt x="2052" y="387"/>
                </a:lnTo>
                <a:lnTo>
                  <a:pt x="2055" y="390"/>
                </a:lnTo>
                <a:lnTo>
                  <a:pt x="2054" y="391"/>
                </a:lnTo>
                <a:lnTo>
                  <a:pt x="2051" y="390"/>
                </a:lnTo>
                <a:lnTo>
                  <a:pt x="2051" y="395"/>
                </a:lnTo>
                <a:lnTo>
                  <a:pt x="2052" y="395"/>
                </a:lnTo>
                <a:lnTo>
                  <a:pt x="2052" y="391"/>
                </a:lnTo>
                <a:lnTo>
                  <a:pt x="2055" y="404"/>
                </a:lnTo>
                <a:lnTo>
                  <a:pt x="2058" y="404"/>
                </a:lnTo>
                <a:lnTo>
                  <a:pt x="2055" y="404"/>
                </a:lnTo>
                <a:lnTo>
                  <a:pt x="2054" y="408"/>
                </a:lnTo>
                <a:lnTo>
                  <a:pt x="2052" y="412"/>
                </a:lnTo>
                <a:lnTo>
                  <a:pt x="2050" y="412"/>
                </a:lnTo>
                <a:lnTo>
                  <a:pt x="2050" y="408"/>
                </a:lnTo>
                <a:lnTo>
                  <a:pt x="2054" y="404"/>
                </a:lnTo>
                <a:lnTo>
                  <a:pt x="2051" y="400"/>
                </a:lnTo>
                <a:lnTo>
                  <a:pt x="2051" y="404"/>
                </a:lnTo>
                <a:lnTo>
                  <a:pt x="2046" y="408"/>
                </a:lnTo>
                <a:lnTo>
                  <a:pt x="2044" y="423"/>
                </a:lnTo>
                <a:lnTo>
                  <a:pt x="2049" y="425"/>
                </a:lnTo>
                <a:lnTo>
                  <a:pt x="2055" y="421"/>
                </a:lnTo>
                <a:lnTo>
                  <a:pt x="2060" y="423"/>
                </a:lnTo>
                <a:lnTo>
                  <a:pt x="2061" y="421"/>
                </a:lnTo>
                <a:lnTo>
                  <a:pt x="2061" y="423"/>
                </a:lnTo>
                <a:lnTo>
                  <a:pt x="2060" y="427"/>
                </a:lnTo>
                <a:lnTo>
                  <a:pt x="2061" y="430"/>
                </a:lnTo>
                <a:lnTo>
                  <a:pt x="2065" y="438"/>
                </a:lnTo>
                <a:lnTo>
                  <a:pt x="2065" y="440"/>
                </a:lnTo>
                <a:lnTo>
                  <a:pt x="2066" y="440"/>
                </a:lnTo>
                <a:lnTo>
                  <a:pt x="2066" y="438"/>
                </a:lnTo>
                <a:lnTo>
                  <a:pt x="2066" y="436"/>
                </a:lnTo>
                <a:lnTo>
                  <a:pt x="2064" y="436"/>
                </a:lnTo>
                <a:lnTo>
                  <a:pt x="2064" y="427"/>
                </a:lnTo>
                <a:lnTo>
                  <a:pt x="2065" y="430"/>
                </a:lnTo>
                <a:lnTo>
                  <a:pt x="2068" y="430"/>
                </a:lnTo>
                <a:lnTo>
                  <a:pt x="2071" y="436"/>
                </a:lnTo>
                <a:lnTo>
                  <a:pt x="2078" y="436"/>
                </a:lnTo>
                <a:lnTo>
                  <a:pt x="2079" y="436"/>
                </a:lnTo>
                <a:lnTo>
                  <a:pt x="2076" y="435"/>
                </a:lnTo>
                <a:lnTo>
                  <a:pt x="2075" y="436"/>
                </a:lnTo>
                <a:lnTo>
                  <a:pt x="2074" y="435"/>
                </a:lnTo>
                <a:lnTo>
                  <a:pt x="2078" y="435"/>
                </a:lnTo>
                <a:lnTo>
                  <a:pt x="2086" y="438"/>
                </a:lnTo>
                <a:lnTo>
                  <a:pt x="2089" y="440"/>
                </a:lnTo>
                <a:lnTo>
                  <a:pt x="2091" y="440"/>
                </a:lnTo>
                <a:lnTo>
                  <a:pt x="2112" y="443"/>
                </a:lnTo>
                <a:lnTo>
                  <a:pt x="2112" y="449"/>
                </a:lnTo>
                <a:lnTo>
                  <a:pt x="2110" y="449"/>
                </a:lnTo>
                <a:lnTo>
                  <a:pt x="2111" y="457"/>
                </a:lnTo>
                <a:lnTo>
                  <a:pt x="2107" y="471"/>
                </a:lnTo>
                <a:lnTo>
                  <a:pt x="2108" y="471"/>
                </a:lnTo>
                <a:lnTo>
                  <a:pt x="2099" y="487"/>
                </a:lnTo>
                <a:lnTo>
                  <a:pt x="2085" y="502"/>
                </a:lnTo>
                <a:lnTo>
                  <a:pt x="2082" y="510"/>
                </a:lnTo>
                <a:lnTo>
                  <a:pt x="2061" y="529"/>
                </a:lnTo>
                <a:lnTo>
                  <a:pt x="2061" y="533"/>
                </a:lnTo>
                <a:lnTo>
                  <a:pt x="2054" y="537"/>
                </a:lnTo>
                <a:lnTo>
                  <a:pt x="2052" y="542"/>
                </a:lnTo>
                <a:lnTo>
                  <a:pt x="2051" y="552"/>
                </a:lnTo>
                <a:lnTo>
                  <a:pt x="2051" y="560"/>
                </a:lnTo>
                <a:lnTo>
                  <a:pt x="2054" y="567"/>
                </a:lnTo>
                <a:lnTo>
                  <a:pt x="2054" y="569"/>
                </a:lnTo>
                <a:lnTo>
                  <a:pt x="2061" y="573"/>
                </a:lnTo>
                <a:lnTo>
                  <a:pt x="2064" y="573"/>
                </a:lnTo>
                <a:lnTo>
                  <a:pt x="2066" y="578"/>
                </a:lnTo>
                <a:lnTo>
                  <a:pt x="2066" y="581"/>
                </a:lnTo>
                <a:lnTo>
                  <a:pt x="2050" y="587"/>
                </a:lnTo>
                <a:lnTo>
                  <a:pt x="2016" y="609"/>
                </a:lnTo>
                <a:lnTo>
                  <a:pt x="2008" y="609"/>
                </a:lnTo>
                <a:lnTo>
                  <a:pt x="2007" y="609"/>
                </a:lnTo>
                <a:lnTo>
                  <a:pt x="2005" y="614"/>
                </a:lnTo>
                <a:lnTo>
                  <a:pt x="2000" y="627"/>
                </a:lnTo>
                <a:lnTo>
                  <a:pt x="2000" y="636"/>
                </a:lnTo>
                <a:lnTo>
                  <a:pt x="1997" y="639"/>
                </a:lnTo>
                <a:lnTo>
                  <a:pt x="1997" y="640"/>
                </a:lnTo>
                <a:lnTo>
                  <a:pt x="1999" y="640"/>
                </a:lnTo>
                <a:lnTo>
                  <a:pt x="1997" y="644"/>
                </a:lnTo>
                <a:lnTo>
                  <a:pt x="1999" y="645"/>
                </a:lnTo>
                <a:lnTo>
                  <a:pt x="1997" y="645"/>
                </a:lnTo>
                <a:lnTo>
                  <a:pt x="1980" y="672"/>
                </a:lnTo>
                <a:lnTo>
                  <a:pt x="1962" y="689"/>
                </a:lnTo>
                <a:lnTo>
                  <a:pt x="1960" y="685"/>
                </a:lnTo>
                <a:lnTo>
                  <a:pt x="1960" y="681"/>
                </a:lnTo>
                <a:lnTo>
                  <a:pt x="1958" y="676"/>
                </a:lnTo>
                <a:lnTo>
                  <a:pt x="1957" y="676"/>
                </a:lnTo>
                <a:lnTo>
                  <a:pt x="1954" y="685"/>
                </a:lnTo>
                <a:lnTo>
                  <a:pt x="1950" y="685"/>
                </a:lnTo>
                <a:lnTo>
                  <a:pt x="1941" y="681"/>
                </a:lnTo>
                <a:lnTo>
                  <a:pt x="1940" y="676"/>
                </a:lnTo>
                <a:lnTo>
                  <a:pt x="1936" y="674"/>
                </a:lnTo>
                <a:lnTo>
                  <a:pt x="1929" y="674"/>
                </a:lnTo>
                <a:lnTo>
                  <a:pt x="1926" y="672"/>
                </a:lnTo>
                <a:lnTo>
                  <a:pt x="1924" y="670"/>
                </a:lnTo>
                <a:lnTo>
                  <a:pt x="1922" y="662"/>
                </a:lnTo>
                <a:lnTo>
                  <a:pt x="1918" y="662"/>
                </a:lnTo>
                <a:lnTo>
                  <a:pt x="1921" y="666"/>
                </a:lnTo>
                <a:lnTo>
                  <a:pt x="1922" y="672"/>
                </a:lnTo>
                <a:lnTo>
                  <a:pt x="1925" y="672"/>
                </a:lnTo>
                <a:lnTo>
                  <a:pt x="1926" y="676"/>
                </a:lnTo>
                <a:lnTo>
                  <a:pt x="1927" y="676"/>
                </a:lnTo>
                <a:lnTo>
                  <a:pt x="1936" y="676"/>
                </a:lnTo>
                <a:lnTo>
                  <a:pt x="1939" y="685"/>
                </a:lnTo>
                <a:lnTo>
                  <a:pt x="1943" y="687"/>
                </a:lnTo>
                <a:lnTo>
                  <a:pt x="1947" y="689"/>
                </a:lnTo>
                <a:lnTo>
                  <a:pt x="1951" y="698"/>
                </a:lnTo>
                <a:lnTo>
                  <a:pt x="1958" y="711"/>
                </a:lnTo>
                <a:lnTo>
                  <a:pt x="1957" y="716"/>
                </a:lnTo>
                <a:lnTo>
                  <a:pt x="1960" y="715"/>
                </a:lnTo>
                <a:lnTo>
                  <a:pt x="1960" y="711"/>
                </a:lnTo>
                <a:lnTo>
                  <a:pt x="1965" y="707"/>
                </a:lnTo>
                <a:lnTo>
                  <a:pt x="1966" y="707"/>
                </a:lnTo>
                <a:lnTo>
                  <a:pt x="1965" y="707"/>
                </a:lnTo>
                <a:lnTo>
                  <a:pt x="1971" y="702"/>
                </a:lnTo>
                <a:lnTo>
                  <a:pt x="1974" y="706"/>
                </a:lnTo>
                <a:lnTo>
                  <a:pt x="1976" y="711"/>
                </a:lnTo>
                <a:lnTo>
                  <a:pt x="1982" y="715"/>
                </a:lnTo>
                <a:lnTo>
                  <a:pt x="1983" y="716"/>
                </a:lnTo>
                <a:lnTo>
                  <a:pt x="1985" y="716"/>
                </a:lnTo>
                <a:lnTo>
                  <a:pt x="1990" y="724"/>
                </a:lnTo>
                <a:lnTo>
                  <a:pt x="1990" y="732"/>
                </a:lnTo>
                <a:lnTo>
                  <a:pt x="1991" y="734"/>
                </a:lnTo>
                <a:lnTo>
                  <a:pt x="1993" y="734"/>
                </a:lnTo>
                <a:lnTo>
                  <a:pt x="1996" y="738"/>
                </a:lnTo>
                <a:lnTo>
                  <a:pt x="1999" y="734"/>
                </a:lnTo>
                <a:lnTo>
                  <a:pt x="1997" y="741"/>
                </a:lnTo>
                <a:lnTo>
                  <a:pt x="1999" y="743"/>
                </a:lnTo>
                <a:lnTo>
                  <a:pt x="1999" y="755"/>
                </a:lnTo>
                <a:lnTo>
                  <a:pt x="2001" y="752"/>
                </a:lnTo>
                <a:lnTo>
                  <a:pt x="2002" y="756"/>
                </a:lnTo>
                <a:lnTo>
                  <a:pt x="2004" y="756"/>
                </a:lnTo>
                <a:lnTo>
                  <a:pt x="2002" y="755"/>
                </a:lnTo>
                <a:lnTo>
                  <a:pt x="2001" y="747"/>
                </a:lnTo>
                <a:lnTo>
                  <a:pt x="2005" y="743"/>
                </a:lnTo>
                <a:lnTo>
                  <a:pt x="2014" y="747"/>
                </a:lnTo>
                <a:lnTo>
                  <a:pt x="2015" y="747"/>
                </a:lnTo>
                <a:lnTo>
                  <a:pt x="2018" y="751"/>
                </a:lnTo>
                <a:lnTo>
                  <a:pt x="2016" y="755"/>
                </a:lnTo>
                <a:lnTo>
                  <a:pt x="2019" y="755"/>
                </a:lnTo>
                <a:lnTo>
                  <a:pt x="2021" y="752"/>
                </a:lnTo>
                <a:lnTo>
                  <a:pt x="2025" y="752"/>
                </a:lnTo>
                <a:lnTo>
                  <a:pt x="2022" y="747"/>
                </a:lnTo>
                <a:lnTo>
                  <a:pt x="2027" y="743"/>
                </a:lnTo>
                <a:lnTo>
                  <a:pt x="2035" y="745"/>
                </a:lnTo>
                <a:lnTo>
                  <a:pt x="2040" y="747"/>
                </a:lnTo>
                <a:lnTo>
                  <a:pt x="2033" y="760"/>
                </a:lnTo>
                <a:lnTo>
                  <a:pt x="2033" y="770"/>
                </a:lnTo>
                <a:lnTo>
                  <a:pt x="2030" y="774"/>
                </a:lnTo>
                <a:lnTo>
                  <a:pt x="2026" y="777"/>
                </a:lnTo>
                <a:lnTo>
                  <a:pt x="2026" y="778"/>
                </a:lnTo>
                <a:lnTo>
                  <a:pt x="2025" y="778"/>
                </a:lnTo>
                <a:lnTo>
                  <a:pt x="2024" y="782"/>
                </a:lnTo>
                <a:lnTo>
                  <a:pt x="2026" y="791"/>
                </a:lnTo>
                <a:lnTo>
                  <a:pt x="2026" y="794"/>
                </a:lnTo>
                <a:lnTo>
                  <a:pt x="2024" y="795"/>
                </a:lnTo>
                <a:lnTo>
                  <a:pt x="2024" y="800"/>
                </a:lnTo>
                <a:lnTo>
                  <a:pt x="2026" y="800"/>
                </a:lnTo>
                <a:lnTo>
                  <a:pt x="2024" y="814"/>
                </a:lnTo>
                <a:lnTo>
                  <a:pt x="2021" y="817"/>
                </a:lnTo>
                <a:lnTo>
                  <a:pt x="2019" y="817"/>
                </a:lnTo>
                <a:lnTo>
                  <a:pt x="2014" y="822"/>
                </a:lnTo>
                <a:lnTo>
                  <a:pt x="2010" y="827"/>
                </a:lnTo>
                <a:lnTo>
                  <a:pt x="2011" y="831"/>
                </a:lnTo>
                <a:lnTo>
                  <a:pt x="2019" y="840"/>
                </a:lnTo>
                <a:lnTo>
                  <a:pt x="2021" y="845"/>
                </a:lnTo>
                <a:lnTo>
                  <a:pt x="2011" y="853"/>
                </a:lnTo>
                <a:lnTo>
                  <a:pt x="2007" y="852"/>
                </a:lnTo>
                <a:lnTo>
                  <a:pt x="2008" y="853"/>
                </a:lnTo>
                <a:lnTo>
                  <a:pt x="2007" y="853"/>
                </a:lnTo>
                <a:lnTo>
                  <a:pt x="2000" y="859"/>
                </a:lnTo>
                <a:lnTo>
                  <a:pt x="1993" y="868"/>
                </a:lnTo>
                <a:lnTo>
                  <a:pt x="1996" y="876"/>
                </a:lnTo>
                <a:lnTo>
                  <a:pt x="1997" y="875"/>
                </a:lnTo>
                <a:lnTo>
                  <a:pt x="1999" y="876"/>
                </a:lnTo>
                <a:lnTo>
                  <a:pt x="1997" y="888"/>
                </a:lnTo>
                <a:lnTo>
                  <a:pt x="2004" y="894"/>
                </a:lnTo>
                <a:lnTo>
                  <a:pt x="2015" y="898"/>
                </a:lnTo>
                <a:lnTo>
                  <a:pt x="2018" y="904"/>
                </a:lnTo>
                <a:lnTo>
                  <a:pt x="2025" y="906"/>
                </a:lnTo>
                <a:lnTo>
                  <a:pt x="2027" y="912"/>
                </a:lnTo>
                <a:lnTo>
                  <a:pt x="2027" y="917"/>
                </a:lnTo>
                <a:lnTo>
                  <a:pt x="2025" y="925"/>
                </a:lnTo>
                <a:lnTo>
                  <a:pt x="2021" y="920"/>
                </a:lnTo>
                <a:lnTo>
                  <a:pt x="2012" y="930"/>
                </a:lnTo>
                <a:lnTo>
                  <a:pt x="2007" y="932"/>
                </a:lnTo>
                <a:lnTo>
                  <a:pt x="2005" y="925"/>
                </a:lnTo>
                <a:lnTo>
                  <a:pt x="2005" y="932"/>
                </a:lnTo>
                <a:lnTo>
                  <a:pt x="2004" y="932"/>
                </a:lnTo>
                <a:lnTo>
                  <a:pt x="2004" y="938"/>
                </a:lnTo>
                <a:lnTo>
                  <a:pt x="1996" y="947"/>
                </a:lnTo>
                <a:lnTo>
                  <a:pt x="1993" y="951"/>
                </a:lnTo>
                <a:lnTo>
                  <a:pt x="2000" y="946"/>
                </a:lnTo>
                <a:lnTo>
                  <a:pt x="2007" y="943"/>
                </a:lnTo>
                <a:lnTo>
                  <a:pt x="2007" y="946"/>
                </a:lnTo>
                <a:lnTo>
                  <a:pt x="2010" y="943"/>
                </a:lnTo>
                <a:lnTo>
                  <a:pt x="2012" y="943"/>
                </a:lnTo>
                <a:lnTo>
                  <a:pt x="2014" y="946"/>
                </a:lnTo>
                <a:lnTo>
                  <a:pt x="2014" y="947"/>
                </a:lnTo>
                <a:lnTo>
                  <a:pt x="2012" y="947"/>
                </a:lnTo>
                <a:lnTo>
                  <a:pt x="2012" y="952"/>
                </a:lnTo>
                <a:lnTo>
                  <a:pt x="2010" y="955"/>
                </a:lnTo>
                <a:lnTo>
                  <a:pt x="2012" y="956"/>
                </a:lnTo>
                <a:lnTo>
                  <a:pt x="2011" y="960"/>
                </a:lnTo>
                <a:lnTo>
                  <a:pt x="2000" y="964"/>
                </a:lnTo>
                <a:lnTo>
                  <a:pt x="1993" y="969"/>
                </a:lnTo>
                <a:lnTo>
                  <a:pt x="2001" y="965"/>
                </a:lnTo>
                <a:lnTo>
                  <a:pt x="2012" y="965"/>
                </a:lnTo>
                <a:lnTo>
                  <a:pt x="2014" y="969"/>
                </a:lnTo>
                <a:lnTo>
                  <a:pt x="2012" y="969"/>
                </a:lnTo>
                <a:lnTo>
                  <a:pt x="2012" y="975"/>
                </a:lnTo>
                <a:lnTo>
                  <a:pt x="2010" y="977"/>
                </a:lnTo>
                <a:lnTo>
                  <a:pt x="2007" y="977"/>
                </a:lnTo>
                <a:lnTo>
                  <a:pt x="2004" y="977"/>
                </a:lnTo>
                <a:lnTo>
                  <a:pt x="1999" y="982"/>
                </a:lnTo>
                <a:lnTo>
                  <a:pt x="1996" y="982"/>
                </a:lnTo>
                <a:lnTo>
                  <a:pt x="1994" y="982"/>
                </a:lnTo>
                <a:lnTo>
                  <a:pt x="1996" y="987"/>
                </a:lnTo>
                <a:lnTo>
                  <a:pt x="1997" y="982"/>
                </a:lnTo>
                <a:lnTo>
                  <a:pt x="2000" y="982"/>
                </a:lnTo>
                <a:lnTo>
                  <a:pt x="2004" y="977"/>
                </a:lnTo>
                <a:lnTo>
                  <a:pt x="2008" y="981"/>
                </a:lnTo>
                <a:lnTo>
                  <a:pt x="2010" y="982"/>
                </a:lnTo>
                <a:lnTo>
                  <a:pt x="2011" y="991"/>
                </a:lnTo>
                <a:lnTo>
                  <a:pt x="2008" y="1005"/>
                </a:lnTo>
                <a:lnTo>
                  <a:pt x="2012" y="1014"/>
                </a:lnTo>
                <a:lnTo>
                  <a:pt x="2018" y="1022"/>
                </a:lnTo>
                <a:lnTo>
                  <a:pt x="2019" y="1018"/>
                </a:lnTo>
                <a:lnTo>
                  <a:pt x="2026" y="1022"/>
                </a:lnTo>
                <a:lnTo>
                  <a:pt x="2030" y="1018"/>
                </a:lnTo>
                <a:lnTo>
                  <a:pt x="2032" y="1018"/>
                </a:lnTo>
                <a:lnTo>
                  <a:pt x="2030" y="1027"/>
                </a:lnTo>
                <a:lnTo>
                  <a:pt x="2032" y="1037"/>
                </a:lnTo>
                <a:lnTo>
                  <a:pt x="2030" y="1041"/>
                </a:lnTo>
                <a:lnTo>
                  <a:pt x="2033" y="1050"/>
                </a:lnTo>
                <a:lnTo>
                  <a:pt x="2032" y="1054"/>
                </a:lnTo>
                <a:lnTo>
                  <a:pt x="2030" y="1058"/>
                </a:lnTo>
                <a:lnTo>
                  <a:pt x="2030" y="1059"/>
                </a:lnTo>
                <a:lnTo>
                  <a:pt x="2030" y="1062"/>
                </a:lnTo>
                <a:lnTo>
                  <a:pt x="2029" y="1068"/>
                </a:lnTo>
                <a:lnTo>
                  <a:pt x="2029" y="1076"/>
                </a:lnTo>
                <a:lnTo>
                  <a:pt x="2030" y="1076"/>
                </a:lnTo>
                <a:lnTo>
                  <a:pt x="2036" y="1089"/>
                </a:lnTo>
                <a:lnTo>
                  <a:pt x="2044" y="1097"/>
                </a:lnTo>
                <a:lnTo>
                  <a:pt x="2052" y="1099"/>
                </a:lnTo>
                <a:lnTo>
                  <a:pt x="2064" y="1104"/>
                </a:lnTo>
                <a:lnTo>
                  <a:pt x="2068" y="1106"/>
                </a:lnTo>
                <a:lnTo>
                  <a:pt x="2069" y="1104"/>
                </a:lnTo>
                <a:lnTo>
                  <a:pt x="2072" y="1104"/>
                </a:lnTo>
                <a:lnTo>
                  <a:pt x="2071" y="1106"/>
                </a:lnTo>
                <a:lnTo>
                  <a:pt x="2071" y="1108"/>
                </a:lnTo>
                <a:lnTo>
                  <a:pt x="2074" y="1106"/>
                </a:lnTo>
                <a:lnTo>
                  <a:pt x="2071" y="1111"/>
                </a:lnTo>
                <a:lnTo>
                  <a:pt x="2062" y="1116"/>
                </a:lnTo>
                <a:lnTo>
                  <a:pt x="2057" y="1121"/>
                </a:lnTo>
                <a:lnTo>
                  <a:pt x="2050" y="1129"/>
                </a:lnTo>
                <a:lnTo>
                  <a:pt x="2046" y="1142"/>
                </a:lnTo>
                <a:lnTo>
                  <a:pt x="2046" y="1155"/>
                </a:lnTo>
                <a:lnTo>
                  <a:pt x="2047" y="1161"/>
                </a:lnTo>
                <a:lnTo>
                  <a:pt x="2050" y="1164"/>
                </a:lnTo>
                <a:lnTo>
                  <a:pt x="2049" y="1166"/>
                </a:lnTo>
                <a:lnTo>
                  <a:pt x="2049" y="1170"/>
                </a:lnTo>
                <a:lnTo>
                  <a:pt x="2050" y="1170"/>
                </a:lnTo>
                <a:lnTo>
                  <a:pt x="2054" y="1188"/>
                </a:lnTo>
                <a:lnTo>
                  <a:pt x="2061" y="1201"/>
                </a:lnTo>
                <a:lnTo>
                  <a:pt x="2068" y="1205"/>
                </a:lnTo>
                <a:lnTo>
                  <a:pt x="2078" y="1215"/>
                </a:lnTo>
                <a:lnTo>
                  <a:pt x="2080" y="1215"/>
                </a:lnTo>
                <a:lnTo>
                  <a:pt x="2083" y="1218"/>
                </a:lnTo>
                <a:lnTo>
                  <a:pt x="2085" y="1218"/>
                </a:lnTo>
                <a:lnTo>
                  <a:pt x="2094" y="1224"/>
                </a:lnTo>
                <a:lnTo>
                  <a:pt x="2101" y="1224"/>
                </a:lnTo>
                <a:lnTo>
                  <a:pt x="2099" y="1226"/>
                </a:lnTo>
                <a:lnTo>
                  <a:pt x="2094" y="1226"/>
                </a:lnTo>
                <a:lnTo>
                  <a:pt x="2089" y="1228"/>
                </a:lnTo>
                <a:lnTo>
                  <a:pt x="2074" y="1237"/>
                </a:lnTo>
                <a:lnTo>
                  <a:pt x="2064" y="1250"/>
                </a:lnTo>
                <a:lnTo>
                  <a:pt x="2060" y="1263"/>
                </a:lnTo>
                <a:lnTo>
                  <a:pt x="2060" y="1271"/>
                </a:lnTo>
                <a:lnTo>
                  <a:pt x="2061" y="1273"/>
                </a:lnTo>
                <a:lnTo>
                  <a:pt x="2061" y="1275"/>
                </a:lnTo>
                <a:lnTo>
                  <a:pt x="2062" y="1282"/>
                </a:lnTo>
                <a:lnTo>
                  <a:pt x="2069" y="1291"/>
                </a:lnTo>
                <a:lnTo>
                  <a:pt x="2069" y="1295"/>
                </a:lnTo>
                <a:lnTo>
                  <a:pt x="2068" y="1299"/>
                </a:lnTo>
                <a:lnTo>
                  <a:pt x="2060" y="1317"/>
                </a:lnTo>
                <a:lnTo>
                  <a:pt x="2051" y="1334"/>
                </a:lnTo>
                <a:lnTo>
                  <a:pt x="2050" y="1344"/>
                </a:lnTo>
                <a:lnTo>
                  <a:pt x="2055" y="1361"/>
                </a:lnTo>
                <a:lnTo>
                  <a:pt x="2069" y="1382"/>
                </a:lnTo>
                <a:lnTo>
                  <a:pt x="2072" y="1389"/>
                </a:lnTo>
                <a:lnTo>
                  <a:pt x="2061" y="1397"/>
                </a:lnTo>
                <a:lnTo>
                  <a:pt x="2055" y="1394"/>
                </a:lnTo>
                <a:lnTo>
                  <a:pt x="2058" y="1391"/>
                </a:lnTo>
                <a:lnTo>
                  <a:pt x="2057" y="1391"/>
                </a:lnTo>
                <a:lnTo>
                  <a:pt x="2055" y="1394"/>
                </a:lnTo>
                <a:lnTo>
                  <a:pt x="2051" y="1394"/>
                </a:lnTo>
                <a:lnTo>
                  <a:pt x="2051" y="1392"/>
                </a:lnTo>
                <a:lnTo>
                  <a:pt x="2050" y="1392"/>
                </a:lnTo>
                <a:lnTo>
                  <a:pt x="2051" y="1396"/>
                </a:lnTo>
                <a:lnTo>
                  <a:pt x="2055" y="1396"/>
                </a:lnTo>
                <a:lnTo>
                  <a:pt x="2058" y="1397"/>
                </a:lnTo>
                <a:lnTo>
                  <a:pt x="2055" y="1402"/>
                </a:lnTo>
                <a:lnTo>
                  <a:pt x="2055" y="1406"/>
                </a:lnTo>
                <a:lnTo>
                  <a:pt x="2057" y="1402"/>
                </a:lnTo>
                <a:lnTo>
                  <a:pt x="2065" y="1402"/>
                </a:lnTo>
                <a:lnTo>
                  <a:pt x="2066" y="1402"/>
                </a:lnTo>
                <a:lnTo>
                  <a:pt x="2066" y="1409"/>
                </a:lnTo>
                <a:lnTo>
                  <a:pt x="2064" y="1420"/>
                </a:lnTo>
                <a:lnTo>
                  <a:pt x="2057" y="1428"/>
                </a:lnTo>
                <a:lnTo>
                  <a:pt x="2054" y="1437"/>
                </a:lnTo>
                <a:lnTo>
                  <a:pt x="2054" y="1441"/>
                </a:lnTo>
                <a:lnTo>
                  <a:pt x="2051" y="1441"/>
                </a:lnTo>
                <a:lnTo>
                  <a:pt x="2044" y="1441"/>
                </a:lnTo>
                <a:lnTo>
                  <a:pt x="2040" y="1436"/>
                </a:lnTo>
                <a:lnTo>
                  <a:pt x="2037" y="1433"/>
                </a:lnTo>
                <a:lnTo>
                  <a:pt x="2035" y="1428"/>
                </a:lnTo>
                <a:lnTo>
                  <a:pt x="2030" y="1424"/>
                </a:lnTo>
                <a:lnTo>
                  <a:pt x="2030" y="1420"/>
                </a:lnTo>
                <a:lnTo>
                  <a:pt x="2032" y="1415"/>
                </a:lnTo>
                <a:lnTo>
                  <a:pt x="2036" y="1411"/>
                </a:lnTo>
                <a:lnTo>
                  <a:pt x="2035" y="1406"/>
                </a:lnTo>
                <a:lnTo>
                  <a:pt x="2033" y="1406"/>
                </a:lnTo>
                <a:lnTo>
                  <a:pt x="2032" y="1409"/>
                </a:lnTo>
                <a:lnTo>
                  <a:pt x="2030" y="1406"/>
                </a:lnTo>
                <a:lnTo>
                  <a:pt x="2029" y="1406"/>
                </a:lnTo>
                <a:lnTo>
                  <a:pt x="2030" y="1411"/>
                </a:lnTo>
                <a:lnTo>
                  <a:pt x="2033" y="1409"/>
                </a:lnTo>
                <a:lnTo>
                  <a:pt x="2035" y="1411"/>
                </a:lnTo>
                <a:lnTo>
                  <a:pt x="2029" y="1411"/>
                </a:lnTo>
                <a:lnTo>
                  <a:pt x="2026" y="1420"/>
                </a:lnTo>
                <a:lnTo>
                  <a:pt x="2026" y="1437"/>
                </a:lnTo>
                <a:lnTo>
                  <a:pt x="2032" y="1441"/>
                </a:lnTo>
                <a:lnTo>
                  <a:pt x="2036" y="1441"/>
                </a:lnTo>
                <a:lnTo>
                  <a:pt x="2037" y="1441"/>
                </a:lnTo>
                <a:lnTo>
                  <a:pt x="2041" y="1445"/>
                </a:lnTo>
                <a:lnTo>
                  <a:pt x="2041" y="1449"/>
                </a:lnTo>
                <a:lnTo>
                  <a:pt x="2043" y="1446"/>
                </a:lnTo>
                <a:lnTo>
                  <a:pt x="2044" y="1446"/>
                </a:lnTo>
                <a:lnTo>
                  <a:pt x="2054" y="1446"/>
                </a:lnTo>
                <a:lnTo>
                  <a:pt x="2057" y="1449"/>
                </a:lnTo>
                <a:lnTo>
                  <a:pt x="2060" y="1456"/>
                </a:lnTo>
                <a:lnTo>
                  <a:pt x="2060" y="1459"/>
                </a:lnTo>
                <a:lnTo>
                  <a:pt x="2062" y="1464"/>
                </a:lnTo>
                <a:lnTo>
                  <a:pt x="2061" y="1468"/>
                </a:lnTo>
                <a:lnTo>
                  <a:pt x="2062" y="1468"/>
                </a:lnTo>
                <a:lnTo>
                  <a:pt x="2064" y="1469"/>
                </a:lnTo>
                <a:lnTo>
                  <a:pt x="2064" y="1477"/>
                </a:lnTo>
                <a:lnTo>
                  <a:pt x="2071" y="1486"/>
                </a:lnTo>
                <a:lnTo>
                  <a:pt x="2068" y="1486"/>
                </a:lnTo>
                <a:lnTo>
                  <a:pt x="2066" y="1491"/>
                </a:lnTo>
                <a:lnTo>
                  <a:pt x="2066" y="1498"/>
                </a:lnTo>
                <a:lnTo>
                  <a:pt x="2062" y="1498"/>
                </a:lnTo>
                <a:lnTo>
                  <a:pt x="2051" y="1499"/>
                </a:lnTo>
                <a:lnTo>
                  <a:pt x="2049" y="1499"/>
                </a:lnTo>
                <a:lnTo>
                  <a:pt x="2051" y="1503"/>
                </a:lnTo>
                <a:lnTo>
                  <a:pt x="2054" y="1504"/>
                </a:lnTo>
                <a:lnTo>
                  <a:pt x="2060" y="1499"/>
                </a:lnTo>
                <a:lnTo>
                  <a:pt x="2062" y="1499"/>
                </a:lnTo>
                <a:lnTo>
                  <a:pt x="2064" y="1508"/>
                </a:lnTo>
                <a:lnTo>
                  <a:pt x="2062" y="1514"/>
                </a:lnTo>
                <a:lnTo>
                  <a:pt x="2054" y="1518"/>
                </a:lnTo>
                <a:lnTo>
                  <a:pt x="2052" y="1520"/>
                </a:lnTo>
                <a:lnTo>
                  <a:pt x="2051" y="1526"/>
                </a:lnTo>
                <a:lnTo>
                  <a:pt x="2049" y="1532"/>
                </a:lnTo>
                <a:lnTo>
                  <a:pt x="2049" y="1535"/>
                </a:lnTo>
                <a:lnTo>
                  <a:pt x="2050" y="1531"/>
                </a:lnTo>
                <a:lnTo>
                  <a:pt x="2049" y="1544"/>
                </a:lnTo>
                <a:lnTo>
                  <a:pt x="2047" y="1544"/>
                </a:lnTo>
                <a:lnTo>
                  <a:pt x="2044" y="1543"/>
                </a:lnTo>
                <a:lnTo>
                  <a:pt x="2043" y="1544"/>
                </a:lnTo>
                <a:lnTo>
                  <a:pt x="2041" y="1540"/>
                </a:lnTo>
                <a:lnTo>
                  <a:pt x="2040" y="1540"/>
                </a:lnTo>
                <a:lnTo>
                  <a:pt x="2041" y="1543"/>
                </a:lnTo>
                <a:lnTo>
                  <a:pt x="2040" y="1544"/>
                </a:lnTo>
                <a:lnTo>
                  <a:pt x="2046" y="1544"/>
                </a:lnTo>
                <a:lnTo>
                  <a:pt x="2044" y="1546"/>
                </a:lnTo>
                <a:lnTo>
                  <a:pt x="2050" y="1544"/>
                </a:lnTo>
                <a:lnTo>
                  <a:pt x="2052" y="1540"/>
                </a:lnTo>
                <a:lnTo>
                  <a:pt x="2057" y="1535"/>
                </a:lnTo>
                <a:lnTo>
                  <a:pt x="2058" y="1535"/>
                </a:lnTo>
                <a:lnTo>
                  <a:pt x="2061" y="1535"/>
                </a:lnTo>
                <a:lnTo>
                  <a:pt x="2064" y="1535"/>
                </a:lnTo>
                <a:lnTo>
                  <a:pt x="2064" y="1539"/>
                </a:lnTo>
                <a:lnTo>
                  <a:pt x="2065" y="1535"/>
                </a:lnTo>
                <a:lnTo>
                  <a:pt x="2064" y="1540"/>
                </a:lnTo>
                <a:lnTo>
                  <a:pt x="2065" y="1540"/>
                </a:lnTo>
                <a:lnTo>
                  <a:pt x="2065" y="1535"/>
                </a:lnTo>
                <a:lnTo>
                  <a:pt x="2068" y="1539"/>
                </a:lnTo>
                <a:lnTo>
                  <a:pt x="2068" y="1535"/>
                </a:lnTo>
                <a:lnTo>
                  <a:pt x="2069" y="1535"/>
                </a:lnTo>
                <a:lnTo>
                  <a:pt x="2076" y="1535"/>
                </a:lnTo>
                <a:lnTo>
                  <a:pt x="2076" y="1543"/>
                </a:lnTo>
                <a:lnTo>
                  <a:pt x="2079" y="1544"/>
                </a:lnTo>
                <a:lnTo>
                  <a:pt x="2082" y="1546"/>
                </a:lnTo>
                <a:lnTo>
                  <a:pt x="2079" y="1543"/>
                </a:lnTo>
                <a:lnTo>
                  <a:pt x="2079" y="1539"/>
                </a:lnTo>
                <a:lnTo>
                  <a:pt x="2086" y="1535"/>
                </a:lnTo>
                <a:lnTo>
                  <a:pt x="2087" y="1535"/>
                </a:lnTo>
                <a:lnTo>
                  <a:pt x="2090" y="1540"/>
                </a:lnTo>
                <a:lnTo>
                  <a:pt x="2090" y="1548"/>
                </a:lnTo>
                <a:lnTo>
                  <a:pt x="2093" y="1540"/>
                </a:lnTo>
                <a:lnTo>
                  <a:pt x="2094" y="1540"/>
                </a:lnTo>
                <a:lnTo>
                  <a:pt x="2093" y="1535"/>
                </a:lnTo>
                <a:lnTo>
                  <a:pt x="2096" y="1535"/>
                </a:lnTo>
                <a:lnTo>
                  <a:pt x="2093" y="1533"/>
                </a:lnTo>
                <a:lnTo>
                  <a:pt x="2094" y="1532"/>
                </a:lnTo>
                <a:lnTo>
                  <a:pt x="2091" y="1527"/>
                </a:lnTo>
                <a:lnTo>
                  <a:pt x="2097" y="1533"/>
                </a:lnTo>
                <a:lnTo>
                  <a:pt x="2100" y="1535"/>
                </a:lnTo>
                <a:lnTo>
                  <a:pt x="2100" y="1544"/>
                </a:lnTo>
                <a:lnTo>
                  <a:pt x="2101" y="1540"/>
                </a:lnTo>
                <a:lnTo>
                  <a:pt x="2104" y="1540"/>
                </a:lnTo>
                <a:lnTo>
                  <a:pt x="2103" y="1535"/>
                </a:lnTo>
                <a:lnTo>
                  <a:pt x="2103" y="1533"/>
                </a:lnTo>
                <a:lnTo>
                  <a:pt x="2104" y="1533"/>
                </a:lnTo>
                <a:lnTo>
                  <a:pt x="2105" y="1535"/>
                </a:lnTo>
                <a:lnTo>
                  <a:pt x="2107" y="1535"/>
                </a:lnTo>
                <a:lnTo>
                  <a:pt x="2108" y="1535"/>
                </a:lnTo>
                <a:lnTo>
                  <a:pt x="2110" y="1539"/>
                </a:lnTo>
                <a:lnTo>
                  <a:pt x="2108" y="1540"/>
                </a:lnTo>
                <a:lnTo>
                  <a:pt x="2111" y="1540"/>
                </a:lnTo>
                <a:lnTo>
                  <a:pt x="2112" y="1540"/>
                </a:lnTo>
                <a:lnTo>
                  <a:pt x="2112" y="1544"/>
                </a:lnTo>
                <a:lnTo>
                  <a:pt x="2114" y="1543"/>
                </a:lnTo>
                <a:lnTo>
                  <a:pt x="2117" y="1544"/>
                </a:lnTo>
                <a:lnTo>
                  <a:pt x="2115" y="1548"/>
                </a:lnTo>
                <a:lnTo>
                  <a:pt x="2108" y="1549"/>
                </a:lnTo>
                <a:lnTo>
                  <a:pt x="2085" y="1563"/>
                </a:lnTo>
                <a:lnTo>
                  <a:pt x="2080" y="1566"/>
                </a:lnTo>
                <a:lnTo>
                  <a:pt x="2078" y="1569"/>
                </a:lnTo>
                <a:lnTo>
                  <a:pt x="2075" y="1566"/>
                </a:lnTo>
                <a:lnTo>
                  <a:pt x="2075" y="1569"/>
                </a:lnTo>
                <a:lnTo>
                  <a:pt x="2064" y="1574"/>
                </a:lnTo>
                <a:lnTo>
                  <a:pt x="2058" y="1580"/>
                </a:lnTo>
                <a:lnTo>
                  <a:pt x="2058" y="1589"/>
                </a:lnTo>
                <a:lnTo>
                  <a:pt x="2054" y="1601"/>
                </a:lnTo>
                <a:lnTo>
                  <a:pt x="2051" y="1601"/>
                </a:lnTo>
                <a:lnTo>
                  <a:pt x="2049" y="1599"/>
                </a:lnTo>
                <a:lnTo>
                  <a:pt x="2044" y="1601"/>
                </a:lnTo>
                <a:lnTo>
                  <a:pt x="2049" y="1601"/>
                </a:lnTo>
                <a:lnTo>
                  <a:pt x="2050" y="1602"/>
                </a:lnTo>
                <a:lnTo>
                  <a:pt x="2049" y="1605"/>
                </a:lnTo>
                <a:lnTo>
                  <a:pt x="2052" y="1606"/>
                </a:lnTo>
                <a:lnTo>
                  <a:pt x="2050" y="1614"/>
                </a:lnTo>
                <a:lnTo>
                  <a:pt x="2047" y="1615"/>
                </a:lnTo>
                <a:lnTo>
                  <a:pt x="2047" y="1619"/>
                </a:lnTo>
                <a:lnTo>
                  <a:pt x="2044" y="1619"/>
                </a:lnTo>
                <a:lnTo>
                  <a:pt x="2044" y="1620"/>
                </a:lnTo>
                <a:lnTo>
                  <a:pt x="2040" y="1625"/>
                </a:lnTo>
                <a:lnTo>
                  <a:pt x="2033" y="1625"/>
                </a:lnTo>
                <a:lnTo>
                  <a:pt x="2029" y="1627"/>
                </a:lnTo>
                <a:lnTo>
                  <a:pt x="2026" y="1627"/>
                </a:lnTo>
                <a:lnTo>
                  <a:pt x="2025" y="1628"/>
                </a:lnTo>
                <a:lnTo>
                  <a:pt x="2024" y="1632"/>
                </a:lnTo>
                <a:lnTo>
                  <a:pt x="2026" y="1632"/>
                </a:lnTo>
                <a:lnTo>
                  <a:pt x="2026" y="1628"/>
                </a:lnTo>
                <a:lnTo>
                  <a:pt x="2029" y="1628"/>
                </a:lnTo>
                <a:lnTo>
                  <a:pt x="2033" y="1627"/>
                </a:lnTo>
                <a:lnTo>
                  <a:pt x="2035" y="1627"/>
                </a:lnTo>
                <a:lnTo>
                  <a:pt x="2030" y="1628"/>
                </a:lnTo>
                <a:lnTo>
                  <a:pt x="2029" y="1632"/>
                </a:lnTo>
                <a:lnTo>
                  <a:pt x="2027" y="1633"/>
                </a:lnTo>
                <a:lnTo>
                  <a:pt x="2036" y="1628"/>
                </a:lnTo>
                <a:lnTo>
                  <a:pt x="2035" y="1633"/>
                </a:lnTo>
                <a:lnTo>
                  <a:pt x="2032" y="1638"/>
                </a:lnTo>
                <a:lnTo>
                  <a:pt x="2035" y="1636"/>
                </a:lnTo>
                <a:lnTo>
                  <a:pt x="2037" y="1633"/>
                </a:lnTo>
                <a:lnTo>
                  <a:pt x="2037" y="1636"/>
                </a:lnTo>
                <a:lnTo>
                  <a:pt x="2037" y="1638"/>
                </a:lnTo>
                <a:lnTo>
                  <a:pt x="2040" y="1638"/>
                </a:lnTo>
                <a:lnTo>
                  <a:pt x="2037" y="1642"/>
                </a:lnTo>
                <a:lnTo>
                  <a:pt x="2041" y="1640"/>
                </a:lnTo>
                <a:lnTo>
                  <a:pt x="2040" y="1642"/>
                </a:lnTo>
                <a:lnTo>
                  <a:pt x="2044" y="1643"/>
                </a:lnTo>
                <a:lnTo>
                  <a:pt x="2046" y="1645"/>
                </a:lnTo>
                <a:lnTo>
                  <a:pt x="2043" y="1647"/>
                </a:lnTo>
                <a:lnTo>
                  <a:pt x="2046" y="1647"/>
                </a:lnTo>
                <a:lnTo>
                  <a:pt x="2044" y="1651"/>
                </a:lnTo>
                <a:lnTo>
                  <a:pt x="2047" y="1658"/>
                </a:lnTo>
                <a:lnTo>
                  <a:pt x="2044" y="1663"/>
                </a:lnTo>
                <a:lnTo>
                  <a:pt x="2044" y="1664"/>
                </a:lnTo>
                <a:lnTo>
                  <a:pt x="2046" y="1663"/>
                </a:lnTo>
                <a:lnTo>
                  <a:pt x="2049" y="1660"/>
                </a:lnTo>
                <a:lnTo>
                  <a:pt x="2049" y="1651"/>
                </a:lnTo>
                <a:lnTo>
                  <a:pt x="2051" y="1651"/>
                </a:lnTo>
                <a:lnTo>
                  <a:pt x="2054" y="1651"/>
                </a:lnTo>
                <a:lnTo>
                  <a:pt x="2055" y="1655"/>
                </a:lnTo>
                <a:lnTo>
                  <a:pt x="2062" y="1655"/>
                </a:lnTo>
                <a:lnTo>
                  <a:pt x="2071" y="1651"/>
                </a:lnTo>
                <a:lnTo>
                  <a:pt x="2072" y="1651"/>
                </a:lnTo>
                <a:lnTo>
                  <a:pt x="2076" y="1651"/>
                </a:lnTo>
                <a:lnTo>
                  <a:pt x="2078" y="1655"/>
                </a:lnTo>
                <a:lnTo>
                  <a:pt x="2078" y="1651"/>
                </a:lnTo>
                <a:lnTo>
                  <a:pt x="2076" y="1651"/>
                </a:lnTo>
                <a:lnTo>
                  <a:pt x="2087" y="1651"/>
                </a:lnTo>
                <a:lnTo>
                  <a:pt x="2096" y="1651"/>
                </a:lnTo>
                <a:lnTo>
                  <a:pt x="2105" y="1651"/>
                </a:lnTo>
                <a:lnTo>
                  <a:pt x="2111" y="1651"/>
                </a:lnTo>
                <a:lnTo>
                  <a:pt x="2115" y="1651"/>
                </a:lnTo>
                <a:lnTo>
                  <a:pt x="2115" y="1655"/>
                </a:lnTo>
                <a:lnTo>
                  <a:pt x="2114" y="1656"/>
                </a:lnTo>
                <a:lnTo>
                  <a:pt x="2114" y="1664"/>
                </a:lnTo>
                <a:lnTo>
                  <a:pt x="2112" y="1668"/>
                </a:lnTo>
                <a:lnTo>
                  <a:pt x="2105" y="1669"/>
                </a:lnTo>
                <a:lnTo>
                  <a:pt x="2104" y="1669"/>
                </a:lnTo>
                <a:lnTo>
                  <a:pt x="2104" y="1668"/>
                </a:lnTo>
                <a:lnTo>
                  <a:pt x="2101" y="1668"/>
                </a:lnTo>
                <a:lnTo>
                  <a:pt x="2099" y="1669"/>
                </a:lnTo>
                <a:lnTo>
                  <a:pt x="2103" y="1669"/>
                </a:lnTo>
                <a:lnTo>
                  <a:pt x="2100" y="1682"/>
                </a:lnTo>
                <a:lnTo>
                  <a:pt x="2100" y="1686"/>
                </a:lnTo>
                <a:lnTo>
                  <a:pt x="2101" y="1690"/>
                </a:lnTo>
                <a:lnTo>
                  <a:pt x="2100" y="1692"/>
                </a:lnTo>
                <a:lnTo>
                  <a:pt x="2100" y="1695"/>
                </a:lnTo>
                <a:lnTo>
                  <a:pt x="2101" y="1698"/>
                </a:lnTo>
                <a:lnTo>
                  <a:pt x="2107" y="1700"/>
                </a:lnTo>
                <a:lnTo>
                  <a:pt x="2107" y="1703"/>
                </a:lnTo>
                <a:lnTo>
                  <a:pt x="2108" y="1705"/>
                </a:lnTo>
                <a:lnTo>
                  <a:pt x="2107" y="1705"/>
                </a:lnTo>
                <a:lnTo>
                  <a:pt x="2108" y="1705"/>
                </a:lnTo>
                <a:lnTo>
                  <a:pt x="2114" y="1722"/>
                </a:lnTo>
                <a:lnTo>
                  <a:pt x="2114" y="1726"/>
                </a:lnTo>
                <a:lnTo>
                  <a:pt x="2112" y="1727"/>
                </a:lnTo>
                <a:lnTo>
                  <a:pt x="2115" y="1727"/>
                </a:lnTo>
                <a:lnTo>
                  <a:pt x="2112" y="1727"/>
                </a:lnTo>
                <a:lnTo>
                  <a:pt x="2112" y="1731"/>
                </a:lnTo>
                <a:lnTo>
                  <a:pt x="2110" y="1731"/>
                </a:lnTo>
                <a:lnTo>
                  <a:pt x="2112" y="1734"/>
                </a:lnTo>
                <a:lnTo>
                  <a:pt x="2114" y="1731"/>
                </a:lnTo>
                <a:lnTo>
                  <a:pt x="2118" y="1730"/>
                </a:lnTo>
                <a:lnTo>
                  <a:pt x="2117" y="1731"/>
                </a:lnTo>
                <a:lnTo>
                  <a:pt x="2119" y="1735"/>
                </a:lnTo>
                <a:lnTo>
                  <a:pt x="2124" y="1737"/>
                </a:lnTo>
                <a:lnTo>
                  <a:pt x="2124" y="1739"/>
                </a:lnTo>
                <a:lnTo>
                  <a:pt x="2129" y="1740"/>
                </a:lnTo>
                <a:lnTo>
                  <a:pt x="2139" y="1740"/>
                </a:lnTo>
                <a:lnTo>
                  <a:pt x="2145" y="1738"/>
                </a:lnTo>
                <a:lnTo>
                  <a:pt x="2153" y="1744"/>
                </a:lnTo>
                <a:lnTo>
                  <a:pt x="2156" y="1754"/>
                </a:lnTo>
                <a:lnTo>
                  <a:pt x="2153" y="1765"/>
                </a:lnTo>
                <a:lnTo>
                  <a:pt x="2151" y="1763"/>
                </a:lnTo>
                <a:lnTo>
                  <a:pt x="2151" y="1757"/>
                </a:lnTo>
                <a:lnTo>
                  <a:pt x="2147" y="1762"/>
                </a:lnTo>
                <a:lnTo>
                  <a:pt x="2146" y="1762"/>
                </a:lnTo>
                <a:lnTo>
                  <a:pt x="2142" y="1754"/>
                </a:lnTo>
                <a:lnTo>
                  <a:pt x="2129" y="1752"/>
                </a:lnTo>
                <a:lnTo>
                  <a:pt x="2129" y="1750"/>
                </a:lnTo>
                <a:lnTo>
                  <a:pt x="2128" y="1748"/>
                </a:lnTo>
                <a:lnTo>
                  <a:pt x="2121" y="1748"/>
                </a:lnTo>
                <a:lnTo>
                  <a:pt x="2114" y="1754"/>
                </a:lnTo>
                <a:lnTo>
                  <a:pt x="2114" y="1772"/>
                </a:lnTo>
                <a:lnTo>
                  <a:pt x="2115" y="1780"/>
                </a:lnTo>
                <a:lnTo>
                  <a:pt x="2114" y="1784"/>
                </a:lnTo>
                <a:lnTo>
                  <a:pt x="2117" y="1784"/>
                </a:lnTo>
                <a:lnTo>
                  <a:pt x="2118" y="1792"/>
                </a:lnTo>
                <a:lnTo>
                  <a:pt x="2121" y="1793"/>
                </a:lnTo>
                <a:lnTo>
                  <a:pt x="2112" y="1802"/>
                </a:lnTo>
                <a:lnTo>
                  <a:pt x="2111" y="1806"/>
                </a:lnTo>
                <a:lnTo>
                  <a:pt x="2114" y="1810"/>
                </a:lnTo>
                <a:lnTo>
                  <a:pt x="2117" y="1812"/>
                </a:lnTo>
                <a:lnTo>
                  <a:pt x="2121" y="1812"/>
                </a:lnTo>
                <a:lnTo>
                  <a:pt x="2126" y="1815"/>
                </a:lnTo>
                <a:lnTo>
                  <a:pt x="2126" y="1829"/>
                </a:lnTo>
                <a:lnTo>
                  <a:pt x="2124" y="1829"/>
                </a:lnTo>
                <a:lnTo>
                  <a:pt x="2125" y="1829"/>
                </a:lnTo>
                <a:lnTo>
                  <a:pt x="2128" y="1827"/>
                </a:lnTo>
                <a:lnTo>
                  <a:pt x="2128" y="1825"/>
                </a:lnTo>
                <a:lnTo>
                  <a:pt x="2129" y="1821"/>
                </a:lnTo>
                <a:lnTo>
                  <a:pt x="2132" y="1821"/>
                </a:lnTo>
                <a:lnTo>
                  <a:pt x="2129" y="1821"/>
                </a:lnTo>
                <a:lnTo>
                  <a:pt x="2125" y="1807"/>
                </a:lnTo>
                <a:lnTo>
                  <a:pt x="2124" y="1807"/>
                </a:lnTo>
                <a:lnTo>
                  <a:pt x="2117" y="1807"/>
                </a:lnTo>
                <a:lnTo>
                  <a:pt x="2114" y="1807"/>
                </a:lnTo>
                <a:lnTo>
                  <a:pt x="2114" y="1806"/>
                </a:lnTo>
                <a:lnTo>
                  <a:pt x="2119" y="1802"/>
                </a:lnTo>
                <a:lnTo>
                  <a:pt x="2129" y="1801"/>
                </a:lnTo>
                <a:lnTo>
                  <a:pt x="2132" y="1797"/>
                </a:lnTo>
                <a:lnTo>
                  <a:pt x="2139" y="1793"/>
                </a:lnTo>
                <a:lnTo>
                  <a:pt x="2143" y="1793"/>
                </a:lnTo>
                <a:lnTo>
                  <a:pt x="2151" y="1802"/>
                </a:lnTo>
                <a:lnTo>
                  <a:pt x="2153" y="1812"/>
                </a:lnTo>
                <a:lnTo>
                  <a:pt x="2151" y="1815"/>
                </a:lnTo>
                <a:lnTo>
                  <a:pt x="2146" y="1815"/>
                </a:lnTo>
                <a:lnTo>
                  <a:pt x="2147" y="1815"/>
                </a:lnTo>
                <a:lnTo>
                  <a:pt x="2146" y="1821"/>
                </a:lnTo>
                <a:lnTo>
                  <a:pt x="2143" y="1829"/>
                </a:lnTo>
                <a:lnTo>
                  <a:pt x="2143" y="1832"/>
                </a:lnTo>
                <a:lnTo>
                  <a:pt x="2137" y="1838"/>
                </a:lnTo>
                <a:lnTo>
                  <a:pt x="2139" y="1838"/>
                </a:lnTo>
                <a:lnTo>
                  <a:pt x="2143" y="1837"/>
                </a:lnTo>
                <a:lnTo>
                  <a:pt x="2143" y="1841"/>
                </a:lnTo>
                <a:lnTo>
                  <a:pt x="2142" y="1842"/>
                </a:lnTo>
                <a:lnTo>
                  <a:pt x="2143" y="1842"/>
                </a:lnTo>
                <a:lnTo>
                  <a:pt x="2146" y="1838"/>
                </a:lnTo>
                <a:lnTo>
                  <a:pt x="2146" y="1832"/>
                </a:lnTo>
                <a:lnTo>
                  <a:pt x="2149" y="1829"/>
                </a:lnTo>
                <a:lnTo>
                  <a:pt x="2151" y="1829"/>
                </a:lnTo>
                <a:lnTo>
                  <a:pt x="2153" y="1832"/>
                </a:lnTo>
                <a:lnTo>
                  <a:pt x="2153" y="1842"/>
                </a:lnTo>
                <a:lnTo>
                  <a:pt x="2154" y="1834"/>
                </a:lnTo>
                <a:lnTo>
                  <a:pt x="2156" y="1834"/>
                </a:lnTo>
                <a:lnTo>
                  <a:pt x="2156" y="1829"/>
                </a:lnTo>
                <a:lnTo>
                  <a:pt x="2164" y="1825"/>
                </a:lnTo>
                <a:lnTo>
                  <a:pt x="2164" y="1838"/>
                </a:lnTo>
                <a:lnTo>
                  <a:pt x="2161" y="1847"/>
                </a:lnTo>
                <a:lnTo>
                  <a:pt x="2153" y="1866"/>
                </a:lnTo>
                <a:lnTo>
                  <a:pt x="2149" y="1869"/>
                </a:lnTo>
                <a:lnTo>
                  <a:pt x="2142" y="1873"/>
                </a:lnTo>
                <a:lnTo>
                  <a:pt x="2137" y="1873"/>
                </a:lnTo>
                <a:lnTo>
                  <a:pt x="2133" y="1876"/>
                </a:lnTo>
                <a:lnTo>
                  <a:pt x="2125" y="1881"/>
                </a:lnTo>
                <a:lnTo>
                  <a:pt x="2124" y="1881"/>
                </a:lnTo>
                <a:lnTo>
                  <a:pt x="2125" y="1879"/>
                </a:lnTo>
                <a:lnTo>
                  <a:pt x="2124" y="1876"/>
                </a:lnTo>
                <a:lnTo>
                  <a:pt x="2118" y="1872"/>
                </a:lnTo>
                <a:lnTo>
                  <a:pt x="2118" y="1866"/>
                </a:lnTo>
                <a:lnTo>
                  <a:pt x="2112" y="1860"/>
                </a:lnTo>
                <a:lnTo>
                  <a:pt x="2111" y="1856"/>
                </a:lnTo>
                <a:lnTo>
                  <a:pt x="2105" y="1855"/>
                </a:lnTo>
                <a:lnTo>
                  <a:pt x="2099" y="1843"/>
                </a:lnTo>
                <a:lnTo>
                  <a:pt x="2097" y="1850"/>
                </a:lnTo>
                <a:lnTo>
                  <a:pt x="2094" y="1850"/>
                </a:lnTo>
                <a:lnTo>
                  <a:pt x="2100" y="1851"/>
                </a:lnTo>
                <a:lnTo>
                  <a:pt x="2110" y="1864"/>
                </a:lnTo>
                <a:lnTo>
                  <a:pt x="2108" y="1868"/>
                </a:lnTo>
                <a:lnTo>
                  <a:pt x="2111" y="1869"/>
                </a:lnTo>
                <a:lnTo>
                  <a:pt x="2108" y="1873"/>
                </a:lnTo>
                <a:lnTo>
                  <a:pt x="2108" y="1876"/>
                </a:lnTo>
                <a:lnTo>
                  <a:pt x="2110" y="1877"/>
                </a:lnTo>
                <a:lnTo>
                  <a:pt x="2108" y="1883"/>
                </a:lnTo>
                <a:lnTo>
                  <a:pt x="2110" y="1883"/>
                </a:lnTo>
                <a:lnTo>
                  <a:pt x="2112" y="1885"/>
                </a:lnTo>
                <a:lnTo>
                  <a:pt x="2110" y="1891"/>
                </a:lnTo>
                <a:lnTo>
                  <a:pt x="2105" y="1892"/>
                </a:lnTo>
                <a:lnTo>
                  <a:pt x="2100" y="1898"/>
                </a:lnTo>
                <a:lnTo>
                  <a:pt x="2099" y="1896"/>
                </a:lnTo>
                <a:lnTo>
                  <a:pt x="2097" y="1892"/>
                </a:lnTo>
                <a:lnTo>
                  <a:pt x="2094" y="1894"/>
                </a:lnTo>
                <a:lnTo>
                  <a:pt x="2096" y="1896"/>
                </a:lnTo>
                <a:lnTo>
                  <a:pt x="2094" y="1896"/>
                </a:lnTo>
                <a:lnTo>
                  <a:pt x="2093" y="1896"/>
                </a:lnTo>
                <a:lnTo>
                  <a:pt x="2093" y="1901"/>
                </a:lnTo>
                <a:lnTo>
                  <a:pt x="2094" y="1904"/>
                </a:lnTo>
                <a:lnTo>
                  <a:pt x="2097" y="1904"/>
                </a:lnTo>
                <a:lnTo>
                  <a:pt x="2097" y="1905"/>
                </a:lnTo>
                <a:lnTo>
                  <a:pt x="2094" y="1914"/>
                </a:lnTo>
                <a:lnTo>
                  <a:pt x="2087" y="1928"/>
                </a:lnTo>
                <a:lnTo>
                  <a:pt x="2085" y="1931"/>
                </a:lnTo>
                <a:lnTo>
                  <a:pt x="2083" y="1945"/>
                </a:lnTo>
                <a:lnTo>
                  <a:pt x="2074" y="1958"/>
                </a:lnTo>
                <a:lnTo>
                  <a:pt x="2072" y="1966"/>
                </a:lnTo>
                <a:lnTo>
                  <a:pt x="2068" y="1972"/>
                </a:lnTo>
                <a:lnTo>
                  <a:pt x="2064" y="1971"/>
                </a:lnTo>
                <a:lnTo>
                  <a:pt x="2061" y="1967"/>
                </a:lnTo>
                <a:lnTo>
                  <a:pt x="2062" y="1966"/>
                </a:lnTo>
                <a:lnTo>
                  <a:pt x="2060" y="1958"/>
                </a:lnTo>
                <a:lnTo>
                  <a:pt x="2062" y="1956"/>
                </a:lnTo>
                <a:lnTo>
                  <a:pt x="2062" y="1943"/>
                </a:lnTo>
                <a:lnTo>
                  <a:pt x="2060" y="1937"/>
                </a:lnTo>
                <a:lnTo>
                  <a:pt x="2054" y="1935"/>
                </a:lnTo>
                <a:lnTo>
                  <a:pt x="2054" y="1934"/>
                </a:lnTo>
                <a:lnTo>
                  <a:pt x="2051" y="1931"/>
                </a:lnTo>
                <a:lnTo>
                  <a:pt x="2050" y="1931"/>
                </a:lnTo>
                <a:lnTo>
                  <a:pt x="2052" y="1934"/>
                </a:lnTo>
                <a:lnTo>
                  <a:pt x="2051" y="1935"/>
                </a:lnTo>
                <a:lnTo>
                  <a:pt x="2046" y="1934"/>
                </a:lnTo>
                <a:lnTo>
                  <a:pt x="2037" y="1934"/>
                </a:lnTo>
                <a:lnTo>
                  <a:pt x="2036" y="1935"/>
                </a:lnTo>
                <a:lnTo>
                  <a:pt x="2035" y="1934"/>
                </a:lnTo>
                <a:lnTo>
                  <a:pt x="2029" y="1935"/>
                </a:lnTo>
                <a:lnTo>
                  <a:pt x="2022" y="1939"/>
                </a:lnTo>
                <a:lnTo>
                  <a:pt x="2014" y="1945"/>
                </a:lnTo>
                <a:lnTo>
                  <a:pt x="2010" y="1950"/>
                </a:lnTo>
                <a:lnTo>
                  <a:pt x="2010" y="1953"/>
                </a:lnTo>
                <a:lnTo>
                  <a:pt x="2008" y="1953"/>
                </a:lnTo>
                <a:lnTo>
                  <a:pt x="2005" y="1956"/>
                </a:lnTo>
                <a:lnTo>
                  <a:pt x="2004" y="1954"/>
                </a:lnTo>
                <a:lnTo>
                  <a:pt x="2004" y="1958"/>
                </a:lnTo>
                <a:lnTo>
                  <a:pt x="2005" y="1958"/>
                </a:lnTo>
                <a:lnTo>
                  <a:pt x="2001" y="1958"/>
                </a:lnTo>
                <a:lnTo>
                  <a:pt x="2002" y="1958"/>
                </a:lnTo>
                <a:lnTo>
                  <a:pt x="2001" y="1963"/>
                </a:lnTo>
                <a:lnTo>
                  <a:pt x="1994" y="1961"/>
                </a:lnTo>
                <a:lnTo>
                  <a:pt x="1993" y="1958"/>
                </a:lnTo>
                <a:lnTo>
                  <a:pt x="1994" y="1954"/>
                </a:lnTo>
                <a:lnTo>
                  <a:pt x="1990" y="1954"/>
                </a:lnTo>
                <a:lnTo>
                  <a:pt x="1987" y="1954"/>
                </a:lnTo>
                <a:lnTo>
                  <a:pt x="1986" y="1958"/>
                </a:lnTo>
                <a:lnTo>
                  <a:pt x="1990" y="1954"/>
                </a:lnTo>
                <a:lnTo>
                  <a:pt x="1991" y="1956"/>
                </a:lnTo>
                <a:lnTo>
                  <a:pt x="1989" y="1958"/>
                </a:lnTo>
                <a:lnTo>
                  <a:pt x="1991" y="1967"/>
                </a:lnTo>
                <a:lnTo>
                  <a:pt x="1987" y="1966"/>
                </a:lnTo>
                <a:lnTo>
                  <a:pt x="1982" y="1967"/>
                </a:lnTo>
                <a:lnTo>
                  <a:pt x="1985" y="1967"/>
                </a:lnTo>
                <a:lnTo>
                  <a:pt x="1986" y="1967"/>
                </a:lnTo>
                <a:lnTo>
                  <a:pt x="1987" y="1967"/>
                </a:lnTo>
                <a:lnTo>
                  <a:pt x="1989" y="1967"/>
                </a:lnTo>
                <a:lnTo>
                  <a:pt x="1987" y="1971"/>
                </a:lnTo>
                <a:lnTo>
                  <a:pt x="1989" y="1972"/>
                </a:lnTo>
                <a:lnTo>
                  <a:pt x="1983" y="1985"/>
                </a:lnTo>
                <a:lnTo>
                  <a:pt x="1982" y="1993"/>
                </a:lnTo>
                <a:lnTo>
                  <a:pt x="1985" y="1995"/>
                </a:lnTo>
                <a:lnTo>
                  <a:pt x="1983" y="1998"/>
                </a:lnTo>
                <a:lnTo>
                  <a:pt x="1986" y="2001"/>
                </a:lnTo>
                <a:lnTo>
                  <a:pt x="1987" y="2006"/>
                </a:lnTo>
                <a:lnTo>
                  <a:pt x="1991" y="2008"/>
                </a:lnTo>
                <a:lnTo>
                  <a:pt x="1991" y="2012"/>
                </a:lnTo>
                <a:lnTo>
                  <a:pt x="2004" y="2023"/>
                </a:lnTo>
                <a:lnTo>
                  <a:pt x="2004" y="2025"/>
                </a:lnTo>
                <a:lnTo>
                  <a:pt x="2001" y="2025"/>
                </a:lnTo>
                <a:lnTo>
                  <a:pt x="2002" y="2025"/>
                </a:lnTo>
                <a:lnTo>
                  <a:pt x="2001" y="2028"/>
                </a:lnTo>
                <a:lnTo>
                  <a:pt x="2004" y="2028"/>
                </a:lnTo>
                <a:lnTo>
                  <a:pt x="2007" y="2033"/>
                </a:lnTo>
                <a:lnTo>
                  <a:pt x="2010" y="2037"/>
                </a:lnTo>
                <a:lnTo>
                  <a:pt x="2012" y="2041"/>
                </a:lnTo>
                <a:lnTo>
                  <a:pt x="2010" y="2041"/>
                </a:lnTo>
                <a:lnTo>
                  <a:pt x="2012" y="2043"/>
                </a:lnTo>
                <a:lnTo>
                  <a:pt x="2011" y="2043"/>
                </a:lnTo>
                <a:lnTo>
                  <a:pt x="2010" y="2047"/>
                </a:lnTo>
                <a:lnTo>
                  <a:pt x="2010" y="2050"/>
                </a:lnTo>
                <a:lnTo>
                  <a:pt x="2007" y="2051"/>
                </a:lnTo>
                <a:lnTo>
                  <a:pt x="2011" y="2051"/>
                </a:lnTo>
                <a:lnTo>
                  <a:pt x="2012" y="2051"/>
                </a:lnTo>
                <a:lnTo>
                  <a:pt x="2022" y="2050"/>
                </a:lnTo>
                <a:lnTo>
                  <a:pt x="2027" y="2050"/>
                </a:lnTo>
                <a:lnTo>
                  <a:pt x="2026" y="2057"/>
                </a:lnTo>
                <a:lnTo>
                  <a:pt x="2033" y="2060"/>
                </a:lnTo>
                <a:lnTo>
                  <a:pt x="2032" y="2059"/>
                </a:lnTo>
                <a:lnTo>
                  <a:pt x="2029" y="2057"/>
                </a:lnTo>
                <a:lnTo>
                  <a:pt x="2030" y="2051"/>
                </a:lnTo>
                <a:lnTo>
                  <a:pt x="2039" y="2055"/>
                </a:lnTo>
                <a:lnTo>
                  <a:pt x="2040" y="2051"/>
                </a:lnTo>
                <a:lnTo>
                  <a:pt x="2046" y="2055"/>
                </a:lnTo>
                <a:lnTo>
                  <a:pt x="2050" y="2051"/>
                </a:lnTo>
                <a:lnTo>
                  <a:pt x="2046" y="2057"/>
                </a:lnTo>
                <a:lnTo>
                  <a:pt x="2049" y="2063"/>
                </a:lnTo>
                <a:lnTo>
                  <a:pt x="2049" y="2070"/>
                </a:lnTo>
                <a:lnTo>
                  <a:pt x="2050" y="2066"/>
                </a:lnTo>
                <a:lnTo>
                  <a:pt x="2051" y="2065"/>
                </a:lnTo>
                <a:lnTo>
                  <a:pt x="2052" y="2066"/>
                </a:lnTo>
                <a:lnTo>
                  <a:pt x="2051" y="2070"/>
                </a:lnTo>
                <a:lnTo>
                  <a:pt x="2052" y="2070"/>
                </a:lnTo>
                <a:lnTo>
                  <a:pt x="2055" y="2066"/>
                </a:lnTo>
                <a:lnTo>
                  <a:pt x="2055" y="2060"/>
                </a:lnTo>
                <a:lnTo>
                  <a:pt x="2061" y="2057"/>
                </a:lnTo>
                <a:lnTo>
                  <a:pt x="2064" y="2057"/>
                </a:lnTo>
                <a:lnTo>
                  <a:pt x="2068" y="2051"/>
                </a:lnTo>
                <a:lnTo>
                  <a:pt x="2066" y="2047"/>
                </a:lnTo>
                <a:lnTo>
                  <a:pt x="2069" y="2043"/>
                </a:lnTo>
                <a:lnTo>
                  <a:pt x="2068" y="2043"/>
                </a:lnTo>
                <a:lnTo>
                  <a:pt x="2071" y="2034"/>
                </a:lnTo>
                <a:lnTo>
                  <a:pt x="2071" y="2030"/>
                </a:lnTo>
                <a:lnTo>
                  <a:pt x="2069" y="2030"/>
                </a:lnTo>
                <a:lnTo>
                  <a:pt x="2071" y="2028"/>
                </a:lnTo>
                <a:lnTo>
                  <a:pt x="2071" y="2025"/>
                </a:lnTo>
                <a:lnTo>
                  <a:pt x="2069" y="2016"/>
                </a:lnTo>
                <a:lnTo>
                  <a:pt x="2065" y="2012"/>
                </a:lnTo>
                <a:lnTo>
                  <a:pt x="2052" y="2003"/>
                </a:lnTo>
                <a:lnTo>
                  <a:pt x="2046" y="2003"/>
                </a:lnTo>
                <a:lnTo>
                  <a:pt x="2044" y="2001"/>
                </a:lnTo>
                <a:lnTo>
                  <a:pt x="2046" y="1998"/>
                </a:lnTo>
                <a:lnTo>
                  <a:pt x="2049" y="1997"/>
                </a:lnTo>
                <a:lnTo>
                  <a:pt x="2050" y="1995"/>
                </a:lnTo>
                <a:lnTo>
                  <a:pt x="2054" y="1995"/>
                </a:lnTo>
                <a:lnTo>
                  <a:pt x="2058" y="1989"/>
                </a:lnTo>
                <a:lnTo>
                  <a:pt x="2064" y="1989"/>
                </a:lnTo>
                <a:lnTo>
                  <a:pt x="2069" y="1993"/>
                </a:lnTo>
                <a:lnTo>
                  <a:pt x="2074" y="1997"/>
                </a:lnTo>
                <a:lnTo>
                  <a:pt x="2080" y="1998"/>
                </a:lnTo>
                <a:lnTo>
                  <a:pt x="2083" y="1998"/>
                </a:lnTo>
                <a:lnTo>
                  <a:pt x="2089" y="2003"/>
                </a:lnTo>
                <a:lnTo>
                  <a:pt x="2093" y="2006"/>
                </a:lnTo>
                <a:lnTo>
                  <a:pt x="2099" y="2006"/>
                </a:lnTo>
                <a:lnTo>
                  <a:pt x="2104" y="2003"/>
                </a:lnTo>
                <a:lnTo>
                  <a:pt x="2114" y="2001"/>
                </a:lnTo>
                <a:lnTo>
                  <a:pt x="2117" y="1998"/>
                </a:lnTo>
                <a:lnTo>
                  <a:pt x="2128" y="2003"/>
                </a:lnTo>
                <a:lnTo>
                  <a:pt x="2131" y="2008"/>
                </a:lnTo>
                <a:lnTo>
                  <a:pt x="2129" y="2021"/>
                </a:lnTo>
                <a:lnTo>
                  <a:pt x="2118" y="2051"/>
                </a:lnTo>
                <a:lnTo>
                  <a:pt x="2107" y="2070"/>
                </a:lnTo>
                <a:lnTo>
                  <a:pt x="2101" y="2091"/>
                </a:lnTo>
                <a:lnTo>
                  <a:pt x="2103" y="2102"/>
                </a:lnTo>
                <a:lnTo>
                  <a:pt x="2101" y="2109"/>
                </a:lnTo>
                <a:lnTo>
                  <a:pt x="2104" y="2124"/>
                </a:lnTo>
                <a:lnTo>
                  <a:pt x="2104" y="2132"/>
                </a:lnTo>
                <a:lnTo>
                  <a:pt x="2105" y="2137"/>
                </a:lnTo>
                <a:lnTo>
                  <a:pt x="2107" y="2141"/>
                </a:lnTo>
                <a:lnTo>
                  <a:pt x="2110" y="2149"/>
                </a:lnTo>
                <a:lnTo>
                  <a:pt x="2110" y="2170"/>
                </a:lnTo>
                <a:lnTo>
                  <a:pt x="2108" y="2189"/>
                </a:lnTo>
                <a:lnTo>
                  <a:pt x="2105" y="2203"/>
                </a:lnTo>
                <a:lnTo>
                  <a:pt x="2105" y="2211"/>
                </a:lnTo>
                <a:lnTo>
                  <a:pt x="2108" y="2221"/>
                </a:lnTo>
                <a:lnTo>
                  <a:pt x="2107" y="2231"/>
                </a:lnTo>
                <a:lnTo>
                  <a:pt x="2108" y="2234"/>
                </a:lnTo>
                <a:lnTo>
                  <a:pt x="2111" y="2248"/>
                </a:lnTo>
                <a:lnTo>
                  <a:pt x="2108" y="2261"/>
                </a:lnTo>
                <a:lnTo>
                  <a:pt x="2111" y="2273"/>
                </a:lnTo>
                <a:lnTo>
                  <a:pt x="2111" y="2283"/>
                </a:lnTo>
                <a:lnTo>
                  <a:pt x="2115" y="2286"/>
                </a:lnTo>
                <a:lnTo>
                  <a:pt x="2115" y="2289"/>
                </a:lnTo>
                <a:lnTo>
                  <a:pt x="2122" y="2296"/>
                </a:lnTo>
                <a:lnTo>
                  <a:pt x="2125" y="2302"/>
                </a:lnTo>
                <a:lnTo>
                  <a:pt x="2125" y="2309"/>
                </a:lnTo>
                <a:lnTo>
                  <a:pt x="2126" y="2315"/>
                </a:lnTo>
                <a:lnTo>
                  <a:pt x="2128" y="2321"/>
                </a:lnTo>
                <a:lnTo>
                  <a:pt x="2125" y="2341"/>
                </a:lnTo>
                <a:lnTo>
                  <a:pt x="2122" y="2351"/>
                </a:lnTo>
                <a:lnTo>
                  <a:pt x="2110" y="2357"/>
                </a:lnTo>
                <a:lnTo>
                  <a:pt x="2103" y="2364"/>
                </a:lnTo>
                <a:lnTo>
                  <a:pt x="2091" y="2385"/>
                </a:lnTo>
                <a:lnTo>
                  <a:pt x="2087" y="2399"/>
                </a:lnTo>
                <a:lnTo>
                  <a:pt x="2087" y="2407"/>
                </a:lnTo>
                <a:lnTo>
                  <a:pt x="2087" y="2412"/>
                </a:lnTo>
                <a:lnTo>
                  <a:pt x="2087" y="2415"/>
                </a:lnTo>
                <a:lnTo>
                  <a:pt x="2080" y="2431"/>
                </a:lnTo>
                <a:lnTo>
                  <a:pt x="2080" y="2439"/>
                </a:lnTo>
                <a:lnTo>
                  <a:pt x="2082" y="2439"/>
                </a:lnTo>
                <a:lnTo>
                  <a:pt x="2079" y="2439"/>
                </a:lnTo>
                <a:lnTo>
                  <a:pt x="2079" y="2437"/>
                </a:lnTo>
                <a:lnTo>
                  <a:pt x="2074" y="2437"/>
                </a:lnTo>
                <a:lnTo>
                  <a:pt x="2069" y="2444"/>
                </a:lnTo>
                <a:lnTo>
                  <a:pt x="2068" y="2444"/>
                </a:lnTo>
                <a:lnTo>
                  <a:pt x="2066" y="2444"/>
                </a:lnTo>
                <a:lnTo>
                  <a:pt x="2064" y="2444"/>
                </a:lnTo>
                <a:lnTo>
                  <a:pt x="2055" y="2443"/>
                </a:lnTo>
                <a:lnTo>
                  <a:pt x="2044" y="2451"/>
                </a:lnTo>
                <a:lnTo>
                  <a:pt x="2041" y="2451"/>
                </a:lnTo>
                <a:lnTo>
                  <a:pt x="2035" y="2444"/>
                </a:lnTo>
                <a:lnTo>
                  <a:pt x="2027" y="2444"/>
                </a:lnTo>
                <a:lnTo>
                  <a:pt x="2025" y="2439"/>
                </a:lnTo>
                <a:lnTo>
                  <a:pt x="2022" y="2435"/>
                </a:lnTo>
                <a:lnTo>
                  <a:pt x="2019" y="2430"/>
                </a:lnTo>
                <a:lnTo>
                  <a:pt x="2021" y="2422"/>
                </a:lnTo>
                <a:lnTo>
                  <a:pt x="2019" y="2412"/>
                </a:lnTo>
                <a:lnTo>
                  <a:pt x="2018" y="2408"/>
                </a:lnTo>
                <a:lnTo>
                  <a:pt x="2015" y="2407"/>
                </a:lnTo>
                <a:lnTo>
                  <a:pt x="2007" y="2407"/>
                </a:lnTo>
                <a:lnTo>
                  <a:pt x="2004" y="2403"/>
                </a:lnTo>
                <a:lnTo>
                  <a:pt x="1999" y="2399"/>
                </a:lnTo>
                <a:lnTo>
                  <a:pt x="1994" y="2395"/>
                </a:lnTo>
                <a:lnTo>
                  <a:pt x="1991" y="2395"/>
                </a:lnTo>
                <a:lnTo>
                  <a:pt x="1983" y="2399"/>
                </a:lnTo>
                <a:lnTo>
                  <a:pt x="1975" y="2398"/>
                </a:lnTo>
                <a:lnTo>
                  <a:pt x="1968" y="2399"/>
                </a:lnTo>
                <a:lnTo>
                  <a:pt x="1962" y="2399"/>
                </a:lnTo>
                <a:lnTo>
                  <a:pt x="1954" y="2395"/>
                </a:lnTo>
                <a:lnTo>
                  <a:pt x="1944" y="2395"/>
                </a:lnTo>
                <a:lnTo>
                  <a:pt x="1941" y="2398"/>
                </a:lnTo>
                <a:lnTo>
                  <a:pt x="1937" y="2398"/>
                </a:lnTo>
                <a:lnTo>
                  <a:pt x="1933" y="2399"/>
                </a:lnTo>
                <a:lnTo>
                  <a:pt x="1925" y="2403"/>
                </a:lnTo>
                <a:lnTo>
                  <a:pt x="1922" y="2407"/>
                </a:lnTo>
                <a:lnTo>
                  <a:pt x="1916" y="2408"/>
                </a:lnTo>
                <a:lnTo>
                  <a:pt x="1912" y="2411"/>
                </a:lnTo>
                <a:lnTo>
                  <a:pt x="1897" y="2403"/>
                </a:lnTo>
                <a:lnTo>
                  <a:pt x="1889" y="2408"/>
                </a:lnTo>
                <a:lnTo>
                  <a:pt x="1883" y="2415"/>
                </a:lnTo>
                <a:lnTo>
                  <a:pt x="1871" y="2418"/>
                </a:lnTo>
                <a:lnTo>
                  <a:pt x="1865" y="2416"/>
                </a:lnTo>
                <a:lnTo>
                  <a:pt x="1859" y="2420"/>
                </a:lnTo>
                <a:lnTo>
                  <a:pt x="1847" y="2420"/>
                </a:lnTo>
                <a:lnTo>
                  <a:pt x="1840" y="2426"/>
                </a:lnTo>
                <a:lnTo>
                  <a:pt x="1837" y="2431"/>
                </a:lnTo>
                <a:lnTo>
                  <a:pt x="1829" y="2431"/>
                </a:lnTo>
                <a:lnTo>
                  <a:pt x="1825" y="2426"/>
                </a:lnTo>
                <a:lnTo>
                  <a:pt x="1822" y="2420"/>
                </a:lnTo>
                <a:lnTo>
                  <a:pt x="1818" y="2416"/>
                </a:lnTo>
                <a:lnTo>
                  <a:pt x="1815" y="2412"/>
                </a:lnTo>
                <a:lnTo>
                  <a:pt x="1808" y="2412"/>
                </a:lnTo>
                <a:lnTo>
                  <a:pt x="1805" y="2403"/>
                </a:lnTo>
                <a:lnTo>
                  <a:pt x="1791" y="2402"/>
                </a:lnTo>
                <a:lnTo>
                  <a:pt x="1776" y="2403"/>
                </a:lnTo>
                <a:lnTo>
                  <a:pt x="1773" y="2399"/>
                </a:lnTo>
                <a:lnTo>
                  <a:pt x="1769" y="2390"/>
                </a:lnTo>
                <a:lnTo>
                  <a:pt x="1755" y="2389"/>
                </a:lnTo>
                <a:lnTo>
                  <a:pt x="1744" y="2389"/>
                </a:lnTo>
                <a:lnTo>
                  <a:pt x="1741" y="2390"/>
                </a:lnTo>
                <a:lnTo>
                  <a:pt x="1744" y="2395"/>
                </a:lnTo>
                <a:lnTo>
                  <a:pt x="1748" y="2403"/>
                </a:lnTo>
                <a:lnTo>
                  <a:pt x="1750" y="2408"/>
                </a:lnTo>
                <a:lnTo>
                  <a:pt x="1750" y="2412"/>
                </a:lnTo>
                <a:lnTo>
                  <a:pt x="1745" y="2416"/>
                </a:lnTo>
                <a:lnTo>
                  <a:pt x="1733" y="2416"/>
                </a:lnTo>
                <a:lnTo>
                  <a:pt x="1698" y="2430"/>
                </a:lnTo>
                <a:lnTo>
                  <a:pt x="1688" y="2431"/>
                </a:lnTo>
                <a:lnTo>
                  <a:pt x="1683" y="2435"/>
                </a:lnTo>
                <a:lnTo>
                  <a:pt x="1675" y="2437"/>
                </a:lnTo>
                <a:lnTo>
                  <a:pt x="1658" y="2439"/>
                </a:lnTo>
                <a:lnTo>
                  <a:pt x="1658" y="2444"/>
                </a:lnTo>
                <a:lnTo>
                  <a:pt x="1658" y="2453"/>
                </a:lnTo>
                <a:lnTo>
                  <a:pt x="1651" y="2465"/>
                </a:lnTo>
                <a:lnTo>
                  <a:pt x="1648" y="2466"/>
                </a:lnTo>
                <a:lnTo>
                  <a:pt x="1642" y="2480"/>
                </a:lnTo>
                <a:lnTo>
                  <a:pt x="1626" y="2489"/>
                </a:lnTo>
                <a:lnTo>
                  <a:pt x="1622" y="2492"/>
                </a:lnTo>
                <a:lnTo>
                  <a:pt x="1617" y="2492"/>
                </a:lnTo>
                <a:lnTo>
                  <a:pt x="1615" y="2493"/>
                </a:lnTo>
                <a:lnTo>
                  <a:pt x="1603" y="2501"/>
                </a:lnTo>
                <a:lnTo>
                  <a:pt x="1602" y="2509"/>
                </a:lnTo>
                <a:lnTo>
                  <a:pt x="1606" y="2511"/>
                </a:lnTo>
                <a:lnTo>
                  <a:pt x="1603" y="2518"/>
                </a:lnTo>
                <a:lnTo>
                  <a:pt x="1595" y="2527"/>
                </a:lnTo>
                <a:lnTo>
                  <a:pt x="1592" y="2527"/>
                </a:lnTo>
                <a:lnTo>
                  <a:pt x="1584" y="2542"/>
                </a:lnTo>
                <a:lnTo>
                  <a:pt x="1577" y="2545"/>
                </a:lnTo>
                <a:lnTo>
                  <a:pt x="1573" y="2551"/>
                </a:lnTo>
                <a:lnTo>
                  <a:pt x="1569" y="2555"/>
                </a:lnTo>
                <a:lnTo>
                  <a:pt x="1563" y="2557"/>
                </a:lnTo>
                <a:lnTo>
                  <a:pt x="1560" y="2559"/>
                </a:lnTo>
                <a:lnTo>
                  <a:pt x="1553" y="2564"/>
                </a:lnTo>
                <a:lnTo>
                  <a:pt x="1549" y="2568"/>
                </a:lnTo>
                <a:lnTo>
                  <a:pt x="1548" y="2572"/>
                </a:lnTo>
                <a:lnTo>
                  <a:pt x="1544" y="2576"/>
                </a:lnTo>
                <a:lnTo>
                  <a:pt x="1528" y="2576"/>
                </a:lnTo>
                <a:lnTo>
                  <a:pt x="1523" y="2573"/>
                </a:lnTo>
                <a:lnTo>
                  <a:pt x="1520" y="2573"/>
                </a:lnTo>
                <a:lnTo>
                  <a:pt x="1512" y="2577"/>
                </a:lnTo>
                <a:lnTo>
                  <a:pt x="1509" y="2577"/>
                </a:lnTo>
                <a:lnTo>
                  <a:pt x="1505" y="2573"/>
                </a:lnTo>
                <a:lnTo>
                  <a:pt x="1499" y="2576"/>
                </a:lnTo>
                <a:lnTo>
                  <a:pt x="1492" y="2573"/>
                </a:lnTo>
                <a:lnTo>
                  <a:pt x="1488" y="2576"/>
                </a:lnTo>
                <a:lnTo>
                  <a:pt x="1477" y="2568"/>
                </a:lnTo>
                <a:lnTo>
                  <a:pt x="1473" y="2568"/>
                </a:lnTo>
                <a:lnTo>
                  <a:pt x="1467" y="2564"/>
                </a:lnTo>
                <a:lnTo>
                  <a:pt x="1460" y="2562"/>
                </a:lnTo>
                <a:lnTo>
                  <a:pt x="1455" y="2564"/>
                </a:lnTo>
                <a:lnTo>
                  <a:pt x="1453" y="2572"/>
                </a:lnTo>
                <a:lnTo>
                  <a:pt x="1443" y="2577"/>
                </a:lnTo>
                <a:lnTo>
                  <a:pt x="1434" y="2580"/>
                </a:lnTo>
                <a:lnTo>
                  <a:pt x="1430" y="2586"/>
                </a:lnTo>
                <a:lnTo>
                  <a:pt x="1420" y="2594"/>
                </a:lnTo>
                <a:lnTo>
                  <a:pt x="1401" y="2598"/>
                </a:lnTo>
                <a:lnTo>
                  <a:pt x="1396" y="2602"/>
                </a:lnTo>
                <a:lnTo>
                  <a:pt x="1395" y="2607"/>
                </a:lnTo>
                <a:lnTo>
                  <a:pt x="1390" y="2609"/>
                </a:lnTo>
                <a:lnTo>
                  <a:pt x="1387" y="2612"/>
                </a:lnTo>
                <a:lnTo>
                  <a:pt x="1382" y="2617"/>
                </a:lnTo>
                <a:lnTo>
                  <a:pt x="1377" y="2618"/>
                </a:lnTo>
                <a:lnTo>
                  <a:pt x="1373" y="2615"/>
                </a:lnTo>
                <a:lnTo>
                  <a:pt x="1367" y="2618"/>
                </a:lnTo>
                <a:lnTo>
                  <a:pt x="1359" y="2617"/>
                </a:lnTo>
                <a:lnTo>
                  <a:pt x="1355" y="2618"/>
                </a:lnTo>
                <a:lnTo>
                  <a:pt x="1352" y="2621"/>
                </a:lnTo>
                <a:lnTo>
                  <a:pt x="1346" y="2622"/>
                </a:lnTo>
                <a:lnTo>
                  <a:pt x="1338" y="2618"/>
                </a:lnTo>
                <a:lnTo>
                  <a:pt x="1334" y="2618"/>
                </a:lnTo>
                <a:lnTo>
                  <a:pt x="1330" y="2622"/>
                </a:lnTo>
                <a:lnTo>
                  <a:pt x="1328" y="2622"/>
                </a:lnTo>
                <a:lnTo>
                  <a:pt x="1324" y="2626"/>
                </a:lnTo>
                <a:lnTo>
                  <a:pt x="1323" y="2630"/>
                </a:lnTo>
                <a:lnTo>
                  <a:pt x="1318" y="2634"/>
                </a:lnTo>
                <a:lnTo>
                  <a:pt x="1309" y="2634"/>
                </a:lnTo>
                <a:lnTo>
                  <a:pt x="1307" y="2634"/>
                </a:lnTo>
                <a:lnTo>
                  <a:pt x="1306" y="2638"/>
                </a:lnTo>
                <a:lnTo>
                  <a:pt x="1298" y="2638"/>
                </a:lnTo>
                <a:lnTo>
                  <a:pt x="1291" y="2635"/>
                </a:lnTo>
                <a:lnTo>
                  <a:pt x="1286" y="2638"/>
                </a:lnTo>
                <a:lnTo>
                  <a:pt x="1284" y="2638"/>
                </a:lnTo>
                <a:lnTo>
                  <a:pt x="1281" y="2639"/>
                </a:lnTo>
                <a:lnTo>
                  <a:pt x="1273" y="2640"/>
                </a:lnTo>
                <a:lnTo>
                  <a:pt x="1270" y="2640"/>
                </a:lnTo>
                <a:lnTo>
                  <a:pt x="1270" y="2644"/>
                </a:lnTo>
                <a:lnTo>
                  <a:pt x="1267" y="2644"/>
                </a:lnTo>
                <a:lnTo>
                  <a:pt x="1266" y="2648"/>
                </a:lnTo>
                <a:lnTo>
                  <a:pt x="1256" y="2652"/>
                </a:lnTo>
                <a:lnTo>
                  <a:pt x="1256" y="2656"/>
                </a:lnTo>
                <a:lnTo>
                  <a:pt x="1253" y="2656"/>
                </a:lnTo>
                <a:lnTo>
                  <a:pt x="1242" y="2661"/>
                </a:lnTo>
                <a:lnTo>
                  <a:pt x="1236" y="2667"/>
                </a:lnTo>
                <a:lnTo>
                  <a:pt x="1235" y="2679"/>
                </a:lnTo>
                <a:lnTo>
                  <a:pt x="1232" y="2686"/>
                </a:lnTo>
                <a:lnTo>
                  <a:pt x="1228" y="2689"/>
                </a:lnTo>
                <a:lnTo>
                  <a:pt x="1228" y="2693"/>
                </a:lnTo>
                <a:lnTo>
                  <a:pt x="1221" y="2696"/>
                </a:lnTo>
                <a:lnTo>
                  <a:pt x="1218" y="2701"/>
                </a:lnTo>
                <a:lnTo>
                  <a:pt x="1210" y="2705"/>
                </a:lnTo>
                <a:lnTo>
                  <a:pt x="1208" y="2706"/>
                </a:lnTo>
                <a:lnTo>
                  <a:pt x="1208" y="2710"/>
                </a:lnTo>
                <a:lnTo>
                  <a:pt x="1205" y="2714"/>
                </a:lnTo>
                <a:lnTo>
                  <a:pt x="1196" y="2714"/>
                </a:lnTo>
                <a:lnTo>
                  <a:pt x="1189" y="2710"/>
                </a:lnTo>
                <a:lnTo>
                  <a:pt x="1182" y="2711"/>
                </a:lnTo>
                <a:lnTo>
                  <a:pt x="1180" y="2714"/>
                </a:lnTo>
                <a:lnTo>
                  <a:pt x="1171" y="2716"/>
                </a:lnTo>
                <a:lnTo>
                  <a:pt x="1167" y="2714"/>
                </a:lnTo>
                <a:lnTo>
                  <a:pt x="1161" y="2716"/>
                </a:lnTo>
                <a:lnTo>
                  <a:pt x="1158" y="2716"/>
                </a:lnTo>
                <a:lnTo>
                  <a:pt x="1157" y="2722"/>
                </a:lnTo>
                <a:lnTo>
                  <a:pt x="1150" y="2722"/>
                </a:lnTo>
                <a:lnTo>
                  <a:pt x="1147" y="2725"/>
                </a:lnTo>
                <a:lnTo>
                  <a:pt x="1142" y="2725"/>
                </a:lnTo>
                <a:lnTo>
                  <a:pt x="1138" y="2727"/>
                </a:lnTo>
                <a:lnTo>
                  <a:pt x="1136" y="2738"/>
                </a:lnTo>
                <a:lnTo>
                  <a:pt x="1133" y="2742"/>
                </a:lnTo>
                <a:lnTo>
                  <a:pt x="1127" y="2742"/>
                </a:lnTo>
                <a:lnTo>
                  <a:pt x="1121" y="2747"/>
                </a:lnTo>
                <a:lnTo>
                  <a:pt x="1114" y="2747"/>
                </a:lnTo>
                <a:lnTo>
                  <a:pt x="1113" y="2750"/>
                </a:lnTo>
                <a:lnTo>
                  <a:pt x="1110" y="2747"/>
                </a:lnTo>
                <a:lnTo>
                  <a:pt x="1106" y="2751"/>
                </a:lnTo>
                <a:lnTo>
                  <a:pt x="1096" y="2754"/>
                </a:lnTo>
                <a:lnTo>
                  <a:pt x="1089" y="2751"/>
                </a:lnTo>
                <a:lnTo>
                  <a:pt x="1085" y="2754"/>
                </a:lnTo>
                <a:lnTo>
                  <a:pt x="1078" y="2758"/>
                </a:lnTo>
                <a:lnTo>
                  <a:pt x="1077" y="2763"/>
                </a:lnTo>
                <a:lnTo>
                  <a:pt x="1072" y="2768"/>
                </a:lnTo>
                <a:lnTo>
                  <a:pt x="1066" y="2770"/>
                </a:lnTo>
                <a:lnTo>
                  <a:pt x="1061" y="2772"/>
                </a:lnTo>
                <a:lnTo>
                  <a:pt x="1056" y="2772"/>
                </a:lnTo>
                <a:lnTo>
                  <a:pt x="1052" y="2773"/>
                </a:lnTo>
                <a:lnTo>
                  <a:pt x="1050" y="2781"/>
                </a:lnTo>
                <a:lnTo>
                  <a:pt x="1047" y="2783"/>
                </a:lnTo>
                <a:lnTo>
                  <a:pt x="1043" y="2785"/>
                </a:lnTo>
                <a:lnTo>
                  <a:pt x="1038" y="2789"/>
                </a:lnTo>
                <a:lnTo>
                  <a:pt x="1022" y="2793"/>
                </a:lnTo>
                <a:lnTo>
                  <a:pt x="1018" y="2798"/>
                </a:lnTo>
                <a:lnTo>
                  <a:pt x="1008" y="2804"/>
                </a:lnTo>
                <a:lnTo>
                  <a:pt x="1003" y="2800"/>
                </a:lnTo>
                <a:lnTo>
                  <a:pt x="1000" y="2796"/>
                </a:lnTo>
                <a:lnTo>
                  <a:pt x="996" y="2793"/>
                </a:lnTo>
                <a:lnTo>
                  <a:pt x="985" y="2789"/>
                </a:lnTo>
                <a:lnTo>
                  <a:pt x="979" y="2783"/>
                </a:lnTo>
                <a:lnTo>
                  <a:pt x="971" y="2783"/>
                </a:lnTo>
                <a:lnTo>
                  <a:pt x="961" y="2789"/>
                </a:lnTo>
                <a:lnTo>
                  <a:pt x="953" y="2791"/>
                </a:lnTo>
                <a:lnTo>
                  <a:pt x="947" y="2795"/>
                </a:lnTo>
                <a:lnTo>
                  <a:pt x="939" y="2800"/>
                </a:lnTo>
                <a:lnTo>
                  <a:pt x="934" y="2803"/>
                </a:lnTo>
                <a:lnTo>
                  <a:pt x="925" y="2805"/>
                </a:lnTo>
                <a:lnTo>
                  <a:pt x="923" y="2809"/>
                </a:lnTo>
                <a:lnTo>
                  <a:pt x="923" y="2817"/>
                </a:lnTo>
                <a:lnTo>
                  <a:pt x="919" y="2822"/>
                </a:lnTo>
                <a:lnTo>
                  <a:pt x="906" y="2831"/>
                </a:lnTo>
                <a:lnTo>
                  <a:pt x="890" y="2845"/>
                </a:lnTo>
                <a:lnTo>
                  <a:pt x="879" y="2847"/>
                </a:lnTo>
                <a:lnTo>
                  <a:pt x="873" y="2845"/>
                </a:lnTo>
                <a:lnTo>
                  <a:pt x="865" y="2845"/>
                </a:lnTo>
                <a:lnTo>
                  <a:pt x="861" y="2843"/>
                </a:lnTo>
                <a:lnTo>
                  <a:pt x="853" y="2845"/>
                </a:lnTo>
                <a:lnTo>
                  <a:pt x="848" y="2845"/>
                </a:lnTo>
                <a:lnTo>
                  <a:pt x="840" y="2848"/>
                </a:lnTo>
                <a:lnTo>
                  <a:pt x="832" y="2851"/>
                </a:lnTo>
                <a:lnTo>
                  <a:pt x="829" y="2856"/>
                </a:lnTo>
                <a:lnTo>
                  <a:pt x="819" y="2862"/>
                </a:lnTo>
                <a:lnTo>
                  <a:pt x="815" y="2867"/>
                </a:lnTo>
                <a:lnTo>
                  <a:pt x="809" y="2871"/>
                </a:lnTo>
                <a:lnTo>
                  <a:pt x="800" y="2871"/>
                </a:lnTo>
                <a:lnTo>
                  <a:pt x="775" y="2884"/>
                </a:lnTo>
                <a:lnTo>
                  <a:pt x="767" y="2887"/>
                </a:lnTo>
                <a:lnTo>
                  <a:pt x="758" y="2890"/>
                </a:lnTo>
                <a:lnTo>
                  <a:pt x="750" y="2893"/>
                </a:lnTo>
                <a:lnTo>
                  <a:pt x="743" y="2903"/>
                </a:lnTo>
                <a:lnTo>
                  <a:pt x="737" y="2909"/>
                </a:lnTo>
                <a:lnTo>
                  <a:pt x="729" y="2912"/>
                </a:lnTo>
                <a:lnTo>
                  <a:pt x="722" y="2920"/>
                </a:lnTo>
                <a:lnTo>
                  <a:pt x="715" y="2922"/>
                </a:lnTo>
                <a:lnTo>
                  <a:pt x="711" y="2924"/>
                </a:lnTo>
                <a:lnTo>
                  <a:pt x="701" y="2929"/>
                </a:lnTo>
                <a:lnTo>
                  <a:pt x="697" y="2929"/>
                </a:lnTo>
                <a:lnTo>
                  <a:pt x="693" y="2925"/>
                </a:lnTo>
                <a:lnTo>
                  <a:pt x="688" y="2918"/>
                </a:lnTo>
                <a:lnTo>
                  <a:pt x="684" y="2918"/>
                </a:lnTo>
                <a:lnTo>
                  <a:pt x="669" y="2929"/>
                </a:lnTo>
                <a:lnTo>
                  <a:pt x="662" y="2933"/>
                </a:lnTo>
                <a:lnTo>
                  <a:pt x="657" y="2934"/>
                </a:lnTo>
                <a:lnTo>
                  <a:pt x="640" y="2942"/>
                </a:lnTo>
                <a:lnTo>
                  <a:pt x="634" y="2947"/>
                </a:lnTo>
                <a:lnTo>
                  <a:pt x="629" y="2957"/>
                </a:lnTo>
                <a:lnTo>
                  <a:pt x="627" y="2958"/>
                </a:lnTo>
                <a:lnTo>
                  <a:pt x="622" y="2959"/>
                </a:lnTo>
                <a:lnTo>
                  <a:pt x="613" y="2955"/>
                </a:lnTo>
                <a:lnTo>
                  <a:pt x="607" y="2957"/>
                </a:lnTo>
                <a:lnTo>
                  <a:pt x="596" y="2947"/>
                </a:lnTo>
                <a:lnTo>
                  <a:pt x="583" y="2946"/>
                </a:lnTo>
                <a:lnTo>
                  <a:pt x="577" y="2947"/>
                </a:lnTo>
                <a:lnTo>
                  <a:pt x="572" y="2951"/>
                </a:lnTo>
                <a:lnTo>
                  <a:pt x="569" y="2951"/>
                </a:lnTo>
                <a:lnTo>
                  <a:pt x="565" y="2955"/>
                </a:lnTo>
                <a:lnTo>
                  <a:pt x="555" y="2955"/>
                </a:lnTo>
                <a:lnTo>
                  <a:pt x="551" y="2958"/>
                </a:lnTo>
                <a:lnTo>
                  <a:pt x="549" y="2957"/>
                </a:lnTo>
                <a:lnTo>
                  <a:pt x="547" y="2958"/>
                </a:lnTo>
                <a:lnTo>
                  <a:pt x="536" y="2965"/>
                </a:lnTo>
                <a:lnTo>
                  <a:pt x="530" y="2965"/>
                </a:lnTo>
                <a:lnTo>
                  <a:pt x="529" y="2965"/>
                </a:lnTo>
                <a:lnTo>
                  <a:pt x="523" y="2958"/>
                </a:lnTo>
                <a:lnTo>
                  <a:pt x="511" y="2957"/>
                </a:lnTo>
                <a:lnTo>
                  <a:pt x="499" y="2951"/>
                </a:lnTo>
                <a:lnTo>
                  <a:pt x="488" y="2957"/>
                </a:lnTo>
                <a:lnTo>
                  <a:pt x="481" y="2957"/>
                </a:lnTo>
                <a:lnTo>
                  <a:pt x="476" y="2963"/>
                </a:lnTo>
                <a:lnTo>
                  <a:pt x="473" y="2963"/>
                </a:lnTo>
                <a:lnTo>
                  <a:pt x="462" y="2959"/>
                </a:lnTo>
                <a:lnTo>
                  <a:pt x="454" y="2954"/>
                </a:lnTo>
                <a:lnTo>
                  <a:pt x="449" y="2951"/>
                </a:lnTo>
                <a:lnTo>
                  <a:pt x="445" y="2945"/>
                </a:lnTo>
                <a:lnTo>
                  <a:pt x="441" y="2942"/>
                </a:lnTo>
                <a:lnTo>
                  <a:pt x="434" y="2938"/>
                </a:lnTo>
                <a:lnTo>
                  <a:pt x="413" y="2934"/>
                </a:lnTo>
                <a:lnTo>
                  <a:pt x="406" y="2929"/>
                </a:lnTo>
                <a:lnTo>
                  <a:pt x="402" y="2929"/>
                </a:lnTo>
                <a:lnTo>
                  <a:pt x="399" y="2929"/>
                </a:lnTo>
                <a:lnTo>
                  <a:pt x="394" y="2934"/>
                </a:lnTo>
                <a:lnTo>
                  <a:pt x="374" y="2937"/>
                </a:lnTo>
                <a:lnTo>
                  <a:pt x="370" y="2937"/>
                </a:lnTo>
                <a:lnTo>
                  <a:pt x="367" y="2934"/>
                </a:lnTo>
                <a:lnTo>
                  <a:pt x="366" y="2932"/>
                </a:lnTo>
                <a:lnTo>
                  <a:pt x="363" y="2925"/>
                </a:lnTo>
                <a:lnTo>
                  <a:pt x="358" y="2920"/>
                </a:lnTo>
                <a:lnTo>
                  <a:pt x="356" y="2920"/>
                </a:lnTo>
                <a:lnTo>
                  <a:pt x="348" y="2922"/>
                </a:lnTo>
                <a:lnTo>
                  <a:pt x="342" y="2920"/>
                </a:lnTo>
                <a:lnTo>
                  <a:pt x="341" y="2916"/>
                </a:lnTo>
                <a:lnTo>
                  <a:pt x="341" y="2907"/>
                </a:lnTo>
                <a:lnTo>
                  <a:pt x="328" y="2890"/>
                </a:lnTo>
                <a:lnTo>
                  <a:pt x="330" y="2883"/>
                </a:lnTo>
                <a:lnTo>
                  <a:pt x="328" y="2880"/>
                </a:lnTo>
                <a:lnTo>
                  <a:pt x="323" y="2884"/>
                </a:lnTo>
                <a:lnTo>
                  <a:pt x="320" y="2884"/>
                </a:lnTo>
                <a:lnTo>
                  <a:pt x="320" y="2880"/>
                </a:lnTo>
                <a:lnTo>
                  <a:pt x="316" y="2876"/>
                </a:lnTo>
                <a:lnTo>
                  <a:pt x="319" y="2875"/>
                </a:lnTo>
                <a:lnTo>
                  <a:pt x="317" y="2873"/>
                </a:lnTo>
                <a:lnTo>
                  <a:pt x="313" y="2875"/>
                </a:lnTo>
                <a:lnTo>
                  <a:pt x="310" y="2871"/>
                </a:lnTo>
                <a:lnTo>
                  <a:pt x="308" y="2867"/>
                </a:lnTo>
                <a:lnTo>
                  <a:pt x="308" y="2865"/>
                </a:lnTo>
                <a:lnTo>
                  <a:pt x="303" y="2865"/>
                </a:lnTo>
                <a:lnTo>
                  <a:pt x="298" y="2858"/>
                </a:lnTo>
                <a:lnTo>
                  <a:pt x="297" y="2854"/>
                </a:lnTo>
                <a:lnTo>
                  <a:pt x="297" y="2853"/>
                </a:lnTo>
                <a:lnTo>
                  <a:pt x="287" y="2845"/>
                </a:lnTo>
                <a:lnTo>
                  <a:pt x="285" y="2840"/>
                </a:lnTo>
                <a:lnTo>
                  <a:pt x="280" y="2838"/>
                </a:lnTo>
                <a:lnTo>
                  <a:pt x="275" y="2831"/>
                </a:lnTo>
                <a:lnTo>
                  <a:pt x="275" y="2830"/>
                </a:lnTo>
                <a:lnTo>
                  <a:pt x="281" y="2817"/>
                </a:lnTo>
                <a:lnTo>
                  <a:pt x="284" y="2816"/>
                </a:lnTo>
                <a:lnTo>
                  <a:pt x="281" y="2813"/>
                </a:lnTo>
                <a:lnTo>
                  <a:pt x="281" y="2812"/>
                </a:lnTo>
                <a:lnTo>
                  <a:pt x="280" y="2809"/>
                </a:lnTo>
                <a:lnTo>
                  <a:pt x="277" y="2804"/>
                </a:lnTo>
                <a:lnTo>
                  <a:pt x="273" y="2804"/>
                </a:lnTo>
                <a:lnTo>
                  <a:pt x="273" y="2800"/>
                </a:lnTo>
                <a:lnTo>
                  <a:pt x="275" y="2800"/>
                </a:lnTo>
                <a:lnTo>
                  <a:pt x="274" y="2791"/>
                </a:lnTo>
                <a:lnTo>
                  <a:pt x="267" y="2785"/>
                </a:lnTo>
                <a:lnTo>
                  <a:pt x="264" y="2786"/>
                </a:lnTo>
                <a:lnTo>
                  <a:pt x="259" y="2783"/>
                </a:lnTo>
                <a:lnTo>
                  <a:pt x="259" y="2780"/>
                </a:lnTo>
                <a:lnTo>
                  <a:pt x="258" y="2773"/>
                </a:lnTo>
                <a:lnTo>
                  <a:pt x="259" y="2772"/>
                </a:lnTo>
                <a:lnTo>
                  <a:pt x="260" y="2767"/>
                </a:lnTo>
                <a:lnTo>
                  <a:pt x="259" y="2764"/>
                </a:lnTo>
                <a:lnTo>
                  <a:pt x="258" y="2759"/>
                </a:lnTo>
                <a:lnTo>
                  <a:pt x="253" y="2758"/>
                </a:lnTo>
                <a:lnTo>
                  <a:pt x="252" y="2751"/>
                </a:lnTo>
                <a:lnTo>
                  <a:pt x="252" y="2747"/>
                </a:lnTo>
                <a:lnTo>
                  <a:pt x="245" y="2742"/>
                </a:lnTo>
                <a:lnTo>
                  <a:pt x="244" y="2734"/>
                </a:lnTo>
                <a:lnTo>
                  <a:pt x="237" y="2729"/>
                </a:lnTo>
                <a:lnTo>
                  <a:pt x="235" y="2723"/>
                </a:lnTo>
                <a:lnTo>
                  <a:pt x="233" y="2723"/>
                </a:lnTo>
                <a:lnTo>
                  <a:pt x="225" y="2716"/>
                </a:lnTo>
                <a:lnTo>
                  <a:pt x="222" y="2711"/>
                </a:lnTo>
                <a:lnTo>
                  <a:pt x="223" y="2709"/>
                </a:lnTo>
                <a:lnTo>
                  <a:pt x="220" y="2706"/>
                </a:lnTo>
                <a:lnTo>
                  <a:pt x="220" y="2705"/>
                </a:lnTo>
                <a:lnTo>
                  <a:pt x="222" y="2701"/>
                </a:lnTo>
                <a:lnTo>
                  <a:pt x="223" y="2701"/>
                </a:lnTo>
                <a:lnTo>
                  <a:pt x="217" y="2699"/>
                </a:lnTo>
                <a:lnTo>
                  <a:pt x="216" y="2697"/>
                </a:lnTo>
                <a:lnTo>
                  <a:pt x="212" y="2696"/>
                </a:lnTo>
                <a:lnTo>
                  <a:pt x="210" y="2693"/>
                </a:lnTo>
                <a:lnTo>
                  <a:pt x="212" y="2689"/>
                </a:lnTo>
                <a:lnTo>
                  <a:pt x="212" y="2686"/>
                </a:lnTo>
                <a:lnTo>
                  <a:pt x="213" y="2676"/>
                </a:lnTo>
                <a:lnTo>
                  <a:pt x="208" y="2673"/>
                </a:lnTo>
                <a:lnTo>
                  <a:pt x="206" y="2671"/>
                </a:lnTo>
                <a:lnTo>
                  <a:pt x="203" y="2669"/>
                </a:lnTo>
                <a:lnTo>
                  <a:pt x="203" y="2667"/>
                </a:lnTo>
                <a:lnTo>
                  <a:pt x="196" y="2661"/>
                </a:lnTo>
                <a:lnTo>
                  <a:pt x="196" y="2656"/>
                </a:lnTo>
                <a:lnTo>
                  <a:pt x="196" y="2654"/>
                </a:lnTo>
                <a:lnTo>
                  <a:pt x="189" y="2648"/>
                </a:lnTo>
                <a:lnTo>
                  <a:pt x="185" y="2651"/>
                </a:lnTo>
                <a:lnTo>
                  <a:pt x="187" y="2639"/>
                </a:lnTo>
                <a:lnTo>
                  <a:pt x="185" y="2635"/>
                </a:lnTo>
                <a:lnTo>
                  <a:pt x="180" y="2634"/>
                </a:lnTo>
                <a:lnTo>
                  <a:pt x="180" y="2629"/>
                </a:lnTo>
                <a:lnTo>
                  <a:pt x="181" y="2622"/>
                </a:lnTo>
                <a:lnTo>
                  <a:pt x="181" y="2612"/>
                </a:lnTo>
                <a:lnTo>
                  <a:pt x="184" y="2609"/>
                </a:lnTo>
                <a:lnTo>
                  <a:pt x="184" y="2599"/>
                </a:lnTo>
                <a:lnTo>
                  <a:pt x="187" y="2593"/>
                </a:lnTo>
                <a:lnTo>
                  <a:pt x="185" y="2582"/>
                </a:lnTo>
                <a:lnTo>
                  <a:pt x="187" y="2581"/>
                </a:lnTo>
                <a:lnTo>
                  <a:pt x="189" y="2576"/>
                </a:lnTo>
                <a:lnTo>
                  <a:pt x="188" y="2572"/>
                </a:lnTo>
                <a:lnTo>
                  <a:pt x="181" y="2568"/>
                </a:lnTo>
                <a:lnTo>
                  <a:pt x="177" y="2568"/>
                </a:lnTo>
                <a:lnTo>
                  <a:pt x="175" y="2564"/>
                </a:lnTo>
                <a:lnTo>
                  <a:pt x="175" y="2560"/>
                </a:lnTo>
                <a:lnTo>
                  <a:pt x="173" y="2555"/>
                </a:lnTo>
                <a:lnTo>
                  <a:pt x="171" y="2551"/>
                </a:lnTo>
                <a:lnTo>
                  <a:pt x="167" y="2549"/>
                </a:lnTo>
                <a:lnTo>
                  <a:pt x="168" y="2542"/>
                </a:lnTo>
                <a:lnTo>
                  <a:pt x="167" y="2536"/>
                </a:lnTo>
                <a:lnTo>
                  <a:pt x="171" y="2509"/>
                </a:lnTo>
                <a:lnTo>
                  <a:pt x="170" y="2506"/>
                </a:lnTo>
                <a:lnTo>
                  <a:pt x="167" y="2505"/>
                </a:lnTo>
                <a:lnTo>
                  <a:pt x="164" y="2487"/>
                </a:lnTo>
                <a:lnTo>
                  <a:pt x="166" y="2470"/>
                </a:lnTo>
                <a:lnTo>
                  <a:pt x="159" y="2461"/>
                </a:lnTo>
                <a:lnTo>
                  <a:pt x="159" y="2457"/>
                </a:lnTo>
                <a:lnTo>
                  <a:pt x="157" y="2452"/>
                </a:lnTo>
                <a:lnTo>
                  <a:pt x="153" y="2448"/>
                </a:lnTo>
                <a:lnTo>
                  <a:pt x="142" y="2443"/>
                </a:lnTo>
                <a:lnTo>
                  <a:pt x="139" y="2443"/>
                </a:lnTo>
                <a:lnTo>
                  <a:pt x="138" y="2437"/>
                </a:lnTo>
                <a:lnTo>
                  <a:pt x="135" y="2430"/>
                </a:lnTo>
                <a:lnTo>
                  <a:pt x="134" y="2426"/>
                </a:lnTo>
                <a:lnTo>
                  <a:pt x="113" y="2431"/>
                </a:lnTo>
                <a:lnTo>
                  <a:pt x="100" y="2437"/>
                </a:lnTo>
                <a:lnTo>
                  <a:pt x="79" y="2364"/>
                </a:lnTo>
                <a:lnTo>
                  <a:pt x="84" y="2360"/>
                </a:lnTo>
                <a:lnTo>
                  <a:pt x="85" y="2354"/>
                </a:lnTo>
                <a:lnTo>
                  <a:pt x="90" y="2351"/>
                </a:lnTo>
                <a:lnTo>
                  <a:pt x="99" y="2341"/>
                </a:lnTo>
                <a:lnTo>
                  <a:pt x="115" y="2332"/>
                </a:lnTo>
                <a:lnTo>
                  <a:pt x="120" y="2327"/>
                </a:lnTo>
                <a:lnTo>
                  <a:pt x="124" y="2327"/>
                </a:lnTo>
                <a:lnTo>
                  <a:pt x="124" y="2323"/>
                </a:lnTo>
                <a:lnTo>
                  <a:pt x="127" y="2315"/>
                </a:lnTo>
                <a:lnTo>
                  <a:pt x="131" y="2315"/>
                </a:lnTo>
                <a:lnTo>
                  <a:pt x="137" y="2318"/>
                </a:lnTo>
                <a:lnTo>
                  <a:pt x="149" y="2315"/>
                </a:lnTo>
                <a:lnTo>
                  <a:pt x="160" y="2315"/>
                </a:lnTo>
                <a:lnTo>
                  <a:pt x="167" y="2309"/>
                </a:lnTo>
                <a:lnTo>
                  <a:pt x="170" y="2308"/>
                </a:lnTo>
                <a:lnTo>
                  <a:pt x="168" y="2302"/>
                </a:lnTo>
                <a:lnTo>
                  <a:pt x="170" y="2301"/>
                </a:lnTo>
                <a:lnTo>
                  <a:pt x="178" y="2291"/>
                </a:lnTo>
                <a:lnTo>
                  <a:pt x="181" y="2289"/>
                </a:lnTo>
                <a:lnTo>
                  <a:pt x="182" y="2286"/>
                </a:lnTo>
                <a:lnTo>
                  <a:pt x="187" y="2283"/>
                </a:lnTo>
                <a:lnTo>
                  <a:pt x="189" y="2279"/>
                </a:lnTo>
                <a:lnTo>
                  <a:pt x="194" y="2274"/>
                </a:lnTo>
                <a:lnTo>
                  <a:pt x="195" y="2273"/>
                </a:lnTo>
                <a:lnTo>
                  <a:pt x="196" y="2273"/>
                </a:lnTo>
                <a:lnTo>
                  <a:pt x="199" y="2270"/>
                </a:lnTo>
                <a:lnTo>
                  <a:pt x="196" y="2270"/>
                </a:lnTo>
                <a:lnTo>
                  <a:pt x="196" y="2266"/>
                </a:lnTo>
                <a:lnTo>
                  <a:pt x="192" y="2266"/>
                </a:lnTo>
                <a:lnTo>
                  <a:pt x="191" y="2265"/>
                </a:lnTo>
                <a:lnTo>
                  <a:pt x="194" y="2261"/>
                </a:lnTo>
                <a:lnTo>
                  <a:pt x="192" y="2256"/>
                </a:lnTo>
                <a:lnTo>
                  <a:pt x="196" y="2253"/>
                </a:lnTo>
                <a:lnTo>
                  <a:pt x="195" y="2252"/>
                </a:lnTo>
                <a:lnTo>
                  <a:pt x="191" y="2253"/>
                </a:lnTo>
                <a:lnTo>
                  <a:pt x="189" y="2252"/>
                </a:lnTo>
                <a:lnTo>
                  <a:pt x="192" y="2248"/>
                </a:lnTo>
                <a:lnTo>
                  <a:pt x="192" y="2244"/>
                </a:lnTo>
                <a:lnTo>
                  <a:pt x="194" y="2239"/>
                </a:lnTo>
                <a:lnTo>
                  <a:pt x="196" y="2239"/>
                </a:lnTo>
                <a:lnTo>
                  <a:pt x="195" y="2234"/>
                </a:lnTo>
                <a:lnTo>
                  <a:pt x="196" y="2234"/>
                </a:lnTo>
                <a:lnTo>
                  <a:pt x="196" y="2231"/>
                </a:lnTo>
                <a:lnTo>
                  <a:pt x="200" y="2231"/>
                </a:lnTo>
                <a:lnTo>
                  <a:pt x="202" y="2231"/>
                </a:lnTo>
                <a:lnTo>
                  <a:pt x="203" y="2225"/>
                </a:lnTo>
                <a:lnTo>
                  <a:pt x="202" y="2221"/>
                </a:lnTo>
                <a:lnTo>
                  <a:pt x="205" y="2221"/>
                </a:lnTo>
                <a:lnTo>
                  <a:pt x="205" y="2217"/>
                </a:lnTo>
                <a:lnTo>
                  <a:pt x="208" y="2217"/>
                </a:lnTo>
                <a:lnTo>
                  <a:pt x="208" y="2216"/>
                </a:lnTo>
                <a:lnTo>
                  <a:pt x="208" y="2215"/>
                </a:lnTo>
                <a:lnTo>
                  <a:pt x="209" y="2212"/>
                </a:lnTo>
                <a:lnTo>
                  <a:pt x="212" y="2208"/>
                </a:lnTo>
                <a:lnTo>
                  <a:pt x="212" y="2207"/>
                </a:lnTo>
                <a:lnTo>
                  <a:pt x="210" y="2203"/>
                </a:lnTo>
                <a:lnTo>
                  <a:pt x="210" y="2195"/>
                </a:lnTo>
                <a:lnTo>
                  <a:pt x="213" y="2194"/>
                </a:lnTo>
                <a:lnTo>
                  <a:pt x="212" y="2190"/>
                </a:lnTo>
                <a:lnTo>
                  <a:pt x="214" y="2189"/>
                </a:lnTo>
                <a:lnTo>
                  <a:pt x="214" y="2186"/>
                </a:lnTo>
                <a:lnTo>
                  <a:pt x="217" y="2184"/>
                </a:lnTo>
                <a:lnTo>
                  <a:pt x="217" y="2180"/>
                </a:lnTo>
                <a:lnTo>
                  <a:pt x="219" y="2180"/>
                </a:lnTo>
                <a:lnTo>
                  <a:pt x="219" y="2177"/>
                </a:lnTo>
                <a:lnTo>
                  <a:pt x="217" y="2172"/>
                </a:lnTo>
                <a:lnTo>
                  <a:pt x="222" y="2172"/>
                </a:lnTo>
                <a:lnTo>
                  <a:pt x="223" y="2171"/>
                </a:lnTo>
                <a:lnTo>
                  <a:pt x="225" y="2167"/>
                </a:lnTo>
                <a:lnTo>
                  <a:pt x="225" y="2166"/>
                </a:lnTo>
                <a:lnTo>
                  <a:pt x="228" y="2159"/>
                </a:lnTo>
                <a:lnTo>
                  <a:pt x="225" y="2154"/>
                </a:lnTo>
                <a:lnTo>
                  <a:pt x="227" y="2145"/>
                </a:lnTo>
                <a:lnTo>
                  <a:pt x="225" y="2145"/>
                </a:lnTo>
                <a:lnTo>
                  <a:pt x="224" y="2145"/>
                </a:lnTo>
                <a:lnTo>
                  <a:pt x="224" y="2141"/>
                </a:lnTo>
                <a:lnTo>
                  <a:pt x="222" y="2135"/>
                </a:lnTo>
                <a:lnTo>
                  <a:pt x="222" y="2134"/>
                </a:lnTo>
                <a:lnTo>
                  <a:pt x="224" y="2134"/>
                </a:lnTo>
                <a:lnTo>
                  <a:pt x="224" y="2132"/>
                </a:lnTo>
                <a:lnTo>
                  <a:pt x="222" y="2128"/>
                </a:lnTo>
                <a:lnTo>
                  <a:pt x="222" y="2127"/>
                </a:lnTo>
                <a:lnTo>
                  <a:pt x="220" y="2127"/>
                </a:lnTo>
                <a:lnTo>
                  <a:pt x="220" y="2124"/>
                </a:lnTo>
                <a:lnTo>
                  <a:pt x="209" y="2121"/>
                </a:lnTo>
                <a:lnTo>
                  <a:pt x="202" y="2119"/>
                </a:lnTo>
                <a:lnTo>
                  <a:pt x="200" y="2119"/>
                </a:lnTo>
                <a:lnTo>
                  <a:pt x="198" y="2122"/>
                </a:lnTo>
                <a:lnTo>
                  <a:pt x="195" y="2124"/>
                </a:lnTo>
                <a:lnTo>
                  <a:pt x="189" y="2122"/>
                </a:lnTo>
                <a:lnTo>
                  <a:pt x="182" y="2124"/>
                </a:lnTo>
                <a:lnTo>
                  <a:pt x="175" y="2128"/>
                </a:lnTo>
                <a:lnTo>
                  <a:pt x="170" y="2137"/>
                </a:lnTo>
                <a:lnTo>
                  <a:pt x="159" y="2141"/>
                </a:lnTo>
                <a:lnTo>
                  <a:pt x="149" y="2141"/>
                </a:lnTo>
                <a:lnTo>
                  <a:pt x="148" y="2140"/>
                </a:lnTo>
                <a:lnTo>
                  <a:pt x="142" y="2141"/>
                </a:lnTo>
                <a:lnTo>
                  <a:pt x="127" y="2134"/>
                </a:lnTo>
                <a:lnTo>
                  <a:pt x="121" y="2132"/>
                </a:lnTo>
                <a:lnTo>
                  <a:pt x="120" y="2132"/>
                </a:lnTo>
                <a:lnTo>
                  <a:pt x="113" y="2132"/>
                </a:lnTo>
                <a:lnTo>
                  <a:pt x="110" y="2128"/>
                </a:lnTo>
                <a:lnTo>
                  <a:pt x="109" y="2124"/>
                </a:lnTo>
                <a:lnTo>
                  <a:pt x="103" y="2124"/>
                </a:lnTo>
                <a:lnTo>
                  <a:pt x="103" y="2119"/>
                </a:lnTo>
                <a:lnTo>
                  <a:pt x="99" y="2115"/>
                </a:lnTo>
                <a:lnTo>
                  <a:pt x="85" y="2113"/>
                </a:lnTo>
                <a:lnTo>
                  <a:pt x="81" y="2109"/>
                </a:lnTo>
                <a:lnTo>
                  <a:pt x="78" y="2108"/>
                </a:lnTo>
                <a:lnTo>
                  <a:pt x="71" y="2105"/>
                </a:lnTo>
                <a:lnTo>
                  <a:pt x="65" y="2108"/>
                </a:lnTo>
                <a:lnTo>
                  <a:pt x="63" y="2105"/>
                </a:lnTo>
                <a:lnTo>
                  <a:pt x="53" y="2102"/>
                </a:lnTo>
                <a:lnTo>
                  <a:pt x="50" y="2100"/>
                </a:lnTo>
                <a:lnTo>
                  <a:pt x="45" y="2102"/>
                </a:lnTo>
                <a:lnTo>
                  <a:pt x="37" y="2099"/>
                </a:lnTo>
                <a:lnTo>
                  <a:pt x="14" y="2074"/>
                </a:lnTo>
                <a:lnTo>
                  <a:pt x="2" y="2066"/>
                </a:lnTo>
                <a:lnTo>
                  <a:pt x="0" y="2060"/>
                </a:lnTo>
                <a:lnTo>
                  <a:pt x="3" y="2051"/>
                </a:lnTo>
                <a:lnTo>
                  <a:pt x="6" y="2050"/>
                </a:lnTo>
                <a:lnTo>
                  <a:pt x="17" y="2037"/>
                </a:lnTo>
                <a:lnTo>
                  <a:pt x="23" y="2037"/>
                </a:lnTo>
                <a:lnTo>
                  <a:pt x="28" y="2030"/>
                </a:lnTo>
                <a:lnTo>
                  <a:pt x="37" y="2025"/>
                </a:lnTo>
                <a:lnTo>
                  <a:pt x="40" y="2021"/>
                </a:lnTo>
                <a:lnTo>
                  <a:pt x="45" y="2012"/>
                </a:lnTo>
                <a:lnTo>
                  <a:pt x="49" y="2010"/>
                </a:lnTo>
                <a:lnTo>
                  <a:pt x="49" y="2006"/>
                </a:lnTo>
                <a:lnTo>
                  <a:pt x="48" y="2001"/>
                </a:lnTo>
                <a:lnTo>
                  <a:pt x="49" y="1998"/>
                </a:lnTo>
                <a:lnTo>
                  <a:pt x="48" y="1995"/>
                </a:lnTo>
                <a:lnTo>
                  <a:pt x="48" y="1989"/>
                </a:lnTo>
                <a:lnTo>
                  <a:pt x="46" y="1988"/>
                </a:lnTo>
                <a:lnTo>
                  <a:pt x="50" y="1980"/>
                </a:lnTo>
                <a:lnTo>
                  <a:pt x="52" y="1976"/>
                </a:lnTo>
                <a:lnTo>
                  <a:pt x="54" y="1972"/>
                </a:lnTo>
                <a:lnTo>
                  <a:pt x="56" y="1967"/>
                </a:lnTo>
                <a:lnTo>
                  <a:pt x="59" y="1966"/>
                </a:lnTo>
                <a:lnTo>
                  <a:pt x="60" y="1958"/>
                </a:lnTo>
                <a:lnTo>
                  <a:pt x="73" y="1945"/>
                </a:lnTo>
                <a:lnTo>
                  <a:pt x="73" y="1941"/>
                </a:lnTo>
                <a:lnTo>
                  <a:pt x="71" y="1937"/>
                </a:lnTo>
                <a:lnTo>
                  <a:pt x="67" y="1935"/>
                </a:lnTo>
                <a:lnTo>
                  <a:pt x="67" y="1930"/>
                </a:lnTo>
                <a:lnTo>
                  <a:pt x="71" y="1928"/>
                </a:lnTo>
                <a:lnTo>
                  <a:pt x="73" y="1922"/>
                </a:lnTo>
                <a:lnTo>
                  <a:pt x="77" y="1918"/>
                </a:lnTo>
                <a:lnTo>
                  <a:pt x="81" y="1909"/>
                </a:lnTo>
                <a:lnTo>
                  <a:pt x="87" y="1904"/>
                </a:lnTo>
                <a:lnTo>
                  <a:pt x="87" y="1898"/>
                </a:lnTo>
                <a:lnTo>
                  <a:pt x="82" y="1896"/>
                </a:lnTo>
                <a:lnTo>
                  <a:pt x="81" y="1891"/>
                </a:lnTo>
                <a:lnTo>
                  <a:pt x="74" y="1892"/>
                </a:lnTo>
                <a:lnTo>
                  <a:pt x="71" y="1883"/>
                </a:lnTo>
                <a:lnTo>
                  <a:pt x="71" y="1881"/>
                </a:lnTo>
                <a:lnTo>
                  <a:pt x="74" y="1877"/>
                </a:lnTo>
                <a:lnTo>
                  <a:pt x="78" y="1873"/>
                </a:lnTo>
                <a:lnTo>
                  <a:pt x="77" y="1866"/>
                </a:lnTo>
                <a:lnTo>
                  <a:pt x="79" y="1863"/>
                </a:lnTo>
                <a:lnTo>
                  <a:pt x="82" y="1856"/>
                </a:lnTo>
                <a:lnTo>
                  <a:pt x="88" y="1847"/>
                </a:lnTo>
                <a:lnTo>
                  <a:pt x="88" y="1843"/>
                </a:lnTo>
                <a:lnTo>
                  <a:pt x="88" y="1838"/>
                </a:lnTo>
                <a:lnTo>
                  <a:pt x="84" y="1834"/>
                </a:lnTo>
                <a:lnTo>
                  <a:pt x="82" y="1829"/>
                </a:lnTo>
                <a:lnTo>
                  <a:pt x="82" y="1825"/>
                </a:lnTo>
                <a:lnTo>
                  <a:pt x="77" y="1815"/>
                </a:lnTo>
                <a:lnTo>
                  <a:pt x="78" y="1815"/>
                </a:lnTo>
                <a:lnTo>
                  <a:pt x="81" y="1812"/>
                </a:lnTo>
                <a:lnTo>
                  <a:pt x="78" y="1802"/>
                </a:lnTo>
                <a:lnTo>
                  <a:pt x="79" y="1798"/>
                </a:lnTo>
                <a:lnTo>
                  <a:pt x="81" y="1797"/>
                </a:lnTo>
                <a:lnTo>
                  <a:pt x="79" y="1793"/>
                </a:lnTo>
                <a:lnTo>
                  <a:pt x="82" y="1789"/>
                </a:lnTo>
                <a:lnTo>
                  <a:pt x="81" y="1785"/>
                </a:lnTo>
                <a:lnTo>
                  <a:pt x="84" y="1779"/>
                </a:lnTo>
                <a:lnTo>
                  <a:pt x="82" y="1776"/>
                </a:lnTo>
                <a:lnTo>
                  <a:pt x="81" y="1767"/>
                </a:lnTo>
                <a:lnTo>
                  <a:pt x="77" y="1763"/>
                </a:lnTo>
                <a:lnTo>
                  <a:pt x="77" y="1760"/>
                </a:lnTo>
                <a:lnTo>
                  <a:pt x="75" y="1757"/>
                </a:lnTo>
                <a:lnTo>
                  <a:pt x="74" y="1756"/>
                </a:lnTo>
                <a:lnTo>
                  <a:pt x="73" y="1757"/>
                </a:lnTo>
                <a:lnTo>
                  <a:pt x="68" y="1756"/>
                </a:lnTo>
                <a:lnTo>
                  <a:pt x="70" y="1752"/>
                </a:lnTo>
                <a:lnTo>
                  <a:pt x="70" y="1750"/>
                </a:lnTo>
                <a:lnTo>
                  <a:pt x="71" y="1748"/>
                </a:lnTo>
                <a:lnTo>
                  <a:pt x="70" y="1744"/>
                </a:lnTo>
                <a:lnTo>
                  <a:pt x="73" y="1734"/>
                </a:lnTo>
                <a:lnTo>
                  <a:pt x="71" y="1731"/>
                </a:lnTo>
                <a:lnTo>
                  <a:pt x="73" y="1730"/>
                </a:lnTo>
                <a:lnTo>
                  <a:pt x="73" y="1727"/>
                </a:lnTo>
                <a:lnTo>
                  <a:pt x="75" y="1722"/>
                </a:lnTo>
                <a:lnTo>
                  <a:pt x="77" y="1715"/>
                </a:lnTo>
                <a:lnTo>
                  <a:pt x="79" y="1714"/>
                </a:lnTo>
                <a:lnTo>
                  <a:pt x="78" y="1709"/>
                </a:lnTo>
                <a:lnTo>
                  <a:pt x="84" y="1705"/>
                </a:lnTo>
                <a:lnTo>
                  <a:pt x="87" y="1700"/>
                </a:lnTo>
                <a:lnTo>
                  <a:pt x="89" y="1698"/>
                </a:lnTo>
                <a:lnTo>
                  <a:pt x="90" y="1695"/>
                </a:lnTo>
                <a:lnTo>
                  <a:pt x="92" y="1692"/>
                </a:lnTo>
                <a:lnTo>
                  <a:pt x="89" y="1690"/>
                </a:lnTo>
                <a:lnTo>
                  <a:pt x="85" y="1682"/>
                </a:lnTo>
                <a:lnTo>
                  <a:pt x="88" y="1676"/>
                </a:lnTo>
                <a:lnTo>
                  <a:pt x="88" y="1668"/>
                </a:lnTo>
                <a:lnTo>
                  <a:pt x="90" y="1664"/>
                </a:lnTo>
                <a:lnTo>
                  <a:pt x="93" y="1664"/>
                </a:lnTo>
                <a:lnTo>
                  <a:pt x="96" y="1663"/>
                </a:lnTo>
                <a:lnTo>
                  <a:pt x="100" y="1656"/>
                </a:lnTo>
                <a:lnTo>
                  <a:pt x="104" y="1651"/>
                </a:lnTo>
                <a:lnTo>
                  <a:pt x="102" y="1647"/>
                </a:lnTo>
                <a:lnTo>
                  <a:pt x="109" y="1642"/>
                </a:lnTo>
                <a:lnTo>
                  <a:pt x="110" y="1632"/>
                </a:lnTo>
                <a:lnTo>
                  <a:pt x="114" y="1628"/>
                </a:lnTo>
                <a:lnTo>
                  <a:pt x="113" y="1627"/>
                </a:lnTo>
                <a:lnTo>
                  <a:pt x="115" y="1623"/>
                </a:lnTo>
                <a:lnTo>
                  <a:pt x="115" y="1614"/>
                </a:lnTo>
                <a:lnTo>
                  <a:pt x="114" y="1610"/>
                </a:lnTo>
                <a:lnTo>
                  <a:pt x="112" y="1611"/>
                </a:lnTo>
                <a:lnTo>
                  <a:pt x="112" y="1607"/>
                </a:lnTo>
                <a:lnTo>
                  <a:pt x="109" y="1607"/>
                </a:lnTo>
                <a:lnTo>
                  <a:pt x="110" y="1601"/>
                </a:lnTo>
                <a:lnTo>
                  <a:pt x="107" y="1601"/>
                </a:lnTo>
                <a:lnTo>
                  <a:pt x="107" y="1597"/>
                </a:lnTo>
                <a:lnTo>
                  <a:pt x="113" y="1593"/>
                </a:lnTo>
                <a:lnTo>
                  <a:pt x="115" y="1588"/>
                </a:lnTo>
                <a:lnTo>
                  <a:pt x="115" y="1585"/>
                </a:lnTo>
                <a:lnTo>
                  <a:pt x="118" y="1580"/>
                </a:lnTo>
                <a:lnTo>
                  <a:pt x="117" y="1576"/>
                </a:lnTo>
                <a:lnTo>
                  <a:pt x="118" y="1570"/>
                </a:lnTo>
                <a:lnTo>
                  <a:pt x="127" y="1569"/>
                </a:lnTo>
                <a:lnTo>
                  <a:pt x="129" y="1566"/>
                </a:lnTo>
                <a:lnTo>
                  <a:pt x="137" y="1565"/>
                </a:lnTo>
                <a:lnTo>
                  <a:pt x="142" y="1557"/>
                </a:lnTo>
                <a:lnTo>
                  <a:pt x="150" y="1552"/>
                </a:lnTo>
                <a:lnTo>
                  <a:pt x="149" y="1549"/>
                </a:lnTo>
                <a:lnTo>
                  <a:pt x="152" y="1546"/>
                </a:lnTo>
                <a:lnTo>
                  <a:pt x="156" y="1543"/>
                </a:lnTo>
                <a:lnTo>
                  <a:pt x="159" y="1535"/>
                </a:lnTo>
                <a:lnTo>
                  <a:pt x="167" y="1533"/>
                </a:lnTo>
                <a:lnTo>
                  <a:pt x="173" y="1529"/>
                </a:lnTo>
                <a:lnTo>
                  <a:pt x="175" y="1529"/>
                </a:lnTo>
                <a:lnTo>
                  <a:pt x="180" y="1521"/>
                </a:lnTo>
                <a:lnTo>
                  <a:pt x="182" y="1521"/>
                </a:lnTo>
                <a:lnTo>
                  <a:pt x="188" y="1518"/>
                </a:lnTo>
                <a:lnTo>
                  <a:pt x="188" y="1514"/>
                </a:lnTo>
                <a:lnTo>
                  <a:pt x="191" y="1512"/>
                </a:lnTo>
                <a:lnTo>
                  <a:pt x="194" y="1504"/>
                </a:lnTo>
                <a:lnTo>
                  <a:pt x="202" y="1499"/>
                </a:lnTo>
                <a:lnTo>
                  <a:pt x="206" y="1495"/>
                </a:lnTo>
                <a:lnTo>
                  <a:pt x="209" y="1486"/>
                </a:lnTo>
                <a:lnTo>
                  <a:pt x="216" y="1481"/>
                </a:lnTo>
                <a:lnTo>
                  <a:pt x="216" y="1478"/>
                </a:lnTo>
                <a:lnTo>
                  <a:pt x="213" y="1478"/>
                </a:lnTo>
                <a:lnTo>
                  <a:pt x="212" y="1477"/>
                </a:lnTo>
                <a:lnTo>
                  <a:pt x="212" y="1469"/>
                </a:lnTo>
                <a:lnTo>
                  <a:pt x="210" y="1464"/>
                </a:lnTo>
                <a:lnTo>
                  <a:pt x="212" y="1462"/>
                </a:lnTo>
                <a:lnTo>
                  <a:pt x="214" y="1458"/>
                </a:lnTo>
                <a:lnTo>
                  <a:pt x="213" y="1454"/>
                </a:lnTo>
                <a:lnTo>
                  <a:pt x="216" y="1446"/>
                </a:lnTo>
                <a:lnTo>
                  <a:pt x="220" y="1445"/>
                </a:lnTo>
                <a:lnTo>
                  <a:pt x="222" y="1436"/>
                </a:lnTo>
                <a:lnTo>
                  <a:pt x="227" y="1433"/>
                </a:lnTo>
                <a:lnTo>
                  <a:pt x="231" y="1432"/>
                </a:lnTo>
                <a:lnTo>
                  <a:pt x="231" y="1428"/>
                </a:lnTo>
                <a:lnTo>
                  <a:pt x="228" y="1428"/>
                </a:lnTo>
                <a:lnTo>
                  <a:pt x="228" y="1420"/>
                </a:lnTo>
                <a:lnTo>
                  <a:pt x="235" y="1411"/>
                </a:lnTo>
                <a:lnTo>
                  <a:pt x="238" y="1402"/>
                </a:lnTo>
                <a:lnTo>
                  <a:pt x="238" y="1397"/>
                </a:lnTo>
                <a:lnTo>
                  <a:pt x="234" y="1394"/>
                </a:lnTo>
                <a:lnTo>
                  <a:pt x="235" y="1389"/>
                </a:lnTo>
                <a:lnTo>
                  <a:pt x="233" y="1387"/>
                </a:lnTo>
                <a:lnTo>
                  <a:pt x="233" y="1384"/>
                </a:lnTo>
                <a:lnTo>
                  <a:pt x="231" y="1382"/>
                </a:lnTo>
                <a:lnTo>
                  <a:pt x="228" y="1375"/>
                </a:lnTo>
                <a:lnTo>
                  <a:pt x="237" y="1371"/>
                </a:lnTo>
                <a:lnTo>
                  <a:pt x="260" y="1352"/>
                </a:lnTo>
                <a:lnTo>
                  <a:pt x="277" y="1344"/>
                </a:lnTo>
                <a:lnTo>
                  <a:pt x="285" y="1334"/>
                </a:lnTo>
                <a:lnTo>
                  <a:pt x="298" y="1333"/>
                </a:lnTo>
                <a:lnTo>
                  <a:pt x="314" y="1321"/>
                </a:lnTo>
                <a:lnTo>
                  <a:pt x="323" y="1321"/>
                </a:lnTo>
                <a:lnTo>
                  <a:pt x="330" y="1321"/>
                </a:lnTo>
                <a:lnTo>
                  <a:pt x="333" y="1317"/>
                </a:lnTo>
                <a:lnTo>
                  <a:pt x="335" y="1316"/>
                </a:lnTo>
                <a:lnTo>
                  <a:pt x="347" y="1312"/>
                </a:lnTo>
                <a:lnTo>
                  <a:pt x="356" y="1303"/>
                </a:lnTo>
                <a:lnTo>
                  <a:pt x="356" y="1290"/>
                </a:lnTo>
                <a:lnTo>
                  <a:pt x="353" y="1286"/>
                </a:lnTo>
                <a:lnTo>
                  <a:pt x="353" y="1282"/>
                </a:lnTo>
                <a:lnTo>
                  <a:pt x="359" y="1271"/>
                </a:lnTo>
                <a:lnTo>
                  <a:pt x="366" y="1263"/>
                </a:lnTo>
                <a:lnTo>
                  <a:pt x="364" y="1250"/>
                </a:lnTo>
                <a:lnTo>
                  <a:pt x="367" y="1241"/>
                </a:lnTo>
                <a:lnTo>
                  <a:pt x="373" y="1228"/>
                </a:lnTo>
                <a:lnTo>
                  <a:pt x="372" y="1218"/>
                </a:lnTo>
                <a:lnTo>
                  <a:pt x="374" y="1204"/>
                </a:lnTo>
                <a:lnTo>
                  <a:pt x="378" y="1183"/>
                </a:lnTo>
                <a:lnTo>
                  <a:pt x="385" y="1166"/>
                </a:lnTo>
                <a:lnTo>
                  <a:pt x="391" y="1138"/>
                </a:lnTo>
                <a:lnTo>
                  <a:pt x="385" y="1116"/>
                </a:lnTo>
                <a:lnTo>
                  <a:pt x="384" y="1108"/>
                </a:lnTo>
                <a:lnTo>
                  <a:pt x="391" y="1093"/>
                </a:lnTo>
                <a:lnTo>
                  <a:pt x="391" y="1084"/>
                </a:lnTo>
                <a:lnTo>
                  <a:pt x="385" y="1072"/>
                </a:lnTo>
                <a:lnTo>
                  <a:pt x="383" y="1059"/>
                </a:lnTo>
                <a:lnTo>
                  <a:pt x="381" y="1054"/>
                </a:lnTo>
                <a:lnTo>
                  <a:pt x="381" y="1052"/>
                </a:lnTo>
                <a:lnTo>
                  <a:pt x="380" y="1044"/>
                </a:lnTo>
                <a:lnTo>
                  <a:pt x="383" y="1027"/>
                </a:lnTo>
                <a:lnTo>
                  <a:pt x="381" y="1027"/>
                </a:lnTo>
                <a:lnTo>
                  <a:pt x="381" y="1026"/>
                </a:lnTo>
                <a:lnTo>
                  <a:pt x="380" y="1018"/>
                </a:lnTo>
                <a:lnTo>
                  <a:pt x="374" y="1013"/>
                </a:lnTo>
                <a:lnTo>
                  <a:pt x="374" y="1009"/>
                </a:lnTo>
                <a:lnTo>
                  <a:pt x="374" y="1005"/>
                </a:lnTo>
                <a:lnTo>
                  <a:pt x="376" y="1001"/>
                </a:lnTo>
                <a:lnTo>
                  <a:pt x="377" y="997"/>
                </a:lnTo>
                <a:lnTo>
                  <a:pt x="378" y="992"/>
                </a:lnTo>
                <a:lnTo>
                  <a:pt x="378" y="977"/>
                </a:lnTo>
                <a:lnTo>
                  <a:pt x="377" y="964"/>
                </a:lnTo>
                <a:lnTo>
                  <a:pt x="378" y="955"/>
                </a:lnTo>
                <a:lnTo>
                  <a:pt x="383" y="943"/>
                </a:lnTo>
                <a:lnTo>
                  <a:pt x="383" y="939"/>
                </a:lnTo>
                <a:lnTo>
                  <a:pt x="383" y="932"/>
                </a:lnTo>
                <a:lnTo>
                  <a:pt x="378" y="920"/>
                </a:lnTo>
                <a:lnTo>
                  <a:pt x="378" y="912"/>
                </a:lnTo>
                <a:lnTo>
                  <a:pt x="383" y="904"/>
                </a:lnTo>
                <a:lnTo>
                  <a:pt x="385" y="889"/>
                </a:lnTo>
                <a:lnTo>
                  <a:pt x="387" y="876"/>
                </a:lnTo>
                <a:lnTo>
                  <a:pt x="387" y="872"/>
                </a:lnTo>
                <a:lnTo>
                  <a:pt x="389" y="868"/>
                </a:lnTo>
                <a:lnTo>
                  <a:pt x="389" y="867"/>
                </a:lnTo>
                <a:lnTo>
                  <a:pt x="389" y="863"/>
                </a:lnTo>
                <a:lnTo>
                  <a:pt x="391" y="863"/>
                </a:lnTo>
                <a:lnTo>
                  <a:pt x="392" y="861"/>
                </a:lnTo>
                <a:lnTo>
                  <a:pt x="392" y="859"/>
                </a:lnTo>
                <a:lnTo>
                  <a:pt x="394" y="859"/>
                </a:lnTo>
                <a:lnTo>
                  <a:pt x="392" y="859"/>
                </a:lnTo>
                <a:lnTo>
                  <a:pt x="398" y="848"/>
                </a:lnTo>
                <a:lnTo>
                  <a:pt x="403" y="831"/>
                </a:lnTo>
                <a:lnTo>
                  <a:pt x="409" y="813"/>
                </a:lnTo>
                <a:lnTo>
                  <a:pt x="417" y="794"/>
                </a:lnTo>
                <a:lnTo>
                  <a:pt x="427" y="781"/>
                </a:lnTo>
                <a:lnTo>
                  <a:pt x="430" y="778"/>
                </a:lnTo>
                <a:lnTo>
                  <a:pt x="437" y="768"/>
                </a:lnTo>
                <a:lnTo>
                  <a:pt x="438" y="764"/>
                </a:lnTo>
                <a:lnTo>
                  <a:pt x="441" y="760"/>
                </a:lnTo>
                <a:lnTo>
                  <a:pt x="442" y="760"/>
                </a:lnTo>
                <a:lnTo>
                  <a:pt x="454" y="751"/>
                </a:lnTo>
                <a:lnTo>
                  <a:pt x="459" y="743"/>
                </a:lnTo>
                <a:lnTo>
                  <a:pt x="466" y="734"/>
                </a:lnTo>
                <a:lnTo>
                  <a:pt x="467" y="730"/>
                </a:lnTo>
                <a:lnTo>
                  <a:pt x="470" y="730"/>
                </a:lnTo>
                <a:lnTo>
                  <a:pt x="474" y="724"/>
                </a:lnTo>
                <a:lnTo>
                  <a:pt x="483" y="719"/>
                </a:lnTo>
                <a:lnTo>
                  <a:pt x="487" y="716"/>
                </a:lnTo>
                <a:lnTo>
                  <a:pt x="494" y="710"/>
                </a:lnTo>
                <a:lnTo>
                  <a:pt x="508" y="702"/>
                </a:lnTo>
                <a:lnTo>
                  <a:pt x="516" y="697"/>
                </a:lnTo>
                <a:lnTo>
                  <a:pt x="524" y="693"/>
                </a:lnTo>
                <a:lnTo>
                  <a:pt x="540" y="672"/>
                </a:lnTo>
                <a:lnTo>
                  <a:pt x="559" y="659"/>
                </a:lnTo>
                <a:lnTo>
                  <a:pt x="562" y="654"/>
                </a:lnTo>
                <a:lnTo>
                  <a:pt x="565" y="652"/>
                </a:lnTo>
                <a:lnTo>
                  <a:pt x="568" y="652"/>
                </a:lnTo>
                <a:lnTo>
                  <a:pt x="577" y="652"/>
                </a:lnTo>
                <a:lnTo>
                  <a:pt x="583" y="653"/>
                </a:lnTo>
                <a:lnTo>
                  <a:pt x="586" y="652"/>
                </a:lnTo>
                <a:lnTo>
                  <a:pt x="587" y="649"/>
                </a:lnTo>
                <a:lnTo>
                  <a:pt x="591" y="645"/>
                </a:lnTo>
                <a:lnTo>
                  <a:pt x="594" y="645"/>
                </a:lnTo>
                <a:lnTo>
                  <a:pt x="596" y="645"/>
                </a:lnTo>
                <a:lnTo>
                  <a:pt x="602" y="648"/>
                </a:lnTo>
                <a:lnTo>
                  <a:pt x="608" y="645"/>
                </a:lnTo>
                <a:lnTo>
                  <a:pt x="609" y="645"/>
                </a:lnTo>
                <a:lnTo>
                  <a:pt x="612" y="644"/>
                </a:lnTo>
                <a:lnTo>
                  <a:pt x="613" y="640"/>
                </a:lnTo>
                <a:lnTo>
                  <a:pt x="615" y="640"/>
                </a:lnTo>
                <a:lnTo>
                  <a:pt x="627" y="645"/>
                </a:lnTo>
                <a:lnTo>
                  <a:pt x="632" y="645"/>
                </a:lnTo>
                <a:lnTo>
                  <a:pt x="638" y="645"/>
                </a:lnTo>
                <a:lnTo>
                  <a:pt x="640" y="645"/>
                </a:lnTo>
                <a:lnTo>
                  <a:pt x="646" y="648"/>
                </a:lnTo>
                <a:lnTo>
                  <a:pt x="657" y="636"/>
                </a:lnTo>
                <a:lnTo>
                  <a:pt x="661" y="632"/>
                </a:lnTo>
                <a:lnTo>
                  <a:pt x="666" y="627"/>
                </a:lnTo>
                <a:lnTo>
                  <a:pt x="668" y="627"/>
                </a:lnTo>
                <a:lnTo>
                  <a:pt x="672" y="627"/>
                </a:lnTo>
                <a:lnTo>
                  <a:pt x="677" y="627"/>
                </a:lnTo>
                <a:lnTo>
                  <a:pt x="684" y="622"/>
                </a:lnTo>
                <a:lnTo>
                  <a:pt x="691" y="617"/>
                </a:lnTo>
                <a:lnTo>
                  <a:pt x="696" y="617"/>
                </a:lnTo>
                <a:lnTo>
                  <a:pt x="711" y="604"/>
                </a:lnTo>
                <a:lnTo>
                  <a:pt x="721" y="595"/>
                </a:lnTo>
                <a:lnTo>
                  <a:pt x="723" y="591"/>
                </a:lnTo>
                <a:lnTo>
                  <a:pt x="730" y="587"/>
                </a:lnTo>
                <a:lnTo>
                  <a:pt x="739" y="582"/>
                </a:lnTo>
                <a:lnTo>
                  <a:pt x="741" y="578"/>
                </a:lnTo>
                <a:lnTo>
                  <a:pt x="747" y="577"/>
                </a:lnTo>
                <a:lnTo>
                  <a:pt x="750" y="573"/>
                </a:lnTo>
                <a:lnTo>
                  <a:pt x="753" y="573"/>
                </a:lnTo>
                <a:lnTo>
                  <a:pt x="754" y="569"/>
                </a:lnTo>
                <a:lnTo>
                  <a:pt x="757" y="567"/>
                </a:lnTo>
                <a:lnTo>
                  <a:pt x="762" y="565"/>
                </a:lnTo>
                <a:lnTo>
                  <a:pt x="764" y="565"/>
                </a:lnTo>
                <a:lnTo>
                  <a:pt x="768" y="565"/>
                </a:lnTo>
                <a:lnTo>
                  <a:pt x="769" y="565"/>
                </a:lnTo>
                <a:lnTo>
                  <a:pt x="771" y="565"/>
                </a:lnTo>
                <a:lnTo>
                  <a:pt x="773" y="565"/>
                </a:lnTo>
                <a:lnTo>
                  <a:pt x="778" y="564"/>
                </a:lnTo>
                <a:lnTo>
                  <a:pt x="783" y="565"/>
                </a:lnTo>
                <a:lnTo>
                  <a:pt x="790" y="564"/>
                </a:lnTo>
                <a:lnTo>
                  <a:pt x="793" y="560"/>
                </a:lnTo>
                <a:lnTo>
                  <a:pt x="798" y="564"/>
                </a:lnTo>
                <a:lnTo>
                  <a:pt x="800" y="564"/>
                </a:lnTo>
                <a:lnTo>
                  <a:pt x="804" y="565"/>
                </a:lnTo>
                <a:lnTo>
                  <a:pt x="807" y="567"/>
                </a:lnTo>
                <a:lnTo>
                  <a:pt x="809" y="569"/>
                </a:lnTo>
                <a:lnTo>
                  <a:pt x="815" y="565"/>
                </a:lnTo>
                <a:lnTo>
                  <a:pt x="819" y="565"/>
                </a:lnTo>
                <a:lnTo>
                  <a:pt x="821" y="567"/>
                </a:lnTo>
                <a:lnTo>
                  <a:pt x="823" y="569"/>
                </a:lnTo>
                <a:lnTo>
                  <a:pt x="825" y="569"/>
                </a:lnTo>
                <a:lnTo>
                  <a:pt x="836" y="569"/>
                </a:lnTo>
                <a:lnTo>
                  <a:pt x="843" y="569"/>
                </a:lnTo>
                <a:lnTo>
                  <a:pt x="847" y="567"/>
                </a:lnTo>
                <a:lnTo>
                  <a:pt x="850" y="569"/>
                </a:lnTo>
                <a:lnTo>
                  <a:pt x="857" y="565"/>
                </a:lnTo>
                <a:lnTo>
                  <a:pt x="859" y="567"/>
                </a:lnTo>
                <a:lnTo>
                  <a:pt x="864" y="565"/>
                </a:lnTo>
                <a:lnTo>
                  <a:pt x="871" y="567"/>
                </a:lnTo>
                <a:lnTo>
                  <a:pt x="873" y="565"/>
                </a:lnTo>
                <a:lnTo>
                  <a:pt x="879" y="565"/>
                </a:lnTo>
                <a:lnTo>
                  <a:pt x="883" y="565"/>
                </a:lnTo>
                <a:lnTo>
                  <a:pt x="886" y="565"/>
                </a:lnTo>
                <a:lnTo>
                  <a:pt x="889" y="565"/>
                </a:lnTo>
                <a:lnTo>
                  <a:pt x="892" y="565"/>
                </a:lnTo>
                <a:lnTo>
                  <a:pt x="897" y="564"/>
                </a:lnTo>
                <a:lnTo>
                  <a:pt x="901" y="560"/>
                </a:lnTo>
                <a:lnTo>
                  <a:pt x="908" y="560"/>
                </a:lnTo>
                <a:lnTo>
                  <a:pt x="914" y="560"/>
                </a:lnTo>
                <a:lnTo>
                  <a:pt x="917" y="558"/>
                </a:lnTo>
                <a:lnTo>
                  <a:pt x="921" y="556"/>
                </a:lnTo>
                <a:lnTo>
                  <a:pt x="925" y="556"/>
                </a:lnTo>
                <a:lnTo>
                  <a:pt x="931" y="556"/>
                </a:lnTo>
                <a:lnTo>
                  <a:pt x="933" y="556"/>
                </a:lnTo>
                <a:lnTo>
                  <a:pt x="947" y="554"/>
                </a:lnTo>
                <a:lnTo>
                  <a:pt x="951" y="552"/>
                </a:lnTo>
                <a:lnTo>
                  <a:pt x="956" y="550"/>
                </a:lnTo>
                <a:lnTo>
                  <a:pt x="958" y="550"/>
                </a:lnTo>
                <a:lnTo>
                  <a:pt x="967" y="547"/>
                </a:lnTo>
                <a:lnTo>
                  <a:pt x="979" y="552"/>
                </a:lnTo>
                <a:lnTo>
                  <a:pt x="983" y="556"/>
                </a:lnTo>
                <a:lnTo>
                  <a:pt x="985" y="560"/>
                </a:lnTo>
                <a:lnTo>
                  <a:pt x="989" y="560"/>
                </a:lnTo>
                <a:lnTo>
                  <a:pt x="996" y="560"/>
                </a:lnTo>
                <a:lnTo>
                  <a:pt x="1006" y="564"/>
                </a:lnTo>
                <a:lnTo>
                  <a:pt x="1008" y="565"/>
                </a:lnTo>
                <a:lnTo>
                  <a:pt x="1014" y="567"/>
                </a:lnTo>
                <a:lnTo>
                  <a:pt x="1025" y="569"/>
                </a:lnTo>
                <a:lnTo>
                  <a:pt x="1027" y="569"/>
                </a:lnTo>
                <a:lnTo>
                  <a:pt x="1031" y="573"/>
                </a:lnTo>
                <a:lnTo>
                  <a:pt x="1035" y="577"/>
                </a:lnTo>
                <a:lnTo>
                  <a:pt x="1036" y="577"/>
                </a:lnTo>
                <a:lnTo>
                  <a:pt x="1043" y="573"/>
                </a:lnTo>
                <a:lnTo>
                  <a:pt x="1052" y="573"/>
                </a:lnTo>
                <a:lnTo>
                  <a:pt x="1053" y="569"/>
                </a:lnTo>
                <a:lnTo>
                  <a:pt x="1057" y="569"/>
                </a:lnTo>
                <a:lnTo>
                  <a:pt x="1067" y="564"/>
                </a:lnTo>
                <a:lnTo>
                  <a:pt x="1070" y="560"/>
                </a:lnTo>
                <a:lnTo>
                  <a:pt x="1077" y="556"/>
                </a:lnTo>
                <a:lnTo>
                  <a:pt x="1085" y="552"/>
                </a:lnTo>
                <a:lnTo>
                  <a:pt x="1091" y="552"/>
                </a:lnTo>
                <a:lnTo>
                  <a:pt x="1097" y="547"/>
                </a:lnTo>
                <a:lnTo>
                  <a:pt x="1100" y="542"/>
                </a:lnTo>
                <a:lnTo>
                  <a:pt x="1104" y="541"/>
                </a:lnTo>
                <a:lnTo>
                  <a:pt x="1110" y="537"/>
                </a:lnTo>
                <a:lnTo>
                  <a:pt x="1111" y="533"/>
                </a:lnTo>
                <a:lnTo>
                  <a:pt x="1116" y="532"/>
                </a:lnTo>
                <a:lnTo>
                  <a:pt x="1118" y="524"/>
                </a:lnTo>
                <a:lnTo>
                  <a:pt x="1120" y="520"/>
                </a:lnTo>
                <a:lnTo>
                  <a:pt x="1129" y="511"/>
                </a:lnTo>
                <a:lnTo>
                  <a:pt x="1135" y="505"/>
                </a:lnTo>
                <a:lnTo>
                  <a:pt x="1138" y="502"/>
                </a:lnTo>
                <a:lnTo>
                  <a:pt x="1139" y="502"/>
                </a:lnTo>
                <a:lnTo>
                  <a:pt x="1147" y="502"/>
                </a:lnTo>
                <a:lnTo>
                  <a:pt x="1150" y="498"/>
                </a:lnTo>
                <a:lnTo>
                  <a:pt x="1155" y="497"/>
                </a:lnTo>
                <a:lnTo>
                  <a:pt x="1160" y="494"/>
                </a:lnTo>
                <a:lnTo>
                  <a:pt x="1170" y="488"/>
                </a:lnTo>
                <a:lnTo>
                  <a:pt x="1177" y="485"/>
                </a:lnTo>
                <a:lnTo>
                  <a:pt x="1182" y="485"/>
                </a:lnTo>
                <a:lnTo>
                  <a:pt x="1185" y="485"/>
                </a:lnTo>
                <a:lnTo>
                  <a:pt x="1189" y="479"/>
                </a:lnTo>
                <a:lnTo>
                  <a:pt x="1192" y="475"/>
                </a:lnTo>
                <a:lnTo>
                  <a:pt x="1199" y="471"/>
                </a:lnTo>
                <a:lnTo>
                  <a:pt x="1211" y="471"/>
                </a:lnTo>
                <a:lnTo>
                  <a:pt x="1214" y="471"/>
                </a:lnTo>
                <a:lnTo>
                  <a:pt x="1220" y="466"/>
                </a:lnTo>
                <a:lnTo>
                  <a:pt x="1233" y="449"/>
                </a:lnTo>
                <a:lnTo>
                  <a:pt x="1238" y="449"/>
                </a:lnTo>
                <a:lnTo>
                  <a:pt x="1249" y="440"/>
                </a:lnTo>
                <a:lnTo>
                  <a:pt x="1256" y="440"/>
                </a:lnTo>
                <a:lnTo>
                  <a:pt x="1257" y="438"/>
                </a:lnTo>
                <a:lnTo>
                  <a:pt x="1260" y="436"/>
                </a:lnTo>
                <a:lnTo>
                  <a:pt x="1263" y="427"/>
                </a:lnTo>
                <a:lnTo>
                  <a:pt x="1274" y="427"/>
                </a:lnTo>
                <a:lnTo>
                  <a:pt x="1284" y="413"/>
                </a:lnTo>
                <a:lnTo>
                  <a:pt x="1282" y="412"/>
                </a:lnTo>
                <a:lnTo>
                  <a:pt x="1288" y="412"/>
                </a:lnTo>
                <a:lnTo>
                  <a:pt x="1293" y="408"/>
                </a:lnTo>
                <a:lnTo>
                  <a:pt x="1296" y="408"/>
                </a:lnTo>
                <a:lnTo>
                  <a:pt x="1305" y="408"/>
                </a:lnTo>
                <a:lnTo>
                  <a:pt x="1309" y="404"/>
                </a:lnTo>
                <a:lnTo>
                  <a:pt x="1313" y="404"/>
                </a:lnTo>
                <a:lnTo>
                  <a:pt x="1323" y="400"/>
                </a:lnTo>
                <a:lnTo>
                  <a:pt x="1328" y="395"/>
                </a:lnTo>
                <a:lnTo>
                  <a:pt x="1338" y="395"/>
                </a:lnTo>
                <a:lnTo>
                  <a:pt x="1342" y="395"/>
                </a:lnTo>
                <a:lnTo>
                  <a:pt x="1349" y="391"/>
                </a:lnTo>
                <a:lnTo>
                  <a:pt x="1351" y="391"/>
                </a:lnTo>
                <a:lnTo>
                  <a:pt x="1351" y="387"/>
                </a:lnTo>
                <a:lnTo>
                  <a:pt x="1352" y="386"/>
                </a:lnTo>
                <a:lnTo>
                  <a:pt x="1355" y="386"/>
                </a:lnTo>
                <a:lnTo>
                  <a:pt x="1357" y="386"/>
                </a:lnTo>
                <a:lnTo>
                  <a:pt x="1359" y="382"/>
                </a:lnTo>
                <a:lnTo>
                  <a:pt x="1360" y="382"/>
                </a:lnTo>
                <a:lnTo>
                  <a:pt x="1362" y="382"/>
                </a:lnTo>
                <a:lnTo>
                  <a:pt x="1363" y="386"/>
                </a:lnTo>
                <a:lnTo>
                  <a:pt x="1371" y="382"/>
                </a:lnTo>
                <a:lnTo>
                  <a:pt x="1373" y="382"/>
                </a:lnTo>
                <a:lnTo>
                  <a:pt x="1381" y="382"/>
                </a:lnTo>
                <a:lnTo>
                  <a:pt x="1384" y="382"/>
                </a:lnTo>
                <a:lnTo>
                  <a:pt x="1385" y="382"/>
                </a:lnTo>
                <a:lnTo>
                  <a:pt x="1388" y="382"/>
                </a:lnTo>
                <a:lnTo>
                  <a:pt x="1392" y="382"/>
                </a:lnTo>
                <a:lnTo>
                  <a:pt x="1398" y="382"/>
                </a:lnTo>
                <a:lnTo>
                  <a:pt x="1401" y="382"/>
                </a:lnTo>
                <a:lnTo>
                  <a:pt x="1402" y="382"/>
                </a:lnTo>
                <a:lnTo>
                  <a:pt x="1407" y="378"/>
                </a:lnTo>
                <a:lnTo>
                  <a:pt x="1409" y="378"/>
                </a:lnTo>
                <a:lnTo>
                  <a:pt x="1420" y="376"/>
                </a:lnTo>
                <a:lnTo>
                  <a:pt x="1421" y="376"/>
                </a:lnTo>
                <a:lnTo>
                  <a:pt x="1427" y="373"/>
                </a:lnTo>
                <a:lnTo>
                  <a:pt x="1430" y="373"/>
                </a:lnTo>
                <a:lnTo>
                  <a:pt x="1431" y="368"/>
                </a:lnTo>
                <a:lnTo>
                  <a:pt x="1435" y="368"/>
                </a:lnTo>
                <a:lnTo>
                  <a:pt x="1438" y="367"/>
                </a:lnTo>
                <a:lnTo>
                  <a:pt x="1441" y="368"/>
                </a:lnTo>
                <a:lnTo>
                  <a:pt x="1445" y="368"/>
                </a:lnTo>
                <a:lnTo>
                  <a:pt x="1453" y="365"/>
                </a:lnTo>
                <a:lnTo>
                  <a:pt x="1459" y="365"/>
                </a:lnTo>
                <a:lnTo>
                  <a:pt x="1465" y="363"/>
                </a:lnTo>
                <a:lnTo>
                  <a:pt x="1468" y="359"/>
                </a:lnTo>
                <a:lnTo>
                  <a:pt x="1474" y="359"/>
                </a:lnTo>
                <a:lnTo>
                  <a:pt x="1476" y="359"/>
                </a:lnTo>
                <a:lnTo>
                  <a:pt x="1478" y="355"/>
                </a:lnTo>
                <a:lnTo>
                  <a:pt x="1482" y="355"/>
                </a:lnTo>
                <a:lnTo>
                  <a:pt x="1491" y="350"/>
                </a:lnTo>
                <a:lnTo>
                  <a:pt x="1495" y="350"/>
                </a:lnTo>
                <a:lnTo>
                  <a:pt x="1501" y="346"/>
                </a:lnTo>
                <a:lnTo>
                  <a:pt x="1505" y="342"/>
                </a:lnTo>
                <a:lnTo>
                  <a:pt x="1505" y="341"/>
                </a:lnTo>
                <a:lnTo>
                  <a:pt x="1506" y="337"/>
                </a:lnTo>
                <a:lnTo>
                  <a:pt x="1510" y="337"/>
                </a:lnTo>
                <a:lnTo>
                  <a:pt x="1517" y="337"/>
                </a:lnTo>
                <a:lnTo>
                  <a:pt x="1521" y="333"/>
                </a:lnTo>
                <a:lnTo>
                  <a:pt x="1526" y="329"/>
                </a:lnTo>
                <a:lnTo>
                  <a:pt x="1535" y="323"/>
                </a:lnTo>
                <a:lnTo>
                  <a:pt x="1540" y="320"/>
                </a:lnTo>
                <a:lnTo>
                  <a:pt x="1555" y="314"/>
                </a:lnTo>
                <a:lnTo>
                  <a:pt x="1563" y="305"/>
                </a:lnTo>
                <a:lnTo>
                  <a:pt x="1572" y="297"/>
                </a:lnTo>
                <a:lnTo>
                  <a:pt x="1572" y="296"/>
                </a:lnTo>
                <a:lnTo>
                  <a:pt x="1573" y="296"/>
                </a:lnTo>
                <a:lnTo>
                  <a:pt x="1576" y="293"/>
                </a:lnTo>
                <a:lnTo>
                  <a:pt x="1581" y="297"/>
                </a:lnTo>
                <a:lnTo>
                  <a:pt x="1588" y="293"/>
                </a:lnTo>
                <a:lnTo>
                  <a:pt x="1591" y="293"/>
                </a:lnTo>
                <a:lnTo>
                  <a:pt x="1594" y="292"/>
                </a:lnTo>
                <a:lnTo>
                  <a:pt x="1603" y="288"/>
                </a:lnTo>
                <a:lnTo>
                  <a:pt x="1608" y="287"/>
                </a:lnTo>
                <a:lnTo>
                  <a:pt x="1615" y="287"/>
                </a:lnTo>
                <a:lnTo>
                  <a:pt x="1619" y="284"/>
                </a:lnTo>
                <a:lnTo>
                  <a:pt x="1631" y="284"/>
                </a:lnTo>
                <a:lnTo>
                  <a:pt x="1637" y="284"/>
                </a:lnTo>
                <a:lnTo>
                  <a:pt x="1638" y="284"/>
                </a:lnTo>
                <a:lnTo>
                  <a:pt x="1644" y="279"/>
                </a:lnTo>
                <a:lnTo>
                  <a:pt x="1654" y="279"/>
                </a:lnTo>
                <a:lnTo>
                  <a:pt x="1659" y="275"/>
                </a:lnTo>
                <a:lnTo>
                  <a:pt x="1672" y="269"/>
                </a:lnTo>
                <a:lnTo>
                  <a:pt x="1683" y="261"/>
                </a:lnTo>
                <a:lnTo>
                  <a:pt x="1684" y="258"/>
                </a:lnTo>
                <a:lnTo>
                  <a:pt x="1686" y="253"/>
                </a:lnTo>
                <a:lnTo>
                  <a:pt x="1697" y="239"/>
                </a:lnTo>
                <a:lnTo>
                  <a:pt x="1698" y="238"/>
                </a:lnTo>
                <a:lnTo>
                  <a:pt x="1700" y="236"/>
                </a:lnTo>
                <a:lnTo>
                  <a:pt x="1712" y="229"/>
                </a:lnTo>
                <a:lnTo>
                  <a:pt x="1719" y="221"/>
                </a:lnTo>
                <a:lnTo>
                  <a:pt x="1726" y="217"/>
                </a:lnTo>
                <a:lnTo>
                  <a:pt x="1727" y="216"/>
                </a:lnTo>
                <a:lnTo>
                  <a:pt x="1731" y="213"/>
                </a:lnTo>
                <a:lnTo>
                  <a:pt x="1737" y="208"/>
                </a:lnTo>
                <a:lnTo>
                  <a:pt x="1744" y="204"/>
                </a:lnTo>
                <a:lnTo>
                  <a:pt x="1750" y="202"/>
                </a:lnTo>
                <a:lnTo>
                  <a:pt x="1769" y="185"/>
                </a:lnTo>
                <a:lnTo>
                  <a:pt x="1775" y="177"/>
                </a:lnTo>
                <a:lnTo>
                  <a:pt x="1781" y="172"/>
                </a:lnTo>
                <a:lnTo>
                  <a:pt x="1783" y="168"/>
                </a:lnTo>
                <a:lnTo>
                  <a:pt x="1786" y="164"/>
                </a:lnTo>
                <a:lnTo>
                  <a:pt x="1790" y="163"/>
                </a:lnTo>
                <a:lnTo>
                  <a:pt x="1795" y="158"/>
                </a:lnTo>
                <a:lnTo>
                  <a:pt x="1802" y="155"/>
                </a:lnTo>
                <a:lnTo>
                  <a:pt x="1804" y="150"/>
                </a:lnTo>
                <a:lnTo>
                  <a:pt x="1806" y="150"/>
                </a:lnTo>
                <a:lnTo>
                  <a:pt x="1812" y="146"/>
                </a:lnTo>
                <a:lnTo>
                  <a:pt x="1814" y="146"/>
                </a:lnTo>
                <a:lnTo>
                  <a:pt x="1825" y="133"/>
                </a:lnTo>
                <a:lnTo>
                  <a:pt x="1829" y="129"/>
                </a:lnTo>
                <a:lnTo>
                  <a:pt x="1839" y="120"/>
                </a:lnTo>
                <a:lnTo>
                  <a:pt x="1840" y="114"/>
                </a:lnTo>
                <a:lnTo>
                  <a:pt x="1851" y="106"/>
                </a:lnTo>
                <a:lnTo>
                  <a:pt x="1855" y="105"/>
                </a:lnTo>
                <a:lnTo>
                  <a:pt x="1861" y="101"/>
                </a:lnTo>
                <a:lnTo>
                  <a:pt x="1864" y="97"/>
                </a:lnTo>
                <a:lnTo>
                  <a:pt x="1869" y="97"/>
                </a:lnTo>
                <a:lnTo>
                  <a:pt x="1871" y="96"/>
                </a:lnTo>
                <a:lnTo>
                  <a:pt x="1873" y="92"/>
                </a:lnTo>
                <a:lnTo>
                  <a:pt x="1879" y="92"/>
                </a:lnTo>
                <a:lnTo>
                  <a:pt x="1880" y="88"/>
                </a:lnTo>
                <a:lnTo>
                  <a:pt x="1886" y="88"/>
                </a:lnTo>
                <a:lnTo>
                  <a:pt x="1887" y="88"/>
                </a:lnTo>
                <a:lnTo>
                  <a:pt x="1889" y="88"/>
                </a:lnTo>
                <a:lnTo>
                  <a:pt x="1901" y="84"/>
                </a:lnTo>
                <a:lnTo>
                  <a:pt x="1908" y="84"/>
                </a:lnTo>
                <a:lnTo>
                  <a:pt x="1912" y="84"/>
                </a:lnTo>
                <a:lnTo>
                  <a:pt x="1916" y="84"/>
                </a:lnTo>
                <a:lnTo>
                  <a:pt x="1919" y="87"/>
                </a:lnTo>
                <a:lnTo>
                  <a:pt x="1924" y="87"/>
                </a:lnTo>
                <a:lnTo>
                  <a:pt x="1927" y="84"/>
                </a:lnTo>
                <a:lnTo>
                  <a:pt x="1930" y="83"/>
                </a:lnTo>
                <a:lnTo>
                  <a:pt x="1932" y="84"/>
                </a:lnTo>
                <a:lnTo>
                  <a:pt x="1935" y="83"/>
                </a:lnTo>
                <a:lnTo>
                  <a:pt x="1939" y="84"/>
                </a:lnTo>
                <a:lnTo>
                  <a:pt x="1941" y="84"/>
                </a:lnTo>
                <a:lnTo>
                  <a:pt x="1946" y="79"/>
                </a:lnTo>
                <a:lnTo>
                  <a:pt x="1952" y="75"/>
                </a:lnTo>
                <a:lnTo>
                  <a:pt x="1960" y="71"/>
                </a:lnTo>
                <a:lnTo>
                  <a:pt x="1965" y="62"/>
                </a:lnTo>
                <a:lnTo>
                  <a:pt x="1966" y="52"/>
                </a:lnTo>
                <a:lnTo>
                  <a:pt x="1969" y="47"/>
                </a:lnTo>
                <a:lnTo>
                  <a:pt x="1972" y="43"/>
                </a:lnTo>
                <a:lnTo>
                  <a:pt x="1976" y="38"/>
                </a:lnTo>
                <a:lnTo>
                  <a:pt x="1983" y="30"/>
                </a:lnTo>
                <a:lnTo>
                  <a:pt x="1985" y="34"/>
                </a:lnTo>
                <a:lnTo>
                  <a:pt x="1991" y="30"/>
                </a:lnTo>
                <a:lnTo>
                  <a:pt x="1989" y="26"/>
                </a:lnTo>
                <a:lnTo>
                  <a:pt x="1991" y="25"/>
                </a:lnTo>
                <a:lnTo>
                  <a:pt x="1999" y="14"/>
                </a:lnTo>
                <a:lnTo>
                  <a:pt x="2002" y="3"/>
                </a:lnTo>
                <a:lnTo>
                  <a:pt x="2010" y="8"/>
                </a:lnTo>
                <a:lnTo>
                  <a:pt x="2015" y="0"/>
                </a:lnTo>
                <a:lnTo>
                  <a:pt x="2019" y="0"/>
                </a:lnTo>
                <a:lnTo>
                  <a:pt x="2029" y="3"/>
                </a:lnTo>
                <a:lnTo>
                  <a:pt x="2030" y="8"/>
                </a:lnTo>
                <a:lnTo>
                  <a:pt x="2032" y="8"/>
                </a:lnTo>
                <a:lnTo>
                  <a:pt x="2033" y="8"/>
                </a:lnTo>
                <a:lnTo>
                  <a:pt x="2033" y="3"/>
                </a:lnTo>
                <a:lnTo>
                  <a:pt x="2036" y="3"/>
                </a:lnTo>
                <a:lnTo>
                  <a:pt x="2049" y="8"/>
                </a:lnTo>
                <a:lnTo>
                  <a:pt x="2060" y="11"/>
                </a:lnTo>
                <a:lnTo>
                  <a:pt x="2058" y="13"/>
                </a:lnTo>
                <a:lnTo>
                  <a:pt x="2052" y="14"/>
                </a:lnTo>
                <a:lnTo>
                  <a:pt x="2049" y="17"/>
                </a:lnTo>
                <a:lnTo>
                  <a:pt x="2043" y="15"/>
                </a:lnTo>
                <a:lnTo>
                  <a:pt x="2041" y="21"/>
                </a:lnTo>
                <a:lnTo>
                  <a:pt x="2043" y="26"/>
                </a:lnTo>
                <a:lnTo>
                  <a:pt x="2040" y="30"/>
                </a:lnTo>
                <a:lnTo>
                  <a:pt x="2041" y="30"/>
                </a:lnTo>
                <a:lnTo>
                  <a:pt x="2051" y="26"/>
                </a:lnTo>
                <a:lnTo>
                  <a:pt x="2065" y="15"/>
                </a:lnTo>
                <a:lnTo>
                  <a:pt x="2068" y="11"/>
                </a:lnTo>
                <a:lnTo>
                  <a:pt x="2068" y="3"/>
                </a:lnTo>
                <a:lnTo>
                  <a:pt x="2075" y="3"/>
                </a:lnTo>
                <a:lnTo>
                  <a:pt x="2082" y="8"/>
                </a:lnTo>
                <a:lnTo>
                  <a:pt x="2082" y="13"/>
                </a:lnTo>
                <a:lnTo>
                  <a:pt x="2085" y="13"/>
                </a:lnTo>
                <a:lnTo>
                  <a:pt x="2086" y="17"/>
                </a:lnTo>
                <a:lnTo>
                  <a:pt x="2089" y="17"/>
                </a:lnTo>
                <a:lnTo>
                  <a:pt x="2086" y="26"/>
                </a:lnTo>
                <a:lnTo>
                  <a:pt x="2089" y="34"/>
                </a:lnTo>
                <a:lnTo>
                  <a:pt x="2093" y="39"/>
                </a:lnTo>
                <a:lnTo>
                  <a:pt x="2094" y="47"/>
                </a:lnTo>
                <a:lnTo>
                  <a:pt x="2097" y="48"/>
                </a:lnTo>
                <a:lnTo>
                  <a:pt x="2099" y="51"/>
                </a:lnTo>
                <a:lnTo>
                  <a:pt x="2096" y="56"/>
                </a:lnTo>
                <a:lnTo>
                  <a:pt x="2096" y="62"/>
                </a:lnTo>
                <a:lnTo>
                  <a:pt x="2094" y="62"/>
                </a:lnTo>
                <a:lnTo>
                  <a:pt x="2091" y="62"/>
                </a:lnTo>
                <a:lnTo>
                  <a:pt x="2090" y="62"/>
                </a:lnTo>
                <a:lnTo>
                  <a:pt x="2087" y="60"/>
                </a:lnTo>
                <a:lnTo>
                  <a:pt x="2085" y="60"/>
                </a:lnTo>
                <a:lnTo>
                  <a:pt x="2085" y="64"/>
                </a:lnTo>
                <a:lnTo>
                  <a:pt x="2080" y="64"/>
                </a:lnTo>
                <a:lnTo>
                  <a:pt x="2078" y="65"/>
                </a:lnTo>
                <a:lnTo>
                  <a:pt x="2075" y="65"/>
                </a:lnTo>
                <a:lnTo>
                  <a:pt x="2074" y="62"/>
                </a:lnTo>
                <a:lnTo>
                  <a:pt x="2072" y="62"/>
                </a:lnTo>
                <a:lnTo>
                  <a:pt x="2074" y="65"/>
                </a:lnTo>
                <a:lnTo>
                  <a:pt x="2072" y="65"/>
                </a:lnTo>
                <a:lnTo>
                  <a:pt x="2066" y="64"/>
                </a:lnTo>
                <a:lnTo>
                  <a:pt x="2062" y="62"/>
                </a:lnTo>
                <a:lnTo>
                  <a:pt x="2060" y="64"/>
                </a:lnTo>
                <a:lnTo>
                  <a:pt x="2058" y="70"/>
                </a:lnTo>
                <a:lnTo>
                  <a:pt x="2055" y="71"/>
                </a:lnTo>
                <a:lnTo>
                  <a:pt x="2051" y="70"/>
                </a:lnTo>
                <a:lnTo>
                  <a:pt x="2047" y="73"/>
                </a:lnTo>
                <a:lnTo>
                  <a:pt x="2046" y="75"/>
                </a:lnTo>
                <a:lnTo>
                  <a:pt x="2044" y="73"/>
                </a:lnTo>
                <a:lnTo>
                  <a:pt x="2046" y="65"/>
                </a:lnTo>
                <a:lnTo>
                  <a:pt x="2040" y="65"/>
                </a:lnTo>
                <a:lnTo>
                  <a:pt x="2036" y="71"/>
                </a:lnTo>
                <a:lnTo>
                  <a:pt x="2036" y="73"/>
                </a:lnTo>
                <a:lnTo>
                  <a:pt x="2039" y="71"/>
                </a:lnTo>
                <a:lnTo>
                  <a:pt x="2040" y="65"/>
                </a:lnTo>
                <a:lnTo>
                  <a:pt x="2041" y="65"/>
                </a:lnTo>
                <a:lnTo>
                  <a:pt x="2041" y="79"/>
                </a:lnTo>
                <a:lnTo>
                  <a:pt x="2043" y="79"/>
                </a:lnTo>
                <a:lnTo>
                  <a:pt x="2050" y="79"/>
                </a:lnTo>
                <a:lnTo>
                  <a:pt x="2050" y="83"/>
                </a:lnTo>
                <a:lnTo>
                  <a:pt x="2047" y="84"/>
                </a:lnTo>
                <a:lnTo>
                  <a:pt x="2046" y="92"/>
                </a:lnTo>
                <a:lnTo>
                  <a:pt x="2050" y="88"/>
                </a:lnTo>
                <a:lnTo>
                  <a:pt x="2054" y="92"/>
                </a:lnTo>
                <a:lnTo>
                  <a:pt x="2068" y="92"/>
                </a:lnTo>
                <a:lnTo>
                  <a:pt x="2078" y="88"/>
                </a:lnTo>
                <a:lnTo>
                  <a:pt x="2082" y="84"/>
                </a:lnTo>
                <a:lnTo>
                  <a:pt x="2086" y="83"/>
                </a:lnTo>
                <a:lnTo>
                  <a:pt x="2090" y="83"/>
                </a:lnTo>
                <a:lnTo>
                  <a:pt x="2097" y="84"/>
                </a:lnTo>
                <a:lnTo>
                  <a:pt x="2100" y="88"/>
                </a:lnTo>
                <a:lnTo>
                  <a:pt x="2107" y="88"/>
                </a:lnTo>
                <a:lnTo>
                  <a:pt x="2115" y="97"/>
                </a:lnTo>
                <a:lnTo>
                  <a:pt x="2121" y="97"/>
                </a:lnTo>
                <a:lnTo>
                  <a:pt x="2126" y="101"/>
                </a:lnTo>
                <a:lnTo>
                  <a:pt x="2128" y="101"/>
                </a:lnTo>
                <a:lnTo>
                  <a:pt x="2125" y="106"/>
                </a:lnTo>
                <a:lnTo>
                  <a:pt x="2125" y="110"/>
                </a:lnTo>
                <a:lnTo>
                  <a:pt x="2118" y="110"/>
                </a:lnTo>
                <a:lnTo>
                  <a:pt x="2115" y="120"/>
                </a:lnTo>
                <a:lnTo>
                  <a:pt x="2115" y="137"/>
                </a:lnTo>
                <a:lnTo>
                  <a:pt x="2118" y="146"/>
                </a:lnTo>
                <a:lnTo>
                  <a:pt x="2125" y="154"/>
                </a:lnTo>
                <a:lnTo>
                  <a:pt x="2129" y="154"/>
                </a:lnTo>
                <a:lnTo>
                  <a:pt x="2136" y="155"/>
                </a:lnTo>
                <a:lnTo>
                  <a:pt x="2146" y="158"/>
                </a:lnTo>
                <a:lnTo>
                  <a:pt x="2154" y="158"/>
                </a:lnTo>
                <a:lnTo>
                  <a:pt x="2160" y="159"/>
                </a:lnTo>
                <a:lnTo>
                  <a:pt x="2165" y="163"/>
                </a:lnTo>
                <a:lnTo>
                  <a:pt x="2170" y="168"/>
                </a:lnTo>
                <a:lnTo>
                  <a:pt x="2172" y="172"/>
                </a:lnTo>
                <a:lnTo>
                  <a:pt x="2171" y="185"/>
                </a:lnTo>
                <a:lnTo>
                  <a:pt x="2165" y="185"/>
                </a:lnTo>
                <a:close/>
                <a:moveTo>
                  <a:pt x="2156" y="1498"/>
                </a:moveTo>
                <a:lnTo>
                  <a:pt x="2153" y="1503"/>
                </a:lnTo>
                <a:lnTo>
                  <a:pt x="2156" y="1504"/>
                </a:lnTo>
                <a:lnTo>
                  <a:pt x="2153" y="1504"/>
                </a:lnTo>
                <a:lnTo>
                  <a:pt x="2156" y="1508"/>
                </a:lnTo>
                <a:lnTo>
                  <a:pt x="2157" y="1518"/>
                </a:lnTo>
                <a:lnTo>
                  <a:pt x="2154" y="1520"/>
                </a:lnTo>
                <a:lnTo>
                  <a:pt x="2151" y="1518"/>
                </a:lnTo>
                <a:lnTo>
                  <a:pt x="2149" y="1521"/>
                </a:lnTo>
                <a:lnTo>
                  <a:pt x="2146" y="1526"/>
                </a:lnTo>
                <a:lnTo>
                  <a:pt x="2145" y="1526"/>
                </a:lnTo>
                <a:lnTo>
                  <a:pt x="2143" y="1529"/>
                </a:lnTo>
                <a:lnTo>
                  <a:pt x="2142" y="1529"/>
                </a:lnTo>
                <a:lnTo>
                  <a:pt x="2140" y="1532"/>
                </a:lnTo>
                <a:lnTo>
                  <a:pt x="2139" y="1532"/>
                </a:lnTo>
                <a:lnTo>
                  <a:pt x="2140" y="1535"/>
                </a:lnTo>
                <a:lnTo>
                  <a:pt x="2136" y="1535"/>
                </a:lnTo>
                <a:lnTo>
                  <a:pt x="2137" y="1535"/>
                </a:lnTo>
                <a:lnTo>
                  <a:pt x="2136" y="1535"/>
                </a:lnTo>
                <a:lnTo>
                  <a:pt x="2132" y="1540"/>
                </a:lnTo>
                <a:lnTo>
                  <a:pt x="2133" y="1540"/>
                </a:lnTo>
                <a:lnTo>
                  <a:pt x="2137" y="1539"/>
                </a:lnTo>
                <a:lnTo>
                  <a:pt x="2142" y="1540"/>
                </a:lnTo>
                <a:lnTo>
                  <a:pt x="2140" y="1543"/>
                </a:lnTo>
                <a:lnTo>
                  <a:pt x="2136" y="1544"/>
                </a:lnTo>
                <a:lnTo>
                  <a:pt x="2137" y="1540"/>
                </a:lnTo>
                <a:lnTo>
                  <a:pt x="2133" y="1543"/>
                </a:lnTo>
                <a:lnTo>
                  <a:pt x="2128" y="1544"/>
                </a:lnTo>
                <a:lnTo>
                  <a:pt x="2118" y="1553"/>
                </a:lnTo>
                <a:lnTo>
                  <a:pt x="2119" y="1549"/>
                </a:lnTo>
                <a:lnTo>
                  <a:pt x="2118" y="1548"/>
                </a:lnTo>
                <a:lnTo>
                  <a:pt x="2118" y="1540"/>
                </a:lnTo>
                <a:lnTo>
                  <a:pt x="2114" y="1535"/>
                </a:lnTo>
                <a:lnTo>
                  <a:pt x="2110" y="1531"/>
                </a:lnTo>
                <a:lnTo>
                  <a:pt x="2118" y="1532"/>
                </a:lnTo>
                <a:lnTo>
                  <a:pt x="2118" y="1531"/>
                </a:lnTo>
                <a:lnTo>
                  <a:pt x="2125" y="1527"/>
                </a:lnTo>
                <a:lnTo>
                  <a:pt x="2115" y="1527"/>
                </a:lnTo>
                <a:lnTo>
                  <a:pt x="2115" y="1521"/>
                </a:lnTo>
                <a:lnTo>
                  <a:pt x="2114" y="1521"/>
                </a:lnTo>
                <a:lnTo>
                  <a:pt x="2112" y="1527"/>
                </a:lnTo>
                <a:lnTo>
                  <a:pt x="2108" y="1527"/>
                </a:lnTo>
                <a:lnTo>
                  <a:pt x="2110" y="1526"/>
                </a:lnTo>
                <a:lnTo>
                  <a:pt x="2108" y="1521"/>
                </a:lnTo>
                <a:lnTo>
                  <a:pt x="2105" y="1521"/>
                </a:lnTo>
                <a:lnTo>
                  <a:pt x="2101" y="1520"/>
                </a:lnTo>
                <a:lnTo>
                  <a:pt x="2100" y="1521"/>
                </a:lnTo>
                <a:lnTo>
                  <a:pt x="2096" y="1518"/>
                </a:lnTo>
                <a:lnTo>
                  <a:pt x="2096" y="1516"/>
                </a:lnTo>
                <a:lnTo>
                  <a:pt x="2100" y="1511"/>
                </a:lnTo>
                <a:lnTo>
                  <a:pt x="2103" y="1511"/>
                </a:lnTo>
                <a:lnTo>
                  <a:pt x="2104" y="1512"/>
                </a:lnTo>
                <a:lnTo>
                  <a:pt x="2103" y="1508"/>
                </a:lnTo>
                <a:lnTo>
                  <a:pt x="2104" y="1511"/>
                </a:lnTo>
                <a:lnTo>
                  <a:pt x="2107" y="1507"/>
                </a:lnTo>
                <a:lnTo>
                  <a:pt x="2111" y="1504"/>
                </a:lnTo>
                <a:lnTo>
                  <a:pt x="2111" y="1503"/>
                </a:lnTo>
                <a:lnTo>
                  <a:pt x="2114" y="1499"/>
                </a:lnTo>
                <a:lnTo>
                  <a:pt x="2115" y="1499"/>
                </a:lnTo>
                <a:lnTo>
                  <a:pt x="2118" y="1504"/>
                </a:lnTo>
                <a:lnTo>
                  <a:pt x="2119" y="1512"/>
                </a:lnTo>
                <a:lnTo>
                  <a:pt x="2125" y="1514"/>
                </a:lnTo>
                <a:lnTo>
                  <a:pt x="2124" y="1508"/>
                </a:lnTo>
                <a:lnTo>
                  <a:pt x="2125" y="1508"/>
                </a:lnTo>
                <a:lnTo>
                  <a:pt x="2126" y="1508"/>
                </a:lnTo>
                <a:lnTo>
                  <a:pt x="2131" y="1514"/>
                </a:lnTo>
                <a:lnTo>
                  <a:pt x="2135" y="1516"/>
                </a:lnTo>
                <a:lnTo>
                  <a:pt x="2133" y="1508"/>
                </a:lnTo>
                <a:lnTo>
                  <a:pt x="2135" y="1508"/>
                </a:lnTo>
                <a:lnTo>
                  <a:pt x="2136" y="1508"/>
                </a:lnTo>
                <a:lnTo>
                  <a:pt x="2131" y="1503"/>
                </a:lnTo>
                <a:lnTo>
                  <a:pt x="2128" y="1499"/>
                </a:lnTo>
                <a:lnTo>
                  <a:pt x="2125" y="1503"/>
                </a:lnTo>
                <a:lnTo>
                  <a:pt x="2126" y="1499"/>
                </a:lnTo>
                <a:lnTo>
                  <a:pt x="2126" y="1495"/>
                </a:lnTo>
                <a:lnTo>
                  <a:pt x="2128" y="1495"/>
                </a:lnTo>
                <a:lnTo>
                  <a:pt x="2136" y="1491"/>
                </a:lnTo>
                <a:lnTo>
                  <a:pt x="2140" y="1486"/>
                </a:lnTo>
                <a:lnTo>
                  <a:pt x="2143" y="1491"/>
                </a:lnTo>
                <a:lnTo>
                  <a:pt x="2150" y="1495"/>
                </a:lnTo>
                <a:lnTo>
                  <a:pt x="2157" y="1495"/>
                </a:lnTo>
                <a:lnTo>
                  <a:pt x="2159" y="1491"/>
                </a:lnTo>
                <a:lnTo>
                  <a:pt x="2160" y="1495"/>
                </a:lnTo>
                <a:lnTo>
                  <a:pt x="2156" y="1498"/>
                </a:lnTo>
                <a:close/>
                <a:moveTo>
                  <a:pt x="2151" y="1400"/>
                </a:moveTo>
                <a:lnTo>
                  <a:pt x="2151" y="1406"/>
                </a:lnTo>
                <a:lnTo>
                  <a:pt x="2154" y="1411"/>
                </a:lnTo>
                <a:lnTo>
                  <a:pt x="2146" y="1420"/>
                </a:lnTo>
                <a:lnTo>
                  <a:pt x="2133" y="1428"/>
                </a:lnTo>
                <a:lnTo>
                  <a:pt x="2131" y="1428"/>
                </a:lnTo>
                <a:lnTo>
                  <a:pt x="2131" y="1424"/>
                </a:lnTo>
                <a:lnTo>
                  <a:pt x="2128" y="1424"/>
                </a:lnTo>
                <a:lnTo>
                  <a:pt x="2126" y="1424"/>
                </a:lnTo>
                <a:lnTo>
                  <a:pt x="2129" y="1420"/>
                </a:lnTo>
                <a:lnTo>
                  <a:pt x="2131" y="1416"/>
                </a:lnTo>
                <a:lnTo>
                  <a:pt x="2128" y="1406"/>
                </a:lnTo>
                <a:lnTo>
                  <a:pt x="2124" y="1402"/>
                </a:lnTo>
                <a:lnTo>
                  <a:pt x="2125" y="1397"/>
                </a:lnTo>
                <a:lnTo>
                  <a:pt x="2118" y="1392"/>
                </a:lnTo>
                <a:lnTo>
                  <a:pt x="2117" y="1389"/>
                </a:lnTo>
                <a:lnTo>
                  <a:pt x="2107" y="1383"/>
                </a:lnTo>
                <a:lnTo>
                  <a:pt x="2124" y="1371"/>
                </a:lnTo>
                <a:lnTo>
                  <a:pt x="2128" y="1371"/>
                </a:lnTo>
                <a:lnTo>
                  <a:pt x="2129" y="1371"/>
                </a:lnTo>
                <a:lnTo>
                  <a:pt x="2139" y="1375"/>
                </a:lnTo>
                <a:lnTo>
                  <a:pt x="2149" y="1389"/>
                </a:lnTo>
                <a:lnTo>
                  <a:pt x="2151" y="1400"/>
                </a:lnTo>
                <a:close/>
                <a:moveTo>
                  <a:pt x="2151" y="1593"/>
                </a:moveTo>
                <a:lnTo>
                  <a:pt x="2147" y="1598"/>
                </a:lnTo>
                <a:lnTo>
                  <a:pt x="2139" y="1593"/>
                </a:lnTo>
                <a:lnTo>
                  <a:pt x="2137" y="1591"/>
                </a:lnTo>
                <a:lnTo>
                  <a:pt x="2139" y="1589"/>
                </a:lnTo>
                <a:lnTo>
                  <a:pt x="2137" y="1588"/>
                </a:lnTo>
                <a:lnTo>
                  <a:pt x="2137" y="1585"/>
                </a:lnTo>
                <a:lnTo>
                  <a:pt x="2136" y="1580"/>
                </a:lnTo>
                <a:lnTo>
                  <a:pt x="2136" y="1570"/>
                </a:lnTo>
                <a:lnTo>
                  <a:pt x="2132" y="1566"/>
                </a:lnTo>
                <a:lnTo>
                  <a:pt x="2132" y="1556"/>
                </a:lnTo>
                <a:lnTo>
                  <a:pt x="2135" y="1552"/>
                </a:lnTo>
                <a:lnTo>
                  <a:pt x="2136" y="1549"/>
                </a:lnTo>
                <a:lnTo>
                  <a:pt x="2139" y="1552"/>
                </a:lnTo>
                <a:lnTo>
                  <a:pt x="2142" y="1553"/>
                </a:lnTo>
                <a:lnTo>
                  <a:pt x="2147" y="1557"/>
                </a:lnTo>
                <a:lnTo>
                  <a:pt x="2149" y="1557"/>
                </a:lnTo>
                <a:lnTo>
                  <a:pt x="2151" y="1561"/>
                </a:lnTo>
                <a:lnTo>
                  <a:pt x="2154" y="1563"/>
                </a:lnTo>
                <a:lnTo>
                  <a:pt x="2153" y="1566"/>
                </a:lnTo>
                <a:lnTo>
                  <a:pt x="2156" y="1574"/>
                </a:lnTo>
                <a:lnTo>
                  <a:pt x="2154" y="1589"/>
                </a:lnTo>
                <a:lnTo>
                  <a:pt x="2151" y="1593"/>
                </a:lnTo>
                <a:close/>
                <a:moveTo>
                  <a:pt x="2234" y="425"/>
                </a:moveTo>
                <a:lnTo>
                  <a:pt x="2232" y="427"/>
                </a:lnTo>
                <a:lnTo>
                  <a:pt x="2234" y="430"/>
                </a:lnTo>
                <a:lnTo>
                  <a:pt x="2232" y="430"/>
                </a:lnTo>
                <a:lnTo>
                  <a:pt x="2229" y="436"/>
                </a:lnTo>
                <a:lnTo>
                  <a:pt x="2226" y="435"/>
                </a:lnTo>
                <a:lnTo>
                  <a:pt x="2226" y="436"/>
                </a:lnTo>
                <a:lnTo>
                  <a:pt x="2225" y="436"/>
                </a:lnTo>
                <a:lnTo>
                  <a:pt x="2226" y="438"/>
                </a:lnTo>
                <a:lnTo>
                  <a:pt x="2222" y="440"/>
                </a:lnTo>
                <a:lnTo>
                  <a:pt x="2221" y="440"/>
                </a:lnTo>
                <a:lnTo>
                  <a:pt x="2224" y="440"/>
                </a:lnTo>
                <a:lnTo>
                  <a:pt x="2222" y="440"/>
                </a:lnTo>
                <a:lnTo>
                  <a:pt x="2215" y="443"/>
                </a:lnTo>
                <a:lnTo>
                  <a:pt x="2211" y="443"/>
                </a:lnTo>
                <a:lnTo>
                  <a:pt x="2204" y="440"/>
                </a:lnTo>
                <a:lnTo>
                  <a:pt x="2201" y="443"/>
                </a:lnTo>
                <a:lnTo>
                  <a:pt x="2184" y="449"/>
                </a:lnTo>
                <a:lnTo>
                  <a:pt x="2179" y="453"/>
                </a:lnTo>
                <a:lnTo>
                  <a:pt x="2178" y="453"/>
                </a:lnTo>
                <a:lnTo>
                  <a:pt x="2176" y="453"/>
                </a:lnTo>
                <a:lnTo>
                  <a:pt x="2174" y="453"/>
                </a:lnTo>
                <a:lnTo>
                  <a:pt x="2178" y="453"/>
                </a:lnTo>
                <a:lnTo>
                  <a:pt x="2178" y="449"/>
                </a:lnTo>
                <a:lnTo>
                  <a:pt x="2176" y="453"/>
                </a:lnTo>
                <a:lnTo>
                  <a:pt x="2172" y="453"/>
                </a:lnTo>
                <a:lnTo>
                  <a:pt x="2172" y="457"/>
                </a:lnTo>
                <a:lnTo>
                  <a:pt x="2171" y="453"/>
                </a:lnTo>
                <a:lnTo>
                  <a:pt x="2168" y="449"/>
                </a:lnTo>
                <a:lnTo>
                  <a:pt x="2151" y="449"/>
                </a:lnTo>
                <a:lnTo>
                  <a:pt x="2139" y="440"/>
                </a:lnTo>
                <a:lnTo>
                  <a:pt x="2149" y="440"/>
                </a:lnTo>
                <a:lnTo>
                  <a:pt x="2164" y="448"/>
                </a:lnTo>
                <a:lnTo>
                  <a:pt x="2176" y="448"/>
                </a:lnTo>
                <a:lnTo>
                  <a:pt x="2192" y="443"/>
                </a:lnTo>
                <a:lnTo>
                  <a:pt x="2200" y="440"/>
                </a:lnTo>
                <a:lnTo>
                  <a:pt x="2215" y="436"/>
                </a:lnTo>
                <a:lnTo>
                  <a:pt x="2221" y="430"/>
                </a:lnTo>
                <a:lnTo>
                  <a:pt x="2222" y="430"/>
                </a:lnTo>
                <a:lnTo>
                  <a:pt x="2221" y="427"/>
                </a:lnTo>
                <a:lnTo>
                  <a:pt x="2224" y="425"/>
                </a:lnTo>
                <a:lnTo>
                  <a:pt x="2226" y="423"/>
                </a:lnTo>
                <a:lnTo>
                  <a:pt x="2231" y="423"/>
                </a:lnTo>
                <a:lnTo>
                  <a:pt x="2234" y="425"/>
                </a:lnTo>
                <a:close/>
                <a:moveTo>
                  <a:pt x="2207" y="297"/>
                </a:moveTo>
                <a:lnTo>
                  <a:pt x="2207" y="305"/>
                </a:lnTo>
                <a:lnTo>
                  <a:pt x="2204" y="306"/>
                </a:lnTo>
                <a:lnTo>
                  <a:pt x="2196" y="311"/>
                </a:lnTo>
                <a:lnTo>
                  <a:pt x="2193" y="311"/>
                </a:lnTo>
                <a:lnTo>
                  <a:pt x="2190" y="320"/>
                </a:lnTo>
                <a:lnTo>
                  <a:pt x="2186" y="320"/>
                </a:lnTo>
                <a:lnTo>
                  <a:pt x="2186" y="323"/>
                </a:lnTo>
                <a:lnTo>
                  <a:pt x="2184" y="323"/>
                </a:lnTo>
                <a:lnTo>
                  <a:pt x="2181" y="320"/>
                </a:lnTo>
                <a:lnTo>
                  <a:pt x="2178" y="320"/>
                </a:lnTo>
                <a:lnTo>
                  <a:pt x="2181" y="324"/>
                </a:lnTo>
                <a:lnTo>
                  <a:pt x="2176" y="324"/>
                </a:lnTo>
                <a:lnTo>
                  <a:pt x="2175" y="324"/>
                </a:lnTo>
                <a:lnTo>
                  <a:pt x="2179" y="314"/>
                </a:lnTo>
                <a:lnTo>
                  <a:pt x="2179" y="306"/>
                </a:lnTo>
                <a:lnTo>
                  <a:pt x="2182" y="301"/>
                </a:lnTo>
                <a:lnTo>
                  <a:pt x="2182" y="297"/>
                </a:lnTo>
                <a:lnTo>
                  <a:pt x="2184" y="297"/>
                </a:lnTo>
                <a:lnTo>
                  <a:pt x="2187" y="301"/>
                </a:lnTo>
                <a:lnTo>
                  <a:pt x="2190" y="311"/>
                </a:lnTo>
                <a:lnTo>
                  <a:pt x="2193" y="309"/>
                </a:lnTo>
                <a:lnTo>
                  <a:pt x="2197" y="306"/>
                </a:lnTo>
                <a:lnTo>
                  <a:pt x="2193" y="306"/>
                </a:lnTo>
                <a:lnTo>
                  <a:pt x="2192" y="301"/>
                </a:lnTo>
                <a:lnTo>
                  <a:pt x="2189" y="301"/>
                </a:lnTo>
                <a:lnTo>
                  <a:pt x="2189" y="297"/>
                </a:lnTo>
                <a:lnTo>
                  <a:pt x="2190" y="297"/>
                </a:lnTo>
                <a:lnTo>
                  <a:pt x="2190" y="293"/>
                </a:lnTo>
                <a:lnTo>
                  <a:pt x="2189" y="293"/>
                </a:lnTo>
                <a:lnTo>
                  <a:pt x="2186" y="288"/>
                </a:lnTo>
                <a:lnTo>
                  <a:pt x="2184" y="287"/>
                </a:lnTo>
                <a:lnTo>
                  <a:pt x="2185" y="283"/>
                </a:lnTo>
                <a:lnTo>
                  <a:pt x="2187" y="287"/>
                </a:lnTo>
                <a:lnTo>
                  <a:pt x="2199" y="292"/>
                </a:lnTo>
                <a:lnTo>
                  <a:pt x="2207" y="297"/>
                </a:lnTo>
                <a:close/>
                <a:moveTo>
                  <a:pt x="2147" y="1656"/>
                </a:moveTo>
                <a:lnTo>
                  <a:pt x="2149" y="1663"/>
                </a:lnTo>
                <a:lnTo>
                  <a:pt x="2147" y="1669"/>
                </a:lnTo>
                <a:lnTo>
                  <a:pt x="2145" y="1673"/>
                </a:lnTo>
                <a:lnTo>
                  <a:pt x="2143" y="1677"/>
                </a:lnTo>
                <a:lnTo>
                  <a:pt x="2142" y="1678"/>
                </a:lnTo>
                <a:lnTo>
                  <a:pt x="2139" y="1681"/>
                </a:lnTo>
                <a:lnTo>
                  <a:pt x="2137" y="1678"/>
                </a:lnTo>
                <a:lnTo>
                  <a:pt x="2133" y="1678"/>
                </a:lnTo>
                <a:lnTo>
                  <a:pt x="2131" y="1682"/>
                </a:lnTo>
                <a:lnTo>
                  <a:pt x="2128" y="1682"/>
                </a:lnTo>
                <a:lnTo>
                  <a:pt x="2131" y="1678"/>
                </a:lnTo>
                <a:lnTo>
                  <a:pt x="2129" y="1673"/>
                </a:lnTo>
                <a:lnTo>
                  <a:pt x="2128" y="1669"/>
                </a:lnTo>
                <a:lnTo>
                  <a:pt x="2124" y="1668"/>
                </a:lnTo>
                <a:lnTo>
                  <a:pt x="2124" y="1664"/>
                </a:lnTo>
                <a:lnTo>
                  <a:pt x="2128" y="1660"/>
                </a:lnTo>
                <a:lnTo>
                  <a:pt x="2133" y="1658"/>
                </a:lnTo>
                <a:lnTo>
                  <a:pt x="2133" y="1656"/>
                </a:lnTo>
                <a:lnTo>
                  <a:pt x="2143" y="1651"/>
                </a:lnTo>
                <a:lnTo>
                  <a:pt x="2147" y="1656"/>
                </a:lnTo>
                <a:close/>
                <a:moveTo>
                  <a:pt x="2215" y="537"/>
                </a:moveTo>
                <a:lnTo>
                  <a:pt x="2218" y="554"/>
                </a:lnTo>
                <a:lnTo>
                  <a:pt x="2214" y="556"/>
                </a:lnTo>
                <a:lnTo>
                  <a:pt x="2209" y="560"/>
                </a:lnTo>
                <a:lnTo>
                  <a:pt x="2204" y="558"/>
                </a:lnTo>
                <a:lnTo>
                  <a:pt x="2201" y="560"/>
                </a:lnTo>
                <a:lnTo>
                  <a:pt x="2199" y="560"/>
                </a:lnTo>
                <a:lnTo>
                  <a:pt x="2193" y="560"/>
                </a:lnTo>
                <a:lnTo>
                  <a:pt x="2193" y="564"/>
                </a:lnTo>
                <a:lnTo>
                  <a:pt x="2189" y="565"/>
                </a:lnTo>
                <a:lnTo>
                  <a:pt x="2182" y="569"/>
                </a:lnTo>
                <a:lnTo>
                  <a:pt x="2190" y="560"/>
                </a:lnTo>
                <a:lnTo>
                  <a:pt x="2195" y="552"/>
                </a:lnTo>
                <a:lnTo>
                  <a:pt x="2195" y="547"/>
                </a:lnTo>
                <a:lnTo>
                  <a:pt x="2197" y="545"/>
                </a:lnTo>
                <a:lnTo>
                  <a:pt x="2199" y="541"/>
                </a:lnTo>
                <a:lnTo>
                  <a:pt x="2201" y="537"/>
                </a:lnTo>
                <a:lnTo>
                  <a:pt x="2207" y="537"/>
                </a:lnTo>
                <a:lnTo>
                  <a:pt x="2215" y="537"/>
                </a:lnTo>
                <a:close/>
                <a:moveTo>
                  <a:pt x="2189" y="243"/>
                </a:moveTo>
                <a:lnTo>
                  <a:pt x="2186" y="256"/>
                </a:lnTo>
                <a:lnTo>
                  <a:pt x="2186" y="253"/>
                </a:lnTo>
                <a:lnTo>
                  <a:pt x="2185" y="253"/>
                </a:lnTo>
                <a:lnTo>
                  <a:pt x="2182" y="262"/>
                </a:lnTo>
                <a:lnTo>
                  <a:pt x="2179" y="253"/>
                </a:lnTo>
                <a:lnTo>
                  <a:pt x="2178" y="249"/>
                </a:lnTo>
                <a:lnTo>
                  <a:pt x="2174" y="243"/>
                </a:lnTo>
                <a:lnTo>
                  <a:pt x="2164" y="239"/>
                </a:lnTo>
                <a:lnTo>
                  <a:pt x="2167" y="238"/>
                </a:lnTo>
                <a:lnTo>
                  <a:pt x="2170" y="238"/>
                </a:lnTo>
                <a:lnTo>
                  <a:pt x="2171" y="236"/>
                </a:lnTo>
                <a:lnTo>
                  <a:pt x="2179" y="238"/>
                </a:lnTo>
                <a:lnTo>
                  <a:pt x="2182" y="236"/>
                </a:lnTo>
                <a:lnTo>
                  <a:pt x="2184" y="238"/>
                </a:lnTo>
                <a:lnTo>
                  <a:pt x="2186" y="238"/>
                </a:lnTo>
                <a:lnTo>
                  <a:pt x="2189" y="243"/>
                </a:lnTo>
                <a:close/>
                <a:moveTo>
                  <a:pt x="2076" y="79"/>
                </a:moveTo>
                <a:lnTo>
                  <a:pt x="2075" y="84"/>
                </a:lnTo>
                <a:lnTo>
                  <a:pt x="2066" y="88"/>
                </a:lnTo>
                <a:lnTo>
                  <a:pt x="2055" y="88"/>
                </a:lnTo>
                <a:lnTo>
                  <a:pt x="2051" y="88"/>
                </a:lnTo>
                <a:lnTo>
                  <a:pt x="2049" y="88"/>
                </a:lnTo>
                <a:lnTo>
                  <a:pt x="2050" y="84"/>
                </a:lnTo>
                <a:lnTo>
                  <a:pt x="2051" y="83"/>
                </a:lnTo>
                <a:lnTo>
                  <a:pt x="2051" y="75"/>
                </a:lnTo>
                <a:lnTo>
                  <a:pt x="2052" y="73"/>
                </a:lnTo>
                <a:lnTo>
                  <a:pt x="2058" y="79"/>
                </a:lnTo>
                <a:lnTo>
                  <a:pt x="2071" y="75"/>
                </a:lnTo>
                <a:lnTo>
                  <a:pt x="2074" y="79"/>
                </a:lnTo>
                <a:lnTo>
                  <a:pt x="2076" y="79"/>
                </a:lnTo>
                <a:close/>
                <a:moveTo>
                  <a:pt x="2135" y="1205"/>
                </a:moveTo>
                <a:lnTo>
                  <a:pt x="2135" y="1211"/>
                </a:lnTo>
                <a:lnTo>
                  <a:pt x="2132" y="1218"/>
                </a:lnTo>
                <a:lnTo>
                  <a:pt x="2129" y="1218"/>
                </a:lnTo>
                <a:lnTo>
                  <a:pt x="2129" y="1224"/>
                </a:lnTo>
                <a:lnTo>
                  <a:pt x="2124" y="1228"/>
                </a:lnTo>
                <a:lnTo>
                  <a:pt x="2124" y="1218"/>
                </a:lnTo>
                <a:lnTo>
                  <a:pt x="2122" y="1215"/>
                </a:lnTo>
                <a:lnTo>
                  <a:pt x="2114" y="1211"/>
                </a:lnTo>
                <a:lnTo>
                  <a:pt x="2115" y="1205"/>
                </a:lnTo>
                <a:lnTo>
                  <a:pt x="2121" y="1205"/>
                </a:lnTo>
                <a:lnTo>
                  <a:pt x="2122" y="1205"/>
                </a:lnTo>
                <a:lnTo>
                  <a:pt x="2131" y="1205"/>
                </a:lnTo>
                <a:lnTo>
                  <a:pt x="2135" y="1205"/>
                </a:lnTo>
                <a:close/>
                <a:moveTo>
                  <a:pt x="2176" y="573"/>
                </a:moveTo>
                <a:lnTo>
                  <a:pt x="2178" y="573"/>
                </a:lnTo>
                <a:lnTo>
                  <a:pt x="2171" y="577"/>
                </a:lnTo>
                <a:lnTo>
                  <a:pt x="2164" y="578"/>
                </a:lnTo>
                <a:lnTo>
                  <a:pt x="2161" y="578"/>
                </a:lnTo>
                <a:lnTo>
                  <a:pt x="2153" y="581"/>
                </a:lnTo>
                <a:lnTo>
                  <a:pt x="2129" y="565"/>
                </a:lnTo>
                <a:lnTo>
                  <a:pt x="2126" y="564"/>
                </a:lnTo>
                <a:lnTo>
                  <a:pt x="2135" y="565"/>
                </a:lnTo>
                <a:lnTo>
                  <a:pt x="2150" y="573"/>
                </a:lnTo>
                <a:lnTo>
                  <a:pt x="2160" y="577"/>
                </a:lnTo>
                <a:lnTo>
                  <a:pt x="2167" y="577"/>
                </a:lnTo>
                <a:lnTo>
                  <a:pt x="2176" y="573"/>
                </a:lnTo>
                <a:close/>
                <a:moveTo>
                  <a:pt x="2159" y="1709"/>
                </a:moveTo>
                <a:lnTo>
                  <a:pt x="2160" y="1709"/>
                </a:lnTo>
                <a:lnTo>
                  <a:pt x="2156" y="1712"/>
                </a:lnTo>
                <a:lnTo>
                  <a:pt x="2157" y="1715"/>
                </a:lnTo>
                <a:lnTo>
                  <a:pt x="2156" y="1717"/>
                </a:lnTo>
                <a:lnTo>
                  <a:pt x="2156" y="1715"/>
                </a:lnTo>
                <a:lnTo>
                  <a:pt x="2151" y="1713"/>
                </a:lnTo>
                <a:lnTo>
                  <a:pt x="2139" y="1709"/>
                </a:lnTo>
                <a:lnTo>
                  <a:pt x="2139" y="1705"/>
                </a:lnTo>
                <a:lnTo>
                  <a:pt x="2142" y="1705"/>
                </a:lnTo>
                <a:lnTo>
                  <a:pt x="2149" y="1703"/>
                </a:lnTo>
                <a:lnTo>
                  <a:pt x="2150" y="1703"/>
                </a:lnTo>
                <a:lnTo>
                  <a:pt x="2154" y="1703"/>
                </a:lnTo>
                <a:lnTo>
                  <a:pt x="2153" y="1705"/>
                </a:lnTo>
                <a:lnTo>
                  <a:pt x="2159" y="1709"/>
                </a:lnTo>
                <a:close/>
                <a:moveTo>
                  <a:pt x="2079" y="75"/>
                </a:moveTo>
                <a:lnTo>
                  <a:pt x="2078" y="75"/>
                </a:lnTo>
                <a:lnTo>
                  <a:pt x="2071" y="75"/>
                </a:lnTo>
                <a:lnTo>
                  <a:pt x="2061" y="75"/>
                </a:lnTo>
                <a:lnTo>
                  <a:pt x="2058" y="75"/>
                </a:lnTo>
                <a:lnTo>
                  <a:pt x="2061" y="73"/>
                </a:lnTo>
                <a:lnTo>
                  <a:pt x="2062" y="71"/>
                </a:lnTo>
                <a:lnTo>
                  <a:pt x="2061" y="70"/>
                </a:lnTo>
                <a:lnTo>
                  <a:pt x="2061" y="65"/>
                </a:lnTo>
                <a:lnTo>
                  <a:pt x="2062" y="65"/>
                </a:lnTo>
                <a:lnTo>
                  <a:pt x="2071" y="71"/>
                </a:lnTo>
                <a:lnTo>
                  <a:pt x="2079" y="75"/>
                </a:lnTo>
                <a:close/>
                <a:moveTo>
                  <a:pt x="2182" y="716"/>
                </a:moveTo>
                <a:lnTo>
                  <a:pt x="2184" y="716"/>
                </a:lnTo>
                <a:lnTo>
                  <a:pt x="2179" y="719"/>
                </a:lnTo>
                <a:lnTo>
                  <a:pt x="2165" y="719"/>
                </a:lnTo>
                <a:lnTo>
                  <a:pt x="2162" y="720"/>
                </a:lnTo>
                <a:lnTo>
                  <a:pt x="2160" y="720"/>
                </a:lnTo>
                <a:lnTo>
                  <a:pt x="2160" y="716"/>
                </a:lnTo>
                <a:lnTo>
                  <a:pt x="2162" y="716"/>
                </a:lnTo>
                <a:lnTo>
                  <a:pt x="2171" y="719"/>
                </a:lnTo>
                <a:lnTo>
                  <a:pt x="2178" y="716"/>
                </a:lnTo>
                <a:lnTo>
                  <a:pt x="2182" y="716"/>
                </a:lnTo>
                <a:close/>
                <a:moveTo>
                  <a:pt x="2164" y="355"/>
                </a:moveTo>
                <a:lnTo>
                  <a:pt x="2165" y="355"/>
                </a:lnTo>
                <a:lnTo>
                  <a:pt x="2161" y="358"/>
                </a:lnTo>
                <a:lnTo>
                  <a:pt x="2160" y="359"/>
                </a:lnTo>
                <a:lnTo>
                  <a:pt x="2160" y="355"/>
                </a:lnTo>
                <a:lnTo>
                  <a:pt x="2159" y="355"/>
                </a:lnTo>
                <a:lnTo>
                  <a:pt x="2159" y="350"/>
                </a:lnTo>
                <a:lnTo>
                  <a:pt x="2157" y="346"/>
                </a:lnTo>
                <a:lnTo>
                  <a:pt x="2159" y="346"/>
                </a:lnTo>
                <a:lnTo>
                  <a:pt x="2160" y="350"/>
                </a:lnTo>
                <a:lnTo>
                  <a:pt x="2162" y="350"/>
                </a:lnTo>
                <a:lnTo>
                  <a:pt x="2164" y="355"/>
                </a:lnTo>
                <a:close/>
                <a:moveTo>
                  <a:pt x="2167" y="1610"/>
                </a:moveTo>
                <a:lnTo>
                  <a:pt x="2167" y="1615"/>
                </a:lnTo>
                <a:lnTo>
                  <a:pt x="2164" y="1615"/>
                </a:lnTo>
                <a:lnTo>
                  <a:pt x="2162" y="1614"/>
                </a:lnTo>
                <a:lnTo>
                  <a:pt x="2165" y="1606"/>
                </a:lnTo>
                <a:lnTo>
                  <a:pt x="2168" y="1606"/>
                </a:lnTo>
                <a:lnTo>
                  <a:pt x="2168" y="1607"/>
                </a:lnTo>
                <a:lnTo>
                  <a:pt x="2167" y="1610"/>
                </a:lnTo>
                <a:close/>
                <a:moveTo>
                  <a:pt x="2086" y="764"/>
                </a:moveTo>
                <a:lnTo>
                  <a:pt x="2087" y="765"/>
                </a:lnTo>
                <a:lnTo>
                  <a:pt x="2085" y="765"/>
                </a:lnTo>
                <a:lnTo>
                  <a:pt x="2080" y="764"/>
                </a:lnTo>
                <a:lnTo>
                  <a:pt x="2076" y="760"/>
                </a:lnTo>
                <a:lnTo>
                  <a:pt x="2076" y="756"/>
                </a:lnTo>
                <a:lnTo>
                  <a:pt x="2083" y="760"/>
                </a:lnTo>
                <a:lnTo>
                  <a:pt x="2086" y="764"/>
                </a:lnTo>
                <a:close/>
                <a:moveTo>
                  <a:pt x="2087" y="711"/>
                </a:moveTo>
                <a:lnTo>
                  <a:pt x="2089" y="711"/>
                </a:lnTo>
                <a:lnTo>
                  <a:pt x="2083" y="711"/>
                </a:lnTo>
                <a:lnTo>
                  <a:pt x="2079" y="707"/>
                </a:lnTo>
                <a:lnTo>
                  <a:pt x="2080" y="707"/>
                </a:lnTo>
                <a:lnTo>
                  <a:pt x="2082" y="707"/>
                </a:lnTo>
                <a:lnTo>
                  <a:pt x="2087" y="711"/>
                </a:lnTo>
                <a:close/>
                <a:moveTo>
                  <a:pt x="2058" y="1520"/>
                </a:moveTo>
                <a:lnTo>
                  <a:pt x="2057" y="1526"/>
                </a:lnTo>
                <a:lnTo>
                  <a:pt x="2052" y="1527"/>
                </a:lnTo>
                <a:lnTo>
                  <a:pt x="2054" y="1520"/>
                </a:lnTo>
                <a:lnTo>
                  <a:pt x="2055" y="1518"/>
                </a:lnTo>
                <a:lnTo>
                  <a:pt x="2058" y="1520"/>
                </a:lnTo>
                <a:close/>
                <a:moveTo>
                  <a:pt x="2151" y="1772"/>
                </a:moveTo>
                <a:lnTo>
                  <a:pt x="2151" y="1776"/>
                </a:lnTo>
                <a:lnTo>
                  <a:pt x="2149" y="1779"/>
                </a:lnTo>
                <a:lnTo>
                  <a:pt x="2147" y="1776"/>
                </a:lnTo>
                <a:lnTo>
                  <a:pt x="2146" y="1772"/>
                </a:lnTo>
                <a:lnTo>
                  <a:pt x="2146" y="1771"/>
                </a:lnTo>
                <a:lnTo>
                  <a:pt x="2150" y="1772"/>
                </a:lnTo>
                <a:lnTo>
                  <a:pt x="2151" y="1772"/>
                </a:lnTo>
                <a:close/>
                <a:moveTo>
                  <a:pt x="2051" y="2057"/>
                </a:moveTo>
                <a:lnTo>
                  <a:pt x="2051" y="2060"/>
                </a:lnTo>
                <a:lnTo>
                  <a:pt x="2050" y="2065"/>
                </a:lnTo>
                <a:lnTo>
                  <a:pt x="2050" y="2060"/>
                </a:lnTo>
                <a:lnTo>
                  <a:pt x="2047" y="2059"/>
                </a:lnTo>
                <a:lnTo>
                  <a:pt x="2049" y="2057"/>
                </a:lnTo>
                <a:lnTo>
                  <a:pt x="2051" y="2057"/>
                </a:lnTo>
                <a:close/>
                <a:moveTo>
                  <a:pt x="2145" y="1623"/>
                </a:moveTo>
                <a:lnTo>
                  <a:pt x="2145" y="1625"/>
                </a:lnTo>
                <a:lnTo>
                  <a:pt x="2143" y="1625"/>
                </a:lnTo>
                <a:lnTo>
                  <a:pt x="2142" y="1625"/>
                </a:lnTo>
                <a:lnTo>
                  <a:pt x="2143" y="1623"/>
                </a:lnTo>
                <a:lnTo>
                  <a:pt x="2140" y="1620"/>
                </a:lnTo>
                <a:lnTo>
                  <a:pt x="2140" y="1619"/>
                </a:lnTo>
                <a:lnTo>
                  <a:pt x="2145" y="1623"/>
                </a:lnTo>
                <a:close/>
                <a:moveTo>
                  <a:pt x="2147" y="1076"/>
                </a:moveTo>
                <a:lnTo>
                  <a:pt x="2149" y="1076"/>
                </a:lnTo>
                <a:lnTo>
                  <a:pt x="2145" y="1076"/>
                </a:lnTo>
                <a:lnTo>
                  <a:pt x="2145" y="1080"/>
                </a:lnTo>
                <a:lnTo>
                  <a:pt x="2137" y="1076"/>
                </a:lnTo>
                <a:lnTo>
                  <a:pt x="2147" y="1076"/>
                </a:lnTo>
                <a:close/>
                <a:moveTo>
                  <a:pt x="2087" y="1531"/>
                </a:moveTo>
                <a:lnTo>
                  <a:pt x="2089" y="1532"/>
                </a:lnTo>
                <a:lnTo>
                  <a:pt x="2083" y="1533"/>
                </a:lnTo>
                <a:lnTo>
                  <a:pt x="2083" y="1532"/>
                </a:lnTo>
                <a:lnTo>
                  <a:pt x="2083" y="1531"/>
                </a:lnTo>
                <a:lnTo>
                  <a:pt x="2085" y="1531"/>
                </a:lnTo>
                <a:lnTo>
                  <a:pt x="2087" y="1531"/>
                </a:lnTo>
                <a:close/>
                <a:moveTo>
                  <a:pt x="2097" y="1259"/>
                </a:moveTo>
                <a:lnTo>
                  <a:pt x="2096" y="1263"/>
                </a:lnTo>
                <a:lnTo>
                  <a:pt x="2093" y="1263"/>
                </a:lnTo>
                <a:lnTo>
                  <a:pt x="2093" y="1259"/>
                </a:lnTo>
                <a:lnTo>
                  <a:pt x="2094" y="1259"/>
                </a:lnTo>
                <a:lnTo>
                  <a:pt x="2097" y="1259"/>
                </a:lnTo>
                <a:close/>
                <a:moveTo>
                  <a:pt x="2128" y="672"/>
                </a:moveTo>
                <a:lnTo>
                  <a:pt x="2126" y="674"/>
                </a:lnTo>
                <a:lnTo>
                  <a:pt x="2122" y="672"/>
                </a:lnTo>
                <a:lnTo>
                  <a:pt x="2121" y="672"/>
                </a:lnTo>
                <a:lnTo>
                  <a:pt x="2124" y="672"/>
                </a:lnTo>
                <a:lnTo>
                  <a:pt x="2128" y="672"/>
                </a:lnTo>
                <a:close/>
                <a:moveTo>
                  <a:pt x="2052" y="1533"/>
                </a:moveTo>
                <a:lnTo>
                  <a:pt x="2052" y="1532"/>
                </a:lnTo>
                <a:lnTo>
                  <a:pt x="2052" y="1529"/>
                </a:lnTo>
                <a:lnTo>
                  <a:pt x="2054" y="1527"/>
                </a:lnTo>
                <a:lnTo>
                  <a:pt x="2052" y="1529"/>
                </a:lnTo>
                <a:lnTo>
                  <a:pt x="2054" y="1529"/>
                </a:lnTo>
                <a:lnTo>
                  <a:pt x="2055" y="1532"/>
                </a:lnTo>
                <a:lnTo>
                  <a:pt x="2052" y="1533"/>
                </a:lnTo>
                <a:close/>
                <a:moveTo>
                  <a:pt x="2061" y="1527"/>
                </a:moveTo>
                <a:lnTo>
                  <a:pt x="2060" y="1529"/>
                </a:lnTo>
                <a:lnTo>
                  <a:pt x="2057" y="1532"/>
                </a:lnTo>
                <a:lnTo>
                  <a:pt x="2057" y="1529"/>
                </a:lnTo>
                <a:lnTo>
                  <a:pt x="2058" y="1529"/>
                </a:lnTo>
                <a:lnTo>
                  <a:pt x="2061" y="1527"/>
                </a:lnTo>
                <a:close/>
                <a:moveTo>
                  <a:pt x="2032" y="1436"/>
                </a:moveTo>
                <a:lnTo>
                  <a:pt x="2029" y="1433"/>
                </a:lnTo>
                <a:lnTo>
                  <a:pt x="2029" y="1432"/>
                </a:lnTo>
                <a:lnTo>
                  <a:pt x="2029" y="1428"/>
                </a:lnTo>
                <a:lnTo>
                  <a:pt x="2032" y="1436"/>
                </a:lnTo>
                <a:close/>
                <a:moveTo>
                  <a:pt x="2091" y="1241"/>
                </a:moveTo>
                <a:lnTo>
                  <a:pt x="2090" y="1241"/>
                </a:lnTo>
                <a:lnTo>
                  <a:pt x="2087" y="1240"/>
                </a:lnTo>
                <a:lnTo>
                  <a:pt x="2091" y="1241"/>
                </a:lnTo>
                <a:close/>
                <a:moveTo>
                  <a:pt x="2027" y="1436"/>
                </a:moveTo>
                <a:lnTo>
                  <a:pt x="2030" y="1440"/>
                </a:lnTo>
                <a:lnTo>
                  <a:pt x="2026" y="1436"/>
                </a:lnTo>
                <a:lnTo>
                  <a:pt x="2027" y="1436"/>
                </a:lnTo>
                <a:close/>
                <a:moveTo>
                  <a:pt x="2114" y="1084"/>
                </a:moveTo>
                <a:lnTo>
                  <a:pt x="2114" y="1086"/>
                </a:lnTo>
                <a:lnTo>
                  <a:pt x="2112" y="1086"/>
                </a:lnTo>
                <a:lnTo>
                  <a:pt x="2111" y="1084"/>
                </a:lnTo>
                <a:lnTo>
                  <a:pt x="2114" y="1084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57" name="Freeform 56"/>
          <p:cNvSpPr>
            <a:spLocks noEditPoints="1"/>
          </p:cNvSpPr>
          <p:nvPr/>
        </p:nvSpPr>
        <p:spPr bwMode="auto">
          <a:xfrm>
            <a:off x="2819159" y="2658038"/>
            <a:ext cx="1000528" cy="906231"/>
          </a:xfrm>
          <a:custGeom>
            <a:avLst/>
            <a:gdLst>
              <a:gd name="T0" fmla="*/ 3326 w 3330"/>
              <a:gd name="T1" fmla="*/ 1006 h 2820"/>
              <a:gd name="T2" fmla="*/ 3299 w 3330"/>
              <a:gd name="T3" fmla="*/ 1124 h 2820"/>
              <a:gd name="T4" fmla="*/ 3165 w 3330"/>
              <a:gd name="T5" fmla="*/ 1137 h 2820"/>
              <a:gd name="T6" fmla="*/ 3270 w 3330"/>
              <a:gd name="T7" fmla="*/ 1250 h 2820"/>
              <a:gd name="T8" fmla="*/ 3201 w 3330"/>
              <a:gd name="T9" fmla="*/ 1237 h 2820"/>
              <a:gd name="T10" fmla="*/ 3183 w 3330"/>
              <a:gd name="T11" fmla="*/ 1240 h 2820"/>
              <a:gd name="T12" fmla="*/ 3169 w 3330"/>
              <a:gd name="T13" fmla="*/ 1318 h 2820"/>
              <a:gd name="T14" fmla="*/ 3069 w 3330"/>
              <a:gd name="T15" fmla="*/ 1386 h 2820"/>
              <a:gd name="T16" fmla="*/ 3145 w 3330"/>
              <a:gd name="T17" fmla="*/ 1369 h 2820"/>
              <a:gd name="T18" fmla="*/ 3120 w 3330"/>
              <a:gd name="T19" fmla="*/ 1607 h 2820"/>
              <a:gd name="T20" fmla="*/ 2994 w 3330"/>
              <a:gd name="T21" fmla="*/ 1760 h 2820"/>
              <a:gd name="T22" fmla="*/ 2757 w 3330"/>
              <a:gd name="T23" fmla="*/ 2024 h 2820"/>
              <a:gd name="T24" fmla="*/ 2684 w 3330"/>
              <a:gd name="T25" fmla="*/ 2183 h 2820"/>
              <a:gd name="T26" fmla="*/ 2558 w 3330"/>
              <a:gd name="T27" fmla="*/ 2246 h 2820"/>
              <a:gd name="T28" fmla="*/ 2499 w 3330"/>
              <a:gd name="T29" fmla="*/ 2356 h 2820"/>
              <a:gd name="T30" fmla="*/ 2429 w 3330"/>
              <a:gd name="T31" fmla="*/ 2473 h 2820"/>
              <a:gd name="T32" fmla="*/ 2051 w 3330"/>
              <a:gd name="T33" fmla="*/ 2648 h 2820"/>
              <a:gd name="T34" fmla="*/ 1956 w 3330"/>
              <a:gd name="T35" fmla="*/ 2738 h 2820"/>
              <a:gd name="T36" fmla="*/ 1870 w 3330"/>
              <a:gd name="T37" fmla="*/ 2580 h 2820"/>
              <a:gd name="T38" fmla="*/ 1873 w 3330"/>
              <a:gd name="T39" fmla="*/ 2434 h 2820"/>
              <a:gd name="T40" fmla="*/ 1785 w 3330"/>
              <a:gd name="T41" fmla="*/ 2188 h 2820"/>
              <a:gd name="T42" fmla="*/ 1752 w 3330"/>
              <a:gd name="T43" fmla="*/ 2019 h 2820"/>
              <a:gd name="T44" fmla="*/ 1644 w 3330"/>
              <a:gd name="T45" fmla="*/ 1859 h 2820"/>
              <a:gd name="T46" fmla="*/ 1463 w 3330"/>
              <a:gd name="T47" fmla="*/ 1715 h 2820"/>
              <a:gd name="T48" fmla="*/ 1256 w 3330"/>
              <a:gd name="T49" fmla="*/ 1602 h 2820"/>
              <a:gd name="T50" fmla="*/ 1110 w 3330"/>
              <a:gd name="T51" fmla="*/ 1515 h 2820"/>
              <a:gd name="T52" fmla="*/ 941 w 3330"/>
              <a:gd name="T53" fmla="*/ 1433 h 2820"/>
              <a:gd name="T54" fmla="*/ 763 w 3330"/>
              <a:gd name="T55" fmla="*/ 1440 h 2820"/>
              <a:gd name="T56" fmla="*/ 677 w 3330"/>
              <a:gd name="T57" fmla="*/ 1363 h 2820"/>
              <a:gd name="T58" fmla="*/ 571 w 3330"/>
              <a:gd name="T59" fmla="*/ 1385 h 2820"/>
              <a:gd name="T60" fmla="*/ 427 w 3330"/>
              <a:gd name="T61" fmla="*/ 1275 h 2820"/>
              <a:gd name="T62" fmla="*/ 107 w 3330"/>
              <a:gd name="T63" fmla="*/ 1133 h 2820"/>
              <a:gd name="T64" fmla="*/ 256 w 3330"/>
              <a:gd name="T65" fmla="*/ 988 h 2820"/>
              <a:gd name="T66" fmla="*/ 498 w 3330"/>
              <a:gd name="T67" fmla="*/ 897 h 2820"/>
              <a:gd name="T68" fmla="*/ 674 w 3330"/>
              <a:gd name="T69" fmla="*/ 767 h 2820"/>
              <a:gd name="T70" fmla="*/ 824 w 3330"/>
              <a:gd name="T71" fmla="*/ 686 h 2820"/>
              <a:gd name="T72" fmla="*/ 1066 w 3330"/>
              <a:gd name="T73" fmla="*/ 647 h 2820"/>
              <a:gd name="T74" fmla="*/ 1323 w 3330"/>
              <a:gd name="T75" fmla="*/ 576 h 2820"/>
              <a:gd name="T76" fmla="*/ 1581 w 3330"/>
              <a:gd name="T77" fmla="*/ 557 h 2820"/>
              <a:gd name="T78" fmla="*/ 1871 w 3330"/>
              <a:gd name="T79" fmla="*/ 456 h 2820"/>
              <a:gd name="T80" fmla="*/ 2111 w 3330"/>
              <a:gd name="T81" fmla="*/ 361 h 2820"/>
              <a:gd name="T82" fmla="*/ 2271 w 3330"/>
              <a:gd name="T83" fmla="*/ 251 h 2820"/>
              <a:gd name="T84" fmla="*/ 2475 w 3330"/>
              <a:gd name="T85" fmla="*/ 179 h 2820"/>
              <a:gd name="T86" fmla="*/ 2686 w 3330"/>
              <a:gd name="T87" fmla="*/ 42 h 2820"/>
              <a:gd name="T88" fmla="*/ 2942 w 3330"/>
              <a:gd name="T89" fmla="*/ 6 h 2820"/>
              <a:gd name="T90" fmla="*/ 3092 w 3330"/>
              <a:gd name="T91" fmla="*/ 93 h 2820"/>
              <a:gd name="T92" fmla="*/ 3103 w 3330"/>
              <a:gd name="T93" fmla="*/ 201 h 2820"/>
              <a:gd name="T94" fmla="*/ 3152 w 3330"/>
              <a:gd name="T95" fmla="*/ 442 h 2820"/>
              <a:gd name="T96" fmla="*/ 3141 w 3330"/>
              <a:gd name="T97" fmla="*/ 553 h 2820"/>
              <a:gd name="T98" fmla="*/ 3106 w 3330"/>
              <a:gd name="T99" fmla="*/ 632 h 2820"/>
              <a:gd name="T100" fmla="*/ 3133 w 3330"/>
              <a:gd name="T101" fmla="*/ 658 h 2820"/>
              <a:gd name="T102" fmla="*/ 3194 w 3330"/>
              <a:gd name="T103" fmla="*/ 605 h 2820"/>
              <a:gd name="T104" fmla="*/ 3162 w 3330"/>
              <a:gd name="T105" fmla="*/ 710 h 2820"/>
              <a:gd name="T106" fmla="*/ 3176 w 3330"/>
              <a:gd name="T107" fmla="*/ 838 h 2820"/>
              <a:gd name="T108" fmla="*/ 3151 w 3330"/>
              <a:gd name="T109" fmla="*/ 933 h 2820"/>
              <a:gd name="T110" fmla="*/ 3219 w 3330"/>
              <a:gd name="T111" fmla="*/ 805 h 2820"/>
              <a:gd name="T112" fmla="*/ 3268 w 3330"/>
              <a:gd name="T113" fmla="*/ 888 h 2820"/>
              <a:gd name="T114" fmla="*/ 2572 w 3330"/>
              <a:gd name="T115" fmla="*/ 2393 h 2820"/>
              <a:gd name="T116" fmla="*/ 2539 w 3330"/>
              <a:gd name="T117" fmla="*/ 2311 h 2820"/>
              <a:gd name="T118" fmla="*/ 2598 w 3330"/>
              <a:gd name="T119" fmla="*/ 2312 h 2820"/>
              <a:gd name="T120" fmla="*/ 3316 w 3330"/>
              <a:gd name="T121" fmla="*/ 1145 h 2820"/>
              <a:gd name="T122" fmla="*/ 3291 w 3330"/>
              <a:gd name="T123" fmla="*/ 1287 h 28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330"/>
              <a:gd name="T187" fmla="*/ 0 h 2820"/>
              <a:gd name="T188" fmla="*/ 3330 w 3330"/>
              <a:gd name="T189" fmla="*/ 2820 h 28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330" h="2820">
                <a:moveTo>
                  <a:pt x="1920" y="2807"/>
                </a:moveTo>
                <a:lnTo>
                  <a:pt x="1920" y="2813"/>
                </a:lnTo>
                <a:lnTo>
                  <a:pt x="1916" y="2820"/>
                </a:lnTo>
                <a:lnTo>
                  <a:pt x="1912" y="2820"/>
                </a:lnTo>
                <a:lnTo>
                  <a:pt x="1904" y="2817"/>
                </a:lnTo>
                <a:lnTo>
                  <a:pt x="1902" y="2816"/>
                </a:lnTo>
                <a:lnTo>
                  <a:pt x="1902" y="2813"/>
                </a:lnTo>
                <a:lnTo>
                  <a:pt x="1905" y="2812"/>
                </a:lnTo>
                <a:lnTo>
                  <a:pt x="1904" y="2807"/>
                </a:lnTo>
                <a:lnTo>
                  <a:pt x="1904" y="2802"/>
                </a:lnTo>
                <a:lnTo>
                  <a:pt x="1909" y="2802"/>
                </a:lnTo>
                <a:lnTo>
                  <a:pt x="1916" y="2807"/>
                </a:lnTo>
                <a:lnTo>
                  <a:pt x="1920" y="2807"/>
                </a:lnTo>
                <a:close/>
                <a:moveTo>
                  <a:pt x="3323" y="892"/>
                </a:moveTo>
                <a:lnTo>
                  <a:pt x="3321" y="904"/>
                </a:lnTo>
                <a:lnTo>
                  <a:pt x="3318" y="909"/>
                </a:lnTo>
                <a:lnTo>
                  <a:pt x="3316" y="922"/>
                </a:lnTo>
                <a:lnTo>
                  <a:pt x="3313" y="930"/>
                </a:lnTo>
                <a:lnTo>
                  <a:pt x="3308" y="936"/>
                </a:lnTo>
                <a:lnTo>
                  <a:pt x="3305" y="936"/>
                </a:lnTo>
                <a:lnTo>
                  <a:pt x="3304" y="939"/>
                </a:lnTo>
                <a:lnTo>
                  <a:pt x="3299" y="941"/>
                </a:lnTo>
                <a:lnTo>
                  <a:pt x="3298" y="950"/>
                </a:lnTo>
                <a:lnTo>
                  <a:pt x="3299" y="954"/>
                </a:lnTo>
                <a:lnTo>
                  <a:pt x="3301" y="955"/>
                </a:lnTo>
                <a:lnTo>
                  <a:pt x="3301" y="958"/>
                </a:lnTo>
                <a:lnTo>
                  <a:pt x="3304" y="959"/>
                </a:lnTo>
                <a:lnTo>
                  <a:pt x="3304" y="963"/>
                </a:lnTo>
                <a:lnTo>
                  <a:pt x="3311" y="972"/>
                </a:lnTo>
                <a:lnTo>
                  <a:pt x="3313" y="972"/>
                </a:lnTo>
                <a:lnTo>
                  <a:pt x="3315" y="972"/>
                </a:lnTo>
                <a:lnTo>
                  <a:pt x="3319" y="972"/>
                </a:lnTo>
                <a:lnTo>
                  <a:pt x="3321" y="972"/>
                </a:lnTo>
                <a:lnTo>
                  <a:pt x="3323" y="976"/>
                </a:lnTo>
                <a:lnTo>
                  <a:pt x="3323" y="979"/>
                </a:lnTo>
                <a:lnTo>
                  <a:pt x="3324" y="980"/>
                </a:lnTo>
                <a:lnTo>
                  <a:pt x="3329" y="993"/>
                </a:lnTo>
                <a:lnTo>
                  <a:pt x="3326" y="1006"/>
                </a:lnTo>
                <a:lnTo>
                  <a:pt x="3327" y="1010"/>
                </a:lnTo>
                <a:lnTo>
                  <a:pt x="3327" y="1017"/>
                </a:lnTo>
                <a:lnTo>
                  <a:pt x="3329" y="1017"/>
                </a:lnTo>
                <a:lnTo>
                  <a:pt x="3327" y="1023"/>
                </a:lnTo>
                <a:lnTo>
                  <a:pt x="3329" y="1030"/>
                </a:lnTo>
                <a:lnTo>
                  <a:pt x="3327" y="1033"/>
                </a:lnTo>
                <a:lnTo>
                  <a:pt x="3329" y="1034"/>
                </a:lnTo>
                <a:lnTo>
                  <a:pt x="3329" y="1043"/>
                </a:lnTo>
                <a:lnTo>
                  <a:pt x="3327" y="1072"/>
                </a:lnTo>
                <a:lnTo>
                  <a:pt x="3326" y="1072"/>
                </a:lnTo>
                <a:lnTo>
                  <a:pt x="3326" y="1066"/>
                </a:lnTo>
                <a:lnTo>
                  <a:pt x="3324" y="1066"/>
                </a:lnTo>
                <a:lnTo>
                  <a:pt x="3323" y="1066"/>
                </a:lnTo>
                <a:lnTo>
                  <a:pt x="3323" y="1068"/>
                </a:lnTo>
                <a:lnTo>
                  <a:pt x="3322" y="1068"/>
                </a:lnTo>
                <a:lnTo>
                  <a:pt x="3319" y="1068"/>
                </a:lnTo>
                <a:lnTo>
                  <a:pt x="3316" y="1075"/>
                </a:lnTo>
                <a:lnTo>
                  <a:pt x="3318" y="1082"/>
                </a:lnTo>
                <a:lnTo>
                  <a:pt x="3313" y="1085"/>
                </a:lnTo>
                <a:lnTo>
                  <a:pt x="3312" y="1088"/>
                </a:lnTo>
                <a:lnTo>
                  <a:pt x="3315" y="1097"/>
                </a:lnTo>
                <a:lnTo>
                  <a:pt x="3319" y="1097"/>
                </a:lnTo>
                <a:lnTo>
                  <a:pt x="3322" y="1100"/>
                </a:lnTo>
                <a:lnTo>
                  <a:pt x="3321" y="1095"/>
                </a:lnTo>
                <a:lnTo>
                  <a:pt x="3322" y="1095"/>
                </a:lnTo>
                <a:lnTo>
                  <a:pt x="3324" y="1092"/>
                </a:lnTo>
                <a:lnTo>
                  <a:pt x="3326" y="1092"/>
                </a:lnTo>
                <a:lnTo>
                  <a:pt x="3326" y="1105"/>
                </a:lnTo>
                <a:lnTo>
                  <a:pt x="3327" y="1105"/>
                </a:lnTo>
                <a:lnTo>
                  <a:pt x="3324" y="1118"/>
                </a:lnTo>
                <a:lnTo>
                  <a:pt x="3323" y="1120"/>
                </a:lnTo>
                <a:lnTo>
                  <a:pt x="3323" y="1110"/>
                </a:lnTo>
                <a:lnTo>
                  <a:pt x="3319" y="1109"/>
                </a:lnTo>
                <a:lnTo>
                  <a:pt x="3313" y="1110"/>
                </a:lnTo>
                <a:lnTo>
                  <a:pt x="3309" y="1113"/>
                </a:lnTo>
                <a:lnTo>
                  <a:pt x="3305" y="1118"/>
                </a:lnTo>
                <a:lnTo>
                  <a:pt x="3304" y="1126"/>
                </a:lnTo>
                <a:lnTo>
                  <a:pt x="3299" y="1124"/>
                </a:lnTo>
                <a:lnTo>
                  <a:pt x="3288" y="1124"/>
                </a:lnTo>
                <a:lnTo>
                  <a:pt x="3276" y="1128"/>
                </a:lnTo>
                <a:lnTo>
                  <a:pt x="3270" y="1135"/>
                </a:lnTo>
                <a:lnTo>
                  <a:pt x="3272" y="1137"/>
                </a:lnTo>
                <a:lnTo>
                  <a:pt x="3274" y="1137"/>
                </a:lnTo>
                <a:lnTo>
                  <a:pt x="3262" y="1149"/>
                </a:lnTo>
                <a:lnTo>
                  <a:pt x="3259" y="1146"/>
                </a:lnTo>
                <a:lnTo>
                  <a:pt x="3251" y="1150"/>
                </a:lnTo>
                <a:lnTo>
                  <a:pt x="3247" y="1150"/>
                </a:lnTo>
                <a:lnTo>
                  <a:pt x="3241" y="1153"/>
                </a:lnTo>
                <a:lnTo>
                  <a:pt x="3236" y="1158"/>
                </a:lnTo>
                <a:lnTo>
                  <a:pt x="3223" y="1159"/>
                </a:lnTo>
                <a:lnTo>
                  <a:pt x="3215" y="1167"/>
                </a:lnTo>
                <a:lnTo>
                  <a:pt x="3212" y="1167"/>
                </a:lnTo>
                <a:lnTo>
                  <a:pt x="3209" y="1169"/>
                </a:lnTo>
                <a:lnTo>
                  <a:pt x="3205" y="1169"/>
                </a:lnTo>
                <a:lnTo>
                  <a:pt x="3201" y="1171"/>
                </a:lnTo>
                <a:lnTo>
                  <a:pt x="3194" y="1171"/>
                </a:lnTo>
                <a:lnTo>
                  <a:pt x="3182" y="1172"/>
                </a:lnTo>
                <a:lnTo>
                  <a:pt x="3179" y="1172"/>
                </a:lnTo>
                <a:lnTo>
                  <a:pt x="3187" y="1169"/>
                </a:lnTo>
                <a:lnTo>
                  <a:pt x="3188" y="1163"/>
                </a:lnTo>
                <a:lnTo>
                  <a:pt x="3183" y="1159"/>
                </a:lnTo>
                <a:lnTo>
                  <a:pt x="3183" y="1149"/>
                </a:lnTo>
                <a:lnTo>
                  <a:pt x="3177" y="1145"/>
                </a:lnTo>
                <a:lnTo>
                  <a:pt x="3176" y="1141"/>
                </a:lnTo>
                <a:lnTo>
                  <a:pt x="3173" y="1140"/>
                </a:lnTo>
                <a:lnTo>
                  <a:pt x="3170" y="1128"/>
                </a:lnTo>
                <a:lnTo>
                  <a:pt x="3172" y="1122"/>
                </a:lnTo>
                <a:lnTo>
                  <a:pt x="3177" y="1122"/>
                </a:lnTo>
                <a:lnTo>
                  <a:pt x="3177" y="1120"/>
                </a:lnTo>
                <a:lnTo>
                  <a:pt x="3170" y="1122"/>
                </a:lnTo>
                <a:lnTo>
                  <a:pt x="3168" y="1124"/>
                </a:lnTo>
                <a:lnTo>
                  <a:pt x="3166" y="1126"/>
                </a:lnTo>
                <a:lnTo>
                  <a:pt x="3166" y="1130"/>
                </a:lnTo>
                <a:lnTo>
                  <a:pt x="3165" y="1135"/>
                </a:lnTo>
                <a:lnTo>
                  <a:pt x="3166" y="1135"/>
                </a:lnTo>
                <a:lnTo>
                  <a:pt x="3165" y="1137"/>
                </a:lnTo>
                <a:lnTo>
                  <a:pt x="3166" y="1137"/>
                </a:lnTo>
                <a:lnTo>
                  <a:pt x="3166" y="1141"/>
                </a:lnTo>
                <a:lnTo>
                  <a:pt x="3165" y="1141"/>
                </a:lnTo>
                <a:lnTo>
                  <a:pt x="3169" y="1146"/>
                </a:lnTo>
                <a:lnTo>
                  <a:pt x="3169" y="1150"/>
                </a:lnTo>
                <a:lnTo>
                  <a:pt x="3174" y="1153"/>
                </a:lnTo>
                <a:lnTo>
                  <a:pt x="3177" y="1155"/>
                </a:lnTo>
                <a:lnTo>
                  <a:pt x="3174" y="1163"/>
                </a:lnTo>
                <a:lnTo>
                  <a:pt x="3176" y="1180"/>
                </a:lnTo>
                <a:lnTo>
                  <a:pt x="3179" y="1182"/>
                </a:lnTo>
                <a:lnTo>
                  <a:pt x="3190" y="1192"/>
                </a:lnTo>
                <a:lnTo>
                  <a:pt x="3208" y="1199"/>
                </a:lnTo>
                <a:lnTo>
                  <a:pt x="3215" y="1203"/>
                </a:lnTo>
                <a:lnTo>
                  <a:pt x="3220" y="1201"/>
                </a:lnTo>
                <a:lnTo>
                  <a:pt x="3220" y="1199"/>
                </a:lnTo>
                <a:lnTo>
                  <a:pt x="3213" y="1199"/>
                </a:lnTo>
                <a:lnTo>
                  <a:pt x="3210" y="1195"/>
                </a:lnTo>
                <a:lnTo>
                  <a:pt x="3212" y="1194"/>
                </a:lnTo>
                <a:lnTo>
                  <a:pt x="3209" y="1194"/>
                </a:lnTo>
                <a:lnTo>
                  <a:pt x="3209" y="1192"/>
                </a:lnTo>
                <a:lnTo>
                  <a:pt x="3215" y="1191"/>
                </a:lnTo>
                <a:lnTo>
                  <a:pt x="3223" y="1195"/>
                </a:lnTo>
                <a:lnTo>
                  <a:pt x="3227" y="1195"/>
                </a:lnTo>
                <a:lnTo>
                  <a:pt x="3232" y="1192"/>
                </a:lnTo>
                <a:lnTo>
                  <a:pt x="3237" y="1195"/>
                </a:lnTo>
                <a:lnTo>
                  <a:pt x="3245" y="1195"/>
                </a:lnTo>
                <a:lnTo>
                  <a:pt x="3249" y="1197"/>
                </a:lnTo>
                <a:lnTo>
                  <a:pt x="3249" y="1203"/>
                </a:lnTo>
                <a:lnTo>
                  <a:pt x="3255" y="1221"/>
                </a:lnTo>
                <a:lnTo>
                  <a:pt x="3258" y="1225"/>
                </a:lnTo>
                <a:lnTo>
                  <a:pt x="3262" y="1231"/>
                </a:lnTo>
                <a:lnTo>
                  <a:pt x="3268" y="1238"/>
                </a:lnTo>
                <a:lnTo>
                  <a:pt x="3279" y="1244"/>
                </a:lnTo>
                <a:lnTo>
                  <a:pt x="3279" y="1248"/>
                </a:lnTo>
                <a:lnTo>
                  <a:pt x="3276" y="1251"/>
                </a:lnTo>
                <a:lnTo>
                  <a:pt x="3276" y="1256"/>
                </a:lnTo>
                <a:lnTo>
                  <a:pt x="3272" y="1261"/>
                </a:lnTo>
                <a:lnTo>
                  <a:pt x="3270" y="1250"/>
                </a:lnTo>
                <a:lnTo>
                  <a:pt x="3266" y="1249"/>
                </a:lnTo>
                <a:lnTo>
                  <a:pt x="3258" y="1249"/>
                </a:lnTo>
                <a:lnTo>
                  <a:pt x="3258" y="1251"/>
                </a:lnTo>
                <a:lnTo>
                  <a:pt x="3255" y="1253"/>
                </a:lnTo>
                <a:lnTo>
                  <a:pt x="3252" y="1257"/>
                </a:lnTo>
                <a:lnTo>
                  <a:pt x="3252" y="1253"/>
                </a:lnTo>
                <a:lnTo>
                  <a:pt x="3255" y="1249"/>
                </a:lnTo>
                <a:lnTo>
                  <a:pt x="3259" y="1246"/>
                </a:lnTo>
                <a:lnTo>
                  <a:pt x="3261" y="1242"/>
                </a:lnTo>
                <a:lnTo>
                  <a:pt x="3263" y="1242"/>
                </a:lnTo>
                <a:lnTo>
                  <a:pt x="3261" y="1240"/>
                </a:lnTo>
                <a:lnTo>
                  <a:pt x="3259" y="1240"/>
                </a:lnTo>
                <a:lnTo>
                  <a:pt x="3257" y="1246"/>
                </a:lnTo>
                <a:lnTo>
                  <a:pt x="3257" y="1244"/>
                </a:lnTo>
                <a:lnTo>
                  <a:pt x="3255" y="1244"/>
                </a:lnTo>
                <a:lnTo>
                  <a:pt x="3251" y="1249"/>
                </a:lnTo>
                <a:lnTo>
                  <a:pt x="3254" y="1244"/>
                </a:lnTo>
                <a:lnTo>
                  <a:pt x="3252" y="1242"/>
                </a:lnTo>
                <a:lnTo>
                  <a:pt x="3251" y="1244"/>
                </a:lnTo>
                <a:lnTo>
                  <a:pt x="3251" y="1240"/>
                </a:lnTo>
                <a:lnTo>
                  <a:pt x="3249" y="1242"/>
                </a:lnTo>
                <a:lnTo>
                  <a:pt x="3247" y="1242"/>
                </a:lnTo>
                <a:lnTo>
                  <a:pt x="3245" y="1248"/>
                </a:lnTo>
                <a:lnTo>
                  <a:pt x="3245" y="1240"/>
                </a:lnTo>
                <a:lnTo>
                  <a:pt x="3241" y="1240"/>
                </a:lnTo>
                <a:lnTo>
                  <a:pt x="3240" y="1242"/>
                </a:lnTo>
                <a:lnTo>
                  <a:pt x="3237" y="1242"/>
                </a:lnTo>
                <a:lnTo>
                  <a:pt x="3232" y="1242"/>
                </a:lnTo>
                <a:lnTo>
                  <a:pt x="3227" y="1240"/>
                </a:lnTo>
                <a:lnTo>
                  <a:pt x="3215" y="1242"/>
                </a:lnTo>
                <a:lnTo>
                  <a:pt x="3215" y="1240"/>
                </a:lnTo>
                <a:lnTo>
                  <a:pt x="3209" y="1240"/>
                </a:lnTo>
                <a:lnTo>
                  <a:pt x="3208" y="1244"/>
                </a:lnTo>
                <a:lnTo>
                  <a:pt x="3202" y="1244"/>
                </a:lnTo>
                <a:lnTo>
                  <a:pt x="3201" y="1240"/>
                </a:lnTo>
                <a:lnTo>
                  <a:pt x="3198" y="1242"/>
                </a:lnTo>
                <a:lnTo>
                  <a:pt x="3198" y="1238"/>
                </a:lnTo>
                <a:lnTo>
                  <a:pt x="3201" y="1237"/>
                </a:lnTo>
                <a:lnTo>
                  <a:pt x="3201" y="1234"/>
                </a:lnTo>
                <a:lnTo>
                  <a:pt x="3195" y="1234"/>
                </a:lnTo>
                <a:lnTo>
                  <a:pt x="3194" y="1234"/>
                </a:lnTo>
                <a:lnTo>
                  <a:pt x="3188" y="1224"/>
                </a:lnTo>
                <a:lnTo>
                  <a:pt x="3184" y="1221"/>
                </a:lnTo>
                <a:lnTo>
                  <a:pt x="3176" y="1224"/>
                </a:lnTo>
                <a:lnTo>
                  <a:pt x="3172" y="1224"/>
                </a:lnTo>
                <a:lnTo>
                  <a:pt x="3170" y="1221"/>
                </a:lnTo>
                <a:lnTo>
                  <a:pt x="3172" y="1217"/>
                </a:lnTo>
                <a:lnTo>
                  <a:pt x="3169" y="1215"/>
                </a:lnTo>
                <a:lnTo>
                  <a:pt x="3168" y="1216"/>
                </a:lnTo>
                <a:lnTo>
                  <a:pt x="3166" y="1221"/>
                </a:lnTo>
                <a:lnTo>
                  <a:pt x="3166" y="1226"/>
                </a:lnTo>
                <a:lnTo>
                  <a:pt x="3168" y="1226"/>
                </a:lnTo>
                <a:lnTo>
                  <a:pt x="3170" y="1231"/>
                </a:lnTo>
                <a:lnTo>
                  <a:pt x="3177" y="1229"/>
                </a:lnTo>
                <a:lnTo>
                  <a:pt x="3179" y="1231"/>
                </a:lnTo>
                <a:lnTo>
                  <a:pt x="3173" y="1237"/>
                </a:lnTo>
                <a:lnTo>
                  <a:pt x="3169" y="1238"/>
                </a:lnTo>
                <a:lnTo>
                  <a:pt x="3162" y="1234"/>
                </a:lnTo>
                <a:lnTo>
                  <a:pt x="3159" y="1234"/>
                </a:lnTo>
                <a:lnTo>
                  <a:pt x="3155" y="1240"/>
                </a:lnTo>
                <a:lnTo>
                  <a:pt x="3152" y="1244"/>
                </a:lnTo>
                <a:lnTo>
                  <a:pt x="3154" y="1244"/>
                </a:lnTo>
                <a:lnTo>
                  <a:pt x="3155" y="1244"/>
                </a:lnTo>
                <a:lnTo>
                  <a:pt x="3159" y="1238"/>
                </a:lnTo>
                <a:lnTo>
                  <a:pt x="3168" y="1240"/>
                </a:lnTo>
                <a:lnTo>
                  <a:pt x="3176" y="1244"/>
                </a:lnTo>
                <a:lnTo>
                  <a:pt x="3179" y="1250"/>
                </a:lnTo>
                <a:lnTo>
                  <a:pt x="3179" y="1253"/>
                </a:lnTo>
                <a:lnTo>
                  <a:pt x="3182" y="1253"/>
                </a:lnTo>
                <a:lnTo>
                  <a:pt x="3182" y="1257"/>
                </a:lnTo>
                <a:lnTo>
                  <a:pt x="3184" y="1259"/>
                </a:lnTo>
                <a:lnTo>
                  <a:pt x="3185" y="1257"/>
                </a:lnTo>
                <a:lnTo>
                  <a:pt x="3184" y="1253"/>
                </a:lnTo>
                <a:lnTo>
                  <a:pt x="3184" y="1250"/>
                </a:lnTo>
                <a:lnTo>
                  <a:pt x="3182" y="1244"/>
                </a:lnTo>
                <a:lnTo>
                  <a:pt x="3183" y="1240"/>
                </a:lnTo>
                <a:lnTo>
                  <a:pt x="3185" y="1250"/>
                </a:lnTo>
                <a:lnTo>
                  <a:pt x="3188" y="1251"/>
                </a:lnTo>
                <a:lnTo>
                  <a:pt x="3193" y="1257"/>
                </a:lnTo>
                <a:lnTo>
                  <a:pt x="3197" y="1263"/>
                </a:lnTo>
                <a:lnTo>
                  <a:pt x="3207" y="1270"/>
                </a:lnTo>
                <a:lnTo>
                  <a:pt x="3209" y="1273"/>
                </a:lnTo>
                <a:lnTo>
                  <a:pt x="3212" y="1273"/>
                </a:lnTo>
                <a:lnTo>
                  <a:pt x="3215" y="1275"/>
                </a:lnTo>
                <a:lnTo>
                  <a:pt x="3215" y="1283"/>
                </a:lnTo>
                <a:lnTo>
                  <a:pt x="3218" y="1284"/>
                </a:lnTo>
                <a:lnTo>
                  <a:pt x="3213" y="1287"/>
                </a:lnTo>
                <a:lnTo>
                  <a:pt x="3213" y="1291"/>
                </a:lnTo>
                <a:lnTo>
                  <a:pt x="3219" y="1300"/>
                </a:lnTo>
                <a:lnTo>
                  <a:pt x="3223" y="1301"/>
                </a:lnTo>
                <a:lnTo>
                  <a:pt x="3227" y="1307"/>
                </a:lnTo>
                <a:lnTo>
                  <a:pt x="3229" y="1309"/>
                </a:lnTo>
                <a:lnTo>
                  <a:pt x="3226" y="1313"/>
                </a:lnTo>
                <a:lnTo>
                  <a:pt x="3229" y="1315"/>
                </a:lnTo>
                <a:lnTo>
                  <a:pt x="3224" y="1319"/>
                </a:lnTo>
                <a:lnTo>
                  <a:pt x="3219" y="1319"/>
                </a:lnTo>
                <a:lnTo>
                  <a:pt x="3212" y="1323"/>
                </a:lnTo>
                <a:lnTo>
                  <a:pt x="3208" y="1321"/>
                </a:lnTo>
                <a:lnTo>
                  <a:pt x="3199" y="1323"/>
                </a:lnTo>
                <a:lnTo>
                  <a:pt x="3195" y="1324"/>
                </a:lnTo>
                <a:lnTo>
                  <a:pt x="3190" y="1324"/>
                </a:lnTo>
                <a:lnTo>
                  <a:pt x="3191" y="1324"/>
                </a:lnTo>
                <a:lnTo>
                  <a:pt x="3190" y="1323"/>
                </a:lnTo>
                <a:lnTo>
                  <a:pt x="3187" y="1324"/>
                </a:lnTo>
                <a:lnTo>
                  <a:pt x="3185" y="1324"/>
                </a:lnTo>
                <a:lnTo>
                  <a:pt x="3187" y="1324"/>
                </a:lnTo>
                <a:lnTo>
                  <a:pt x="3185" y="1321"/>
                </a:lnTo>
                <a:lnTo>
                  <a:pt x="3180" y="1323"/>
                </a:lnTo>
                <a:lnTo>
                  <a:pt x="3182" y="1321"/>
                </a:lnTo>
                <a:lnTo>
                  <a:pt x="3182" y="1320"/>
                </a:lnTo>
                <a:lnTo>
                  <a:pt x="3179" y="1320"/>
                </a:lnTo>
                <a:lnTo>
                  <a:pt x="3176" y="1321"/>
                </a:lnTo>
                <a:lnTo>
                  <a:pt x="3173" y="1321"/>
                </a:lnTo>
                <a:lnTo>
                  <a:pt x="3169" y="1318"/>
                </a:lnTo>
                <a:lnTo>
                  <a:pt x="3165" y="1319"/>
                </a:lnTo>
                <a:lnTo>
                  <a:pt x="3159" y="1321"/>
                </a:lnTo>
                <a:lnTo>
                  <a:pt x="3154" y="1328"/>
                </a:lnTo>
                <a:lnTo>
                  <a:pt x="3151" y="1333"/>
                </a:lnTo>
                <a:lnTo>
                  <a:pt x="3145" y="1336"/>
                </a:lnTo>
                <a:lnTo>
                  <a:pt x="3143" y="1340"/>
                </a:lnTo>
                <a:lnTo>
                  <a:pt x="3140" y="1340"/>
                </a:lnTo>
                <a:lnTo>
                  <a:pt x="3138" y="1343"/>
                </a:lnTo>
                <a:lnTo>
                  <a:pt x="3137" y="1346"/>
                </a:lnTo>
                <a:lnTo>
                  <a:pt x="3134" y="1346"/>
                </a:lnTo>
                <a:lnTo>
                  <a:pt x="3134" y="1350"/>
                </a:lnTo>
                <a:lnTo>
                  <a:pt x="3129" y="1353"/>
                </a:lnTo>
                <a:lnTo>
                  <a:pt x="3126" y="1357"/>
                </a:lnTo>
                <a:lnTo>
                  <a:pt x="3124" y="1360"/>
                </a:lnTo>
                <a:lnTo>
                  <a:pt x="3123" y="1363"/>
                </a:lnTo>
                <a:lnTo>
                  <a:pt x="3122" y="1362"/>
                </a:lnTo>
                <a:lnTo>
                  <a:pt x="3120" y="1360"/>
                </a:lnTo>
                <a:lnTo>
                  <a:pt x="3117" y="1360"/>
                </a:lnTo>
                <a:lnTo>
                  <a:pt x="3115" y="1356"/>
                </a:lnTo>
                <a:lnTo>
                  <a:pt x="3110" y="1354"/>
                </a:lnTo>
                <a:lnTo>
                  <a:pt x="3109" y="1350"/>
                </a:lnTo>
                <a:lnTo>
                  <a:pt x="3105" y="1346"/>
                </a:lnTo>
                <a:lnTo>
                  <a:pt x="3094" y="1346"/>
                </a:lnTo>
                <a:lnTo>
                  <a:pt x="3089" y="1356"/>
                </a:lnTo>
                <a:lnTo>
                  <a:pt x="3088" y="1350"/>
                </a:lnTo>
                <a:lnTo>
                  <a:pt x="3084" y="1346"/>
                </a:lnTo>
                <a:lnTo>
                  <a:pt x="3078" y="1350"/>
                </a:lnTo>
                <a:lnTo>
                  <a:pt x="3076" y="1354"/>
                </a:lnTo>
                <a:lnTo>
                  <a:pt x="3076" y="1358"/>
                </a:lnTo>
                <a:lnTo>
                  <a:pt x="3077" y="1362"/>
                </a:lnTo>
                <a:lnTo>
                  <a:pt x="3076" y="1369"/>
                </a:lnTo>
                <a:lnTo>
                  <a:pt x="3074" y="1373"/>
                </a:lnTo>
                <a:lnTo>
                  <a:pt x="3072" y="1373"/>
                </a:lnTo>
                <a:lnTo>
                  <a:pt x="3070" y="1375"/>
                </a:lnTo>
                <a:lnTo>
                  <a:pt x="3070" y="1377"/>
                </a:lnTo>
                <a:lnTo>
                  <a:pt x="3073" y="1377"/>
                </a:lnTo>
                <a:lnTo>
                  <a:pt x="3072" y="1385"/>
                </a:lnTo>
                <a:lnTo>
                  <a:pt x="3069" y="1386"/>
                </a:lnTo>
                <a:lnTo>
                  <a:pt x="3066" y="1382"/>
                </a:lnTo>
                <a:lnTo>
                  <a:pt x="3064" y="1386"/>
                </a:lnTo>
                <a:lnTo>
                  <a:pt x="3063" y="1382"/>
                </a:lnTo>
                <a:lnTo>
                  <a:pt x="3059" y="1382"/>
                </a:lnTo>
                <a:lnTo>
                  <a:pt x="3059" y="1390"/>
                </a:lnTo>
                <a:lnTo>
                  <a:pt x="3060" y="1391"/>
                </a:lnTo>
                <a:lnTo>
                  <a:pt x="3058" y="1393"/>
                </a:lnTo>
                <a:lnTo>
                  <a:pt x="3056" y="1394"/>
                </a:lnTo>
                <a:lnTo>
                  <a:pt x="3058" y="1395"/>
                </a:lnTo>
                <a:lnTo>
                  <a:pt x="3056" y="1395"/>
                </a:lnTo>
                <a:lnTo>
                  <a:pt x="3056" y="1399"/>
                </a:lnTo>
                <a:lnTo>
                  <a:pt x="3059" y="1399"/>
                </a:lnTo>
                <a:lnTo>
                  <a:pt x="3059" y="1402"/>
                </a:lnTo>
                <a:lnTo>
                  <a:pt x="3060" y="1405"/>
                </a:lnTo>
                <a:lnTo>
                  <a:pt x="3063" y="1405"/>
                </a:lnTo>
                <a:lnTo>
                  <a:pt x="3062" y="1402"/>
                </a:lnTo>
                <a:lnTo>
                  <a:pt x="3064" y="1394"/>
                </a:lnTo>
                <a:lnTo>
                  <a:pt x="3069" y="1391"/>
                </a:lnTo>
                <a:lnTo>
                  <a:pt x="3076" y="1402"/>
                </a:lnTo>
                <a:lnTo>
                  <a:pt x="3077" y="1403"/>
                </a:lnTo>
                <a:lnTo>
                  <a:pt x="3083" y="1405"/>
                </a:lnTo>
                <a:lnTo>
                  <a:pt x="3088" y="1405"/>
                </a:lnTo>
                <a:lnTo>
                  <a:pt x="3092" y="1407"/>
                </a:lnTo>
                <a:lnTo>
                  <a:pt x="3094" y="1405"/>
                </a:lnTo>
                <a:lnTo>
                  <a:pt x="3103" y="1408"/>
                </a:lnTo>
                <a:lnTo>
                  <a:pt x="3110" y="1411"/>
                </a:lnTo>
                <a:lnTo>
                  <a:pt x="3113" y="1408"/>
                </a:lnTo>
                <a:lnTo>
                  <a:pt x="3115" y="1405"/>
                </a:lnTo>
                <a:lnTo>
                  <a:pt x="3124" y="1395"/>
                </a:lnTo>
                <a:lnTo>
                  <a:pt x="3131" y="1398"/>
                </a:lnTo>
                <a:lnTo>
                  <a:pt x="3134" y="1394"/>
                </a:lnTo>
                <a:lnTo>
                  <a:pt x="3133" y="1386"/>
                </a:lnTo>
                <a:lnTo>
                  <a:pt x="3127" y="1379"/>
                </a:lnTo>
                <a:lnTo>
                  <a:pt x="3133" y="1381"/>
                </a:lnTo>
                <a:lnTo>
                  <a:pt x="3137" y="1379"/>
                </a:lnTo>
                <a:lnTo>
                  <a:pt x="3141" y="1373"/>
                </a:lnTo>
                <a:lnTo>
                  <a:pt x="3143" y="1369"/>
                </a:lnTo>
                <a:lnTo>
                  <a:pt x="3145" y="1369"/>
                </a:lnTo>
                <a:lnTo>
                  <a:pt x="3151" y="1369"/>
                </a:lnTo>
                <a:lnTo>
                  <a:pt x="3149" y="1369"/>
                </a:lnTo>
                <a:lnTo>
                  <a:pt x="3147" y="1368"/>
                </a:lnTo>
                <a:lnTo>
                  <a:pt x="3147" y="1366"/>
                </a:lnTo>
                <a:lnTo>
                  <a:pt x="3152" y="1366"/>
                </a:lnTo>
                <a:lnTo>
                  <a:pt x="3152" y="1363"/>
                </a:lnTo>
                <a:lnTo>
                  <a:pt x="3159" y="1373"/>
                </a:lnTo>
                <a:lnTo>
                  <a:pt x="3166" y="1385"/>
                </a:lnTo>
                <a:lnTo>
                  <a:pt x="3169" y="1386"/>
                </a:lnTo>
                <a:lnTo>
                  <a:pt x="3174" y="1386"/>
                </a:lnTo>
                <a:lnTo>
                  <a:pt x="3187" y="1395"/>
                </a:lnTo>
                <a:lnTo>
                  <a:pt x="3188" y="1395"/>
                </a:lnTo>
                <a:lnTo>
                  <a:pt x="3190" y="1399"/>
                </a:lnTo>
                <a:lnTo>
                  <a:pt x="3190" y="1403"/>
                </a:lnTo>
                <a:lnTo>
                  <a:pt x="3191" y="1408"/>
                </a:lnTo>
                <a:lnTo>
                  <a:pt x="3191" y="1435"/>
                </a:lnTo>
                <a:lnTo>
                  <a:pt x="3194" y="1440"/>
                </a:lnTo>
                <a:lnTo>
                  <a:pt x="3202" y="1449"/>
                </a:lnTo>
                <a:lnTo>
                  <a:pt x="3202" y="1456"/>
                </a:lnTo>
                <a:lnTo>
                  <a:pt x="3201" y="1457"/>
                </a:lnTo>
                <a:lnTo>
                  <a:pt x="3197" y="1469"/>
                </a:lnTo>
                <a:lnTo>
                  <a:pt x="3180" y="1493"/>
                </a:lnTo>
                <a:lnTo>
                  <a:pt x="3168" y="1509"/>
                </a:lnTo>
                <a:lnTo>
                  <a:pt x="3165" y="1524"/>
                </a:lnTo>
                <a:lnTo>
                  <a:pt x="3160" y="1531"/>
                </a:lnTo>
                <a:lnTo>
                  <a:pt x="3162" y="1534"/>
                </a:lnTo>
                <a:lnTo>
                  <a:pt x="3158" y="1537"/>
                </a:lnTo>
                <a:lnTo>
                  <a:pt x="3152" y="1542"/>
                </a:lnTo>
                <a:lnTo>
                  <a:pt x="3131" y="1567"/>
                </a:lnTo>
                <a:lnTo>
                  <a:pt x="3127" y="1577"/>
                </a:lnTo>
                <a:lnTo>
                  <a:pt x="3123" y="1581"/>
                </a:lnTo>
                <a:lnTo>
                  <a:pt x="3124" y="1585"/>
                </a:lnTo>
                <a:lnTo>
                  <a:pt x="3122" y="1590"/>
                </a:lnTo>
                <a:lnTo>
                  <a:pt x="3120" y="1598"/>
                </a:lnTo>
                <a:lnTo>
                  <a:pt x="3119" y="1602"/>
                </a:lnTo>
                <a:lnTo>
                  <a:pt x="3119" y="1604"/>
                </a:lnTo>
                <a:lnTo>
                  <a:pt x="3120" y="1604"/>
                </a:lnTo>
                <a:lnTo>
                  <a:pt x="3120" y="1607"/>
                </a:lnTo>
                <a:lnTo>
                  <a:pt x="3120" y="1611"/>
                </a:lnTo>
                <a:lnTo>
                  <a:pt x="3115" y="1621"/>
                </a:lnTo>
                <a:lnTo>
                  <a:pt x="3116" y="1631"/>
                </a:lnTo>
                <a:lnTo>
                  <a:pt x="3115" y="1631"/>
                </a:lnTo>
                <a:lnTo>
                  <a:pt x="3117" y="1635"/>
                </a:lnTo>
                <a:lnTo>
                  <a:pt x="3110" y="1647"/>
                </a:lnTo>
                <a:lnTo>
                  <a:pt x="3101" y="1654"/>
                </a:lnTo>
                <a:lnTo>
                  <a:pt x="3091" y="1669"/>
                </a:lnTo>
                <a:lnTo>
                  <a:pt x="3083" y="1680"/>
                </a:lnTo>
                <a:lnTo>
                  <a:pt x="3081" y="1682"/>
                </a:lnTo>
                <a:lnTo>
                  <a:pt x="3077" y="1688"/>
                </a:lnTo>
                <a:lnTo>
                  <a:pt x="3076" y="1686"/>
                </a:lnTo>
                <a:lnTo>
                  <a:pt x="3074" y="1684"/>
                </a:lnTo>
                <a:lnTo>
                  <a:pt x="3080" y="1680"/>
                </a:lnTo>
                <a:lnTo>
                  <a:pt x="3078" y="1679"/>
                </a:lnTo>
                <a:lnTo>
                  <a:pt x="3074" y="1679"/>
                </a:lnTo>
                <a:lnTo>
                  <a:pt x="3070" y="1676"/>
                </a:lnTo>
                <a:lnTo>
                  <a:pt x="3063" y="1680"/>
                </a:lnTo>
                <a:lnTo>
                  <a:pt x="3063" y="1685"/>
                </a:lnTo>
                <a:lnTo>
                  <a:pt x="3059" y="1685"/>
                </a:lnTo>
                <a:lnTo>
                  <a:pt x="3059" y="1686"/>
                </a:lnTo>
                <a:lnTo>
                  <a:pt x="3058" y="1692"/>
                </a:lnTo>
                <a:lnTo>
                  <a:pt x="3059" y="1692"/>
                </a:lnTo>
                <a:lnTo>
                  <a:pt x="3063" y="1694"/>
                </a:lnTo>
                <a:lnTo>
                  <a:pt x="3067" y="1692"/>
                </a:lnTo>
                <a:lnTo>
                  <a:pt x="3064" y="1698"/>
                </a:lnTo>
                <a:lnTo>
                  <a:pt x="3055" y="1702"/>
                </a:lnTo>
                <a:lnTo>
                  <a:pt x="3045" y="1709"/>
                </a:lnTo>
                <a:lnTo>
                  <a:pt x="3042" y="1715"/>
                </a:lnTo>
                <a:lnTo>
                  <a:pt x="3041" y="1719"/>
                </a:lnTo>
                <a:lnTo>
                  <a:pt x="3035" y="1718"/>
                </a:lnTo>
                <a:lnTo>
                  <a:pt x="3035" y="1721"/>
                </a:lnTo>
                <a:lnTo>
                  <a:pt x="3024" y="1725"/>
                </a:lnTo>
                <a:lnTo>
                  <a:pt x="3008" y="1736"/>
                </a:lnTo>
                <a:lnTo>
                  <a:pt x="2999" y="1744"/>
                </a:lnTo>
                <a:lnTo>
                  <a:pt x="2997" y="1750"/>
                </a:lnTo>
                <a:lnTo>
                  <a:pt x="2997" y="1754"/>
                </a:lnTo>
                <a:lnTo>
                  <a:pt x="2994" y="1760"/>
                </a:lnTo>
                <a:lnTo>
                  <a:pt x="2977" y="1781"/>
                </a:lnTo>
                <a:lnTo>
                  <a:pt x="2973" y="1793"/>
                </a:lnTo>
                <a:lnTo>
                  <a:pt x="2966" y="1800"/>
                </a:lnTo>
                <a:lnTo>
                  <a:pt x="2958" y="1814"/>
                </a:lnTo>
                <a:lnTo>
                  <a:pt x="2958" y="1818"/>
                </a:lnTo>
                <a:lnTo>
                  <a:pt x="2950" y="1830"/>
                </a:lnTo>
                <a:lnTo>
                  <a:pt x="2937" y="1848"/>
                </a:lnTo>
                <a:lnTo>
                  <a:pt x="2919" y="1863"/>
                </a:lnTo>
                <a:lnTo>
                  <a:pt x="2913" y="1867"/>
                </a:lnTo>
                <a:lnTo>
                  <a:pt x="2908" y="1876"/>
                </a:lnTo>
                <a:lnTo>
                  <a:pt x="2905" y="1880"/>
                </a:lnTo>
                <a:lnTo>
                  <a:pt x="2878" y="1905"/>
                </a:lnTo>
                <a:lnTo>
                  <a:pt x="2869" y="1912"/>
                </a:lnTo>
                <a:lnTo>
                  <a:pt x="2855" y="1925"/>
                </a:lnTo>
                <a:lnTo>
                  <a:pt x="2848" y="1934"/>
                </a:lnTo>
                <a:lnTo>
                  <a:pt x="2846" y="1937"/>
                </a:lnTo>
                <a:lnTo>
                  <a:pt x="2837" y="1945"/>
                </a:lnTo>
                <a:lnTo>
                  <a:pt x="2824" y="1959"/>
                </a:lnTo>
                <a:lnTo>
                  <a:pt x="2804" y="1974"/>
                </a:lnTo>
                <a:lnTo>
                  <a:pt x="2785" y="1999"/>
                </a:lnTo>
                <a:lnTo>
                  <a:pt x="2785" y="2005"/>
                </a:lnTo>
                <a:lnTo>
                  <a:pt x="2781" y="2004"/>
                </a:lnTo>
                <a:lnTo>
                  <a:pt x="2763" y="2012"/>
                </a:lnTo>
                <a:lnTo>
                  <a:pt x="2756" y="2016"/>
                </a:lnTo>
                <a:lnTo>
                  <a:pt x="2754" y="2013"/>
                </a:lnTo>
                <a:lnTo>
                  <a:pt x="2757" y="2009"/>
                </a:lnTo>
                <a:lnTo>
                  <a:pt x="2771" y="2005"/>
                </a:lnTo>
                <a:lnTo>
                  <a:pt x="2773" y="2002"/>
                </a:lnTo>
                <a:lnTo>
                  <a:pt x="2773" y="1991"/>
                </a:lnTo>
                <a:lnTo>
                  <a:pt x="2771" y="1989"/>
                </a:lnTo>
                <a:lnTo>
                  <a:pt x="2768" y="2001"/>
                </a:lnTo>
                <a:lnTo>
                  <a:pt x="2763" y="2001"/>
                </a:lnTo>
                <a:lnTo>
                  <a:pt x="2759" y="2005"/>
                </a:lnTo>
                <a:lnTo>
                  <a:pt x="2756" y="2005"/>
                </a:lnTo>
                <a:lnTo>
                  <a:pt x="2750" y="2012"/>
                </a:lnTo>
                <a:lnTo>
                  <a:pt x="2750" y="2021"/>
                </a:lnTo>
                <a:lnTo>
                  <a:pt x="2753" y="2024"/>
                </a:lnTo>
                <a:lnTo>
                  <a:pt x="2757" y="2024"/>
                </a:lnTo>
                <a:lnTo>
                  <a:pt x="2752" y="2028"/>
                </a:lnTo>
                <a:lnTo>
                  <a:pt x="2745" y="2047"/>
                </a:lnTo>
                <a:lnTo>
                  <a:pt x="2739" y="2051"/>
                </a:lnTo>
                <a:lnTo>
                  <a:pt x="2727" y="2050"/>
                </a:lnTo>
                <a:lnTo>
                  <a:pt x="2717" y="2053"/>
                </a:lnTo>
                <a:lnTo>
                  <a:pt x="2710" y="2059"/>
                </a:lnTo>
                <a:lnTo>
                  <a:pt x="2707" y="2064"/>
                </a:lnTo>
                <a:lnTo>
                  <a:pt x="2706" y="2075"/>
                </a:lnTo>
                <a:lnTo>
                  <a:pt x="2709" y="2073"/>
                </a:lnTo>
                <a:lnTo>
                  <a:pt x="2715" y="2061"/>
                </a:lnTo>
                <a:lnTo>
                  <a:pt x="2721" y="2054"/>
                </a:lnTo>
                <a:lnTo>
                  <a:pt x="2739" y="2057"/>
                </a:lnTo>
                <a:lnTo>
                  <a:pt x="2748" y="2057"/>
                </a:lnTo>
                <a:lnTo>
                  <a:pt x="2752" y="2051"/>
                </a:lnTo>
                <a:lnTo>
                  <a:pt x="2756" y="2046"/>
                </a:lnTo>
                <a:lnTo>
                  <a:pt x="2762" y="2041"/>
                </a:lnTo>
                <a:lnTo>
                  <a:pt x="2762" y="2030"/>
                </a:lnTo>
                <a:lnTo>
                  <a:pt x="2764" y="2028"/>
                </a:lnTo>
                <a:lnTo>
                  <a:pt x="2765" y="2028"/>
                </a:lnTo>
                <a:lnTo>
                  <a:pt x="2767" y="2032"/>
                </a:lnTo>
                <a:lnTo>
                  <a:pt x="2764" y="2045"/>
                </a:lnTo>
                <a:lnTo>
                  <a:pt x="2764" y="2053"/>
                </a:lnTo>
                <a:lnTo>
                  <a:pt x="2749" y="2073"/>
                </a:lnTo>
                <a:lnTo>
                  <a:pt x="2742" y="2087"/>
                </a:lnTo>
                <a:lnTo>
                  <a:pt x="2742" y="2089"/>
                </a:lnTo>
                <a:lnTo>
                  <a:pt x="2743" y="2091"/>
                </a:lnTo>
                <a:lnTo>
                  <a:pt x="2737" y="2101"/>
                </a:lnTo>
                <a:lnTo>
                  <a:pt x="2735" y="2106"/>
                </a:lnTo>
                <a:lnTo>
                  <a:pt x="2735" y="2108"/>
                </a:lnTo>
                <a:lnTo>
                  <a:pt x="2738" y="2108"/>
                </a:lnTo>
                <a:lnTo>
                  <a:pt x="2739" y="2109"/>
                </a:lnTo>
                <a:lnTo>
                  <a:pt x="2739" y="2113"/>
                </a:lnTo>
                <a:lnTo>
                  <a:pt x="2731" y="2120"/>
                </a:lnTo>
                <a:lnTo>
                  <a:pt x="2715" y="2143"/>
                </a:lnTo>
                <a:lnTo>
                  <a:pt x="2706" y="2150"/>
                </a:lnTo>
                <a:lnTo>
                  <a:pt x="2702" y="2151"/>
                </a:lnTo>
                <a:lnTo>
                  <a:pt x="2696" y="2157"/>
                </a:lnTo>
                <a:lnTo>
                  <a:pt x="2684" y="2183"/>
                </a:lnTo>
                <a:lnTo>
                  <a:pt x="2682" y="2191"/>
                </a:lnTo>
                <a:lnTo>
                  <a:pt x="2677" y="2203"/>
                </a:lnTo>
                <a:lnTo>
                  <a:pt x="2656" y="2218"/>
                </a:lnTo>
                <a:lnTo>
                  <a:pt x="2646" y="2228"/>
                </a:lnTo>
                <a:lnTo>
                  <a:pt x="2638" y="2237"/>
                </a:lnTo>
                <a:lnTo>
                  <a:pt x="2624" y="2248"/>
                </a:lnTo>
                <a:lnTo>
                  <a:pt x="2607" y="2246"/>
                </a:lnTo>
                <a:lnTo>
                  <a:pt x="2589" y="2250"/>
                </a:lnTo>
                <a:lnTo>
                  <a:pt x="2586" y="2248"/>
                </a:lnTo>
                <a:lnTo>
                  <a:pt x="2588" y="2248"/>
                </a:lnTo>
                <a:lnTo>
                  <a:pt x="2586" y="2248"/>
                </a:lnTo>
                <a:lnTo>
                  <a:pt x="2584" y="2250"/>
                </a:lnTo>
                <a:lnTo>
                  <a:pt x="2579" y="2250"/>
                </a:lnTo>
                <a:lnTo>
                  <a:pt x="2576" y="2246"/>
                </a:lnTo>
                <a:lnTo>
                  <a:pt x="2578" y="2241"/>
                </a:lnTo>
                <a:lnTo>
                  <a:pt x="2576" y="2241"/>
                </a:lnTo>
                <a:lnTo>
                  <a:pt x="2578" y="2240"/>
                </a:lnTo>
                <a:lnTo>
                  <a:pt x="2576" y="2237"/>
                </a:lnTo>
                <a:lnTo>
                  <a:pt x="2564" y="2218"/>
                </a:lnTo>
                <a:lnTo>
                  <a:pt x="2564" y="2213"/>
                </a:lnTo>
                <a:lnTo>
                  <a:pt x="2570" y="2207"/>
                </a:lnTo>
                <a:lnTo>
                  <a:pt x="2575" y="2207"/>
                </a:lnTo>
                <a:lnTo>
                  <a:pt x="2576" y="2203"/>
                </a:lnTo>
                <a:lnTo>
                  <a:pt x="2572" y="2193"/>
                </a:lnTo>
                <a:lnTo>
                  <a:pt x="2568" y="2195"/>
                </a:lnTo>
                <a:lnTo>
                  <a:pt x="2567" y="2196"/>
                </a:lnTo>
                <a:lnTo>
                  <a:pt x="2564" y="2196"/>
                </a:lnTo>
                <a:lnTo>
                  <a:pt x="2564" y="2199"/>
                </a:lnTo>
                <a:lnTo>
                  <a:pt x="2560" y="2202"/>
                </a:lnTo>
                <a:lnTo>
                  <a:pt x="2561" y="2211"/>
                </a:lnTo>
                <a:lnTo>
                  <a:pt x="2556" y="2215"/>
                </a:lnTo>
                <a:lnTo>
                  <a:pt x="2558" y="2221"/>
                </a:lnTo>
                <a:lnTo>
                  <a:pt x="2560" y="2225"/>
                </a:lnTo>
                <a:lnTo>
                  <a:pt x="2564" y="2229"/>
                </a:lnTo>
                <a:lnTo>
                  <a:pt x="2565" y="2229"/>
                </a:lnTo>
                <a:lnTo>
                  <a:pt x="2565" y="2244"/>
                </a:lnTo>
                <a:lnTo>
                  <a:pt x="2563" y="2246"/>
                </a:lnTo>
                <a:lnTo>
                  <a:pt x="2558" y="2246"/>
                </a:lnTo>
                <a:lnTo>
                  <a:pt x="2546" y="2241"/>
                </a:lnTo>
                <a:lnTo>
                  <a:pt x="2542" y="2241"/>
                </a:lnTo>
                <a:lnTo>
                  <a:pt x="2546" y="2252"/>
                </a:lnTo>
                <a:lnTo>
                  <a:pt x="2544" y="2252"/>
                </a:lnTo>
                <a:lnTo>
                  <a:pt x="2543" y="2260"/>
                </a:lnTo>
                <a:lnTo>
                  <a:pt x="2539" y="2263"/>
                </a:lnTo>
                <a:lnTo>
                  <a:pt x="2535" y="2263"/>
                </a:lnTo>
                <a:lnTo>
                  <a:pt x="2526" y="2268"/>
                </a:lnTo>
                <a:lnTo>
                  <a:pt x="2519" y="2268"/>
                </a:lnTo>
                <a:lnTo>
                  <a:pt x="2507" y="2274"/>
                </a:lnTo>
                <a:lnTo>
                  <a:pt x="2501" y="2273"/>
                </a:lnTo>
                <a:lnTo>
                  <a:pt x="2496" y="2278"/>
                </a:lnTo>
                <a:lnTo>
                  <a:pt x="2480" y="2281"/>
                </a:lnTo>
                <a:lnTo>
                  <a:pt x="2476" y="2278"/>
                </a:lnTo>
                <a:lnTo>
                  <a:pt x="2469" y="2268"/>
                </a:lnTo>
                <a:lnTo>
                  <a:pt x="2465" y="2266"/>
                </a:lnTo>
                <a:lnTo>
                  <a:pt x="2464" y="2262"/>
                </a:lnTo>
                <a:lnTo>
                  <a:pt x="2458" y="2260"/>
                </a:lnTo>
                <a:lnTo>
                  <a:pt x="2460" y="2266"/>
                </a:lnTo>
                <a:lnTo>
                  <a:pt x="2468" y="2270"/>
                </a:lnTo>
                <a:lnTo>
                  <a:pt x="2474" y="2282"/>
                </a:lnTo>
                <a:lnTo>
                  <a:pt x="2478" y="2286"/>
                </a:lnTo>
                <a:lnTo>
                  <a:pt x="2485" y="2286"/>
                </a:lnTo>
                <a:lnTo>
                  <a:pt x="2493" y="2286"/>
                </a:lnTo>
                <a:lnTo>
                  <a:pt x="2503" y="2282"/>
                </a:lnTo>
                <a:lnTo>
                  <a:pt x="2494" y="2293"/>
                </a:lnTo>
                <a:lnTo>
                  <a:pt x="2486" y="2293"/>
                </a:lnTo>
                <a:lnTo>
                  <a:pt x="2485" y="2297"/>
                </a:lnTo>
                <a:lnTo>
                  <a:pt x="2480" y="2299"/>
                </a:lnTo>
                <a:lnTo>
                  <a:pt x="2474" y="2311"/>
                </a:lnTo>
                <a:lnTo>
                  <a:pt x="2476" y="2312"/>
                </a:lnTo>
                <a:lnTo>
                  <a:pt x="2479" y="2307"/>
                </a:lnTo>
                <a:lnTo>
                  <a:pt x="2486" y="2323"/>
                </a:lnTo>
                <a:lnTo>
                  <a:pt x="2486" y="2335"/>
                </a:lnTo>
                <a:lnTo>
                  <a:pt x="2489" y="2341"/>
                </a:lnTo>
                <a:lnTo>
                  <a:pt x="2489" y="2345"/>
                </a:lnTo>
                <a:lnTo>
                  <a:pt x="2493" y="2352"/>
                </a:lnTo>
                <a:lnTo>
                  <a:pt x="2499" y="2356"/>
                </a:lnTo>
                <a:lnTo>
                  <a:pt x="2499" y="2357"/>
                </a:lnTo>
                <a:lnTo>
                  <a:pt x="2504" y="2360"/>
                </a:lnTo>
                <a:lnTo>
                  <a:pt x="2508" y="2368"/>
                </a:lnTo>
                <a:lnTo>
                  <a:pt x="2514" y="2372"/>
                </a:lnTo>
                <a:lnTo>
                  <a:pt x="2514" y="2376"/>
                </a:lnTo>
                <a:lnTo>
                  <a:pt x="2515" y="2379"/>
                </a:lnTo>
                <a:lnTo>
                  <a:pt x="2504" y="2382"/>
                </a:lnTo>
                <a:lnTo>
                  <a:pt x="2497" y="2386"/>
                </a:lnTo>
                <a:lnTo>
                  <a:pt x="2501" y="2386"/>
                </a:lnTo>
                <a:lnTo>
                  <a:pt x="2507" y="2384"/>
                </a:lnTo>
                <a:lnTo>
                  <a:pt x="2519" y="2384"/>
                </a:lnTo>
                <a:lnTo>
                  <a:pt x="2521" y="2386"/>
                </a:lnTo>
                <a:lnTo>
                  <a:pt x="2521" y="2389"/>
                </a:lnTo>
                <a:lnTo>
                  <a:pt x="2525" y="2389"/>
                </a:lnTo>
                <a:lnTo>
                  <a:pt x="2532" y="2397"/>
                </a:lnTo>
                <a:lnTo>
                  <a:pt x="2530" y="2398"/>
                </a:lnTo>
                <a:lnTo>
                  <a:pt x="2533" y="2401"/>
                </a:lnTo>
                <a:lnTo>
                  <a:pt x="2538" y="2402"/>
                </a:lnTo>
                <a:lnTo>
                  <a:pt x="2544" y="2401"/>
                </a:lnTo>
                <a:lnTo>
                  <a:pt x="2547" y="2402"/>
                </a:lnTo>
                <a:lnTo>
                  <a:pt x="2546" y="2406"/>
                </a:lnTo>
                <a:lnTo>
                  <a:pt x="2540" y="2409"/>
                </a:lnTo>
                <a:lnTo>
                  <a:pt x="2499" y="2424"/>
                </a:lnTo>
                <a:lnTo>
                  <a:pt x="2494" y="2428"/>
                </a:lnTo>
                <a:lnTo>
                  <a:pt x="2491" y="2434"/>
                </a:lnTo>
                <a:lnTo>
                  <a:pt x="2490" y="2432"/>
                </a:lnTo>
                <a:lnTo>
                  <a:pt x="2489" y="2431"/>
                </a:lnTo>
                <a:lnTo>
                  <a:pt x="2482" y="2432"/>
                </a:lnTo>
                <a:lnTo>
                  <a:pt x="2479" y="2435"/>
                </a:lnTo>
                <a:lnTo>
                  <a:pt x="2472" y="2439"/>
                </a:lnTo>
                <a:lnTo>
                  <a:pt x="2474" y="2441"/>
                </a:lnTo>
                <a:lnTo>
                  <a:pt x="2476" y="2441"/>
                </a:lnTo>
                <a:lnTo>
                  <a:pt x="2483" y="2435"/>
                </a:lnTo>
                <a:lnTo>
                  <a:pt x="2488" y="2434"/>
                </a:lnTo>
                <a:lnTo>
                  <a:pt x="2489" y="2439"/>
                </a:lnTo>
                <a:lnTo>
                  <a:pt x="2482" y="2446"/>
                </a:lnTo>
                <a:lnTo>
                  <a:pt x="2438" y="2468"/>
                </a:lnTo>
                <a:lnTo>
                  <a:pt x="2429" y="2473"/>
                </a:lnTo>
                <a:lnTo>
                  <a:pt x="2428" y="2473"/>
                </a:lnTo>
                <a:lnTo>
                  <a:pt x="2430" y="2469"/>
                </a:lnTo>
                <a:lnTo>
                  <a:pt x="2429" y="2465"/>
                </a:lnTo>
                <a:lnTo>
                  <a:pt x="2426" y="2465"/>
                </a:lnTo>
                <a:lnTo>
                  <a:pt x="2424" y="2473"/>
                </a:lnTo>
                <a:lnTo>
                  <a:pt x="2426" y="2473"/>
                </a:lnTo>
                <a:lnTo>
                  <a:pt x="2426" y="2477"/>
                </a:lnTo>
                <a:lnTo>
                  <a:pt x="2400" y="2496"/>
                </a:lnTo>
                <a:lnTo>
                  <a:pt x="2390" y="2499"/>
                </a:lnTo>
                <a:lnTo>
                  <a:pt x="2369" y="2509"/>
                </a:lnTo>
                <a:lnTo>
                  <a:pt x="2361" y="2514"/>
                </a:lnTo>
                <a:lnTo>
                  <a:pt x="2358" y="2516"/>
                </a:lnTo>
                <a:lnTo>
                  <a:pt x="2354" y="2522"/>
                </a:lnTo>
                <a:lnTo>
                  <a:pt x="2341" y="2533"/>
                </a:lnTo>
                <a:lnTo>
                  <a:pt x="2322" y="2540"/>
                </a:lnTo>
                <a:lnTo>
                  <a:pt x="2305" y="2547"/>
                </a:lnTo>
                <a:lnTo>
                  <a:pt x="2294" y="2551"/>
                </a:lnTo>
                <a:lnTo>
                  <a:pt x="2290" y="2555"/>
                </a:lnTo>
                <a:lnTo>
                  <a:pt x="2289" y="2563"/>
                </a:lnTo>
                <a:lnTo>
                  <a:pt x="2286" y="2566"/>
                </a:lnTo>
                <a:lnTo>
                  <a:pt x="2283" y="2571"/>
                </a:lnTo>
                <a:lnTo>
                  <a:pt x="2276" y="2576"/>
                </a:lnTo>
                <a:lnTo>
                  <a:pt x="2229" y="2603"/>
                </a:lnTo>
                <a:lnTo>
                  <a:pt x="2187" y="2625"/>
                </a:lnTo>
                <a:lnTo>
                  <a:pt x="2125" y="2651"/>
                </a:lnTo>
                <a:lnTo>
                  <a:pt x="2116" y="2655"/>
                </a:lnTo>
                <a:lnTo>
                  <a:pt x="2109" y="2663"/>
                </a:lnTo>
                <a:lnTo>
                  <a:pt x="2093" y="2675"/>
                </a:lnTo>
                <a:lnTo>
                  <a:pt x="2094" y="2679"/>
                </a:lnTo>
                <a:lnTo>
                  <a:pt x="2090" y="2675"/>
                </a:lnTo>
                <a:lnTo>
                  <a:pt x="2087" y="2675"/>
                </a:lnTo>
                <a:lnTo>
                  <a:pt x="2087" y="2673"/>
                </a:lnTo>
                <a:lnTo>
                  <a:pt x="2086" y="2671"/>
                </a:lnTo>
                <a:lnTo>
                  <a:pt x="2076" y="2675"/>
                </a:lnTo>
                <a:lnTo>
                  <a:pt x="2065" y="2675"/>
                </a:lnTo>
                <a:lnTo>
                  <a:pt x="2062" y="2673"/>
                </a:lnTo>
                <a:lnTo>
                  <a:pt x="2051" y="2656"/>
                </a:lnTo>
                <a:lnTo>
                  <a:pt x="2051" y="2648"/>
                </a:lnTo>
                <a:lnTo>
                  <a:pt x="2054" y="2646"/>
                </a:lnTo>
                <a:lnTo>
                  <a:pt x="2054" y="2642"/>
                </a:lnTo>
                <a:lnTo>
                  <a:pt x="2044" y="2622"/>
                </a:lnTo>
                <a:lnTo>
                  <a:pt x="2044" y="2611"/>
                </a:lnTo>
                <a:lnTo>
                  <a:pt x="2043" y="2611"/>
                </a:lnTo>
                <a:lnTo>
                  <a:pt x="2040" y="2615"/>
                </a:lnTo>
                <a:lnTo>
                  <a:pt x="2040" y="2620"/>
                </a:lnTo>
                <a:lnTo>
                  <a:pt x="2040" y="2626"/>
                </a:lnTo>
                <a:lnTo>
                  <a:pt x="2044" y="2634"/>
                </a:lnTo>
                <a:lnTo>
                  <a:pt x="2044" y="2652"/>
                </a:lnTo>
                <a:lnTo>
                  <a:pt x="2045" y="2660"/>
                </a:lnTo>
                <a:lnTo>
                  <a:pt x="2050" y="2667"/>
                </a:lnTo>
                <a:lnTo>
                  <a:pt x="2047" y="2670"/>
                </a:lnTo>
                <a:lnTo>
                  <a:pt x="2044" y="2671"/>
                </a:lnTo>
                <a:lnTo>
                  <a:pt x="2026" y="2668"/>
                </a:lnTo>
                <a:lnTo>
                  <a:pt x="2023" y="2671"/>
                </a:lnTo>
                <a:lnTo>
                  <a:pt x="2030" y="2675"/>
                </a:lnTo>
                <a:lnTo>
                  <a:pt x="2037" y="2679"/>
                </a:lnTo>
                <a:lnTo>
                  <a:pt x="2039" y="2683"/>
                </a:lnTo>
                <a:lnTo>
                  <a:pt x="2051" y="2683"/>
                </a:lnTo>
                <a:lnTo>
                  <a:pt x="2056" y="2690"/>
                </a:lnTo>
                <a:lnTo>
                  <a:pt x="2062" y="2687"/>
                </a:lnTo>
                <a:lnTo>
                  <a:pt x="2064" y="2687"/>
                </a:lnTo>
                <a:lnTo>
                  <a:pt x="2066" y="2683"/>
                </a:lnTo>
                <a:lnTo>
                  <a:pt x="2072" y="2685"/>
                </a:lnTo>
                <a:lnTo>
                  <a:pt x="2062" y="2693"/>
                </a:lnTo>
                <a:lnTo>
                  <a:pt x="2041" y="2705"/>
                </a:lnTo>
                <a:lnTo>
                  <a:pt x="2001" y="2732"/>
                </a:lnTo>
                <a:lnTo>
                  <a:pt x="1981" y="2754"/>
                </a:lnTo>
                <a:lnTo>
                  <a:pt x="1967" y="2772"/>
                </a:lnTo>
                <a:lnTo>
                  <a:pt x="1967" y="2776"/>
                </a:lnTo>
                <a:lnTo>
                  <a:pt x="1966" y="2776"/>
                </a:lnTo>
                <a:lnTo>
                  <a:pt x="1966" y="2772"/>
                </a:lnTo>
                <a:lnTo>
                  <a:pt x="1965" y="2763"/>
                </a:lnTo>
                <a:lnTo>
                  <a:pt x="1959" y="2757"/>
                </a:lnTo>
                <a:lnTo>
                  <a:pt x="1958" y="2746"/>
                </a:lnTo>
                <a:lnTo>
                  <a:pt x="1956" y="2742"/>
                </a:lnTo>
                <a:lnTo>
                  <a:pt x="1956" y="2738"/>
                </a:lnTo>
                <a:lnTo>
                  <a:pt x="1960" y="2735"/>
                </a:lnTo>
                <a:lnTo>
                  <a:pt x="1962" y="2732"/>
                </a:lnTo>
                <a:lnTo>
                  <a:pt x="1963" y="2726"/>
                </a:lnTo>
                <a:lnTo>
                  <a:pt x="1962" y="2724"/>
                </a:lnTo>
                <a:lnTo>
                  <a:pt x="1951" y="2715"/>
                </a:lnTo>
                <a:lnTo>
                  <a:pt x="1948" y="2713"/>
                </a:lnTo>
                <a:lnTo>
                  <a:pt x="1946" y="2708"/>
                </a:lnTo>
                <a:lnTo>
                  <a:pt x="1946" y="2701"/>
                </a:lnTo>
                <a:lnTo>
                  <a:pt x="1942" y="2690"/>
                </a:lnTo>
                <a:lnTo>
                  <a:pt x="1935" y="2689"/>
                </a:lnTo>
                <a:lnTo>
                  <a:pt x="1934" y="2683"/>
                </a:lnTo>
                <a:lnTo>
                  <a:pt x="1929" y="2685"/>
                </a:lnTo>
                <a:lnTo>
                  <a:pt x="1926" y="2681"/>
                </a:lnTo>
                <a:lnTo>
                  <a:pt x="1921" y="2681"/>
                </a:lnTo>
                <a:lnTo>
                  <a:pt x="1919" y="2675"/>
                </a:lnTo>
                <a:lnTo>
                  <a:pt x="1916" y="2673"/>
                </a:lnTo>
                <a:lnTo>
                  <a:pt x="1915" y="2668"/>
                </a:lnTo>
                <a:lnTo>
                  <a:pt x="1912" y="2663"/>
                </a:lnTo>
                <a:lnTo>
                  <a:pt x="1913" y="2656"/>
                </a:lnTo>
                <a:lnTo>
                  <a:pt x="1912" y="2652"/>
                </a:lnTo>
                <a:lnTo>
                  <a:pt x="1912" y="2648"/>
                </a:lnTo>
                <a:lnTo>
                  <a:pt x="1910" y="2646"/>
                </a:lnTo>
                <a:lnTo>
                  <a:pt x="1910" y="2645"/>
                </a:lnTo>
                <a:lnTo>
                  <a:pt x="1904" y="2638"/>
                </a:lnTo>
                <a:lnTo>
                  <a:pt x="1899" y="2638"/>
                </a:lnTo>
                <a:lnTo>
                  <a:pt x="1894" y="2630"/>
                </a:lnTo>
                <a:lnTo>
                  <a:pt x="1890" y="2628"/>
                </a:lnTo>
                <a:lnTo>
                  <a:pt x="1891" y="2622"/>
                </a:lnTo>
                <a:lnTo>
                  <a:pt x="1890" y="2618"/>
                </a:lnTo>
                <a:lnTo>
                  <a:pt x="1892" y="2610"/>
                </a:lnTo>
                <a:lnTo>
                  <a:pt x="1890" y="2600"/>
                </a:lnTo>
                <a:lnTo>
                  <a:pt x="1890" y="2593"/>
                </a:lnTo>
                <a:lnTo>
                  <a:pt x="1885" y="2592"/>
                </a:lnTo>
                <a:lnTo>
                  <a:pt x="1884" y="2588"/>
                </a:lnTo>
                <a:lnTo>
                  <a:pt x="1882" y="2585"/>
                </a:lnTo>
                <a:lnTo>
                  <a:pt x="1880" y="2585"/>
                </a:lnTo>
                <a:lnTo>
                  <a:pt x="1874" y="2584"/>
                </a:lnTo>
                <a:lnTo>
                  <a:pt x="1870" y="2580"/>
                </a:lnTo>
                <a:lnTo>
                  <a:pt x="1867" y="2581"/>
                </a:lnTo>
                <a:lnTo>
                  <a:pt x="1863" y="2581"/>
                </a:lnTo>
                <a:lnTo>
                  <a:pt x="1862" y="2577"/>
                </a:lnTo>
                <a:lnTo>
                  <a:pt x="1859" y="2580"/>
                </a:lnTo>
                <a:lnTo>
                  <a:pt x="1856" y="2577"/>
                </a:lnTo>
                <a:lnTo>
                  <a:pt x="1855" y="2577"/>
                </a:lnTo>
                <a:lnTo>
                  <a:pt x="1851" y="2575"/>
                </a:lnTo>
                <a:lnTo>
                  <a:pt x="1851" y="2571"/>
                </a:lnTo>
                <a:lnTo>
                  <a:pt x="1845" y="2569"/>
                </a:lnTo>
                <a:lnTo>
                  <a:pt x="1845" y="2563"/>
                </a:lnTo>
                <a:lnTo>
                  <a:pt x="1842" y="2561"/>
                </a:lnTo>
                <a:lnTo>
                  <a:pt x="1841" y="2559"/>
                </a:lnTo>
                <a:lnTo>
                  <a:pt x="1844" y="2553"/>
                </a:lnTo>
                <a:lnTo>
                  <a:pt x="1841" y="2544"/>
                </a:lnTo>
                <a:lnTo>
                  <a:pt x="1844" y="2540"/>
                </a:lnTo>
                <a:lnTo>
                  <a:pt x="1845" y="2535"/>
                </a:lnTo>
                <a:lnTo>
                  <a:pt x="1851" y="2526"/>
                </a:lnTo>
                <a:lnTo>
                  <a:pt x="1849" y="2518"/>
                </a:lnTo>
                <a:lnTo>
                  <a:pt x="1851" y="2514"/>
                </a:lnTo>
                <a:lnTo>
                  <a:pt x="1849" y="2510"/>
                </a:lnTo>
                <a:lnTo>
                  <a:pt x="1854" y="2499"/>
                </a:lnTo>
                <a:lnTo>
                  <a:pt x="1851" y="2494"/>
                </a:lnTo>
                <a:lnTo>
                  <a:pt x="1852" y="2488"/>
                </a:lnTo>
                <a:lnTo>
                  <a:pt x="1860" y="2482"/>
                </a:lnTo>
                <a:lnTo>
                  <a:pt x="1863" y="2477"/>
                </a:lnTo>
                <a:lnTo>
                  <a:pt x="1867" y="2479"/>
                </a:lnTo>
                <a:lnTo>
                  <a:pt x="1869" y="2477"/>
                </a:lnTo>
                <a:lnTo>
                  <a:pt x="1873" y="2477"/>
                </a:lnTo>
                <a:lnTo>
                  <a:pt x="1876" y="2477"/>
                </a:lnTo>
                <a:lnTo>
                  <a:pt x="1884" y="2477"/>
                </a:lnTo>
                <a:lnTo>
                  <a:pt x="1885" y="2476"/>
                </a:lnTo>
                <a:lnTo>
                  <a:pt x="1885" y="2468"/>
                </a:lnTo>
                <a:lnTo>
                  <a:pt x="1880" y="2461"/>
                </a:lnTo>
                <a:lnTo>
                  <a:pt x="1877" y="2454"/>
                </a:lnTo>
                <a:lnTo>
                  <a:pt x="1870" y="2451"/>
                </a:lnTo>
                <a:lnTo>
                  <a:pt x="1869" y="2439"/>
                </a:lnTo>
                <a:lnTo>
                  <a:pt x="1873" y="2435"/>
                </a:lnTo>
                <a:lnTo>
                  <a:pt x="1873" y="2434"/>
                </a:lnTo>
                <a:lnTo>
                  <a:pt x="1881" y="2431"/>
                </a:lnTo>
                <a:lnTo>
                  <a:pt x="1885" y="2424"/>
                </a:lnTo>
                <a:lnTo>
                  <a:pt x="1884" y="2419"/>
                </a:lnTo>
                <a:lnTo>
                  <a:pt x="1887" y="2412"/>
                </a:lnTo>
                <a:lnTo>
                  <a:pt x="1885" y="2394"/>
                </a:lnTo>
                <a:lnTo>
                  <a:pt x="1884" y="2393"/>
                </a:lnTo>
                <a:lnTo>
                  <a:pt x="1876" y="2389"/>
                </a:lnTo>
                <a:lnTo>
                  <a:pt x="1874" y="2379"/>
                </a:lnTo>
                <a:lnTo>
                  <a:pt x="1863" y="2370"/>
                </a:lnTo>
                <a:lnTo>
                  <a:pt x="1863" y="2368"/>
                </a:lnTo>
                <a:lnTo>
                  <a:pt x="1866" y="2364"/>
                </a:lnTo>
                <a:lnTo>
                  <a:pt x="1866" y="2360"/>
                </a:lnTo>
                <a:lnTo>
                  <a:pt x="1865" y="2356"/>
                </a:lnTo>
                <a:lnTo>
                  <a:pt x="1860" y="2353"/>
                </a:lnTo>
                <a:lnTo>
                  <a:pt x="1860" y="2349"/>
                </a:lnTo>
                <a:lnTo>
                  <a:pt x="1855" y="2341"/>
                </a:lnTo>
                <a:lnTo>
                  <a:pt x="1855" y="2335"/>
                </a:lnTo>
                <a:lnTo>
                  <a:pt x="1854" y="2327"/>
                </a:lnTo>
                <a:lnTo>
                  <a:pt x="1859" y="2322"/>
                </a:lnTo>
                <a:lnTo>
                  <a:pt x="1857" y="2319"/>
                </a:lnTo>
                <a:lnTo>
                  <a:pt x="1856" y="2318"/>
                </a:lnTo>
                <a:lnTo>
                  <a:pt x="1845" y="2304"/>
                </a:lnTo>
                <a:lnTo>
                  <a:pt x="1846" y="2297"/>
                </a:lnTo>
                <a:lnTo>
                  <a:pt x="1846" y="2290"/>
                </a:lnTo>
                <a:lnTo>
                  <a:pt x="1838" y="2274"/>
                </a:lnTo>
                <a:lnTo>
                  <a:pt x="1837" y="2273"/>
                </a:lnTo>
                <a:lnTo>
                  <a:pt x="1831" y="2274"/>
                </a:lnTo>
                <a:lnTo>
                  <a:pt x="1820" y="2273"/>
                </a:lnTo>
                <a:lnTo>
                  <a:pt x="1807" y="2262"/>
                </a:lnTo>
                <a:lnTo>
                  <a:pt x="1807" y="2252"/>
                </a:lnTo>
                <a:lnTo>
                  <a:pt x="1801" y="2248"/>
                </a:lnTo>
                <a:lnTo>
                  <a:pt x="1799" y="2241"/>
                </a:lnTo>
                <a:lnTo>
                  <a:pt x="1799" y="2237"/>
                </a:lnTo>
                <a:lnTo>
                  <a:pt x="1796" y="2229"/>
                </a:lnTo>
                <a:lnTo>
                  <a:pt x="1788" y="2219"/>
                </a:lnTo>
                <a:lnTo>
                  <a:pt x="1788" y="2206"/>
                </a:lnTo>
                <a:lnTo>
                  <a:pt x="1785" y="2199"/>
                </a:lnTo>
                <a:lnTo>
                  <a:pt x="1785" y="2188"/>
                </a:lnTo>
                <a:lnTo>
                  <a:pt x="1788" y="2187"/>
                </a:lnTo>
                <a:lnTo>
                  <a:pt x="1792" y="2185"/>
                </a:lnTo>
                <a:lnTo>
                  <a:pt x="1794" y="2183"/>
                </a:lnTo>
                <a:lnTo>
                  <a:pt x="1787" y="2174"/>
                </a:lnTo>
                <a:lnTo>
                  <a:pt x="1785" y="2169"/>
                </a:lnTo>
                <a:lnTo>
                  <a:pt x="1787" y="2166"/>
                </a:lnTo>
                <a:lnTo>
                  <a:pt x="1791" y="2162"/>
                </a:lnTo>
                <a:lnTo>
                  <a:pt x="1798" y="2153"/>
                </a:lnTo>
                <a:lnTo>
                  <a:pt x="1805" y="2151"/>
                </a:lnTo>
                <a:lnTo>
                  <a:pt x="1806" y="2148"/>
                </a:lnTo>
                <a:lnTo>
                  <a:pt x="1805" y="2146"/>
                </a:lnTo>
                <a:lnTo>
                  <a:pt x="1799" y="2146"/>
                </a:lnTo>
                <a:lnTo>
                  <a:pt x="1798" y="2144"/>
                </a:lnTo>
                <a:lnTo>
                  <a:pt x="1795" y="2140"/>
                </a:lnTo>
                <a:lnTo>
                  <a:pt x="1794" y="2125"/>
                </a:lnTo>
                <a:lnTo>
                  <a:pt x="1791" y="2124"/>
                </a:lnTo>
                <a:lnTo>
                  <a:pt x="1788" y="2117"/>
                </a:lnTo>
                <a:lnTo>
                  <a:pt x="1784" y="2113"/>
                </a:lnTo>
                <a:lnTo>
                  <a:pt x="1781" y="2109"/>
                </a:lnTo>
                <a:lnTo>
                  <a:pt x="1781" y="2108"/>
                </a:lnTo>
                <a:lnTo>
                  <a:pt x="1787" y="2094"/>
                </a:lnTo>
                <a:lnTo>
                  <a:pt x="1787" y="2091"/>
                </a:lnTo>
                <a:lnTo>
                  <a:pt x="1785" y="2083"/>
                </a:lnTo>
                <a:lnTo>
                  <a:pt x="1777" y="2082"/>
                </a:lnTo>
                <a:lnTo>
                  <a:pt x="1776" y="2079"/>
                </a:lnTo>
                <a:lnTo>
                  <a:pt x="1769" y="2076"/>
                </a:lnTo>
                <a:lnTo>
                  <a:pt x="1771" y="2069"/>
                </a:lnTo>
                <a:lnTo>
                  <a:pt x="1770" y="2063"/>
                </a:lnTo>
                <a:lnTo>
                  <a:pt x="1769" y="2059"/>
                </a:lnTo>
                <a:lnTo>
                  <a:pt x="1749" y="2053"/>
                </a:lnTo>
                <a:lnTo>
                  <a:pt x="1749" y="2046"/>
                </a:lnTo>
                <a:lnTo>
                  <a:pt x="1751" y="2041"/>
                </a:lnTo>
                <a:lnTo>
                  <a:pt x="1748" y="2034"/>
                </a:lnTo>
                <a:lnTo>
                  <a:pt x="1749" y="2032"/>
                </a:lnTo>
                <a:lnTo>
                  <a:pt x="1752" y="2032"/>
                </a:lnTo>
                <a:lnTo>
                  <a:pt x="1753" y="2028"/>
                </a:lnTo>
                <a:lnTo>
                  <a:pt x="1751" y="2025"/>
                </a:lnTo>
                <a:lnTo>
                  <a:pt x="1752" y="2019"/>
                </a:lnTo>
                <a:lnTo>
                  <a:pt x="1751" y="2013"/>
                </a:lnTo>
                <a:lnTo>
                  <a:pt x="1752" y="2009"/>
                </a:lnTo>
                <a:lnTo>
                  <a:pt x="1752" y="2005"/>
                </a:lnTo>
                <a:lnTo>
                  <a:pt x="1746" y="2001"/>
                </a:lnTo>
                <a:lnTo>
                  <a:pt x="1742" y="1995"/>
                </a:lnTo>
                <a:lnTo>
                  <a:pt x="1737" y="1991"/>
                </a:lnTo>
                <a:lnTo>
                  <a:pt x="1730" y="1991"/>
                </a:lnTo>
                <a:lnTo>
                  <a:pt x="1728" y="1991"/>
                </a:lnTo>
                <a:lnTo>
                  <a:pt x="1727" y="1988"/>
                </a:lnTo>
                <a:lnTo>
                  <a:pt x="1730" y="1983"/>
                </a:lnTo>
                <a:lnTo>
                  <a:pt x="1730" y="1980"/>
                </a:lnTo>
                <a:lnTo>
                  <a:pt x="1732" y="1976"/>
                </a:lnTo>
                <a:lnTo>
                  <a:pt x="1732" y="1966"/>
                </a:lnTo>
                <a:lnTo>
                  <a:pt x="1730" y="1963"/>
                </a:lnTo>
                <a:lnTo>
                  <a:pt x="1723" y="1960"/>
                </a:lnTo>
                <a:lnTo>
                  <a:pt x="1713" y="1960"/>
                </a:lnTo>
                <a:lnTo>
                  <a:pt x="1710" y="1958"/>
                </a:lnTo>
                <a:lnTo>
                  <a:pt x="1709" y="1938"/>
                </a:lnTo>
                <a:lnTo>
                  <a:pt x="1709" y="1934"/>
                </a:lnTo>
                <a:lnTo>
                  <a:pt x="1707" y="1932"/>
                </a:lnTo>
                <a:lnTo>
                  <a:pt x="1710" y="1925"/>
                </a:lnTo>
                <a:lnTo>
                  <a:pt x="1710" y="1924"/>
                </a:lnTo>
                <a:lnTo>
                  <a:pt x="1702" y="1920"/>
                </a:lnTo>
                <a:lnTo>
                  <a:pt x="1696" y="1908"/>
                </a:lnTo>
                <a:lnTo>
                  <a:pt x="1697" y="1889"/>
                </a:lnTo>
                <a:lnTo>
                  <a:pt x="1691" y="1885"/>
                </a:lnTo>
                <a:lnTo>
                  <a:pt x="1685" y="1880"/>
                </a:lnTo>
                <a:lnTo>
                  <a:pt x="1685" y="1876"/>
                </a:lnTo>
                <a:lnTo>
                  <a:pt x="1681" y="1871"/>
                </a:lnTo>
                <a:lnTo>
                  <a:pt x="1681" y="1865"/>
                </a:lnTo>
                <a:lnTo>
                  <a:pt x="1680" y="1863"/>
                </a:lnTo>
                <a:lnTo>
                  <a:pt x="1675" y="1863"/>
                </a:lnTo>
                <a:lnTo>
                  <a:pt x="1667" y="1871"/>
                </a:lnTo>
                <a:lnTo>
                  <a:pt x="1659" y="1870"/>
                </a:lnTo>
                <a:lnTo>
                  <a:pt x="1653" y="1870"/>
                </a:lnTo>
                <a:lnTo>
                  <a:pt x="1649" y="1867"/>
                </a:lnTo>
                <a:lnTo>
                  <a:pt x="1644" y="1865"/>
                </a:lnTo>
                <a:lnTo>
                  <a:pt x="1644" y="1859"/>
                </a:lnTo>
                <a:lnTo>
                  <a:pt x="1641" y="1852"/>
                </a:lnTo>
                <a:lnTo>
                  <a:pt x="1634" y="1852"/>
                </a:lnTo>
                <a:lnTo>
                  <a:pt x="1631" y="1847"/>
                </a:lnTo>
                <a:lnTo>
                  <a:pt x="1622" y="1840"/>
                </a:lnTo>
                <a:lnTo>
                  <a:pt x="1616" y="1840"/>
                </a:lnTo>
                <a:lnTo>
                  <a:pt x="1610" y="1830"/>
                </a:lnTo>
                <a:lnTo>
                  <a:pt x="1610" y="1822"/>
                </a:lnTo>
                <a:lnTo>
                  <a:pt x="1607" y="1817"/>
                </a:lnTo>
                <a:lnTo>
                  <a:pt x="1609" y="1814"/>
                </a:lnTo>
                <a:lnTo>
                  <a:pt x="1606" y="1805"/>
                </a:lnTo>
                <a:lnTo>
                  <a:pt x="1603" y="1802"/>
                </a:lnTo>
                <a:lnTo>
                  <a:pt x="1599" y="1793"/>
                </a:lnTo>
                <a:lnTo>
                  <a:pt x="1588" y="1792"/>
                </a:lnTo>
                <a:lnTo>
                  <a:pt x="1582" y="1795"/>
                </a:lnTo>
                <a:lnTo>
                  <a:pt x="1570" y="1796"/>
                </a:lnTo>
                <a:lnTo>
                  <a:pt x="1559" y="1796"/>
                </a:lnTo>
                <a:lnTo>
                  <a:pt x="1549" y="1793"/>
                </a:lnTo>
                <a:lnTo>
                  <a:pt x="1546" y="1789"/>
                </a:lnTo>
                <a:lnTo>
                  <a:pt x="1535" y="1792"/>
                </a:lnTo>
                <a:lnTo>
                  <a:pt x="1531" y="1792"/>
                </a:lnTo>
                <a:lnTo>
                  <a:pt x="1528" y="1790"/>
                </a:lnTo>
                <a:lnTo>
                  <a:pt x="1525" y="1786"/>
                </a:lnTo>
                <a:lnTo>
                  <a:pt x="1524" y="1783"/>
                </a:lnTo>
                <a:lnTo>
                  <a:pt x="1520" y="1783"/>
                </a:lnTo>
                <a:lnTo>
                  <a:pt x="1520" y="1780"/>
                </a:lnTo>
                <a:lnTo>
                  <a:pt x="1517" y="1777"/>
                </a:lnTo>
                <a:lnTo>
                  <a:pt x="1511" y="1773"/>
                </a:lnTo>
                <a:lnTo>
                  <a:pt x="1507" y="1773"/>
                </a:lnTo>
                <a:lnTo>
                  <a:pt x="1505" y="1772"/>
                </a:lnTo>
                <a:lnTo>
                  <a:pt x="1499" y="1765"/>
                </a:lnTo>
                <a:lnTo>
                  <a:pt x="1495" y="1760"/>
                </a:lnTo>
                <a:lnTo>
                  <a:pt x="1485" y="1747"/>
                </a:lnTo>
                <a:lnTo>
                  <a:pt x="1479" y="1743"/>
                </a:lnTo>
                <a:lnTo>
                  <a:pt x="1478" y="1733"/>
                </a:lnTo>
                <a:lnTo>
                  <a:pt x="1472" y="1725"/>
                </a:lnTo>
                <a:lnTo>
                  <a:pt x="1471" y="1723"/>
                </a:lnTo>
                <a:lnTo>
                  <a:pt x="1470" y="1723"/>
                </a:lnTo>
                <a:lnTo>
                  <a:pt x="1463" y="1715"/>
                </a:lnTo>
                <a:lnTo>
                  <a:pt x="1450" y="1706"/>
                </a:lnTo>
                <a:lnTo>
                  <a:pt x="1445" y="1706"/>
                </a:lnTo>
                <a:lnTo>
                  <a:pt x="1439" y="1708"/>
                </a:lnTo>
                <a:lnTo>
                  <a:pt x="1432" y="1708"/>
                </a:lnTo>
                <a:lnTo>
                  <a:pt x="1428" y="1705"/>
                </a:lnTo>
                <a:lnTo>
                  <a:pt x="1426" y="1698"/>
                </a:lnTo>
                <a:lnTo>
                  <a:pt x="1424" y="1697"/>
                </a:lnTo>
                <a:lnTo>
                  <a:pt x="1412" y="1696"/>
                </a:lnTo>
                <a:lnTo>
                  <a:pt x="1406" y="1689"/>
                </a:lnTo>
                <a:lnTo>
                  <a:pt x="1403" y="1686"/>
                </a:lnTo>
                <a:lnTo>
                  <a:pt x="1403" y="1676"/>
                </a:lnTo>
                <a:lnTo>
                  <a:pt x="1399" y="1672"/>
                </a:lnTo>
                <a:lnTo>
                  <a:pt x="1399" y="1665"/>
                </a:lnTo>
                <a:lnTo>
                  <a:pt x="1397" y="1663"/>
                </a:lnTo>
                <a:lnTo>
                  <a:pt x="1395" y="1661"/>
                </a:lnTo>
                <a:lnTo>
                  <a:pt x="1393" y="1657"/>
                </a:lnTo>
                <a:lnTo>
                  <a:pt x="1392" y="1656"/>
                </a:lnTo>
                <a:lnTo>
                  <a:pt x="1389" y="1654"/>
                </a:lnTo>
                <a:lnTo>
                  <a:pt x="1381" y="1657"/>
                </a:lnTo>
                <a:lnTo>
                  <a:pt x="1375" y="1656"/>
                </a:lnTo>
                <a:lnTo>
                  <a:pt x="1371" y="1656"/>
                </a:lnTo>
                <a:lnTo>
                  <a:pt x="1370" y="1654"/>
                </a:lnTo>
                <a:lnTo>
                  <a:pt x="1362" y="1644"/>
                </a:lnTo>
                <a:lnTo>
                  <a:pt x="1358" y="1644"/>
                </a:lnTo>
                <a:lnTo>
                  <a:pt x="1354" y="1636"/>
                </a:lnTo>
                <a:lnTo>
                  <a:pt x="1348" y="1631"/>
                </a:lnTo>
                <a:lnTo>
                  <a:pt x="1346" y="1630"/>
                </a:lnTo>
                <a:lnTo>
                  <a:pt x="1346" y="1624"/>
                </a:lnTo>
                <a:lnTo>
                  <a:pt x="1342" y="1621"/>
                </a:lnTo>
                <a:lnTo>
                  <a:pt x="1326" y="1622"/>
                </a:lnTo>
                <a:lnTo>
                  <a:pt x="1311" y="1621"/>
                </a:lnTo>
                <a:lnTo>
                  <a:pt x="1308" y="1618"/>
                </a:lnTo>
                <a:lnTo>
                  <a:pt x="1308" y="1611"/>
                </a:lnTo>
                <a:lnTo>
                  <a:pt x="1303" y="1609"/>
                </a:lnTo>
                <a:lnTo>
                  <a:pt x="1290" y="1614"/>
                </a:lnTo>
                <a:lnTo>
                  <a:pt x="1276" y="1617"/>
                </a:lnTo>
                <a:lnTo>
                  <a:pt x="1261" y="1611"/>
                </a:lnTo>
                <a:lnTo>
                  <a:pt x="1256" y="1602"/>
                </a:lnTo>
                <a:lnTo>
                  <a:pt x="1251" y="1601"/>
                </a:lnTo>
                <a:lnTo>
                  <a:pt x="1243" y="1609"/>
                </a:lnTo>
                <a:lnTo>
                  <a:pt x="1231" y="1614"/>
                </a:lnTo>
                <a:lnTo>
                  <a:pt x="1225" y="1612"/>
                </a:lnTo>
                <a:lnTo>
                  <a:pt x="1217" y="1609"/>
                </a:lnTo>
                <a:lnTo>
                  <a:pt x="1214" y="1605"/>
                </a:lnTo>
                <a:lnTo>
                  <a:pt x="1204" y="1604"/>
                </a:lnTo>
                <a:lnTo>
                  <a:pt x="1196" y="1596"/>
                </a:lnTo>
                <a:lnTo>
                  <a:pt x="1192" y="1593"/>
                </a:lnTo>
                <a:lnTo>
                  <a:pt x="1190" y="1586"/>
                </a:lnTo>
                <a:lnTo>
                  <a:pt x="1183" y="1579"/>
                </a:lnTo>
                <a:lnTo>
                  <a:pt x="1183" y="1573"/>
                </a:lnTo>
                <a:lnTo>
                  <a:pt x="1186" y="1572"/>
                </a:lnTo>
                <a:lnTo>
                  <a:pt x="1186" y="1569"/>
                </a:lnTo>
                <a:lnTo>
                  <a:pt x="1180" y="1564"/>
                </a:lnTo>
                <a:lnTo>
                  <a:pt x="1176" y="1565"/>
                </a:lnTo>
                <a:lnTo>
                  <a:pt x="1172" y="1564"/>
                </a:lnTo>
                <a:lnTo>
                  <a:pt x="1162" y="1556"/>
                </a:lnTo>
                <a:lnTo>
                  <a:pt x="1158" y="1557"/>
                </a:lnTo>
                <a:lnTo>
                  <a:pt x="1154" y="1556"/>
                </a:lnTo>
                <a:lnTo>
                  <a:pt x="1154" y="1549"/>
                </a:lnTo>
                <a:lnTo>
                  <a:pt x="1154" y="1542"/>
                </a:lnTo>
                <a:lnTo>
                  <a:pt x="1160" y="1536"/>
                </a:lnTo>
                <a:lnTo>
                  <a:pt x="1164" y="1524"/>
                </a:lnTo>
                <a:lnTo>
                  <a:pt x="1162" y="1523"/>
                </a:lnTo>
                <a:lnTo>
                  <a:pt x="1154" y="1524"/>
                </a:lnTo>
                <a:lnTo>
                  <a:pt x="1143" y="1528"/>
                </a:lnTo>
                <a:lnTo>
                  <a:pt x="1138" y="1528"/>
                </a:lnTo>
                <a:lnTo>
                  <a:pt x="1135" y="1522"/>
                </a:lnTo>
                <a:lnTo>
                  <a:pt x="1127" y="1519"/>
                </a:lnTo>
                <a:lnTo>
                  <a:pt x="1127" y="1518"/>
                </a:lnTo>
                <a:lnTo>
                  <a:pt x="1132" y="1515"/>
                </a:lnTo>
                <a:lnTo>
                  <a:pt x="1132" y="1511"/>
                </a:lnTo>
                <a:lnTo>
                  <a:pt x="1126" y="1509"/>
                </a:lnTo>
                <a:lnTo>
                  <a:pt x="1126" y="1507"/>
                </a:lnTo>
                <a:lnTo>
                  <a:pt x="1119" y="1511"/>
                </a:lnTo>
                <a:lnTo>
                  <a:pt x="1115" y="1509"/>
                </a:lnTo>
                <a:lnTo>
                  <a:pt x="1110" y="1515"/>
                </a:lnTo>
                <a:lnTo>
                  <a:pt x="1105" y="1515"/>
                </a:lnTo>
                <a:lnTo>
                  <a:pt x="1100" y="1511"/>
                </a:lnTo>
                <a:lnTo>
                  <a:pt x="1096" y="1511"/>
                </a:lnTo>
                <a:lnTo>
                  <a:pt x="1090" y="1507"/>
                </a:lnTo>
                <a:lnTo>
                  <a:pt x="1091" y="1502"/>
                </a:lnTo>
                <a:lnTo>
                  <a:pt x="1090" y="1498"/>
                </a:lnTo>
                <a:lnTo>
                  <a:pt x="1086" y="1498"/>
                </a:lnTo>
                <a:lnTo>
                  <a:pt x="1083" y="1500"/>
                </a:lnTo>
                <a:lnTo>
                  <a:pt x="1083" y="1507"/>
                </a:lnTo>
                <a:lnTo>
                  <a:pt x="1082" y="1509"/>
                </a:lnTo>
                <a:lnTo>
                  <a:pt x="1073" y="1505"/>
                </a:lnTo>
                <a:lnTo>
                  <a:pt x="1065" y="1495"/>
                </a:lnTo>
                <a:lnTo>
                  <a:pt x="1058" y="1493"/>
                </a:lnTo>
                <a:lnTo>
                  <a:pt x="1054" y="1489"/>
                </a:lnTo>
                <a:lnTo>
                  <a:pt x="1050" y="1475"/>
                </a:lnTo>
                <a:lnTo>
                  <a:pt x="1054" y="1474"/>
                </a:lnTo>
                <a:lnTo>
                  <a:pt x="1051" y="1464"/>
                </a:lnTo>
                <a:lnTo>
                  <a:pt x="1054" y="1460"/>
                </a:lnTo>
                <a:lnTo>
                  <a:pt x="1052" y="1457"/>
                </a:lnTo>
                <a:lnTo>
                  <a:pt x="1041" y="1457"/>
                </a:lnTo>
                <a:lnTo>
                  <a:pt x="1029" y="1449"/>
                </a:lnTo>
                <a:lnTo>
                  <a:pt x="1027" y="1448"/>
                </a:lnTo>
                <a:lnTo>
                  <a:pt x="1029" y="1447"/>
                </a:lnTo>
                <a:lnTo>
                  <a:pt x="1026" y="1444"/>
                </a:lnTo>
                <a:lnTo>
                  <a:pt x="1018" y="1443"/>
                </a:lnTo>
                <a:lnTo>
                  <a:pt x="1016" y="1444"/>
                </a:lnTo>
                <a:lnTo>
                  <a:pt x="1005" y="1437"/>
                </a:lnTo>
                <a:lnTo>
                  <a:pt x="998" y="1436"/>
                </a:lnTo>
                <a:lnTo>
                  <a:pt x="987" y="1433"/>
                </a:lnTo>
                <a:lnTo>
                  <a:pt x="975" y="1433"/>
                </a:lnTo>
                <a:lnTo>
                  <a:pt x="972" y="1435"/>
                </a:lnTo>
                <a:lnTo>
                  <a:pt x="968" y="1430"/>
                </a:lnTo>
                <a:lnTo>
                  <a:pt x="963" y="1433"/>
                </a:lnTo>
                <a:lnTo>
                  <a:pt x="958" y="1436"/>
                </a:lnTo>
                <a:lnTo>
                  <a:pt x="955" y="1440"/>
                </a:lnTo>
                <a:lnTo>
                  <a:pt x="951" y="1440"/>
                </a:lnTo>
                <a:lnTo>
                  <a:pt x="946" y="1433"/>
                </a:lnTo>
                <a:lnTo>
                  <a:pt x="941" y="1433"/>
                </a:lnTo>
                <a:lnTo>
                  <a:pt x="937" y="1428"/>
                </a:lnTo>
                <a:lnTo>
                  <a:pt x="936" y="1425"/>
                </a:lnTo>
                <a:lnTo>
                  <a:pt x="930" y="1427"/>
                </a:lnTo>
                <a:lnTo>
                  <a:pt x="929" y="1422"/>
                </a:lnTo>
                <a:lnTo>
                  <a:pt x="922" y="1418"/>
                </a:lnTo>
                <a:lnTo>
                  <a:pt x="920" y="1413"/>
                </a:lnTo>
                <a:lnTo>
                  <a:pt x="915" y="1413"/>
                </a:lnTo>
                <a:lnTo>
                  <a:pt x="912" y="1412"/>
                </a:lnTo>
                <a:lnTo>
                  <a:pt x="909" y="1415"/>
                </a:lnTo>
                <a:lnTo>
                  <a:pt x="905" y="1416"/>
                </a:lnTo>
                <a:lnTo>
                  <a:pt x="900" y="1418"/>
                </a:lnTo>
                <a:lnTo>
                  <a:pt x="897" y="1418"/>
                </a:lnTo>
                <a:lnTo>
                  <a:pt x="892" y="1418"/>
                </a:lnTo>
                <a:lnTo>
                  <a:pt x="891" y="1422"/>
                </a:lnTo>
                <a:lnTo>
                  <a:pt x="884" y="1422"/>
                </a:lnTo>
                <a:lnTo>
                  <a:pt x="880" y="1422"/>
                </a:lnTo>
                <a:lnTo>
                  <a:pt x="869" y="1422"/>
                </a:lnTo>
                <a:lnTo>
                  <a:pt x="867" y="1422"/>
                </a:lnTo>
                <a:lnTo>
                  <a:pt x="856" y="1418"/>
                </a:lnTo>
                <a:lnTo>
                  <a:pt x="841" y="1427"/>
                </a:lnTo>
                <a:lnTo>
                  <a:pt x="837" y="1427"/>
                </a:lnTo>
                <a:lnTo>
                  <a:pt x="830" y="1436"/>
                </a:lnTo>
                <a:lnTo>
                  <a:pt x="824" y="1440"/>
                </a:lnTo>
                <a:lnTo>
                  <a:pt x="822" y="1440"/>
                </a:lnTo>
                <a:lnTo>
                  <a:pt x="819" y="1443"/>
                </a:lnTo>
                <a:lnTo>
                  <a:pt x="803" y="1447"/>
                </a:lnTo>
                <a:lnTo>
                  <a:pt x="798" y="1444"/>
                </a:lnTo>
                <a:lnTo>
                  <a:pt x="797" y="1443"/>
                </a:lnTo>
                <a:lnTo>
                  <a:pt x="797" y="1444"/>
                </a:lnTo>
                <a:lnTo>
                  <a:pt x="794" y="1447"/>
                </a:lnTo>
                <a:lnTo>
                  <a:pt x="788" y="1440"/>
                </a:lnTo>
                <a:lnTo>
                  <a:pt x="786" y="1444"/>
                </a:lnTo>
                <a:lnTo>
                  <a:pt x="784" y="1444"/>
                </a:lnTo>
                <a:lnTo>
                  <a:pt x="783" y="1440"/>
                </a:lnTo>
                <a:lnTo>
                  <a:pt x="776" y="1440"/>
                </a:lnTo>
                <a:lnTo>
                  <a:pt x="772" y="1440"/>
                </a:lnTo>
                <a:lnTo>
                  <a:pt x="766" y="1440"/>
                </a:lnTo>
                <a:lnTo>
                  <a:pt x="763" y="1440"/>
                </a:lnTo>
                <a:lnTo>
                  <a:pt x="761" y="1438"/>
                </a:lnTo>
                <a:lnTo>
                  <a:pt x="758" y="1440"/>
                </a:lnTo>
                <a:lnTo>
                  <a:pt x="755" y="1437"/>
                </a:lnTo>
                <a:lnTo>
                  <a:pt x="752" y="1438"/>
                </a:lnTo>
                <a:lnTo>
                  <a:pt x="749" y="1438"/>
                </a:lnTo>
                <a:lnTo>
                  <a:pt x="747" y="1440"/>
                </a:lnTo>
                <a:lnTo>
                  <a:pt x="744" y="1437"/>
                </a:lnTo>
                <a:lnTo>
                  <a:pt x="742" y="1433"/>
                </a:lnTo>
                <a:lnTo>
                  <a:pt x="739" y="1431"/>
                </a:lnTo>
                <a:lnTo>
                  <a:pt x="739" y="1430"/>
                </a:lnTo>
                <a:lnTo>
                  <a:pt x="741" y="1430"/>
                </a:lnTo>
                <a:lnTo>
                  <a:pt x="741" y="1428"/>
                </a:lnTo>
                <a:lnTo>
                  <a:pt x="742" y="1427"/>
                </a:lnTo>
                <a:lnTo>
                  <a:pt x="742" y="1424"/>
                </a:lnTo>
                <a:lnTo>
                  <a:pt x="739" y="1422"/>
                </a:lnTo>
                <a:lnTo>
                  <a:pt x="742" y="1418"/>
                </a:lnTo>
                <a:lnTo>
                  <a:pt x="741" y="1418"/>
                </a:lnTo>
                <a:lnTo>
                  <a:pt x="741" y="1415"/>
                </a:lnTo>
                <a:lnTo>
                  <a:pt x="739" y="1411"/>
                </a:lnTo>
                <a:lnTo>
                  <a:pt x="736" y="1412"/>
                </a:lnTo>
                <a:lnTo>
                  <a:pt x="734" y="1408"/>
                </a:lnTo>
                <a:lnTo>
                  <a:pt x="733" y="1411"/>
                </a:lnTo>
                <a:lnTo>
                  <a:pt x="730" y="1408"/>
                </a:lnTo>
                <a:lnTo>
                  <a:pt x="728" y="1405"/>
                </a:lnTo>
                <a:lnTo>
                  <a:pt x="724" y="1402"/>
                </a:lnTo>
                <a:lnTo>
                  <a:pt x="720" y="1405"/>
                </a:lnTo>
                <a:lnTo>
                  <a:pt x="717" y="1405"/>
                </a:lnTo>
                <a:lnTo>
                  <a:pt x="716" y="1399"/>
                </a:lnTo>
                <a:lnTo>
                  <a:pt x="713" y="1399"/>
                </a:lnTo>
                <a:lnTo>
                  <a:pt x="705" y="1388"/>
                </a:lnTo>
                <a:lnTo>
                  <a:pt x="701" y="1386"/>
                </a:lnTo>
                <a:lnTo>
                  <a:pt x="698" y="1382"/>
                </a:lnTo>
                <a:lnTo>
                  <a:pt x="694" y="1382"/>
                </a:lnTo>
                <a:lnTo>
                  <a:pt x="688" y="1378"/>
                </a:lnTo>
                <a:lnTo>
                  <a:pt x="688" y="1375"/>
                </a:lnTo>
                <a:lnTo>
                  <a:pt x="686" y="1373"/>
                </a:lnTo>
                <a:lnTo>
                  <a:pt x="686" y="1371"/>
                </a:lnTo>
                <a:lnTo>
                  <a:pt x="677" y="1363"/>
                </a:lnTo>
                <a:lnTo>
                  <a:pt x="676" y="1363"/>
                </a:lnTo>
                <a:lnTo>
                  <a:pt x="676" y="1362"/>
                </a:lnTo>
                <a:lnTo>
                  <a:pt x="674" y="1363"/>
                </a:lnTo>
                <a:lnTo>
                  <a:pt x="672" y="1363"/>
                </a:lnTo>
                <a:lnTo>
                  <a:pt x="670" y="1366"/>
                </a:lnTo>
                <a:lnTo>
                  <a:pt x="667" y="1368"/>
                </a:lnTo>
                <a:lnTo>
                  <a:pt x="663" y="1360"/>
                </a:lnTo>
                <a:lnTo>
                  <a:pt x="663" y="1358"/>
                </a:lnTo>
                <a:lnTo>
                  <a:pt x="660" y="1358"/>
                </a:lnTo>
                <a:lnTo>
                  <a:pt x="659" y="1353"/>
                </a:lnTo>
                <a:lnTo>
                  <a:pt x="656" y="1350"/>
                </a:lnTo>
                <a:lnTo>
                  <a:pt x="652" y="1353"/>
                </a:lnTo>
                <a:lnTo>
                  <a:pt x="651" y="1350"/>
                </a:lnTo>
                <a:lnTo>
                  <a:pt x="647" y="1356"/>
                </a:lnTo>
                <a:lnTo>
                  <a:pt x="647" y="1354"/>
                </a:lnTo>
                <a:lnTo>
                  <a:pt x="641" y="1362"/>
                </a:lnTo>
                <a:lnTo>
                  <a:pt x="637" y="1366"/>
                </a:lnTo>
                <a:lnTo>
                  <a:pt x="634" y="1369"/>
                </a:lnTo>
                <a:lnTo>
                  <a:pt x="630" y="1373"/>
                </a:lnTo>
                <a:lnTo>
                  <a:pt x="627" y="1379"/>
                </a:lnTo>
                <a:lnTo>
                  <a:pt x="621" y="1382"/>
                </a:lnTo>
                <a:lnTo>
                  <a:pt x="614" y="1388"/>
                </a:lnTo>
                <a:lnTo>
                  <a:pt x="614" y="1391"/>
                </a:lnTo>
                <a:lnTo>
                  <a:pt x="610" y="1391"/>
                </a:lnTo>
                <a:lnTo>
                  <a:pt x="602" y="1395"/>
                </a:lnTo>
                <a:lnTo>
                  <a:pt x="598" y="1395"/>
                </a:lnTo>
                <a:lnTo>
                  <a:pt x="595" y="1399"/>
                </a:lnTo>
                <a:lnTo>
                  <a:pt x="593" y="1398"/>
                </a:lnTo>
                <a:lnTo>
                  <a:pt x="591" y="1399"/>
                </a:lnTo>
                <a:lnTo>
                  <a:pt x="588" y="1399"/>
                </a:lnTo>
                <a:lnTo>
                  <a:pt x="585" y="1398"/>
                </a:lnTo>
                <a:lnTo>
                  <a:pt x="584" y="1399"/>
                </a:lnTo>
                <a:lnTo>
                  <a:pt x="581" y="1398"/>
                </a:lnTo>
                <a:lnTo>
                  <a:pt x="571" y="1402"/>
                </a:lnTo>
                <a:lnTo>
                  <a:pt x="570" y="1399"/>
                </a:lnTo>
                <a:lnTo>
                  <a:pt x="570" y="1395"/>
                </a:lnTo>
                <a:lnTo>
                  <a:pt x="568" y="1394"/>
                </a:lnTo>
                <a:lnTo>
                  <a:pt x="571" y="1385"/>
                </a:lnTo>
                <a:lnTo>
                  <a:pt x="571" y="1377"/>
                </a:lnTo>
                <a:lnTo>
                  <a:pt x="568" y="1369"/>
                </a:lnTo>
                <a:lnTo>
                  <a:pt x="570" y="1360"/>
                </a:lnTo>
                <a:lnTo>
                  <a:pt x="567" y="1357"/>
                </a:lnTo>
                <a:lnTo>
                  <a:pt x="542" y="1331"/>
                </a:lnTo>
                <a:lnTo>
                  <a:pt x="537" y="1333"/>
                </a:lnTo>
                <a:lnTo>
                  <a:pt x="531" y="1341"/>
                </a:lnTo>
                <a:lnTo>
                  <a:pt x="527" y="1344"/>
                </a:lnTo>
                <a:lnTo>
                  <a:pt x="513" y="1358"/>
                </a:lnTo>
                <a:lnTo>
                  <a:pt x="509" y="1356"/>
                </a:lnTo>
                <a:lnTo>
                  <a:pt x="506" y="1357"/>
                </a:lnTo>
                <a:lnTo>
                  <a:pt x="501" y="1356"/>
                </a:lnTo>
                <a:lnTo>
                  <a:pt x="498" y="1350"/>
                </a:lnTo>
                <a:lnTo>
                  <a:pt x="493" y="1350"/>
                </a:lnTo>
                <a:lnTo>
                  <a:pt x="493" y="1346"/>
                </a:lnTo>
                <a:lnTo>
                  <a:pt x="491" y="1346"/>
                </a:lnTo>
                <a:lnTo>
                  <a:pt x="479" y="1344"/>
                </a:lnTo>
                <a:lnTo>
                  <a:pt x="477" y="1337"/>
                </a:lnTo>
                <a:lnTo>
                  <a:pt x="477" y="1333"/>
                </a:lnTo>
                <a:lnTo>
                  <a:pt x="473" y="1324"/>
                </a:lnTo>
                <a:lnTo>
                  <a:pt x="467" y="1324"/>
                </a:lnTo>
                <a:lnTo>
                  <a:pt x="463" y="1328"/>
                </a:lnTo>
                <a:lnTo>
                  <a:pt x="460" y="1324"/>
                </a:lnTo>
                <a:lnTo>
                  <a:pt x="459" y="1323"/>
                </a:lnTo>
                <a:lnTo>
                  <a:pt x="446" y="1287"/>
                </a:lnTo>
                <a:lnTo>
                  <a:pt x="442" y="1279"/>
                </a:lnTo>
                <a:lnTo>
                  <a:pt x="441" y="1278"/>
                </a:lnTo>
                <a:lnTo>
                  <a:pt x="441" y="1275"/>
                </a:lnTo>
                <a:lnTo>
                  <a:pt x="439" y="1274"/>
                </a:lnTo>
                <a:lnTo>
                  <a:pt x="441" y="1273"/>
                </a:lnTo>
                <a:lnTo>
                  <a:pt x="439" y="1269"/>
                </a:lnTo>
                <a:lnTo>
                  <a:pt x="438" y="1266"/>
                </a:lnTo>
                <a:lnTo>
                  <a:pt x="438" y="1265"/>
                </a:lnTo>
                <a:lnTo>
                  <a:pt x="434" y="1270"/>
                </a:lnTo>
                <a:lnTo>
                  <a:pt x="435" y="1273"/>
                </a:lnTo>
                <a:lnTo>
                  <a:pt x="435" y="1275"/>
                </a:lnTo>
                <a:lnTo>
                  <a:pt x="432" y="1274"/>
                </a:lnTo>
                <a:lnTo>
                  <a:pt x="427" y="1275"/>
                </a:lnTo>
                <a:lnTo>
                  <a:pt x="423" y="1273"/>
                </a:lnTo>
                <a:lnTo>
                  <a:pt x="414" y="1270"/>
                </a:lnTo>
                <a:lnTo>
                  <a:pt x="410" y="1266"/>
                </a:lnTo>
                <a:lnTo>
                  <a:pt x="410" y="1262"/>
                </a:lnTo>
                <a:lnTo>
                  <a:pt x="404" y="1251"/>
                </a:lnTo>
                <a:lnTo>
                  <a:pt x="395" y="1249"/>
                </a:lnTo>
                <a:lnTo>
                  <a:pt x="44" y="1249"/>
                </a:lnTo>
                <a:lnTo>
                  <a:pt x="0" y="1249"/>
                </a:lnTo>
                <a:lnTo>
                  <a:pt x="3" y="1244"/>
                </a:lnTo>
                <a:lnTo>
                  <a:pt x="8" y="1244"/>
                </a:lnTo>
                <a:lnTo>
                  <a:pt x="9" y="1242"/>
                </a:lnTo>
                <a:lnTo>
                  <a:pt x="12" y="1240"/>
                </a:lnTo>
                <a:lnTo>
                  <a:pt x="19" y="1234"/>
                </a:lnTo>
                <a:lnTo>
                  <a:pt x="22" y="1231"/>
                </a:lnTo>
                <a:lnTo>
                  <a:pt x="29" y="1221"/>
                </a:lnTo>
                <a:lnTo>
                  <a:pt x="34" y="1220"/>
                </a:lnTo>
                <a:lnTo>
                  <a:pt x="37" y="1216"/>
                </a:lnTo>
                <a:lnTo>
                  <a:pt x="42" y="1204"/>
                </a:lnTo>
                <a:lnTo>
                  <a:pt x="50" y="1199"/>
                </a:lnTo>
                <a:lnTo>
                  <a:pt x="57" y="1194"/>
                </a:lnTo>
                <a:lnTo>
                  <a:pt x="55" y="1188"/>
                </a:lnTo>
                <a:lnTo>
                  <a:pt x="60" y="1180"/>
                </a:lnTo>
                <a:lnTo>
                  <a:pt x="57" y="1176"/>
                </a:lnTo>
                <a:lnTo>
                  <a:pt x="55" y="1175"/>
                </a:lnTo>
                <a:lnTo>
                  <a:pt x="60" y="1172"/>
                </a:lnTo>
                <a:lnTo>
                  <a:pt x="69" y="1171"/>
                </a:lnTo>
                <a:lnTo>
                  <a:pt x="71" y="1171"/>
                </a:lnTo>
                <a:lnTo>
                  <a:pt x="76" y="1163"/>
                </a:lnTo>
                <a:lnTo>
                  <a:pt x="76" y="1162"/>
                </a:lnTo>
                <a:lnTo>
                  <a:pt x="83" y="1159"/>
                </a:lnTo>
                <a:lnTo>
                  <a:pt x="85" y="1154"/>
                </a:lnTo>
                <a:lnTo>
                  <a:pt x="92" y="1146"/>
                </a:lnTo>
                <a:lnTo>
                  <a:pt x="94" y="1141"/>
                </a:lnTo>
                <a:lnTo>
                  <a:pt x="100" y="1141"/>
                </a:lnTo>
                <a:lnTo>
                  <a:pt x="105" y="1141"/>
                </a:lnTo>
                <a:lnTo>
                  <a:pt x="113" y="1137"/>
                </a:lnTo>
                <a:lnTo>
                  <a:pt x="113" y="1134"/>
                </a:lnTo>
                <a:lnTo>
                  <a:pt x="107" y="1133"/>
                </a:lnTo>
                <a:lnTo>
                  <a:pt x="107" y="1130"/>
                </a:lnTo>
                <a:lnTo>
                  <a:pt x="108" y="1118"/>
                </a:lnTo>
                <a:lnTo>
                  <a:pt x="111" y="1117"/>
                </a:lnTo>
                <a:lnTo>
                  <a:pt x="114" y="1120"/>
                </a:lnTo>
                <a:lnTo>
                  <a:pt x="117" y="1120"/>
                </a:lnTo>
                <a:lnTo>
                  <a:pt x="119" y="1118"/>
                </a:lnTo>
                <a:lnTo>
                  <a:pt x="121" y="1115"/>
                </a:lnTo>
                <a:lnTo>
                  <a:pt x="119" y="1113"/>
                </a:lnTo>
                <a:lnTo>
                  <a:pt x="117" y="1115"/>
                </a:lnTo>
                <a:lnTo>
                  <a:pt x="113" y="1110"/>
                </a:lnTo>
                <a:lnTo>
                  <a:pt x="113" y="1105"/>
                </a:lnTo>
                <a:lnTo>
                  <a:pt x="115" y="1100"/>
                </a:lnTo>
                <a:lnTo>
                  <a:pt x="124" y="1091"/>
                </a:lnTo>
                <a:lnTo>
                  <a:pt x="127" y="1085"/>
                </a:lnTo>
                <a:lnTo>
                  <a:pt x="130" y="1083"/>
                </a:lnTo>
                <a:lnTo>
                  <a:pt x="136" y="1079"/>
                </a:lnTo>
                <a:lnTo>
                  <a:pt x="142" y="1078"/>
                </a:lnTo>
                <a:lnTo>
                  <a:pt x="149" y="1072"/>
                </a:lnTo>
                <a:lnTo>
                  <a:pt x="152" y="1070"/>
                </a:lnTo>
                <a:lnTo>
                  <a:pt x="150" y="1066"/>
                </a:lnTo>
                <a:lnTo>
                  <a:pt x="152" y="1062"/>
                </a:lnTo>
                <a:lnTo>
                  <a:pt x="167" y="1057"/>
                </a:lnTo>
                <a:lnTo>
                  <a:pt x="174" y="1050"/>
                </a:lnTo>
                <a:lnTo>
                  <a:pt x="182" y="1047"/>
                </a:lnTo>
                <a:lnTo>
                  <a:pt x="188" y="1047"/>
                </a:lnTo>
                <a:lnTo>
                  <a:pt x="192" y="1043"/>
                </a:lnTo>
                <a:lnTo>
                  <a:pt x="196" y="1042"/>
                </a:lnTo>
                <a:lnTo>
                  <a:pt x="199" y="1034"/>
                </a:lnTo>
                <a:lnTo>
                  <a:pt x="200" y="1033"/>
                </a:lnTo>
                <a:lnTo>
                  <a:pt x="199" y="1026"/>
                </a:lnTo>
                <a:lnTo>
                  <a:pt x="203" y="1020"/>
                </a:lnTo>
                <a:lnTo>
                  <a:pt x="210" y="1016"/>
                </a:lnTo>
                <a:lnTo>
                  <a:pt x="214" y="1017"/>
                </a:lnTo>
                <a:lnTo>
                  <a:pt x="217" y="1012"/>
                </a:lnTo>
                <a:lnTo>
                  <a:pt x="224" y="1010"/>
                </a:lnTo>
                <a:lnTo>
                  <a:pt x="233" y="1004"/>
                </a:lnTo>
                <a:lnTo>
                  <a:pt x="247" y="989"/>
                </a:lnTo>
                <a:lnTo>
                  <a:pt x="256" y="988"/>
                </a:lnTo>
                <a:lnTo>
                  <a:pt x="271" y="981"/>
                </a:lnTo>
                <a:lnTo>
                  <a:pt x="275" y="981"/>
                </a:lnTo>
                <a:lnTo>
                  <a:pt x="282" y="981"/>
                </a:lnTo>
                <a:lnTo>
                  <a:pt x="290" y="976"/>
                </a:lnTo>
                <a:lnTo>
                  <a:pt x="300" y="971"/>
                </a:lnTo>
                <a:lnTo>
                  <a:pt x="306" y="963"/>
                </a:lnTo>
                <a:lnTo>
                  <a:pt x="311" y="961"/>
                </a:lnTo>
                <a:lnTo>
                  <a:pt x="314" y="961"/>
                </a:lnTo>
                <a:lnTo>
                  <a:pt x="317" y="961"/>
                </a:lnTo>
                <a:lnTo>
                  <a:pt x="319" y="959"/>
                </a:lnTo>
                <a:lnTo>
                  <a:pt x="331" y="950"/>
                </a:lnTo>
                <a:lnTo>
                  <a:pt x="335" y="946"/>
                </a:lnTo>
                <a:lnTo>
                  <a:pt x="342" y="939"/>
                </a:lnTo>
                <a:lnTo>
                  <a:pt x="356" y="933"/>
                </a:lnTo>
                <a:lnTo>
                  <a:pt x="363" y="923"/>
                </a:lnTo>
                <a:lnTo>
                  <a:pt x="367" y="921"/>
                </a:lnTo>
                <a:lnTo>
                  <a:pt x="370" y="921"/>
                </a:lnTo>
                <a:lnTo>
                  <a:pt x="375" y="923"/>
                </a:lnTo>
                <a:lnTo>
                  <a:pt x="382" y="923"/>
                </a:lnTo>
                <a:lnTo>
                  <a:pt x="392" y="918"/>
                </a:lnTo>
                <a:lnTo>
                  <a:pt x="401" y="930"/>
                </a:lnTo>
                <a:lnTo>
                  <a:pt x="410" y="936"/>
                </a:lnTo>
                <a:lnTo>
                  <a:pt x="413" y="936"/>
                </a:lnTo>
                <a:lnTo>
                  <a:pt x="416" y="936"/>
                </a:lnTo>
                <a:lnTo>
                  <a:pt x="420" y="933"/>
                </a:lnTo>
                <a:lnTo>
                  <a:pt x="423" y="931"/>
                </a:lnTo>
                <a:lnTo>
                  <a:pt x="431" y="934"/>
                </a:lnTo>
                <a:lnTo>
                  <a:pt x="434" y="931"/>
                </a:lnTo>
                <a:lnTo>
                  <a:pt x="435" y="923"/>
                </a:lnTo>
                <a:lnTo>
                  <a:pt x="442" y="923"/>
                </a:lnTo>
                <a:lnTo>
                  <a:pt x="445" y="922"/>
                </a:lnTo>
                <a:lnTo>
                  <a:pt x="448" y="922"/>
                </a:lnTo>
                <a:lnTo>
                  <a:pt x="452" y="917"/>
                </a:lnTo>
                <a:lnTo>
                  <a:pt x="460" y="911"/>
                </a:lnTo>
                <a:lnTo>
                  <a:pt x="468" y="910"/>
                </a:lnTo>
                <a:lnTo>
                  <a:pt x="479" y="905"/>
                </a:lnTo>
                <a:lnTo>
                  <a:pt x="493" y="900"/>
                </a:lnTo>
                <a:lnTo>
                  <a:pt x="498" y="897"/>
                </a:lnTo>
                <a:lnTo>
                  <a:pt x="503" y="896"/>
                </a:lnTo>
                <a:lnTo>
                  <a:pt x="516" y="888"/>
                </a:lnTo>
                <a:lnTo>
                  <a:pt x="520" y="883"/>
                </a:lnTo>
                <a:lnTo>
                  <a:pt x="518" y="879"/>
                </a:lnTo>
                <a:lnTo>
                  <a:pt x="516" y="877"/>
                </a:lnTo>
                <a:lnTo>
                  <a:pt x="517" y="874"/>
                </a:lnTo>
                <a:lnTo>
                  <a:pt x="523" y="872"/>
                </a:lnTo>
                <a:lnTo>
                  <a:pt x="528" y="867"/>
                </a:lnTo>
                <a:lnTo>
                  <a:pt x="537" y="864"/>
                </a:lnTo>
                <a:lnTo>
                  <a:pt x="539" y="861"/>
                </a:lnTo>
                <a:lnTo>
                  <a:pt x="543" y="852"/>
                </a:lnTo>
                <a:lnTo>
                  <a:pt x="552" y="847"/>
                </a:lnTo>
                <a:lnTo>
                  <a:pt x="556" y="842"/>
                </a:lnTo>
                <a:lnTo>
                  <a:pt x="562" y="838"/>
                </a:lnTo>
                <a:lnTo>
                  <a:pt x="563" y="834"/>
                </a:lnTo>
                <a:lnTo>
                  <a:pt x="570" y="834"/>
                </a:lnTo>
                <a:lnTo>
                  <a:pt x="577" y="829"/>
                </a:lnTo>
                <a:lnTo>
                  <a:pt x="581" y="829"/>
                </a:lnTo>
                <a:lnTo>
                  <a:pt x="581" y="821"/>
                </a:lnTo>
                <a:lnTo>
                  <a:pt x="584" y="811"/>
                </a:lnTo>
                <a:lnTo>
                  <a:pt x="582" y="807"/>
                </a:lnTo>
                <a:lnTo>
                  <a:pt x="582" y="805"/>
                </a:lnTo>
                <a:lnTo>
                  <a:pt x="593" y="794"/>
                </a:lnTo>
                <a:lnTo>
                  <a:pt x="601" y="789"/>
                </a:lnTo>
                <a:lnTo>
                  <a:pt x="613" y="784"/>
                </a:lnTo>
                <a:lnTo>
                  <a:pt x="623" y="779"/>
                </a:lnTo>
                <a:lnTo>
                  <a:pt x="623" y="772"/>
                </a:lnTo>
                <a:lnTo>
                  <a:pt x="626" y="769"/>
                </a:lnTo>
                <a:lnTo>
                  <a:pt x="627" y="762"/>
                </a:lnTo>
                <a:lnTo>
                  <a:pt x="628" y="759"/>
                </a:lnTo>
                <a:lnTo>
                  <a:pt x="633" y="759"/>
                </a:lnTo>
                <a:lnTo>
                  <a:pt x="635" y="754"/>
                </a:lnTo>
                <a:lnTo>
                  <a:pt x="641" y="752"/>
                </a:lnTo>
                <a:lnTo>
                  <a:pt x="645" y="754"/>
                </a:lnTo>
                <a:lnTo>
                  <a:pt x="655" y="754"/>
                </a:lnTo>
                <a:lnTo>
                  <a:pt x="664" y="757"/>
                </a:lnTo>
                <a:lnTo>
                  <a:pt x="670" y="761"/>
                </a:lnTo>
                <a:lnTo>
                  <a:pt x="674" y="767"/>
                </a:lnTo>
                <a:lnTo>
                  <a:pt x="678" y="768"/>
                </a:lnTo>
                <a:lnTo>
                  <a:pt x="687" y="769"/>
                </a:lnTo>
                <a:lnTo>
                  <a:pt x="691" y="768"/>
                </a:lnTo>
                <a:lnTo>
                  <a:pt x="695" y="762"/>
                </a:lnTo>
                <a:lnTo>
                  <a:pt x="701" y="762"/>
                </a:lnTo>
                <a:lnTo>
                  <a:pt x="701" y="761"/>
                </a:lnTo>
                <a:lnTo>
                  <a:pt x="701" y="757"/>
                </a:lnTo>
                <a:lnTo>
                  <a:pt x="708" y="751"/>
                </a:lnTo>
                <a:lnTo>
                  <a:pt x="708" y="748"/>
                </a:lnTo>
                <a:lnTo>
                  <a:pt x="711" y="745"/>
                </a:lnTo>
                <a:lnTo>
                  <a:pt x="714" y="745"/>
                </a:lnTo>
                <a:lnTo>
                  <a:pt x="722" y="739"/>
                </a:lnTo>
                <a:lnTo>
                  <a:pt x="733" y="730"/>
                </a:lnTo>
                <a:lnTo>
                  <a:pt x="739" y="727"/>
                </a:lnTo>
                <a:lnTo>
                  <a:pt x="741" y="723"/>
                </a:lnTo>
                <a:lnTo>
                  <a:pt x="741" y="720"/>
                </a:lnTo>
                <a:lnTo>
                  <a:pt x="736" y="710"/>
                </a:lnTo>
                <a:lnTo>
                  <a:pt x="736" y="703"/>
                </a:lnTo>
                <a:lnTo>
                  <a:pt x="731" y="695"/>
                </a:lnTo>
                <a:lnTo>
                  <a:pt x="730" y="692"/>
                </a:lnTo>
                <a:lnTo>
                  <a:pt x="731" y="687"/>
                </a:lnTo>
                <a:lnTo>
                  <a:pt x="730" y="682"/>
                </a:lnTo>
                <a:lnTo>
                  <a:pt x="733" y="678"/>
                </a:lnTo>
                <a:lnTo>
                  <a:pt x="741" y="674"/>
                </a:lnTo>
                <a:lnTo>
                  <a:pt x="749" y="677"/>
                </a:lnTo>
                <a:lnTo>
                  <a:pt x="755" y="678"/>
                </a:lnTo>
                <a:lnTo>
                  <a:pt x="761" y="678"/>
                </a:lnTo>
                <a:lnTo>
                  <a:pt x="769" y="673"/>
                </a:lnTo>
                <a:lnTo>
                  <a:pt x="770" y="669"/>
                </a:lnTo>
                <a:lnTo>
                  <a:pt x="774" y="669"/>
                </a:lnTo>
                <a:lnTo>
                  <a:pt x="777" y="669"/>
                </a:lnTo>
                <a:lnTo>
                  <a:pt x="787" y="665"/>
                </a:lnTo>
                <a:lnTo>
                  <a:pt x="799" y="665"/>
                </a:lnTo>
                <a:lnTo>
                  <a:pt x="802" y="665"/>
                </a:lnTo>
                <a:lnTo>
                  <a:pt x="806" y="669"/>
                </a:lnTo>
                <a:lnTo>
                  <a:pt x="817" y="686"/>
                </a:lnTo>
                <a:lnTo>
                  <a:pt x="819" y="687"/>
                </a:lnTo>
                <a:lnTo>
                  <a:pt x="824" y="686"/>
                </a:lnTo>
                <a:lnTo>
                  <a:pt x="833" y="686"/>
                </a:lnTo>
                <a:lnTo>
                  <a:pt x="841" y="678"/>
                </a:lnTo>
                <a:lnTo>
                  <a:pt x="842" y="674"/>
                </a:lnTo>
                <a:lnTo>
                  <a:pt x="847" y="672"/>
                </a:lnTo>
                <a:lnTo>
                  <a:pt x="853" y="672"/>
                </a:lnTo>
                <a:lnTo>
                  <a:pt x="858" y="665"/>
                </a:lnTo>
                <a:lnTo>
                  <a:pt x="865" y="665"/>
                </a:lnTo>
                <a:lnTo>
                  <a:pt x="870" y="660"/>
                </a:lnTo>
                <a:lnTo>
                  <a:pt x="870" y="658"/>
                </a:lnTo>
                <a:lnTo>
                  <a:pt x="874" y="652"/>
                </a:lnTo>
                <a:lnTo>
                  <a:pt x="876" y="647"/>
                </a:lnTo>
                <a:lnTo>
                  <a:pt x="880" y="643"/>
                </a:lnTo>
                <a:lnTo>
                  <a:pt x="887" y="643"/>
                </a:lnTo>
                <a:lnTo>
                  <a:pt x="890" y="645"/>
                </a:lnTo>
                <a:lnTo>
                  <a:pt x="897" y="647"/>
                </a:lnTo>
                <a:lnTo>
                  <a:pt x="904" y="647"/>
                </a:lnTo>
                <a:lnTo>
                  <a:pt x="916" y="651"/>
                </a:lnTo>
                <a:lnTo>
                  <a:pt x="926" y="647"/>
                </a:lnTo>
                <a:lnTo>
                  <a:pt x="933" y="645"/>
                </a:lnTo>
                <a:lnTo>
                  <a:pt x="947" y="658"/>
                </a:lnTo>
                <a:lnTo>
                  <a:pt x="951" y="664"/>
                </a:lnTo>
                <a:lnTo>
                  <a:pt x="950" y="669"/>
                </a:lnTo>
                <a:lnTo>
                  <a:pt x="962" y="674"/>
                </a:lnTo>
                <a:lnTo>
                  <a:pt x="969" y="685"/>
                </a:lnTo>
                <a:lnTo>
                  <a:pt x="982" y="697"/>
                </a:lnTo>
                <a:lnTo>
                  <a:pt x="990" y="701"/>
                </a:lnTo>
                <a:lnTo>
                  <a:pt x="994" y="701"/>
                </a:lnTo>
                <a:lnTo>
                  <a:pt x="997" y="698"/>
                </a:lnTo>
                <a:lnTo>
                  <a:pt x="1004" y="695"/>
                </a:lnTo>
                <a:lnTo>
                  <a:pt x="1010" y="690"/>
                </a:lnTo>
                <a:lnTo>
                  <a:pt x="1015" y="684"/>
                </a:lnTo>
                <a:lnTo>
                  <a:pt x="1022" y="678"/>
                </a:lnTo>
                <a:lnTo>
                  <a:pt x="1022" y="674"/>
                </a:lnTo>
                <a:lnTo>
                  <a:pt x="1026" y="669"/>
                </a:lnTo>
                <a:lnTo>
                  <a:pt x="1043" y="660"/>
                </a:lnTo>
                <a:lnTo>
                  <a:pt x="1055" y="652"/>
                </a:lnTo>
                <a:lnTo>
                  <a:pt x="1063" y="647"/>
                </a:lnTo>
                <a:lnTo>
                  <a:pt x="1066" y="647"/>
                </a:lnTo>
                <a:lnTo>
                  <a:pt x="1075" y="647"/>
                </a:lnTo>
                <a:lnTo>
                  <a:pt x="1077" y="647"/>
                </a:lnTo>
                <a:lnTo>
                  <a:pt x="1082" y="649"/>
                </a:lnTo>
                <a:lnTo>
                  <a:pt x="1090" y="651"/>
                </a:lnTo>
                <a:lnTo>
                  <a:pt x="1100" y="651"/>
                </a:lnTo>
                <a:lnTo>
                  <a:pt x="1104" y="656"/>
                </a:lnTo>
                <a:lnTo>
                  <a:pt x="1111" y="658"/>
                </a:lnTo>
                <a:lnTo>
                  <a:pt x="1119" y="656"/>
                </a:lnTo>
                <a:lnTo>
                  <a:pt x="1127" y="651"/>
                </a:lnTo>
                <a:lnTo>
                  <a:pt x="1129" y="647"/>
                </a:lnTo>
                <a:lnTo>
                  <a:pt x="1136" y="651"/>
                </a:lnTo>
                <a:lnTo>
                  <a:pt x="1140" y="655"/>
                </a:lnTo>
                <a:lnTo>
                  <a:pt x="1148" y="656"/>
                </a:lnTo>
                <a:lnTo>
                  <a:pt x="1157" y="645"/>
                </a:lnTo>
                <a:lnTo>
                  <a:pt x="1168" y="637"/>
                </a:lnTo>
                <a:lnTo>
                  <a:pt x="1176" y="633"/>
                </a:lnTo>
                <a:lnTo>
                  <a:pt x="1196" y="632"/>
                </a:lnTo>
                <a:lnTo>
                  <a:pt x="1200" y="630"/>
                </a:lnTo>
                <a:lnTo>
                  <a:pt x="1206" y="627"/>
                </a:lnTo>
                <a:lnTo>
                  <a:pt x="1212" y="616"/>
                </a:lnTo>
                <a:lnTo>
                  <a:pt x="1222" y="607"/>
                </a:lnTo>
                <a:lnTo>
                  <a:pt x="1223" y="603"/>
                </a:lnTo>
                <a:lnTo>
                  <a:pt x="1229" y="598"/>
                </a:lnTo>
                <a:lnTo>
                  <a:pt x="1231" y="597"/>
                </a:lnTo>
                <a:lnTo>
                  <a:pt x="1236" y="597"/>
                </a:lnTo>
                <a:lnTo>
                  <a:pt x="1245" y="585"/>
                </a:lnTo>
                <a:lnTo>
                  <a:pt x="1251" y="581"/>
                </a:lnTo>
                <a:lnTo>
                  <a:pt x="1260" y="580"/>
                </a:lnTo>
                <a:lnTo>
                  <a:pt x="1262" y="578"/>
                </a:lnTo>
                <a:lnTo>
                  <a:pt x="1268" y="580"/>
                </a:lnTo>
                <a:lnTo>
                  <a:pt x="1272" y="576"/>
                </a:lnTo>
                <a:lnTo>
                  <a:pt x="1275" y="571"/>
                </a:lnTo>
                <a:lnTo>
                  <a:pt x="1278" y="571"/>
                </a:lnTo>
                <a:lnTo>
                  <a:pt x="1287" y="571"/>
                </a:lnTo>
                <a:lnTo>
                  <a:pt x="1296" y="565"/>
                </a:lnTo>
                <a:lnTo>
                  <a:pt x="1300" y="565"/>
                </a:lnTo>
                <a:lnTo>
                  <a:pt x="1318" y="576"/>
                </a:lnTo>
                <a:lnTo>
                  <a:pt x="1323" y="576"/>
                </a:lnTo>
                <a:lnTo>
                  <a:pt x="1328" y="571"/>
                </a:lnTo>
                <a:lnTo>
                  <a:pt x="1329" y="566"/>
                </a:lnTo>
                <a:lnTo>
                  <a:pt x="1333" y="562"/>
                </a:lnTo>
                <a:lnTo>
                  <a:pt x="1339" y="561"/>
                </a:lnTo>
                <a:lnTo>
                  <a:pt x="1342" y="558"/>
                </a:lnTo>
                <a:lnTo>
                  <a:pt x="1347" y="558"/>
                </a:lnTo>
                <a:lnTo>
                  <a:pt x="1356" y="557"/>
                </a:lnTo>
                <a:lnTo>
                  <a:pt x="1372" y="548"/>
                </a:lnTo>
                <a:lnTo>
                  <a:pt x="1392" y="545"/>
                </a:lnTo>
                <a:lnTo>
                  <a:pt x="1397" y="540"/>
                </a:lnTo>
                <a:lnTo>
                  <a:pt x="1400" y="540"/>
                </a:lnTo>
                <a:lnTo>
                  <a:pt x="1404" y="540"/>
                </a:lnTo>
                <a:lnTo>
                  <a:pt x="1411" y="545"/>
                </a:lnTo>
                <a:lnTo>
                  <a:pt x="1432" y="549"/>
                </a:lnTo>
                <a:lnTo>
                  <a:pt x="1439" y="553"/>
                </a:lnTo>
                <a:lnTo>
                  <a:pt x="1443" y="556"/>
                </a:lnTo>
                <a:lnTo>
                  <a:pt x="1447" y="562"/>
                </a:lnTo>
                <a:lnTo>
                  <a:pt x="1452" y="565"/>
                </a:lnTo>
                <a:lnTo>
                  <a:pt x="1460" y="570"/>
                </a:lnTo>
                <a:lnTo>
                  <a:pt x="1471" y="574"/>
                </a:lnTo>
                <a:lnTo>
                  <a:pt x="1474" y="574"/>
                </a:lnTo>
                <a:lnTo>
                  <a:pt x="1479" y="568"/>
                </a:lnTo>
                <a:lnTo>
                  <a:pt x="1486" y="568"/>
                </a:lnTo>
                <a:lnTo>
                  <a:pt x="1497" y="562"/>
                </a:lnTo>
                <a:lnTo>
                  <a:pt x="1509" y="568"/>
                </a:lnTo>
                <a:lnTo>
                  <a:pt x="1521" y="569"/>
                </a:lnTo>
                <a:lnTo>
                  <a:pt x="1527" y="576"/>
                </a:lnTo>
                <a:lnTo>
                  <a:pt x="1528" y="576"/>
                </a:lnTo>
                <a:lnTo>
                  <a:pt x="1534" y="576"/>
                </a:lnTo>
                <a:lnTo>
                  <a:pt x="1545" y="569"/>
                </a:lnTo>
                <a:lnTo>
                  <a:pt x="1547" y="568"/>
                </a:lnTo>
                <a:lnTo>
                  <a:pt x="1549" y="569"/>
                </a:lnTo>
                <a:lnTo>
                  <a:pt x="1553" y="566"/>
                </a:lnTo>
                <a:lnTo>
                  <a:pt x="1563" y="566"/>
                </a:lnTo>
                <a:lnTo>
                  <a:pt x="1567" y="562"/>
                </a:lnTo>
                <a:lnTo>
                  <a:pt x="1570" y="562"/>
                </a:lnTo>
                <a:lnTo>
                  <a:pt x="1575" y="558"/>
                </a:lnTo>
                <a:lnTo>
                  <a:pt x="1581" y="557"/>
                </a:lnTo>
                <a:lnTo>
                  <a:pt x="1594" y="558"/>
                </a:lnTo>
                <a:lnTo>
                  <a:pt x="1605" y="568"/>
                </a:lnTo>
                <a:lnTo>
                  <a:pt x="1611" y="566"/>
                </a:lnTo>
                <a:lnTo>
                  <a:pt x="1620" y="570"/>
                </a:lnTo>
                <a:lnTo>
                  <a:pt x="1625" y="569"/>
                </a:lnTo>
                <a:lnTo>
                  <a:pt x="1627" y="568"/>
                </a:lnTo>
                <a:lnTo>
                  <a:pt x="1632" y="558"/>
                </a:lnTo>
                <a:lnTo>
                  <a:pt x="1638" y="553"/>
                </a:lnTo>
                <a:lnTo>
                  <a:pt x="1655" y="545"/>
                </a:lnTo>
                <a:lnTo>
                  <a:pt x="1660" y="544"/>
                </a:lnTo>
                <a:lnTo>
                  <a:pt x="1667" y="540"/>
                </a:lnTo>
                <a:lnTo>
                  <a:pt x="1682" y="529"/>
                </a:lnTo>
                <a:lnTo>
                  <a:pt x="1686" y="529"/>
                </a:lnTo>
                <a:lnTo>
                  <a:pt x="1691" y="536"/>
                </a:lnTo>
                <a:lnTo>
                  <a:pt x="1695" y="540"/>
                </a:lnTo>
                <a:lnTo>
                  <a:pt x="1699" y="540"/>
                </a:lnTo>
                <a:lnTo>
                  <a:pt x="1709" y="535"/>
                </a:lnTo>
                <a:lnTo>
                  <a:pt x="1713" y="533"/>
                </a:lnTo>
                <a:lnTo>
                  <a:pt x="1720" y="531"/>
                </a:lnTo>
                <a:lnTo>
                  <a:pt x="1727" y="523"/>
                </a:lnTo>
                <a:lnTo>
                  <a:pt x="1735" y="520"/>
                </a:lnTo>
                <a:lnTo>
                  <a:pt x="1741" y="514"/>
                </a:lnTo>
                <a:lnTo>
                  <a:pt x="1748" y="504"/>
                </a:lnTo>
                <a:lnTo>
                  <a:pt x="1756" y="501"/>
                </a:lnTo>
                <a:lnTo>
                  <a:pt x="1765" y="498"/>
                </a:lnTo>
                <a:lnTo>
                  <a:pt x="1773" y="495"/>
                </a:lnTo>
                <a:lnTo>
                  <a:pt x="1798" y="482"/>
                </a:lnTo>
                <a:lnTo>
                  <a:pt x="1807" y="482"/>
                </a:lnTo>
                <a:lnTo>
                  <a:pt x="1813" y="478"/>
                </a:lnTo>
                <a:lnTo>
                  <a:pt x="1817" y="473"/>
                </a:lnTo>
                <a:lnTo>
                  <a:pt x="1827" y="467"/>
                </a:lnTo>
                <a:lnTo>
                  <a:pt x="1830" y="462"/>
                </a:lnTo>
                <a:lnTo>
                  <a:pt x="1838" y="459"/>
                </a:lnTo>
                <a:lnTo>
                  <a:pt x="1846" y="456"/>
                </a:lnTo>
                <a:lnTo>
                  <a:pt x="1851" y="456"/>
                </a:lnTo>
                <a:lnTo>
                  <a:pt x="1859" y="454"/>
                </a:lnTo>
                <a:lnTo>
                  <a:pt x="1863" y="456"/>
                </a:lnTo>
                <a:lnTo>
                  <a:pt x="1871" y="456"/>
                </a:lnTo>
                <a:lnTo>
                  <a:pt x="1877" y="458"/>
                </a:lnTo>
                <a:lnTo>
                  <a:pt x="1888" y="456"/>
                </a:lnTo>
                <a:lnTo>
                  <a:pt x="1904" y="442"/>
                </a:lnTo>
                <a:lnTo>
                  <a:pt x="1917" y="433"/>
                </a:lnTo>
                <a:lnTo>
                  <a:pt x="1921" y="428"/>
                </a:lnTo>
                <a:lnTo>
                  <a:pt x="1921" y="420"/>
                </a:lnTo>
                <a:lnTo>
                  <a:pt x="1923" y="416"/>
                </a:lnTo>
                <a:lnTo>
                  <a:pt x="1932" y="414"/>
                </a:lnTo>
                <a:lnTo>
                  <a:pt x="1937" y="411"/>
                </a:lnTo>
                <a:lnTo>
                  <a:pt x="1945" y="406"/>
                </a:lnTo>
                <a:lnTo>
                  <a:pt x="1951" y="402"/>
                </a:lnTo>
                <a:lnTo>
                  <a:pt x="1959" y="400"/>
                </a:lnTo>
                <a:lnTo>
                  <a:pt x="1969" y="394"/>
                </a:lnTo>
                <a:lnTo>
                  <a:pt x="1977" y="394"/>
                </a:lnTo>
                <a:lnTo>
                  <a:pt x="1983" y="400"/>
                </a:lnTo>
                <a:lnTo>
                  <a:pt x="1994" y="404"/>
                </a:lnTo>
                <a:lnTo>
                  <a:pt x="1998" y="407"/>
                </a:lnTo>
                <a:lnTo>
                  <a:pt x="2001" y="411"/>
                </a:lnTo>
                <a:lnTo>
                  <a:pt x="2006" y="415"/>
                </a:lnTo>
                <a:lnTo>
                  <a:pt x="2016" y="409"/>
                </a:lnTo>
                <a:lnTo>
                  <a:pt x="2020" y="404"/>
                </a:lnTo>
                <a:lnTo>
                  <a:pt x="2036" y="400"/>
                </a:lnTo>
                <a:lnTo>
                  <a:pt x="2041" y="396"/>
                </a:lnTo>
                <a:lnTo>
                  <a:pt x="2045" y="394"/>
                </a:lnTo>
                <a:lnTo>
                  <a:pt x="2048" y="392"/>
                </a:lnTo>
                <a:lnTo>
                  <a:pt x="2050" y="384"/>
                </a:lnTo>
                <a:lnTo>
                  <a:pt x="2054" y="383"/>
                </a:lnTo>
                <a:lnTo>
                  <a:pt x="2059" y="383"/>
                </a:lnTo>
                <a:lnTo>
                  <a:pt x="2064" y="381"/>
                </a:lnTo>
                <a:lnTo>
                  <a:pt x="2070" y="379"/>
                </a:lnTo>
                <a:lnTo>
                  <a:pt x="2075" y="374"/>
                </a:lnTo>
                <a:lnTo>
                  <a:pt x="2076" y="369"/>
                </a:lnTo>
                <a:lnTo>
                  <a:pt x="2083" y="365"/>
                </a:lnTo>
                <a:lnTo>
                  <a:pt x="2087" y="362"/>
                </a:lnTo>
                <a:lnTo>
                  <a:pt x="2094" y="365"/>
                </a:lnTo>
                <a:lnTo>
                  <a:pt x="2104" y="362"/>
                </a:lnTo>
                <a:lnTo>
                  <a:pt x="2108" y="358"/>
                </a:lnTo>
                <a:lnTo>
                  <a:pt x="2111" y="361"/>
                </a:lnTo>
                <a:lnTo>
                  <a:pt x="2112" y="358"/>
                </a:lnTo>
                <a:lnTo>
                  <a:pt x="2119" y="358"/>
                </a:lnTo>
                <a:lnTo>
                  <a:pt x="2125" y="353"/>
                </a:lnTo>
                <a:lnTo>
                  <a:pt x="2131" y="353"/>
                </a:lnTo>
                <a:lnTo>
                  <a:pt x="2134" y="349"/>
                </a:lnTo>
                <a:lnTo>
                  <a:pt x="2136" y="338"/>
                </a:lnTo>
                <a:lnTo>
                  <a:pt x="2140" y="336"/>
                </a:lnTo>
                <a:lnTo>
                  <a:pt x="2145" y="336"/>
                </a:lnTo>
                <a:lnTo>
                  <a:pt x="2148" y="333"/>
                </a:lnTo>
                <a:lnTo>
                  <a:pt x="2155" y="333"/>
                </a:lnTo>
                <a:lnTo>
                  <a:pt x="2156" y="327"/>
                </a:lnTo>
                <a:lnTo>
                  <a:pt x="2159" y="327"/>
                </a:lnTo>
                <a:lnTo>
                  <a:pt x="2165" y="325"/>
                </a:lnTo>
                <a:lnTo>
                  <a:pt x="2169" y="327"/>
                </a:lnTo>
                <a:lnTo>
                  <a:pt x="2178" y="325"/>
                </a:lnTo>
                <a:lnTo>
                  <a:pt x="2180" y="322"/>
                </a:lnTo>
                <a:lnTo>
                  <a:pt x="2187" y="321"/>
                </a:lnTo>
                <a:lnTo>
                  <a:pt x="2194" y="325"/>
                </a:lnTo>
                <a:lnTo>
                  <a:pt x="2203" y="325"/>
                </a:lnTo>
                <a:lnTo>
                  <a:pt x="2206" y="321"/>
                </a:lnTo>
                <a:lnTo>
                  <a:pt x="2206" y="317"/>
                </a:lnTo>
                <a:lnTo>
                  <a:pt x="2208" y="316"/>
                </a:lnTo>
                <a:lnTo>
                  <a:pt x="2216" y="312"/>
                </a:lnTo>
                <a:lnTo>
                  <a:pt x="2219" y="307"/>
                </a:lnTo>
                <a:lnTo>
                  <a:pt x="2226" y="304"/>
                </a:lnTo>
                <a:lnTo>
                  <a:pt x="2226" y="300"/>
                </a:lnTo>
                <a:lnTo>
                  <a:pt x="2230" y="297"/>
                </a:lnTo>
                <a:lnTo>
                  <a:pt x="2233" y="290"/>
                </a:lnTo>
                <a:lnTo>
                  <a:pt x="2234" y="278"/>
                </a:lnTo>
                <a:lnTo>
                  <a:pt x="2240" y="272"/>
                </a:lnTo>
                <a:lnTo>
                  <a:pt x="2251" y="267"/>
                </a:lnTo>
                <a:lnTo>
                  <a:pt x="2254" y="267"/>
                </a:lnTo>
                <a:lnTo>
                  <a:pt x="2254" y="263"/>
                </a:lnTo>
                <a:lnTo>
                  <a:pt x="2264" y="259"/>
                </a:lnTo>
                <a:lnTo>
                  <a:pt x="2265" y="255"/>
                </a:lnTo>
                <a:lnTo>
                  <a:pt x="2268" y="255"/>
                </a:lnTo>
                <a:lnTo>
                  <a:pt x="2268" y="251"/>
                </a:lnTo>
                <a:lnTo>
                  <a:pt x="2271" y="251"/>
                </a:lnTo>
                <a:lnTo>
                  <a:pt x="2279" y="250"/>
                </a:lnTo>
                <a:lnTo>
                  <a:pt x="2282" y="249"/>
                </a:lnTo>
                <a:lnTo>
                  <a:pt x="2284" y="249"/>
                </a:lnTo>
                <a:lnTo>
                  <a:pt x="2289" y="246"/>
                </a:lnTo>
                <a:lnTo>
                  <a:pt x="2296" y="249"/>
                </a:lnTo>
                <a:lnTo>
                  <a:pt x="2304" y="249"/>
                </a:lnTo>
                <a:lnTo>
                  <a:pt x="2305" y="245"/>
                </a:lnTo>
                <a:lnTo>
                  <a:pt x="2307" y="245"/>
                </a:lnTo>
                <a:lnTo>
                  <a:pt x="2316" y="245"/>
                </a:lnTo>
                <a:lnTo>
                  <a:pt x="2321" y="241"/>
                </a:lnTo>
                <a:lnTo>
                  <a:pt x="2322" y="237"/>
                </a:lnTo>
                <a:lnTo>
                  <a:pt x="2326" y="233"/>
                </a:lnTo>
                <a:lnTo>
                  <a:pt x="2328" y="233"/>
                </a:lnTo>
                <a:lnTo>
                  <a:pt x="2332" y="229"/>
                </a:lnTo>
                <a:lnTo>
                  <a:pt x="2336" y="229"/>
                </a:lnTo>
                <a:lnTo>
                  <a:pt x="2344" y="233"/>
                </a:lnTo>
                <a:lnTo>
                  <a:pt x="2350" y="232"/>
                </a:lnTo>
                <a:lnTo>
                  <a:pt x="2353" y="229"/>
                </a:lnTo>
                <a:lnTo>
                  <a:pt x="2357" y="228"/>
                </a:lnTo>
                <a:lnTo>
                  <a:pt x="2365" y="229"/>
                </a:lnTo>
                <a:lnTo>
                  <a:pt x="2371" y="226"/>
                </a:lnTo>
                <a:lnTo>
                  <a:pt x="2375" y="229"/>
                </a:lnTo>
                <a:lnTo>
                  <a:pt x="2380" y="228"/>
                </a:lnTo>
                <a:lnTo>
                  <a:pt x="2385" y="223"/>
                </a:lnTo>
                <a:lnTo>
                  <a:pt x="2388" y="220"/>
                </a:lnTo>
                <a:lnTo>
                  <a:pt x="2393" y="218"/>
                </a:lnTo>
                <a:lnTo>
                  <a:pt x="2394" y="213"/>
                </a:lnTo>
                <a:lnTo>
                  <a:pt x="2399" y="209"/>
                </a:lnTo>
                <a:lnTo>
                  <a:pt x="2418" y="205"/>
                </a:lnTo>
                <a:lnTo>
                  <a:pt x="2428" y="197"/>
                </a:lnTo>
                <a:lnTo>
                  <a:pt x="2432" y="191"/>
                </a:lnTo>
                <a:lnTo>
                  <a:pt x="2441" y="188"/>
                </a:lnTo>
                <a:lnTo>
                  <a:pt x="2451" y="183"/>
                </a:lnTo>
                <a:lnTo>
                  <a:pt x="2453" y="175"/>
                </a:lnTo>
                <a:lnTo>
                  <a:pt x="2458" y="173"/>
                </a:lnTo>
                <a:lnTo>
                  <a:pt x="2465" y="175"/>
                </a:lnTo>
                <a:lnTo>
                  <a:pt x="2471" y="179"/>
                </a:lnTo>
                <a:lnTo>
                  <a:pt x="2475" y="179"/>
                </a:lnTo>
                <a:lnTo>
                  <a:pt x="2486" y="187"/>
                </a:lnTo>
                <a:lnTo>
                  <a:pt x="2490" y="184"/>
                </a:lnTo>
                <a:lnTo>
                  <a:pt x="2497" y="187"/>
                </a:lnTo>
                <a:lnTo>
                  <a:pt x="2503" y="184"/>
                </a:lnTo>
                <a:lnTo>
                  <a:pt x="2507" y="188"/>
                </a:lnTo>
                <a:lnTo>
                  <a:pt x="2510" y="188"/>
                </a:lnTo>
                <a:lnTo>
                  <a:pt x="2518" y="184"/>
                </a:lnTo>
                <a:lnTo>
                  <a:pt x="2521" y="184"/>
                </a:lnTo>
                <a:lnTo>
                  <a:pt x="2526" y="187"/>
                </a:lnTo>
                <a:lnTo>
                  <a:pt x="2542" y="187"/>
                </a:lnTo>
                <a:lnTo>
                  <a:pt x="2546" y="183"/>
                </a:lnTo>
                <a:lnTo>
                  <a:pt x="2547" y="179"/>
                </a:lnTo>
                <a:lnTo>
                  <a:pt x="2551" y="175"/>
                </a:lnTo>
                <a:lnTo>
                  <a:pt x="2558" y="170"/>
                </a:lnTo>
                <a:lnTo>
                  <a:pt x="2561" y="168"/>
                </a:lnTo>
                <a:lnTo>
                  <a:pt x="2567" y="166"/>
                </a:lnTo>
                <a:lnTo>
                  <a:pt x="2571" y="162"/>
                </a:lnTo>
                <a:lnTo>
                  <a:pt x="2575" y="156"/>
                </a:lnTo>
                <a:lnTo>
                  <a:pt x="2582" y="153"/>
                </a:lnTo>
                <a:lnTo>
                  <a:pt x="2590" y="138"/>
                </a:lnTo>
                <a:lnTo>
                  <a:pt x="2593" y="138"/>
                </a:lnTo>
                <a:lnTo>
                  <a:pt x="2601" y="129"/>
                </a:lnTo>
                <a:lnTo>
                  <a:pt x="2604" y="122"/>
                </a:lnTo>
                <a:lnTo>
                  <a:pt x="2600" y="120"/>
                </a:lnTo>
                <a:lnTo>
                  <a:pt x="2601" y="112"/>
                </a:lnTo>
                <a:lnTo>
                  <a:pt x="2613" y="104"/>
                </a:lnTo>
                <a:lnTo>
                  <a:pt x="2615" y="103"/>
                </a:lnTo>
                <a:lnTo>
                  <a:pt x="2620" y="103"/>
                </a:lnTo>
                <a:lnTo>
                  <a:pt x="2624" y="100"/>
                </a:lnTo>
                <a:lnTo>
                  <a:pt x="2640" y="91"/>
                </a:lnTo>
                <a:lnTo>
                  <a:pt x="2646" y="77"/>
                </a:lnTo>
                <a:lnTo>
                  <a:pt x="2649" y="76"/>
                </a:lnTo>
                <a:lnTo>
                  <a:pt x="2656" y="64"/>
                </a:lnTo>
                <a:lnTo>
                  <a:pt x="2656" y="55"/>
                </a:lnTo>
                <a:lnTo>
                  <a:pt x="2656" y="50"/>
                </a:lnTo>
                <a:lnTo>
                  <a:pt x="2673" y="48"/>
                </a:lnTo>
                <a:lnTo>
                  <a:pt x="2681" y="46"/>
                </a:lnTo>
                <a:lnTo>
                  <a:pt x="2686" y="42"/>
                </a:lnTo>
                <a:lnTo>
                  <a:pt x="2696" y="41"/>
                </a:lnTo>
                <a:lnTo>
                  <a:pt x="2731" y="27"/>
                </a:lnTo>
                <a:lnTo>
                  <a:pt x="2743" y="27"/>
                </a:lnTo>
                <a:lnTo>
                  <a:pt x="2748" y="23"/>
                </a:lnTo>
                <a:lnTo>
                  <a:pt x="2748" y="19"/>
                </a:lnTo>
                <a:lnTo>
                  <a:pt x="2746" y="14"/>
                </a:lnTo>
                <a:lnTo>
                  <a:pt x="2742" y="6"/>
                </a:lnTo>
                <a:lnTo>
                  <a:pt x="2739" y="1"/>
                </a:lnTo>
                <a:lnTo>
                  <a:pt x="2742" y="0"/>
                </a:lnTo>
                <a:lnTo>
                  <a:pt x="2753" y="0"/>
                </a:lnTo>
                <a:lnTo>
                  <a:pt x="2767" y="1"/>
                </a:lnTo>
                <a:lnTo>
                  <a:pt x="2771" y="10"/>
                </a:lnTo>
                <a:lnTo>
                  <a:pt x="2774" y="14"/>
                </a:lnTo>
                <a:lnTo>
                  <a:pt x="2789" y="13"/>
                </a:lnTo>
                <a:lnTo>
                  <a:pt x="2803" y="14"/>
                </a:lnTo>
                <a:lnTo>
                  <a:pt x="2806" y="23"/>
                </a:lnTo>
                <a:lnTo>
                  <a:pt x="2813" y="23"/>
                </a:lnTo>
                <a:lnTo>
                  <a:pt x="2816" y="27"/>
                </a:lnTo>
                <a:lnTo>
                  <a:pt x="2820" y="31"/>
                </a:lnTo>
                <a:lnTo>
                  <a:pt x="2823" y="37"/>
                </a:lnTo>
                <a:lnTo>
                  <a:pt x="2827" y="42"/>
                </a:lnTo>
                <a:lnTo>
                  <a:pt x="2835" y="42"/>
                </a:lnTo>
                <a:lnTo>
                  <a:pt x="2838" y="37"/>
                </a:lnTo>
                <a:lnTo>
                  <a:pt x="2845" y="31"/>
                </a:lnTo>
                <a:lnTo>
                  <a:pt x="2857" y="31"/>
                </a:lnTo>
                <a:lnTo>
                  <a:pt x="2863" y="27"/>
                </a:lnTo>
                <a:lnTo>
                  <a:pt x="2869" y="29"/>
                </a:lnTo>
                <a:lnTo>
                  <a:pt x="2881" y="26"/>
                </a:lnTo>
                <a:lnTo>
                  <a:pt x="2887" y="19"/>
                </a:lnTo>
                <a:lnTo>
                  <a:pt x="2895" y="14"/>
                </a:lnTo>
                <a:lnTo>
                  <a:pt x="2910" y="22"/>
                </a:lnTo>
                <a:lnTo>
                  <a:pt x="2914" y="19"/>
                </a:lnTo>
                <a:lnTo>
                  <a:pt x="2920" y="18"/>
                </a:lnTo>
                <a:lnTo>
                  <a:pt x="2923" y="14"/>
                </a:lnTo>
                <a:lnTo>
                  <a:pt x="2931" y="10"/>
                </a:lnTo>
                <a:lnTo>
                  <a:pt x="2935" y="9"/>
                </a:lnTo>
                <a:lnTo>
                  <a:pt x="2939" y="9"/>
                </a:lnTo>
                <a:lnTo>
                  <a:pt x="2942" y="6"/>
                </a:lnTo>
                <a:lnTo>
                  <a:pt x="2952" y="6"/>
                </a:lnTo>
                <a:lnTo>
                  <a:pt x="2960" y="10"/>
                </a:lnTo>
                <a:lnTo>
                  <a:pt x="2966" y="10"/>
                </a:lnTo>
                <a:lnTo>
                  <a:pt x="2973" y="9"/>
                </a:lnTo>
                <a:lnTo>
                  <a:pt x="2981" y="10"/>
                </a:lnTo>
                <a:lnTo>
                  <a:pt x="2989" y="6"/>
                </a:lnTo>
                <a:lnTo>
                  <a:pt x="2992" y="6"/>
                </a:lnTo>
                <a:lnTo>
                  <a:pt x="2997" y="10"/>
                </a:lnTo>
                <a:lnTo>
                  <a:pt x="3002" y="14"/>
                </a:lnTo>
                <a:lnTo>
                  <a:pt x="3005" y="18"/>
                </a:lnTo>
                <a:lnTo>
                  <a:pt x="3013" y="18"/>
                </a:lnTo>
                <a:lnTo>
                  <a:pt x="3016" y="19"/>
                </a:lnTo>
                <a:lnTo>
                  <a:pt x="3017" y="23"/>
                </a:lnTo>
                <a:lnTo>
                  <a:pt x="3019" y="33"/>
                </a:lnTo>
                <a:lnTo>
                  <a:pt x="3017" y="41"/>
                </a:lnTo>
                <a:lnTo>
                  <a:pt x="3020" y="46"/>
                </a:lnTo>
                <a:lnTo>
                  <a:pt x="3023" y="50"/>
                </a:lnTo>
                <a:lnTo>
                  <a:pt x="3025" y="55"/>
                </a:lnTo>
                <a:lnTo>
                  <a:pt x="3033" y="55"/>
                </a:lnTo>
                <a:lnTo>
                  <a:pt x="3039" y="62"/>
                </a:lnTo>
                <a:lnTo>
                  <a:pt x="3042" y="62"/>
                </a:lnTo>
                <a:lnTo>
                  <a:pt x="3049" y="63"/>
                </a:lnTo>
                <a:lnTo>
                  <a:pt x="3056" y="62"/>
                </a:lnTo>
                <a:lnTo>
                  <a:pt x="3060" y="59"/>
                </a:lnTo>
                <a:lnTo>
                  <a:pt x="3063" y="59"/>
                </a:lnTo>
                <a:lnTo>
                  <a:pt x="3066" y="58"/>
                </a:lnTo>
                <a:lnTo>
                  <a:pt x="3072" y="62"/>
                </a:lnTo>
                <a:lnTo>
                  <a:pt x="3080" y="55"/>
                </a:lnTo>
                <a:lnTo>
                  <a:pt x="3083" y="64"/>
                </a:lnTo>
                <a:lnTo>
                  <a:pt x="3092" y="75"/>
                </a:lnTo>
                <a:lnTo>
                  <a:pt x="3088" y="72"/>
                </a:lnTo>
                <a:lnTo>
                  <a:pt x="3081" y="76"/>
                </a:lnTo>
                <a:lnTo>
                  <a:pt x="3076" y="75"/>
                </a:lnTo>
                <a:lnTo>
                  <a:pt x="3074" y="75"/>
                </a:lnTo>
                <a:lnTo>
                  <a:pt x="3087" y="80"/>
                </a:lnTo>
                <a:lnTo>
                  <a:pt x="3088" y="87"/>
                </a:lnTo>
                <a:lnTo>
                  <a:pt x="3094" y="89"/>
                </a:lnTo>
                <a:lnTo>
                  <a:pt x="3092" y="93"/>
                </a:lnTo>
                <a:lnTo>
                  <a:pt x="3092" y="94"/>
                </a:lnTo>
                <a:lnTo>
                  <a:pt x="3095" y="97"/>
                </a:lnTo>
                <a:lnTo>
                  <a:pt x="3094" y="93"/>
                </a:lnTo>
                <a:lnTo>
                  <a:pt x="3095" y="91"/>
                </a:lnTo>
                <a:lnTo>
                  <a:pt x="3095" y="87"/>
                </a:lnTo>
                <a:lnTo>
                  <a:pt x="3091" y="84"/>
                </a:lnTo>
                <a:lnTo>
                  <a:pt x="3092" y="80"/>
                </a:lnTo>
                <a:lnTo>
                  <a:pt x="3091" y="77"/>
                </a:lnTo>
                <a:lnTo>
                  <a:pt x="3094" y="77"/>
                </a:lnTo>
                <a:lnTo>
                  <a:pt x="3103" y="91"/>
                </a:lnTo>
                <a:lnTo>
                  <a:pt x="3115" y="98"/>
                </a:lnTo>
                <a:lnTo>
                  <a:pt x="3122" y="100"/>
                </a:lnTo>
                <a:lnTo>
                  <a:pt x="3129" y="97"/>
                </a:lnTo>
                <a:lnTo>
                  <a:pt x="3131" y="93"/>
                </a:lnTo>
                <a:lnTo>
                  <a:pt x="3130" y="89"/>
                </a:lnTo>
                <a:lnTo>
                  <a:pt x="3131" y="84"/>
                </a:lnTo>
                <a:lnTo>
                  <a:pt x="3134" y="84"/>
                </a:lnTo>
                <a:lnTo>
                  <a:pt x="3138" y="87"/>
                </a:lnTo>
                <a:lnTo>
                  <a:pt x="3138" y="94"/>
                </a:lnTo>
                <a:lnTo>
                  <a:pt x="3135" y="98"/>
                </a:lnTo>
                <a:lnTo>
                  <a:pt x="3134" y="104"/>
                </a:lnTo>
                <a:lnTo>
                  <a:pt x="3133" y="106"/>
                </a:lnTo>
                <a:lnTo>
                  <a:pt x="3129" y="112"/>
                </a:lnTo>
                <a:lnTo>
                  <a:pt x="3115" y="116"/>
                </a:lnTo>
                <a:lnTo>
                  <a:pt x="3110" y="117"/>
                </a:lnTo>
                <a:lnTo>
                  <a:pt x="3108" y="121"/>
                </a:lnTo>
                <a:lnTo>
                  <a:pt x="3103" y="126"/>
                </a:lnTo>
                <a:lnTo>
                  <a:pt x="3097" y="133"/>
                </a:lnTo>
                <a:lnTo>
                  <a:pt x="3092" y="138"/>
                </a:lnTo>
                <a:lnTo>
                  <a:pt x="3092" y="143"/>
                </a:lnTo>
                <a:lnTo>
                  <a:pt x="3087" y="153"/>
                </a:lnTo>
                <a:lnTo>
                  <a:pt x="3088" y="162"/>
                </a:lnTo>
                <a:lnTo>
                  <a:pt x="3088" y="164"/>
                </a:lnTo>
                <a:lnTo>
                  <a:pt x="3089" y="173"/>
                </a:lnTo>
                <a:lnTo>
                  <a:pt x="3091" y="192"/>
                </a:lnTo>
                <a:lnTo>
                  <a:pt x="3092" y="193"/>
                </a:lnTo>
                <a:lnTo>
                  <a:pt x="3095" y="200"/>
                </a:lnTo>
                <a:lnTo>
                  <a:pt x="3103" y="201"/>
                </a:lnTo>
                <a:lnTo>
                  <a:pt x="3106" y="204"/>
                </a:lnTo>
                <a:lnTo>
                  <a:pt x="3115" y="210"/>
                </a:lnTo>
                <a:lnTo>
                  <a:pt x="3117" y="216"/>
                </a:lnTo>
                <a:lnTo>
                  <a:pt x="3117" y="259"/>
                </a:lnTo>
                <a:lnTo>
                  <a:pt x="3120" y="271"/>
                </a:lnTo>
                <a:lnTo>
                  <a:pt x="3126" y="282"/>
                </a:lnTo>
                <a:lnTo>
                  <a:pt x="3124" y="294"/>
                </a:lnTo>
                <a:lnTo>
                  <a:pt x="3127" y="299"/>
                </a:lnTo>
                <a:lnTo>
                  <a:pt x="3127" y="312"/>
                </a:lnTo>
                <a:lnTo>
                  <a:pt x="3130" y="333"/>
                </a:lnTo>
                <a:lnTo>
                  <a:pt x="3129" y="353"/>
                </a:lnTo>
                <a:lnTo>
                  <a:pt x="3133" y="362"/>
                </a:lnTo>
                <a:lnTo>
                  <a:pt x="3140" y="370"/>
                </a:lnTo>
                <a:lnTo>
                  <a:pt x="3151" y="384"/>
                </a:lnTo>
                <a:lnTo>
                  <a:pt x="3154" y="407"/>
                </a:lnTo>
                <a:lnTo>
                  <a:pt x="3152" y="419"/>
                </a:lnTo>
                <a:lnTo>
                  <a:pt x="3155" y="420"/>
                </a:lnTo>
                <a:lnTo>
                  <a:pt x="3157" y="428"/>
                </a:lnTo>
                <a:lnTo>
                  <a:pt x="3157" y="432"/>
                </a:lnTo>
                <a:lnTo>
                  <a:pt x="3154" y="433"/>
                </a:lnTo>
                <a:lnTo>
                  <a:pt x="3148" y="428"/>
                </a:lnTo>
                <a:lnTo>
                  <a:pt x="3137" y="432"/>
                </a:lnTo>
                <a:lnTo>
                  <a:pt x="3135" y="432"/>
                </a:lnTo>
                <a:lnTo>
                  <a:pt x="3137" y="428"/>
                </a:lnTo>
                <a:lnTo>
                  <a:pt x="3135" y="427"/>
                </a:lnTo>
                <a:lnTo>
                  <a:pt x="3127" y="424"/>
                </a:lnTo>
                <a:lnTo>
                  <a:pt x="3122" y="428"/>
                </a:lnTo>
                <a:lnTo>
                  <a:pt x="3120" y="432"/>
                </a:lnTo>
                <a:lnTo>
                  <a:pt x="3119" y="437"/>
                </a:lnTo>
                <a:lnTo>
                  <a:pt x="3119" y="442"/>
                </a:lnTo>
                <a:lnTo>
                  <a:pt x="3131" y="451"/>
                </a:lnTo>
                <a:lnTo>
                  <a:pt x="3137" y="451"/>
                </a:lnTo>
                <a:lnTo>
                  <a:pt x="3141" y="451"/>
                </a:lnTo>
                <a:lnTo>
                  <a:pt x="3145" y="451"/>
                </a:lnTo>
                <a:lnTo>
                  <a:pt x="3144" y="446"/>
                </a:lnTo>
                <a:lnTo>
                  <a:pt x="3147" y="442"/>
                </a:lnTo>
                <a:lnTo>
                  <a:pt x="3149" y="442"/>
                </a:lnTo>
                <a:lnTo>
                  <a:pt x="3152" y="442"/>
                </a:lnTo>
                <a:lnTo>
                  <a:pt x="3154" y="442"/>
                </a:lnTo>
                <a:lnTo>
                  <a:pt x="3157" y="442"/>
                </a:lnTo>
                <a:lnTo>
                  <a:pt x="3159" y="456"/>
                </a:lnTo>
                <a:lnTo>
                  <a:pt x="3163" y="458"/>
                </a:lnTo>
                <a:lnTo>
                  <a:pt x="3168" y="459"/>
                </a:lnTo>
                <a:lnTo>
                  <a:pt x="3169" y="465"/>
                </a:lnTo>
                <a:lnTo>
                  <a:pt x="3166" y="469"/>
                </a:lnTo>
                <a:lnTo>
                  <a:pt x="3165" y="482"/>
                </a:lnTo>
                <a:lnTo>
                  <a:pt x="3162" y="486"/>
                </a:lnTo>
                <a:lnTo>
                  <a:pt x="3163" y="487"/>
                </a:lnTo>
                <a:lnTo>
                  <a:pt x="3163" y="491"/>
                </a:lnTo>
                <a:lnTo>
                  <a:pt x="3163" y="495"/>
                </a:lnTo>
                <a:lnTo>
                  <a:pt x="3160" y="501"/>
                </a:lnTo>
                <a:lnTo>
                  <a:pt x="3159" y="507"/>
                </a:lnTo>
                <a:lnTo>
                  <a:pt x="3159" y="510"/>
                </a:lnTo>
                <a:lnTo>
                  <a:pt x="3157" y="510"/>
                </a:lnTo>
                <a:lnTo>
                  <a:pt x="3155" y="510"/>
                </a:lnTo>
                <a:lnTo>
                  <a:pt x="3152" y="512"/>
                </a:lnTo>
                <a:lnTo>
                  <a:pt x="3148" y="516"/>
                </a:lnTo>
                <a:lnTo>
                  <a:pt x="3143" y="516"/>
                </a:lnTo>
                <a:lnTo>
                  <a:pt x="3140" y="518"/>
                </a:lnTo>
                <a:lnTo>
                  <a:pt x="3134" y="516"/>
                </a:lnTo>
                <a:lnTo>
                  <a:pt x="3130" y="518"/>
                </a:lnTo>
                <a:lnTo>
                  <a:pt x="3129" y="523"/>
                </a:lnTo>
                <a:lnTo>
                  <a:pt x="3130" y="526"/>
                </a:lnTo>
                <a:lnTo>
                  <a:pt x="3133" y="527"/>
                </a:lnTo>
                <a:lnTo>
                  <a:pt x="3134" y="526"/>
                </a:lnTo>
                <a:lnTo>
                  <a:pt x="3137" y="527"/>
                </a:lnTo>
                <a:lnTo>
                  <a:pt x="3138" y="527"/>
                </a:lnTo>
                <a:lnTo>
                  <a:pt x="3140" y="531"/>
                </a:lnTo>
                <a:lnTo>
                  <a:pt x="3143" y="531"/>
                </a:lnTo>
                <a:lnTo>
                  <a:pt x="3144" y="531"/>
                </a:lnTo>
                <a:lnTo>
                  <a:pt x="3144" y="533"/>
                </a:lnTo>
                <a:lnTo>
                  <a:pt x="3143" y="533"/>
                </a:lnTo>
                <a:lnTo>
                  <a:pt x="3144" y="543"/>
                </a:lnTo>
                <a:lnTo>
                  <a:pt x="3148" y="543"/>
                </a:lnTo>
                <a:lnTo>
                  <a:pt x="3143" y="548"/>
                </a:lnTo>
                <a:lnTo>
                  <a:pt x="3141" y="553"/>
                </a:lnTo>
                <a:lnTo>
                  <a:pt x="3143" y="556"/>
                </a:lnTo>
                <a:lnTo>
                  <a:pt x="3147" y="558"/>
                </a:lnTo>
                <a:lnTo>
                  <a:pt x="3143" y="558"/>
                </a:lnTo>
                <a:lnTo>
                  <a:pt x="3137" y="562"/>
                </a:lnTo>
                <a:lnTo>
                  <a:pt x="3130" y="565"/>
                </a:lnTo>
                <a:lnTo>
                  <a:pt x="3127" y="568"/>
                </a:lnTo>
                <a:lnTo>
                  <a:pt x="3123" y="566"/>
                </a:lnTo>
                <a:lnTo>
                  <a:pt x="3108" y="568"/>
                </a:lnTo>
                <a:lnTo>
                  <a:pt x="3106" y="566"/>
                </a:lnTo>
                <a:lnTo>
                  <a:pt x="3108" y="558"/>
                </a:lnTo>
                <a:lnTo>
                  <a:pt x="3105" y="558"/>
                </a:lnTo>
                <a:lnTo>
                  <a:pt x="3105" y="562"/>
                </a:lnTo>
                <a:lnTo>
                  <a:pt x="3103" y="569"/>
                </a:lnTo>
                <a:lnTo>
                  <a:pt x="3098" y="570"/>
                </a:lnTo>
                <a:lnTo>
                  <a:pt x="3089" y="570"/>
                </a:lnTo>
                <a:lnTo>
                  <a:pt x="3088" y="571"/>
                </a:lnTo>
                <a:lnTo>
                  <a:pt x="3087" y="571"/>
                </a:lnTo>
                <a:lnTo>
                  <a:pt x="3084" y="574"/>
                </a:lnTo>
                <a:lnTo>
                  <a:pt x="3080" y="580"/>
                </a:lnTo>
                <a:lnTo>
                  <a:pt x="3077" y="581"/>
                </a:lnTo>
                <a:lnTo>
                  <a:pt x="3077" y="585"/>
                </a:lnTo>
                <a:lnTo>
                  <a:pt x="3078" y="581"/>
                </a:lnTo>
                <a:lnTo>
                  <a:pt x="3080" y="583"/>
                </a:lnTo>
                <a:lnTo>
                  <a:pt x="3080" y="589"/>
                </a:lnTo>
                <a:lnTo>
                  <a:pt x="3081" y="593"/>
                </a:lnTo>
                <a:lnTo>
                  <a:pt x="3083" y="591"/>
                </a:lnTo>
                <a:lnTo>
                  <a:pt x="3087" y="605"/>
                </a:lnTo>
                <a:lnTo>
                  <a:pt x="3088" y="606"/>
                </a:lnTo>
                <a:lnTo>
                  <a:pt x="3094" y="607"/>
                </a:lnTo>
                <a:lnTo>
                  <a:pt x="3095" y="611"/>
                </a:lnTo>
                <a:lnTo>
                  <a:pt x="3103" y="620"/>
                </a:lnTo>
                <a:lnTo>
                  <a:pt x="3101" y="623"/>
                </a:lnTo>
                <a:lnTo>
                  <a:pt x="3101" y="627"/>
                </a:lnTo>
                <a:lnTo>
                  <a:pt x="3095" y="627"/>
                </a:lnTo>
                <a:lnTo>
                  <a:pt x="3094" y="630"/>
                </a:lnTo>
                <a:lnTo>
                  <a:pt x="3098" y="632"/>
                </a:lnTo>
                <a:lnTo>
                  <a:pt x="3106" y="633"/>
                </a:lnTo>
                <a:lnTo>
                  <a:pt x="3106" y="632"/>
                </a:lnTo>
                <a:lnTo>
                  <a:pt x="3105" y="627"/>
                </a:lnTo>
                <a:lnTo>
                  <a:pt x="3106" y="624"/>
                </a:lnTo>
                <a:lnTo>
                  <a:pt x="3112" y="632"/>
                </a:lnTo>
                <a:lnTo>
                  <a:pt x="3115" y="632"/>
                </a:lnTo>
                <a:lnTo>
                  <a:pt x="3117" y="628"/>
                </a:lnTo>
                <a:lnTo>
                  <a:pt x="3113" y="623"/>
                </a:lnTo>
                <a:lnTo>
                  <a:pt x="3112" y="623"/>
                </a:lnTo>
                <a:lnTo>
                  <a:pt x="3110" y="619"/>
                </a:lnTo>
                <a:lnTo>
                  <a:pt x="3113" y="616"/>
                </a:lnTo>
                <a:lnTo>
                  <a:pt x="3113" y="615"/>
                </a:lnTo>
                <a:lnTo>
                  <a:pt x="3115" y="616"/>
                </a:lnTo>
                <a:lnTo>
                  <a:pt x="3116" y="615"/>
                </a:lnTo>
                <a:lnTo>
                  <a:pt x="3117" y="615"/>
                </a:lnTo>
                <a:lnTo>
                  <a:pt x="3117" y="616"/>
                </a:lnTo>
                <a:lnTo>
                  <a:pt x="3119" y="619"/>
                </a:lnTo>
                <a:lnTo>
                  <a:pt x="3122" y="619"/>
                </a:lnTo>
                <a:lnTo>
                  <a:pt x="3123" y="616"/>
                </a:lnTo>
                <a:lnTo>
                  <a:pt x="3122" y="615"/>
                </a:lnTo>
                <a:lnTo>
                  <a:pt x="3123" y="611"/>
                </a:lnTo>
                <a:lnTo>
                  <a:pt x="3126" y="610"/>
                </a:lnTo>
                <a:lnTo>
                  <a:pt x="3127" y="615"/>
                </a:lnTo>
                <a:lnTo>
                  <a:pt x="3127" y="616"/>
                </a:lnTo>
                <a:lnTo>
                  <a:pt x="3129" y="616"/>
                </a:lnTo>
                <a:lnTo>
                  <a:pt x="3135" y="620"/>
                </a:lnTo>
                <a:lnTo>
                  <a:pt x="3133" y="623"/>
                </a:lnTo>
                <a:lnTo>
                  <a:pt x="3133" y="627"/>
                </a:lnTo>
                <a:lnTo>
                  <a:pt x="3131" y="628"/>
                </a:lnTo>
                <a:lnTo>
                  <a:pt x="3131" y="630"/>
                </a:lnTo>
                <a:lnTo>
                  <a:pt x="3127" y="633"/>
                </a:lnTo>
                <a:lnTo>
                  <a:pt x="3129" y="637"/>
                </a:lnTo>
                <a:lnTo>
                  <a:pt x="3131" y="640"/>
                </a:lnTo>
                <a:lnTo>
                  <a:pt x="3134" y="641"/>
                </a:lnTo>
                <a:lnTo>
                  <a:pt x="3138" y="647"/>
                </a:lnTo>
                <a:lnTo>
                  <a:pt x="3137" y="649"/>
                </a:lnTo>
                <a:lnTo>
                  <a:pt x="3138" y="649"/>
                </a:lnTo>
                <a:lnTo>
                  <a:pt x="3138" y="651"/>
                </a:lnTo>
                <a:lnTo>
                  <a:pt x="3133" y="655"/>
                </a:lnTo>
                <a:lnTo>
                  <a:pt x="3133" y="658"/>
                </a:lnTo>
                <a:lnTo>
                  <a:pt x="3134" y="660"/>
                </a:lnTo>
                <a:lnTo>
                  <a:pt x="3135" y="662"/>
                </a:lnTo>
                <a:lnTo>
                  <a:pt x="3134" y="665"/>
                </a:lnTo>
                <a:lnTo>
                  <a:pt x="3137" y="668"/>
                </a:lnTo>
                <a:lnTo>
                  <a:pt x="3147" y="662"/>
                </a:lnTo>
                <a:lnTo>
                  <a:pt x="3147" y="664"/>
                </a:lnTo>
                <a:lnTo>
                  <a:pt x="3145" y="668"/>
                </a:lnTo>
                <a:lnTo>
                  <a:pt x="3145" y="669"/>
                </a:lnTo>
                <a:lnTo>
                  <a:pt x="3144" y="672"/>
                </a:lnTo>
                <a:lnTo>
                  <a:pt x="3147" y="674"/>
                </a:lnTo>
                <a:lnTo>
                  <a:pt x="3145" y="672"/>
                </a:lnTo>
                <a:lnTo>
                  <a:pt x="3147" y="669"/>
                </a:lnTo>
                <a:lnTo>
                  <a:pt x="3147" y="668"/>
                </a:lnTo>
                <a:lnTo>
                  <a:pt x="3151" y="660"/>
                </a:lnTo>
                <a:lnTo>
                  <a:pt x="3152" y="649"/>
                </a:lnTo>
                <a:lnTo>
                  <a:pt x="3152" y="647"/>
                </a:lnTo>
                <a:lnTo>
                  <a:pt x="3148" y="641"/>
                </a:lnTo>
                <a:lnTo>
                  <a:pt x="3149" y="640"/>
                </a:lnTo>
                <a:lnTo>
                  <a:pt x="3149" y="637"/>
                </a:lnTo>
                <a:lnTo>
                  <a:pt x="3152" y="633"/>
                </a:lnTo>
                <a:lnTo>
                  <a:pt x="3152" y="628"/>
                </a:lnTo>
                <a:lnTo>
                  <a:pt x="3151" y="627"/>
                </a:lnTo>
                <a:lnTo>
                  <a:pt x="3155" y="624"/>
                </a:lnTo>
                <a:lnTo>
                  <a:pt x="3155" y="619"/>
                </a:lnTo>
                <a:lnTo>
                  <a:pt x="3162" y="616"/>
                </a:lnTo>
                <a:lnTo>
                  <a:pt x="3165" y="619"/>
                </a:lnTo>
                <a:lnTo>
                  <a:pt x="3165" y="620"/>
                </a:lnTo>
                <a:lnTo>
                  <a:pt x="3168" y="620"/>
                </a:lnTo>
                <a:lnTo>
                  <a:pt x="3170" y="616"/>
                </a:lnTo>
                <a:lnTo>
                  <a:pt x="3172" y="616"/>
                </a:lnTo>
                <a:lnTo>
                  <a:pt x="3172" y="615"/>
                </a:lnTo>
                <a:lnTo>
                  <a:pt x="3170" y="615"/>
                </a:lnTo>
                <a:lnTo>
                  <a:pt x="3170" y="611"/>
                </a:lnTo>
                <a:lnTo>
                  <a:pt x="3174" y="610"/>
                </a:lnTo>
                <a:lnTo>
                  <a:pt x="3179" y="605"/>
                </a:lnTo>
                <a:lnTo>
                  <a:pt x="3190" y="602"/>
                </a:lnTo>
                <a:lnTo>
                  <a:pt x="3191" y="598"/>
                </a:lnTo>
                <a:lnTo>
                  <a:pt x="3194" y="605"/>
                </a:lnTo>
                <a:lnTo>
                  <a:pt x="3202" y="607"/>
                </a:lnTo>
                <a:lnTo>
                  <a:pt x="3205" y="607"/>
                </a:lnTo>
                <a:lnTo>
                  <a:pt x="3209" y="603"/>
                </a:lnTo>
                <a:lnTo>
                  <a:pt x="3213" y="594"/>
                </a:lnTo>
                <a:lnTo>
                  <a:pt x="3218" y="594"/>
                </a:lnTo>
                <a:lnTo>
                  <a:pt x="3223" y="597"/>
                </a:lnTo>
                <a:lnTo>
                  <a:pt x="3227" y="607"/>
                </a:lnTo>
                <a:lnTo>
                  <a:pt x="3233" y="611"/>
                </a:lnTo>
                <a:lnTo>
                  <a:pt x="3229" y="628"/>
                </a:lnTo>
                <a:lnTo>
                  <a:pt x="3230" y="633"/>
                </a:lnTo>
                <a:lnTo>
                  <a:pt x="3229" y="643"/>
                </a:lnTo>
                <a:lnTo>
                  <a:pt x="3230" y="651"/>
                </a:lnTo>
                <a:lnTo>
                  <a:pt x="3240" y="658"/>
                </a:lnTo>
                <a:lnTo>
                  <a:pt x="3247" y="660"/>
                </a:lnTo>
                <a:lnTo>
                  <a:pt x="3249" y="665"/>
                </a:lnTo>
                <a:lnTo>
                  <a:pt x="3245" y="684"/>
                </a:lnTo>
                <a:lnTo>
                  <a:pt x="3244" y="695"/>
                </a:lnTo>
                <a:lnTo>
                  <a:pt x="3244" y="699"/>
                </a:lnTo>
                <a:lnTo>
                  <a:pt x="3247" y="701"/>
                </a:lnTo>
                <a:lnTo>
                  <a:pt x="3244" y="710"/>
                </a:lnTo>
                <a:lnTo>
                  <a:pt x="3245" y="710"/>
                </a:lnTo>
                <a:lnTo>
                  <a:pt x="3243" y="712"/>
                </a:lnTo>
                <a:lnTo>
                  <a:pt x="3241" y="717"/>
                </a:lnTo>
                <a:lnTo>
                  <a:pt x="3238" y="718"/>
                </a:lnTo>
                <a:lnTo>
                  <a:pt x="3234" y="722"/>
                </a:lnTo>
                <a:lnTo>
                  <a:pt x="3230" y="723"/>
                </a:lnTo>
                <a:lnTo>
                  <a:pt x="3223" y="723"/>
                </a:lnTo>
                <a:lnTo>
                  <a:pt x="3213" y="739"/>
                </a:lnTo>
                <a:lnTo>
                  <a:pt x="3207" y="743"/>
                </a:lnTo>
                <a:lnTo>
                  <a:pt x="3201" y="754"/>
                </a:lnTo>
                <a:lnTo>
                  <a:pt x="3197" y="754"/>
                </a:lnTo>
                <a:lnTo>
                  <a:pt x="3190" y="748"/>
                </a:lnTo>
                <a:lnTo>
                  <a:pt x="3183" y="736"/>
                </a:lnTo>
                <a:lnTo>
                  <a:pt x="3183" y="731"/>
                </a:lnTo>
                <a:lnTo>
                  <a:pt x="3174" y="720"/>
                </a:lnTo>
                <a:lnTo>
                  <a:pt x="3169" y="710"/>
                </a:lnTo>
                <a:lnTo>
                  <a:pt x="3163" y="710"/>
                </a:lnTo>
                <a:lnTo>
                  <a:pt x="3162" y="710"/>
                </a:lnTo>
                <a:lnTo>
                  <a:pt x="3160" y="709"/>
                </a:lnTo>
                <a:lnTo>
                  <a:pt x="3158" y="707"/>
                </a:lnTo>
                <a:lnTo>
                  <a:pt x="3155" y="710"/>
                </a:lnTo>
                <a:lnTo>
                  <a:pt x="3158" y="714"/>
                </a:lnTo>
                <a:lnTo>
                  <a:pt x="3163" y="714"/>
                </a:lnTo>
                <a:lnTo>
                  <a:pt x="3165" y="718"/>
                </a:lnTo>
                <a:lnTo>
                  <a:pt x="3165" y="723"/>
                </a:lnTo>
                <a:lnTo>
                  <a:pt x="3166" y="723"/>
                </a:lnTo>
                <a:lnTo>
                  <a:pt x="3163" y="727"/>
                </a:lnTo>
                <a:lnTo>
                  <a:pt x="3165" y="731"/>
                </a:lnTo>
                <a:lnTo>
                  <a:pt x="3169" y="735"/>
                </a:lnTo>
                <a:lnTo>
                  <a:pt x="3168" y="740"/>
                </a:lnTo>
                <a:lnTo>
                  <a:pt x="3168" y="743"/>
                </a:lnTo>
                <a:lnTo>
                  <a:pt x="3170" y="745"/>
                </a:lnTo>
                <a:lnTo>
                  <a:pt x="3169" y="754"/>
                </a:lnTo>
                <a:lnTo>
                  <a:pt x="3173" y="754"/>
                </a:lnTo>
                <a:lnTo>
                  <a:pt x="3176" y="754"/>
                </a:lnTo>
                <a:lnTo>
                  <a:pt x="3177" y="754"/>
                </a:lnTo>
                <a:lnTo>
                  <a:pt x="3177" y="759"/>
                </a:lnTo>
                <a:lnTo>
                  <a:pt x="3173" y="762"/>
                </a:lnTo>
                <a:lnTo>
                  <a:pt x="3170" y="769"/>
                </a:lnTo>
                <a:lnTo>
                  <a:pt x="3169" y="776"/>
                </a:lnTo>
                <a:lnTo>
                  <a:pt x="3169" y="785"/>
                </a:lnTo>
                <a:lnTo>
                  <a:pt x="3172" y="797"/>
                </a:lnTo>
                <a:lnTo>
                  <a:pt x="3179" y="810"/>
                </a:lnTo>
                <a:lnTo>
                  <a:pt x="3184" y="815"/>
                </a:lnTo>
                <a:lnTo>
                  <a:pt x="3194" y="821"/>
                </a:lnTo>
                <a:lnTo>
                  <a:pt x="3193" y="823"/>
                </a:lnTo>
                <a:lnTo>
                  <a:pt x="3184" y="823"/>
                </a:lnTo>
                <a:lnTo>
                  <a:pt x="3173" y="817"/>
                </a:lnTo>
                <a:lnTo>
                  <a:pt x="3162" y="814"/>
                </a:lnTo>
                <a:lnTo>
                  <a:pt x="3158" y="817"/>
                </a:lnTo>
                <a:lnTo>
                  <a:pt x="3157" y="826"/>
                </a:lnTo>
                <a:lnTo>
                  <a:pt x="3159" y="834"/>
                </a:lnTo>
                <a:lnTo>
                  <a:pt x="3162" y="838"/>
                </a:lnTo>
                <a:lnTo>
                  <a:pt x="3168" y="839"/>
                </a:lnTo>
                <a:lnTo>
                  <a:pt x="3170" y="839"/>
                </a:lnTo>
                <a:lnTo>
                  <a:pt x="3176" y="838"/>
                </a:lnTo>
                <a:lnTo>
                  <a:pt x="3179" y="832"/>
                </a:lnTo>
                <a:lnTo>
                  <a:pt x="3183" y="832"/>
                </a:lnTo>
                <a:lnTo>
                  <a:pt x="3184" y="829"/>
                </a:lnTo>
                <a:lnTo>
                  <a:pt x="3187" y="830"/>
                </a:lnTo>
                <a:lnTo>
                  <a:pt x="3182" y="839"/>
                </a:lnTo>
                <a:lnTo>
                  <a:pt x="3176" y="839"/>
                </a:lnTo>
                <a:lnTo>
                  <a:pt x="3173" y="843"/>
                </a:lnTo>
                <a:lnTo>
                  <a:pt x="3163" y="846"/>
                </a:lnTo>
                <a:lnTo>
                  <a:pt x="3162" y="847"/>
                </a:lnTo>
                <a:lnTo>
                  <a:pt x="3163" y="851"/>
                </a:lnTo>
                <a:lnTo>
                  <a:pt x="3163" y="855"/>
                </a:lnTo>
                <a:lnTo>
                  <a:pt x="3154" y="863"/>
                </a:lnTo>
                <a:lnTo>
                  <a:pt x="3155" y="866"/>
                </a:lnTo>
                <a:lnTo>
                  <a:pt x="3158" y="864"/>
                </a:lnTo>
                <a:lnTo>
                  <a:pt x="3163" y="866"/>
                </a:lnTo>
                <a:lnTo>
                  <a:pt x="3169" y="864"/>
                </a:lnTo>
                <a:lnTo>
                  <a:pt x="3177" y="868"/>
                </a:lnTo>
                <a:lnTo>
                  <a:pt x="3174" y="869"/>
                </a:lnTo>
                <a:lnTo>
                  <a:pt x="3169" y="874"/>
                </a:lnTo>
                <a:lnTo>
                  <a:pt x="3165" y="879"/>
                </a:lnTo>
                <a:lnTo>
                  <a:pt x="3165" y="885"/>
                </a:lnTo>
                <a:lnTo>
                  <a:pt x="3159" y="889"/>
                </a:lnTo>
                <a:lnTo>
                  <a:pt x="3159" y="892"/>
                </a:lnTo>
                <a:lnTo>
                  <a:pt x="3162" y="901"/>
                </a:lnTo>
                <a:lnTo>
                  <a:pt x="3160" y="904"/>
                </a:lnTo>
                <a:lnTo>
                  <a:pt x="3160" y="898"/>
                </a:lnTo>
                <a:lnTo>
                  <a:pt x="3159" y="900"/>
                </a:lnTo>
                <a:lnTo>
                  <a:pt x="3159" y="908"/>
                </a:lnTo>
                <a:lnTo>
                  <a:pt x="3158" y="909"/>
                </a:lnTo>
                <a:lnTo>
                  <a:pt x="3159" y="913"/>
                </a:lnTo>
                <a:lnTo>
                  <a:pt x="3159" y="914"/>
                </a:lnTo>
                <a:lnTo>
                  <a:pt x="3158" y="914"/>
                </a:lnTo>
                <a:lnTo>
                  <a:pt x="3158" y="917"/>
                </a:lnTo>
                <a:lnTo>
                  <a:pt x="3157" y="917"/>
                </a:lnTo>
                <a:lnTo>
                  <a:pt x="3157" y="918"/>
                </a:lnTo>
                <a:lnTo>
                  <a:pt x="3159" y="921"/>
                </a:lnTo>
                <a:lnTo>
                  <a:pt x="3152" y="923"/>
                </a:lnTo>
                <a:lnTo>
                  <a:pt x="3151" y="933"/>
                </a:lnTo>
                <a:lnTo>
                  <a:pt x="3162" y="934"/>
                </a:lnTo>
                <a:lnTo>
                  <a:pt x="3162" y="928"/>
                </a:lnTo>
                <a:lnTo>
                  <a:pt x="3160" y="928"/>
                </a:lnTo>
                <a:lnTo>
                  <a:pt x="3155" y="928"/>
                </a:lnTo>
                <a:lnTo>
                  <a:pt x="3160" y="923"/>
                </a:lnTo>
                <a:lnTo>
                  <a:pt x="3163" y="922"/>
                </a:lnTo>
                <a:lnTo>
                  <a:pt x="3165" y="917"/>
                </a:lnTo>
                <a:lnTo>
                  <a:pt x="3169" y="913"/>
                </a:lnTo>
                <a:lnTo>
                  <a:pt x="3169" y="909"/>
                </a:lnTo>
                <a:lnTo>
                  <a:pt x="3170" y="908"/>
                </a:lnTo>
                <a:lnTo>
                  <a:pt x="3179" y="908"/>
                </a:lnTo>
                <a:lnTo>
                  <a:pt x="3180" y="905"/>
                </a:lnTo>
                <a:lnTo>
                  <a:pt x="3179" y="905"/>
                </a:lnTo>
                <a:lnTo>
                  <a:pt x="3184" y="905"/>
                </a:lnTo>
                <a:lnTo>
                  <a:pt x="3187" y="900"/>
                </a:lnTo>
                <a:lnTo>
                  <a:pt x="3194" y="892"/>
                </a:lnTo>
                <a:lnTo>
                  <a:pt x="3195" y="891"/>
                </a:lnTo>
                <a:lnTo>
                  <a:pt x="3194" y="888"/>
                </a:lnTo>
                <a:lnTo>
                  <a:pt x="3194" y="885"/>
                </a:lnTo>
                <a:lnTo>
                  <a:pt x="3190" y="881"/>
                </a:lnTo>
                <a:lnTo>
                  <a:pt x="3194" y="877"/>
                </a:lnTo>
                <a:lnTo>
                  <a:pt x="3195" y="877"/>
                </a:lnTo>
                <a:lnTo>
                  <a:pt x="3198" y="874"/>
                </a:lnTo>
                <a:lnTo>
                  <a:pt x="3199" y="867"/>
                </a:lnTo>
                <a:lnTo>
                  <a:pt x="3199" y="860"/>
                </a:lnTo>
                <a:lnTo>
                  <a:pt x="3195" y="852"/>
                </a:lnTo>
                <a:lnTo>
                  <a:pt x="3197" y="849"/>
                </a:lnTo>
                <a:lnTo>
                  <a:pt x="3195" y="847"/>
                </a:lnTo>
                <a:lnTo>
                  <a:pt x="3201" y="846"/>
                </a:lnTo>
                <a:lnTo>
                  <a:pt x="3204" y="830"/>
                </a:lnTo>
                <a:lnTo>
                  <a:pt x="3204" y="821"/>
                </a:lnTo>
                <a:lnTo>
                  <a:pt x="3202" y="821"/>
                </a:lnTo>
                <a:lnTo>
                  <a:pt x="3204" y="819"/>
                </a:lnTo>
                <a:lnTo>
                  <a:pt x="3204" y="817"/>
                </a:lnTo>
                <a:lnTo>
                  <a:pt x="3198" y="814"/>
                </a:lnTo>
                <a:lnTo>
                  <a:pt x="3204" y="811"/>
                </a:lnTo>
                <a:lnTo>
                  <a:pt x="3207" y="807"/>
                </a:lnTo>
                <a:lnTo>
                  <a:pt x="3219" y="805"/>
                </a:lnTo>
                <a:lnTo>
                  <a:pt x="3224" y="801"/>
                </a:lnTo>
                <a:lnTo>
                  <a:pt x="3240" y="798"/>
                </a:lnTo>
                <a:lnTo>
                  <a:pt x="3245" y="798"/>
                </a:lnTo>
                <a:lnTo>
                  <a:pt x="3249" y="794"/>
                </a:lnTo>
                <a:lnTo>
                  <a:pt x="3255" y="792"/>
                </a:lnTo>
                <a:lnTo>
                  <a:pt x="3257" y="789"/>
                </a:lnTo>
                <a:lnTo>
                  <a:pt x="3258" y="789"/>
                </a:lnTo>
                <a:lnTo>
                  <a:pt x="3263" y="785"/>
                </a:lnTo>
                <a:lnTo>
                  <a:pt x="3263" y="781"/>
                </a:lnTo>
                <a:lnTo>
                  <a:pt x="3274" y="784"/>
                </a:lnTo>
                <a:lnTo>
                  <a:pt x="3276" y="781"/>
                </a:lnTo>
                <a:lnTo>
                  <a:pt x="3280" y="780"/>
                </a:lnTo>
                <a:lnTo>
                  <a:pt x="3287" y="781"/>
                </a:lnTo>
                <a:lnTo>
                  <a:pt x="3294" y="780"/>
                </a:lnTo>
                <a:lnTo>
                  <a:pt x="3299" y="779"/>
                </a:lnTo>
                <a:lnTo>
                  <a:pt x="3301" y="776"/>
                </a:lnTo>
                <a:lnTo>
                  <a:pt x="3302" y="774"/>
                </a:lnTo>
                <a:lnTo>
                  <a:pt x="3305" y="776"/>
                </a:lnTo>
                <a:lnTo>
                  <a:pt x="3307" y="781"/>
                </a:lnTo>
                <a:lnTo>
                  <a:pt x="3312" y="789"/>
                </a:lnTo>
                <a:lnTo>
                  <a:pt x="3319" y="806"/>
                </a:lnTo>
                <a:lnTo>
                  <a:pt x="3321" y="814"/>
                </a:lnTo>
                <a:lnTo>
                  <a:pt x="3321" y="834"/>
                </a:lnTo>
                <a:lnTo>
                  <a:pt x="3323" y="836"/>
                </a:lnTo>
                <a:lnTo>
                  <a:pt x="3324" y="846"/>
                </a:lnTo>
                <a:lnTo>
                  <a:pt x="3322" y="852"/>
                </a:lnTo>
                <a:lnTo>
                  <a:pt x="3318" y="855"/>
                </a:lnTo>
                <a:lnTo>
                  <a:pt x="3319" y="863"/>
                </a:lnTo>
                <a:lnTo>
                  <a:pt x="3315" y="864"/>
                </a:lnTo>
                <a:lnTo>
                  <a:pt x="3307" y="863"/>
                </a:lnTo>
                <a:lnTo>
                  <a:pt x="3305" y="866"/>
                </a:lnTo>
                <a:lnTo>
                  <a:pt x="3298" y="863"/>
                </a:lnTo>
                <a:lnTo>
                  <a:pt x="3286" y="868"/>
                </a:lnTo>
                <a:lnTo>
                  <a:pt x="3283" y="873"/>
                </a:lnTo>
                <a:lnTo>
                  <a:pt x="3272" y="879"/>
                </a:lnTo>
                <a:lnTo>
                  <a:pt x="3272" y="883"/>
                </a:lnTo>
                <a:lnTo>
                  <a:pt x="3269" y="883"/>
                </a:lnTo>
                <a:lnTo>
                  <a:pt x="3268" y="888"/>
                </a:lnTo>
                <a:lnTo>
                  <a:pt x="3266" y="892"/>
                </a:lnTo>
                <a:lnTo>
                  <a:pt x="3270" y="896"/>
                </a:lnTo>
                <a:lnTo>
                  <a:pt x="3277" y="897"/>
                </a:lnTo>
                <a:lnTo>
                  <a:pt x="3282" y="894"/>
                </a:lnTo>
                <a:lnTo>
                  <a:pt x="3286" y="896"/>
                </a:lnTo>
                <a:lnTo>
                  <a:pt x="3290" y="896"/>
                </a:lnTo>
                <a:lnTo>
                  <a:pt x="3293" y="885"/>
                </a:lnTo>
                <a:lnTo>
                  <a:pt x="3290" y="879"/>
                </a:lnTo>
                <a:lnTo>
                  <a:pt x="3294" y="879"/>
                </a:lnTo>
                <a:lnTo>
                  <a:pt x="3298" y="877"/>
                </a:lnTo>
                <a:lnTo>
                  <a:pt x="3299" y="873"/>
                </a:lnTo>
                <a:lnTo>
                  <a:pt x="3299" y="869"/>
                </a:lnTo>
                <a:lnTo>
                  <a:pt x="3299" y="868"/>
                </a:lnTo>
                <a:lnTo>
                  <a:pt x="3304" y="869"/>
                </a:lnTo>
                <a:lnTo>
                  <a:pt x="3307" y="868"/>
                </a:lnTo>
                <a:lnTo>
                  <a:pt x="3309" y="869"/>
                </a:lnTo>
                <a:lnTo>
                  <a:pt x="3312" y="869"/>
                </a:lnTo>
                <a:lnTo>
                  <a:pt x="3316" y="869"/>
                </a:lnTo>
                <a:lnTo>
                  <a:pt x="3319" y="874"/>
                </a:lnTo>
                <a:lnTo>
                  <a:pt x="3321" y="883"/>
                </a:lnTo>
                <a:lnTo>
                  <a:pt x="3323" y="881"/>
                </a:lnTo>
                <a:lnTo>
                  <a:pt x="3327" y="879"/>
                </a:lnTo>
                <a:lnTo>
                  <a:pt x="3330" y="879"/>
                </a:lnTo>
                <a:lnTo>
                  <a:pt x="3330" y="881"/>
                </a:lnTo>
                <a:lnTo>
                  <a:pt x="3330" y="883"/>
                </a:lnTo>
                <a:lnTo>
                  <a:pt x="3323" y="892"/>
                </a:lnTo>
                <a:close/>
                <a:moveTo>
                  <a:pt x="2614" y="2304"/>
                </a:moveTo>
                <a:lnTo>
                  <a:pt x="2589" y="2337"/>
                </a:lnTo>
                <a:lnTo>
                  <a:pt x="2582" y="2348"/>
                </a:lnTo>
                <a:lnTo>
                  <a:pt x="2581" y="2357"/>
                </a:lnTo>
                <a:lnTo>
                  <a:pt x="2578" y="2364"/>
                </a:lnTo>
                <a:lnTo>
                  <a:pt x="2579" y="2368"/>
                </a:lnTo>
                <a:lnTo>
                  <a:pt x="2582" y="2368"/>
                </a:lnTo>
                <a:lnTo>
                  <a:pt x="2584" y="2368"/>
                </a:lnTo>
                <a:lnTo>
                  <a:pt x="2588" y="2374"/>
                </a:lnTo>
                <a:lnTo>
                  <a:pt x="2588" y="2376"/>
                </a:lnTo>
                <a:lnTo>
                  <a:pt x="2584" y="2382"/>
                </a:lnTo>
                <a:lnTo>
                  <a:pt x="2572" y="2393"/>
                </a:lnTo>
                <a:lnTo>
                  <a:pt x="2561" y="2390"/>
                </a:lnTo>
                <a:lnTo>
                  <a:pt x="2540" y="2394"/>
                </a:lnTo>
                <a:lnTo>
                  <a:pt x="2539" y="2393"/>
                </a:lnTo>
                <a:lnTo>
                  <a:pt x="2540" y="2390"/>
                </a:lnTo>
                <a:lnTo>
                  <a:pt x="2539" y="2386"/>
                </a:lnTo>
                <a:lnTo>
                  <a:pt x="2526" y="2379"/>
                </a:lnTo>
                <a:lnTo>
                  <a:pt x="2526" y="2376"/>
                </a:lnTo>
                <a:lnTo>
                  <a:pt x="2521" y="2364"/>
                </a:lnTo>
                <a:lnTo>
                  <a:pt x="2510" y="2349"/>
                </a:lnTo>
                <a:lnTo>
                  <a:pt x="2505" y="2345"/>
                </a:lnTo>
                <a:lnTo>
                  <a:pt x="2494" y="2340"/>
                </a:lnTo>
                <a:lnTo>
                  <a:pt x="2493" y="2335"/>
                </a:lnTo>
                <a:lnTo>
                  <a:pt x="2493" y="2327"/>
                </a:lnTo>
                <a:lnTo>
                  <a:pt x="2494" y="2323"/>
                </a:lnTo>
                <a:lnTo>
                  <a:pt x="2501" y="2316"/>
                </a:lnTo>
                <a:lnTo>
                  <a:pt x="2504" y="2303"/>
                </a:lnTo>
                <a:lnTo>
                  <a:pt x="2505" y="2303"/>
                </a:lnTo>
                <a:lnTo>
                  <a:pt x="2507" y="2304"/>
                </a:lnTo>
                <a:lnTo>
                  <a:pt x="2508" y="2303"/>
                </a:lnTo>
                <a:lnTo>
                  <a:pt x="2516" y="2290"/>
                </a:lnTo>
                <a:lnTo>
                  <a:pt x="2519" y="2286"/>
                </a:lnTo>
                <a:lnTo>
                  <a:pt x="2525" y="2286"/>
                </a:lnTo>
                <a:lnTo>
                  <a:pt x="2532" y="2282"/>
                </a:lnTo>
                <a:lnTo>
                  <a:pt x="2535" y="2282"/>
                </a:lnTo>
                <a:lnTo>
                  <a:pt x="2539" y="2282"/>
                </a:lnTo>
                <a:lnTo>
                  <a:pt x="2560" y="2274"/>
                </a:lnTo>
                <a:lnTo>
                  <a:pt x="2563" y="2274"/>
                </a:lnTo>
                <a:lnTo>
                  <a:pt x="2563" y="2277"/>
                </a:lnTo>
                <a:lnTo>
                  <a:pt x="2560" y="2278"/>
                </a:lnTo>
                <a:lnTo>
                  <a:pt x="2560" y="2282"/>
                </a:lnTo>
                <a:lnTo>
                  <a:pt x="2560" y="2285"/>
                </a:lnTo>
                <a:lnTo>
                  <a:pt x="2560" y="2289"/>
                </a:lnTo>
                <a:lnTo>
                  <a:pt x="2546" y="2297"/>
                </a:lnTo>
                <a:lnTo>
                  <a:pt x="2542" y="2300"/>
                </a:lnTo>
                <a:lnTo>
                  <a:pt x="2539" y="2300"/>
                </a:lnTo>
                <a:lnTo>
                  <a:pt x="2538" y="2304"/>
                </a:lnTo>
                <a:lnTo>
                  <a:pt x="2540" y="2308"/>
                </a:lnTo>
                <a:lnTo>
                  <a:pt x="2539" y="2311"/>
                </a:lnTo>
                <a:lnTo>
                  <a:pt x="2540" y="2312"/>
                </a:lnTo>
                <a:lnTo>
                  <a:pt x="2542" y="2312"/>
                </a:lnTo>
                <a:lnTo>
                  <a:pt x="2543" y="2311"/>
                </a:lnTo>
                <a:lnTo>
                  <a:pt x="2542" y="2304"/>
                </a:lnTo>
                <a:lnTo>
                  <a:pt x="2546" y="2300"/>
                </a:lnTo>
                <a:lnTo>
                  <a:pt x="2557" y="2295"/>
                </a:lnTo>
                <a:lnTo>
                  <a:pt x="2564" y="2289"/>
                </a:lnTo>
                <a:lnTo>
                  <a:pt x="2568" y="2289"/>
                </a:lnTo>
                <a:lnTo>
                  <a:pt x="2570" y="2289"/>
                </a:lnTo>
                <a:lnTo>
                  <a:pt x="2565" y="2285"/>
                </a:lnTo>
                <a:lnTo>
                  <a:pt x="2567" y="2278"/>
                </a:lnTo>
                <a:lnTo>
                  <a:pt x="2574" y="2274"/>
                </a:lnTo>
                <a:lnTo>
                  <a:pt x="2584" y="2274"/>
                </a:lnTo>
                <a:lnTo>
                  <a:pt x="2584" y="2277"/>
                </a:lnTo>
                <a:lnTo>
                  <a:pt x="2588" y="2282"/>
                </a:lnTo>
                <a:lnTo>
                  <a:pt x="2589" y="2286"/>
                </a:lnTo>
                <a:lnTo>
                  <a:pt x="2592" y="2286"/>
                </a:lnTo>
                <a:lnTo>
                  <a:pt x="2593" y="2289"/>
                </a:lnTo>
                <a:lnTo>
                  <a:pt x="2592" y="2293"/>
                </a:lnTo>
                <a:lnTo>
                  <a:pt x="2586" y="2297"/>
                </a:lnTo>
                <a:lnTo>
                  <a:pt x="2585" y="2300"/>
                </a:lnTo>
                <a:lnTo>
                  <a:pt x="2576" y="2307"/>
                </a:lnTo>
                <a:lnTo>
                  <a:pt x="2572" y="2311"/>
                </a:lnTo>
                <a:lnTo>
                  <a:pt x="2574" y="2312"/>
                </a:lnTo>
                <a:lnTo>
                  <a:pt x="2575" y="2312"/>
                </a:lnTo>
                <a:lnTo>
                  <a:pt x="2571" y="2316"/>
                </a:lnTo>
                <a:lnTo>
                  <a:pt x="2568" y="2319"/>
                </a:lnTo>
                <a:lnTo>
                  <a:pt x="2570" y="2319"/>
                </a:lnTo>
                <a:lnTo>
                  <a:pt x="2570" y="2318"/>
                </a:lnTo>
                <a:lnTo>
                  <a:pt x="2576" y="2316"/>
                </a:lnTo>
                <a:lnTo>
                  <a:pt x="2576" y="2312"/>
                </a:lnTo>
                <a:lnTo>
                  <a:pt x="2579" y="2308"/>
                </a:lnTo>
                <a:lnTo>
                  <a:pt x="2586" y="2308"/>
                </a:lnTo>
                <a:lnTo>
                  <a:pt x="2595" y="2300"/>
                </a:lnTo>
                <a:lnTo>
                  <a:pt x="2600" y="2297"/>
                </a:lnTo>
                <a:lnTo>
                  <a:pt x="2596" y="2304"/>
                </a:lnTo>
                <a:lnTo>
                  <a:pt x="2595" y="2308"/>
                </a:lnTo>
                <a:lnTo>
                  <a:pt x="2598" y="2312"/>
                </a:lnTo>
                <a:lnTo>
                  <a:pt x="2596" y="2312"/>
                </a:lnTo>
                <a:lnTo>
                  <a:pt x="2589" y="2312"/>
                </a:lnTo>
                <a:lnTo>
                  <a:pt x="2585" y="2316"/>
                </a:lnTo>
                <a:lnTo>
                  <a:pt x="2585" y="2323"/>
                </a:lnTo>
                <a:lnTo>
                  <a:pt x="2588" y="2327"/>
                </a:lnTo>
                <a:lnTo>
                  <a:pt x="2588" y="2331"/>
                </a:lnTo>
                <a:lnTo>
                  <a:pt x="2585" y="2335"/>
                </a:lnTo>
                <a:lnTo>
                  <a:pt x="2589" y="2331"/>
                </a:lnTo>
                <a:lnTo>
                  <a:pt x="2590" y="2327"/>
                </a:lnTo>
                <a:lnTo>
                  <a:pt x="2586" y="2319"/>
                </a:lnTo>
                <a:lnTo>
                  <a:pt x="2586" y="2318"/>
                </a:lnTo>
                <a:lnTo>
                  <a:pt x="2589" y="2316"/>
                </a:lnTo>
                <a:lnTo>
                  <a:pt x="2598" y="2318"/>
                </a:lnTo>
                <a:lnTo>
                  <a:pt x="2601" y="2316"/>
                </a:lnTo>
                <a:lnTo>
                  <a:pt x="2604" y="2312"/>
                </a:lnTo>
                <a:lnTo>
                  <a:pt x="2607" y="2299"/>
                </a:lnTo>
                <a:lnTo>
                  <a:pt x="2614" y="2295"/>
                </a:lnTo>
                <a:lnTo>
                  <a:pt x="2617" y="2295"/>
                </a:lnTo>
                <a:lnTo>
                  <a:pt x="2617" y="2299"/>
                </a:lnTo>
                <a:lnTo>
                  <a:pt x="2614" y="2304"/>
                </a:lnTo>
                <a:close/>
                <a:moveTo>
                  <a:pt x="2499" y="2300"/>
                </a:moveTo>
                <a:lnTo>
                  <a:pt x="2500" y="2304"/>
                </a:lnTo>
                <a:lnTo>
                  <a:pt x="2497" y="2312"/>
                </a:lnTo>
                <a:lnTo>
                  <a:pt x="2491" y="2322"/>
                </a:lnTo>
                <a:lnTo>
                  <a:pt x="2490" y="2327"/>
                </a:lnTo>
                <a:lnTo>
                  <a:pt x="2491" y="2333"/>
                </a:lnTo>
                <a:lnTo>
                  <a:pt x="2490" y="2333"/>
                </a:lnTo>
                <a:lnTo>
                  <a:pt x="2489" y="2327"/>
                </a:lnTo>
                <a:lnTo>
                  <a:pt x="2486" y="2323"/>
                </a:lnTo>
                <a:lnTo>
                  <a:pt x="2486" y="2316"/>
                </a:lnTo>
                <a:lnTo>
                  <a:pt x="2482" y="2308"/>
                </a:lnTo>
                <a:lnTo>
                  <a:pt x="2483" y="2304"/>
                </a:lnTo>
                <a:lnTo>
                  <a:pt x="2496" y="2299"/>
                </a:lnTo>
                <a:lnTo>
                  <a:pt x="2499" y="2300"/>
                </a:lnTo>
                <a:close/>
                <a:moveTo>
                  <a:pt x="3322" y="1128"/>
                </a:moveTo>
                <a:lnTo>
                  <a:pt x="3323" y="1128"/>
                </a:lnTo>
                <a:lnTo>
                  <a:pt x="3322" y="1137"/>
                </a:lnTo>
                <a:lnTo>
                  <a:pt x="3316" y="1145"/>
                </a:lnTo>
                <a:lnTo>
                  <a:pt x="3311" y="1149"/>
                </a:lnTo>
                <a:lnTo>
                  <a:pt x="3313" y="1141"/>
                </a:lnTo>
                <a:lnTo>
                  <a:pt x="3315" y="1141"/>
                </a:lnTo>
                <a:lnTo>
                  <a:pt x="3318" y="1140"/>
                </a:lnTo>
                <a:lnTo>
                  <a:pt x="3319" y="1134"/>
                </a:lnTo>
                <a:lnTo>
                  <a:pt x="3315" y="1135"/>
                </a:lnTo>
                <a:lnTo>
                  <a:pt x="3316" y="1133"/>
                </a:lnTo>
                <a:lnTo>
                  <a:pt x="3308" y="1128"/>
                </a:lnTo>
                <a:lnTo>
                  <a:pt x="3313" y="1132"/>
                </a:lnTo>
                <a:lnTo>
                  <a:pt x="3318" y="1132"/>
                </a:lnTo>
                <a:lnTo>
                  <a:pt x="3322" y="1128"/>
                </a:lnTo>
                <a:close/>
                <a:moveTo>
                  <a:pt x="3255" y="1270"/>
                </a:moveTo>
                <a:lnTo>
                  <a:pt x="3254" y="1274"/>
                </a:lnTo>
                <a:lnTo>
                  <a:pt x="3249" y="1275"/>
                </a:lnTo>
                <a:lnTo>
                  <a:pt x="3251" y="1275"/>
                </a:lnTo>
                <a:lnTo>
                  <a:pt x="3249" y="1278"/>
                </a:lnTo>
                <a:lnTo>
                  <a:pt x="3247" y="1278"/>
                </a:lnTo>
                <a:lnTo>
                  <a:pt x="3244" y="1282"/>
                </a:lnTo>
                <a:lnTo>
                  <a:pt x="3244" y="1284"/>
                </a:lnTo>
                <a:lnTo>
                  <a:pt x="3240" y="1286"/>
                </a:lnTo>
                <a:lnTo>
                  <a:pt x="3240" y="1284"/>
                </a:lnTo>
                <a:lnTo>
                  <a:pt x="3240" y="1279"/>
                </a:lnTo>
                <a:lnTo>
                  <a:pt x="3245" y="1274"/>
                </a:lnTo>
                <a:lnTo>
                  <a:pt x="3254" y="1270"/>
                </a:lnTo>
                <a:lnTo>
                  <a:pt x="3255" y="1270"/>
                </a:lnTo>
                <a:close/>
                <a:moveTo>
                  <a:pt x="3279" y="1308"/>
                </a:moveTo>
                <a:lnTo>
                  <a:pt x="3280" y="1308"/>
                </a:lnTo>
                <a:lnTo>
                  <a:pt x="3279" y="1315"/>
                </a:lnTo>
                <a:lnTo>
                  <a:pt x="3274" y="1321"/>
                </a:lnTo>
                <a:lnTo>
                  <a:pt x="3274" y="1319"/>
                </a:lnTo>
                <a:lnTo>
                  <a:pt x="3276" y="1315"/>
                </a:lnTo>
                <a:lnTo>
                  <a:pt x="3270" y="1311"/>
                </a:lnTo>
                <a:lnTo>
                  <a:pt x="3274" y="1311"/>
                </a:lnTo>
                <a:lnTo>
                  <a:pt x="3277" y="1308"/>
                </a:lnTo>
                <a:lnTo>
                  <a:pt x="3279" y="1311"/>
                </a:lnTo>
                <a:lnTo>
                  <a:pt x="3279" y="1308"/>
                </a:lnTo>
                <a:close/>
                <a:moveTo>
                  <a:pt x="3290" y="1286"/>
                </a:moveTo>
                <a:lnTo>
                  <a:pt x="3291" y="1287"/>
                </a:lnTo>
                <a:lnTo>
                  <a:pt x="3288" y="1291"/>
                </a:lnTo>
                <a:lnTo>
                  <a:pt x="3288" y="1292"/>
                </a:lnTo>
                <a:lnTo>
                  <a:pt x="3287" y="1295"/>
                </a:lnTo>
                <a:lnTo>
                  <a:pt x="3284" y="1295"/>
                </a:lnTo>
                <a:lnTo>
                  <a:pt x="3283" y="1288"/>
                </a:lnTo>
                <a:lnTo>
                  <a:pt x="3286" y="1287"/>
                </a:lnTo>
                <a:lnTo>
                  <a:pt x="3286" y="1288"/>
                </a:lnTo>
                <a:lnTo>
                  <a:pt x="3288" y="1288"/>
                </a:lnTo>
                <a:lnTo>
                  <a:pt x="3290" y="1286"/>
                </a:lnTo>
                <a:close/>
                <a:moveTo>
                  <a:pt x="3324" y="1088"/>
                </a:moveTo>
                <a:lnTo>
                  <a:pt x="3323" y="1087"/>
                </a:lnTo>
                <a:lnTo>
                  <a:pt x="3324" y="1084"/>
                </a:lnTo>
                <a:lnTo>
                  <a:pt x="3324" y="1087"/>
                </a:lnTo>
                <a:lnTo>
                  <a:pt x="3326" y="1087"/>
                </a:lnTo>
                <a:lnTo>
                  <a:pt x="3326" y="1079"/>
                </a:lnTo>
                <a:lnTo>
                  <a:pt x="3322" y="1083"/>
                </a:lnTo>
                <a:lnTo>
                  <a:pt x="3324" y="1079"/>
                </a:lnTo>
                <a:lnTo>
                  <a:pt x="3326" y="1079"/>
                </a:lnTo>
                <a:lnTo>
                  <a:pt x="3327" y="1079"/>
                </a:lnTo>
                <a:lnTo>
                  <a:pt x="3326" y="1088"/>
                </a:lnTo>
                <a:lnTo>
                  <a:pt x="3324" y="1088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58" name="Freeform 57"/>
          <p:cNvSpPr>
            <a:spLocks noEditPoints="1"/>
          </p:cNvSpPr>
          <p:nvPr/>
        </p:nvSpPr>
        <p:spPr bwMode="auto">
          <a:xfrm>
            <a:off x="1953659" y="4610182"/>
            <a:ext cx="590101" cy="1009066"/>
          </a:xfrm>
          <a:custGeom>
            <a:avLst/>
            <a:gdLst>
              <a:gd name="T0" fmla="*/ 1825 w 1964"/>
              <a:gd name="T1" fmla="*/ 2031 h 3140"/>
              <a:gd name="T2" fmla="*/ 1791 w 1964"/>
              <a:gd name="T3" fmla="*/ 2178 h 3140"/>
              <a:gd name="T4" fmla="*/ 1745 w 1964"/>
              <a:gd name="T5" fmla="*/ 2218 h 3140"/>
              <a:gd name="T6" fmla="*/ 1752 w 1964"/>
              <a:gd name="T7" fmla="*/ 2379 h 3140"/>
              <a:gd name="T8" fmla="*/ 1795 w 1964"/>
              <a:gd name="T9" fmla="*/ 2379 h 3140"/>
              <a:gd name="T10" fmla="*/ 1836 w 1964"/>
              <a:gd name="T11" fmla="*/ 2334 h 3140"/>
              <a:gd name="T12" fmla="*/ 1869 w 1964"/>
              <a:gd name="T13" fmla="*/ 2327 h 3140"/>
              <a:gd name="T14" fmla="*/ 1911 w 1964"/>
              <a:gd name="T15" fmla="*/ 2280 h 3140"/>
              <a:gd name="T16" fmla="*/ 1821 w 1964"/>
              <a:gd name="T17" fmla="*/ 2630 h 3140"/>
              <a:gd name="T18" fmla="*/ 1086 w 1964"/>
              <a:gd name="T19" fmla="*/ 3131 h 3140"/>
              <a:gd name="T20" fmla="*/ 921 w 1964"/>
              <a:gd name="T21" fmla="*/ 2834 h 3140"/>
              <a:gd name="T22" fmla="*/ 708 w 1964"/>
              <a:gd name="T23" fmla="*/ 2775 h 3140"/>
              <a:gd name="T24" fmla="*/ 619 w 1964"/>
              <a:gd name="T25" fmla="*/ 2444 h 3140"/>
              <a:gd name="T26" fmla="*/ 607 w 1964"/>
              <a:gd name="T27" fmla="*/ 2351 h 3140"/>
              <a:gd name="T28" fmla="*/ 619 w 1964"/>
              <a:gd name="T29" fmla="*/ 2289 h 3140"/>
              <a:gd name="T30" fmla="*/ 630 w 1964"/>
              <a:gd name="T31" fmla="*/ 2205 h 3140"/>
              <a:gd name="T32" fmla="*/ 608 w 1964"/>
              <a:gd name="T33" fmla="*/ 2149 h 3140"/>
              <a:gd name="T34" fmla="*/ 622 w 1964"/>
              <a:gd name="T35" fmla="*/ 2074 h 3140"/>
              <a:gd name="T36" fmla="*/ 586 w 1964"/>
              <a:gd name="T37" fmla="*/ 2026 h 3140"/>
              <a:gd name="T38" fmla="*/ 552 w 1964"/>
              <a:gd name="T39" fmla="*/ 1946 h 3140"/>
              <a:gd name="T40" fmla="*/ 574 w 1964"/>
              <a:gd name="T41" fmla="*/ 1900 h 3140"/>
              <a:gd name="T42" fmla="*/ 549 w 1964"/>
              <a:gd name="T43" fmla="*/ 1795 h 3140"/>
              <a:gd name="T44" fmla="*/ 474 w 1964"/>
              <a:gd name="T45" fmla="*/ 1712 h 3140"/>
              <a:gd name="T46" fmla="*/ 423 w 1964"/>
              <a:gd name="T47" fmla="*/ 1616 h 3140"/>
              <a:gd name="T48" fmla="*/ 274 w 1964"/>
              <a:gd name="T49" fmla="*/ 1478 h 3140"/>
              <a:gd name="T50" fmla="*/ 134 w 1964"/>
              <a:gd name="T51" fmla="*/ 1375 h 3140"/>
              <a:gd name="T52" fmla="*/ 93 w 1964"/>
              <a:gd name="T53" fmla="*/ 1269 h 3140"/>
              <a:gd name="T54" fmla="*/ 129 w 1964"/>
              <a:gd name="T55" fmla="*/ 1145 h 3140"/>
              <a:gd name="T56" fmla="*/ 170 w 1964"/>
              <a:gd name="T57" fmla="*/ 1055 h 3140"/>
              <a:gd name="T58" fmla="*/ 157 w 1964"/>
              <a:gd name="T59" fmla="*/ 921 h 3140"/>
              <a:gd name="T60" fmla="*/ 39 w 1964"/>
              <a:gd name="T61" fmla="*/ 507 h 3140"/>
              <a:gd name="T62" fmla="*/ 219 w 1964"/>
              <a:gd name="T63" fmla="*/ 397 h 3140"/>
              <a:gd name="T64" fmla="*/ 364 w 1964"/>
              <a:gd name="T65" fmla="*/ 348 h 3140"/>
              <a:gd name="T66" fmla="*/ 507 w 1964"/>
              <a:gd name="T67" fmla="*/ 344 h 3140"/>
              <a:gd name="T68" fmla="*/ 613 w 1964"/>
              <a:gd name="T69" fmla="*/ 335 h 3140"/>
              <a:gd name="T70" fmla="*/ 746 w 1964"/>
              <a:gd name="T71" fmla="*/ 272 h 3140"/>
              <a:gd name="T72" fmla="*/ 854 w 1964"/>
              <a:gd name="T73" fmla="*/ 250 h 3140"/>
              <a:gd name="T74" fmla="*/ 964 w 1964"/>
              <a:gd name="T75" fmla="*/ 263 h 3140"/>
              <a:gd name="T76" fmla="*/ 1066 w 1964"/>
              <a:gd name="T77" fmla="*/ 166 h 3140"/>
              <a:gd name="T78" fmla="*/ 1193 w 1964"/>
              <a:gd name="T79" fmla="*/ 115 h 3140"/>
              <a:gd name="T80" fmla="*/ 1331 w 1964"/>
              <a:gd name="T81" fmla="*/ 98 h 3140"/>
              <a:gd name="T82" fmla="*/ 1451 w 1964"/>
              <a:gd name="T83" fmla="*/ 28 h 3140"/>
              <a:gd name="T84" fmla="*/ 1558 w 1964"/>
              <a:gd name="T85" fmla="*/ 66 h 3140"/>
              <a:gd name="T86" fmla="*/ 1534 w 1964"/>
              <a:gd name="T87" fmla="*/ 101 h 3140"/>
              <a:gd name="T88" fmla="*/ 1494 w 1964"/>
              <a:gd name="T89" fmla="*/ 121 h 3140"/>
              <a:gd name="T90" fmla="*/ 1531 w 1964"/>
              <a:gd name="T91" fmla="*/ 144 h 3140"/>
              <a:gd name="T92" fmla="*/ 1547 w 1964"/>
              <a:gd name="T93" fmla="*/ 202 h 3140"/>
              <a:gd name="T94" fmla="*/ 1527 w 1964"/>
              <a:gd name="T95" fmla="*/ 227 h 3140"/>
              <a:gd name="T96" fmla="*/ 1541 w 1964"/>
              <a:gd name="T97" fmla="*/ 290 h 3140"/>
              <a:gd name="T98" fmla="*/ 1701 w 1964"/>
              <a:gd name="T99" fmla="*/ 551 h 3140"/>
              <a:gd name="T100" fmla="*/ 1736 w 1964"/>
              <a:gd name="T101" fmla="*/ 767 h 3140"/>
              <a:gd name="T102" fmla="*/ 1750 w 1964"/>
              <a:gd name="T103" fmla="*/ 993 h 3140"/>
              <a:gd name="T104" fmla="*/ 1767 w 1964"/>
              <a:gd name="T105" fmla="*/ 1005 h 3140"/>
              <a:gd name="T106" fmla="*/ 1814 w 1964"/>
              <a:gd name="T107" fmla="*/ 979 h 3140"/>
              <a:gd name="T108" fmla="*/ 1904 w 1964"/>
              <a:gd name="T109" fmla="*/ 1000 h 3140"/>
              <a:gd name="T110" fmla="*/ 1904 w 1964"/>
              <a:gd name="T111" fmla="*/ 1048 h 3140"/>
              <a:gd name="T112" fmla="*/ 1900 w 1964"/>
              <a:gd name="T113" fmla="*/ 1523 h 3140"/>
              <a:gd name="T114" fmla="*/ 1955 w 1964"/>
              <a:gd name="T115" fmla="*/ 1580 h 3140"/>
              <a:gd name="T116" fmla="*/ 1825 w 1964"/>
              <a:gd name="T117" fmla="*/ 625 h 3140"/>
              <a:gd name="T118" fmla="*/ 1837 w 1964"/>
              <a:gd name="T119" fmla="*/ 440 h 3140"/>
              <a:gd name="T120" fmla="*/ 1832 w 1964"/>
              <a:gd name="T121" fmla="*/ 713 h 3140"/>
              <a:gd name="T122" fmla="*/ 1823 w 1964"/>
              <a:gd name="T123" fmla="*/ 818 h 3140"/>
              <a:gd name="T124" fmla="*/ 1752 w 1964"/>
              <a:gd name="T125" fmla="*/ 539 h 314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964"/>
              <a:gd name="T190" fmla="*/ 0 h 3140"/>
              <a:gd name="T191" fmla="*/ 1964 w 1964"/>
              <a:gd name="T192" fmla="*/ 3140 h 314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964" h="3140">
                <a:moveTo>
                  <a:pt x="1962" y="1581"/>
                </a:moveTo>
                <a:lnTo>
                  <a:pt x="1964" y="1581"/>
                </a:lnTo>
                <a:lnTo>
                  <a:pt x="1961" y="1599"/>
                </a:lnTo>
                <a:lnTo>
                  <a:pt x="1957" y="1614"/>
                </a:lnTo>
                <a:lnTo>
                  <a:pt x="1940" y="1643"/>
                </a:lnTo>
                <a:lnTo>
                  <a:pt x="1914" y="1680"/>
                </a:lnTo>
                <a:lnTo>
                  <a:pt x="1907" y="1693"/>
                </a:lnTo>
                <a:lnTo>
                  <a:pt x="1899" y="1705"/>
                </a:lnTo>
                <a:lnTo>
                  <a:pt x="1889" y="1722"/>
                </a:lnTo>
                <a:lnTo>
                  <a:pt x="1885" y="1733"/>
                </a:lnTo>
                <a:lnTo>
                  <a:pt x="1878" y="1763"/>
                </a:lnTo>
                <a:lnTo>
                  <a:pt x="1869" y="1781"/>
                </a:lnTo>
                <a:lnTo>
                  <a:pt x="1869" y="1790"/>
                </a:lnTo>
                <a:lnTo>
                  <a:pt x="1872" y="1811"/>
                </a:lnTo>
                <a:lnTo>
                  <a:pt x="1872" y="1823"/>
                </a:lnTo>
                <a:lnTo>
                  <a:pt x="1874" y="1826"/>
                </a:lnTo>
                <a:lnTo>
                  <a:pt x="1876" y="1832"/>
                </a:lnTo>
                <a:lnTo>
                  <a:pt x="1878" y="1842"/>
                </a:lnTo>
                <a:lnTo>
                  <a:pt x="1875" y="1858"/>
                </a:lnTo>
                <a:lnTo>
                  <a:pt x="1876" y="1878"/>
                </a:lnTo>
                <a:lnTo>
                  <a:pt x="1875" y="1887"/>
                </a:lnTo>
                <a:lnTo>
                  <a:pt x="1871" y="1902"/>
                </a:lnTo>
                <a:lnTo>
                  <a:pt x="1871" y="1907"/>
                </a:lnTo>
                <a:lnTo>
                  <a:pt x="1858" y="1936"/>
                </a:lnTo>
                <a:lnTo>
                  <a:pt x="1841" y="1978"/>
                </a:lnTo>
                <a:lnTo>
                  <a:pt x="1839" y="1989"/>
                </a:lnTo>
                <a:lnTo>
                  <a:pt x="1839" y="1995"/>
                </a:lnTo>
                <a:lnTo>
                  <a:pt x="1836" y="2008"/>
                </a:lnTo>
                <a:lnTo>
                  <a:pt x="1829" y="2023"/>
                </a:lnTo>
                <a:lnTo>
                  <a:pt x="1825" y="2031"/>
                </a:lnTo>
                <a:lnTo>
                  <a:pt x="1821" y="2042"/>
                </a:lnTo>
                <a:lnTo>
                  <a:pt x="1819" y="2049"/>
                </a:lnTo>
                <a:lnTo>
                  <a:pt x="1821" y="2061"/>
                </a:lnTo>
                <a:lnTo>
                  <a:pt x="1818" y="2098"/>
                </a:lnTo>
                <a:lnTo>
                  <a:pt x="1818" y="2114"/>
                </a:lnTo>
                <a:lnTo>
                  <a:pt x="1816" y="2123"/>
                </a:lnTo>
                <a:lnTo>
                  <a:pt x="1818" y="2139"/>
                </a:lnTo>
                <a:lnTo>
                  <a:pt x="1821" y="2145"/>
                </a:lnTo>
                <a:lnTo>
                  <a:pt x="1825" y="2152"/>
                </a:lnTo>
                <a:lnTo>
                  <a:pt x="1827" y="2163"/>
                </a:lnTo>
                <a:lnTo>
                  <a:pt x="1825" y="2177"/>
                </a:lnTo>
                <a:lnTo>
                  <a:pt x="1825" y="2181"/>
                </a:lnTo>
                <a:lnTo>
                  <a:pt x="1818" y="2188"/>
                </a:lnTo>
                <a:lnTo>
                  <a:pt x="1814" y="2199"/>
                </a:lnTo>
                <a:lnTo>
                  <a:pt x="1811" y="2219"/>
                </a:lnTo>
                <a:lnTo>
                  <a:pt x="1807" y="2230"/>
                </a:lnTo>
                <a:lnTo>
                  <a:pt x="1802" y="2235"/>
                </a:lnTo>
                <a:lnTo>
                  <a:pt x="1800" y="2236"/>
                </a:lnTo>
                <a:lnTo>
                  <a:pt x="1797" y="2235"/>
                </a:lnTo>
                <a:lnTo>
                  <a:pt x="1795" y="2232"/>
                </a:lnTo>
                <a:lnTo>
                  <a:pt x="1797" y="2231"/>
                </a:lnTo>
                <a:lnTo>
                  <a:pt x="1801" y="2231"/>
                </a:lnTo>
                <a:lnTo>
                  <a:pt x="1797" y="2228"/>
                </a:lnTo>
                <a:lnTo>
                  <a:pt x="1795" y="2223"/>
                </a:lnTo>
                <a:lnTo>
                  <a:pt x="1797" y="2197"/>
                </a:lnTo>
                <a:lnTo>
                  <a:pt x="1793" y="2188"/>
                </a:lnTo>
                <a:lnTo>
                  <a:pt x="1797" y="2185"/>
                </a:lnTo>
                <a:lnTo>
                  <a:pt x="1797" y="2182"/>
                </a:lnTo>
                <a:lnTo>
                  <a:pt x="1791" y="2177"/>
                </a:lnTo>
                <a:lnTo>
                  <a:pt x="1791" y="2178"/>
                </a:lnTo>
                <a:lnTo>
                  <a:pt x="1795" y="2182"/>
                </a:lnTo>
                <a:lnTo>
                  <a:pt x="1795" y="2183"/>
                </a:lnTo>
                <a:lnTo>
                  <a:pt x="1787" y="2185"/>
                </a:lnTo>
                <a:lnTo>
                  <a:pt x="1783" y="2183"/>
                </a:lnTo>
                <a:lnTo>
                  <a:pt x="1781" y="2183"/>
                </a:lnTo>
                <a:lnTo>
                  <a:pt x="1780" y="2182"/>
                </a:lnTo>
                <a:lnTo>
                  <a:pt x="1775" y="2183"/>
                </a:lnTo>
                <a:lnTo>
                  <a:pt x="1772" y="2182"/>
                </a:lnTo>
                <a:lnTo>
                  <a:pt x="1769" y="2180"/>
                </a:lnTo>
                <a:lnTo>
                  <a:pt x="1770" y="2183"/>
                </a:lnTo>
                <a:lnTo>
                  <a:pt x="1769" y="2185"/>
                </a:lnTo>
                <a:lnTo>
                  <a:pt x="1766" y="2185"/>
                </a:lnTo>
                <a:lnTo>
                  <a:pt x="1762" y="2183"/>
                </a:lnTo>
                <a:lnTo>
                  <a:pt x="1761" y="2183"/>
                </a:lnTo>
                <a:lnTo>
                  <a:pt x="1761" y="2185"/>
                </a:lnTo>
                <a:lnTo>
                  <a:pt x="1759" y="2185"/>
                </a:lnTo>
                <a:lnTo>
                  <a:pt x="1759" y="2188"/>
                </a:lnTo>
                <a:lnTo>
                  <a:pt x="1761" y="2191"/>
                </a:lnTo>
                <a:lnTo>
                  <a:pt x="1759" y="2194"/>
                </a:lnTo>
                <a:lnTo>
                  <a:pt x="1754" y="2194"/>
                </a:lnTo>
                <a:lnTo>
                  <a:pt x="1751" y="2191"/>
                </a:lnTo>
                <a:lnTo>
                  <a:pt x="1750" y="2191"/>
                </a:lnTo>
                <a:lnTo>
                  <a:pt x="1747" y="2191"/>
                </a:lnTo>
                <a:lnTo>
                  <a:pt x="1747" y="2194"/>
                </a:lnTo>
                <a:lnTo>
                  <a:pt x="1750" y="2195"/>
                </a:lnTo>
                <a:lnTo>
                  <a:pt x="1750" y="2202"/>
                </a:lnTo>
                <a:lnTo>
                  <a:pt x="1752" y="2206"/>
                </a:lnTo>
                <a:lnTo>
                  <a:pt x="1752" y="2208"/>
                </a:lnTo>
                <a:lnTo>
                  <a:pt x="1750" y="2211"/>
                </a:lnTo>
                <a:lnTo>
                  <a:pt x="1745" y="2218"/>
                </a:lnTo>
                <a:lnTo>
                  <a:pt x="1748" y="2216"/>
                </a:lnTo>
                <a:lnTo>
                  <a:pt x="1755" y="2207"/>
                </a:lnTo>
                <a:lnTo>
                  <a:pt x="1755" y="2199"/>
                </a:lnTo>
                <a:lnTo>
                  <a:pt x="1762" y="2201"/>
                </a:lnTo>
                <a:lnTo>
                  <a:pt x="1767" y="2197"/>
                </a:lnTo>
                <a:lnTo>
                  <a:pt x="1776" y="2195"/>
                </a:lnTo>
                <a:lnTo>
                  <a:pt x="1777" y="2197"/>
                </a:lnTo>
                <a:lnTo>
                  <a:pt x="1781" y="2203"/>
                </a:lnTo>
                <a:lnTo>
                  <a:pt x="1773" y="2226"/>
                </a:lnTo>
                <a:lnTo>
                  <a:pt x="1773" y="2236"/>
                </a:lnTo>
                <a:lnTo>
                  <a:pt x="1769" y="2245"/>
                </a:lnTo>
                <a:lnTo>
                  <a:pt x="1772" y="2261"/>
                </a:lnTo>
                <a:lnTo>
                  <a:pt x="1770" y="2269"/>
                </a:lnTo>
                <a:lnTo>
                  <a:pt x="1767" y="2276"/>
                </a:lnTo>
                <a:lnTo>
                  <a:pt x="1767" y="2280"/>
                </a:lnTo>
                <a:lnTo>
                  <a:pt x="1762" y="2285"/>
                </a:lnTo>
                <a:lnTo>
                  <a:pt x="1759" y="2293"/>
                </a:lnTo>
                <a:lnTo>
                  <a:pt x="1759" y="2303"/>
                </a:lnTo>
                <a:lnTo>
                  <a:pt x="1762" y="2313"/>
                </a:lnTo>
                <a:lnTo>
                  <a:pt x="1759" y="2315"/>
                </a:lnTo>
                <a:lnTo>
                  <a:pt x="1761" y="2319"/>
                </a:lnTo>
                <a:lnTo>
                  <a:pt x="1759" y="2325"/>
                </a:lnTo>
                <a:lnTo>
                  <a:pt x="1761" y="2338"/>
                </a:lnTo>
                <a:lnTo>
                  <a:pt x="1751" y="2350"/>
                </a:lnTo>
                <a:lnTo>
                  <a:pt x="1750" y="2356"/>
                </a:lnTo>
                <a:lnTo>
                  <a:pt x="1752" y="2368"/>
                </a:lnTo>
                <a:lnTo>
                  <a:pt x="1756" y="2373"/>
                </a:lnTo>
                <a:lnTo>
                  <a:pt x="1754" y="2375"/>
                </a:lnTo>
                <a:lnTo>
                  <a:pt x="1754" y="2379"/>
                </a:lnTo>
                <a:lnTo>
                  <a:pt x="1752" y="2379"/>
                </a:lnTo>
                <a:lnTo>
                  <a:pt x="1752" y="2381"/>
                </a:lnTo>
                <a:lnTo>
                  <a:pt x="1751" y="2387"/>
                </a:lnTo>
                <a:lnTo>
                  <a:pt x="1747" y="2390"/>
                </a:lnTo>
                <a:lnTo>
                  <a:pt x="1748" y="2400"/>
                </a:lnTo>
                <a:lnTo>
                  <a:pt x="1742" y="2401"/>
                </a:lnTo>
                <a:lnTo>
                  <a:pt x="1739" y="2409"/>
                </a:lnTo>
                <a:lnTo>
                  <a:pt x="1739" y="2413"/>
                </a:lnTo>
                <a:lnTo>
                  <a:pt x="1745" y="2427"/>
                </a:lnTo>
                <a:lnTo>
                  <a:pt x="1747" y="2432"/>
                </a:lnTo>
                <a:lnTo>
                  <a:pt x="1745" y="2435"/>
                </a:lnTo>
                <a:lnTo>
                  <a:pt x="1747" y="2438"/>
                </a:lnTo>
                <a:lnTo>
                  <a:pt x="1744" y="2441"/>
                </a:lnTo>
                <a:lnTo>
                  <a:pt x="1742" y="2450"/>
                </a:lnTo>
                <a:lnTo>
                  <a:pt x="1747" y="2446"/>
                </a:lnTo>
                <a:lnTo>
                  <a:pt x="1754" y="2442"/>
                </a:lnTo>
                <a:lnTo>
                  <a:pt x="1755" y="2439"/>
                </a:lnTo>
                <a:lnTo>
                  <a:pt x="1754" y="2437"/>
                </a:lnTo>
                <a:lnTo>
                  <a:pt x="1761" y="2435"/>
                </a:lnTo>
                <a:lnTo>
                  <a:pt x="1764" y="2432"/>
                </a:lnTo>
                <a:lnTo>
                  <a:pt x="1765" y="2426"/>
                </a:lnTo>
                <a:lnTo>
                  <a:pt x="1759" y="2421"/>
                </a:lnTo>
                <a:lnTo>
                  <a:pt x="1764" y="2419"/>
                </a:lnTo>
                <a:lnTo>
                  <a:pt x="1767" y="2412"/>
                </a:lnTo>
                <a:lnTo>
                  <a:pt x="1780" y="2405"/>
                </a:lnTo>
                <a:lnTo>
                  <a:pt x="1780" y="2401"/>
                </a:lnTo>
                <a:lnTo>
                  <a:pt x="1776" y="2396"/>
                </a:lnTo>
                <a:lnTo>
                  <a:pt x="1786" y="2392"/>
                </a:lnTo>
                <a:lnTo>
                  <a:pt x="1790" y="2388"/>
                </a:lnTo>
                <a:lnTo>
                  <a:pt x="1791" y="2382"/>
                </a:lnTo>
                <a:lnTo>
                  <a:pt x="1795" y="2379"/>
                </a:lnTo>
                <a:lnTo>
                  <a:pt x="1795" y="2371"/>
                </a:lnTo>
                <a:lnTo>
                  <a:pt x="1790" y="2359"/>
                </a:lnTo>
                <a:lnTo>
                  <a:pt x="1784" y="2352"/>
                </a:lnTo>
                <a:lnTo>
                  <a:pt x="1784" y="2344"/>
                </a:lnTo>
                <a:lnTo>
                  <a:pt x="1781" y="2337"/>
                </a:lnTo>
                <a:lnTo>
                  <a:pt x="1791" y="2337"/>
                </a:lnTo>
                <a:lnTo>
                  <a:pt x="1793" y="2340"/>
                </a:lnTo>
                <a:lnTo>
                  <a:pt x="1795" y="2340"/>
                </a:lnTo>
                <a:lnTo>
                  <a:pt x="1795" y="2338"/>
                </a:lnTo>
                <a:lnTo>
                  <a:pt x="1795" y="2327"/>
                </a:lnTo>
                <a:lnTo>
                  <a:pt x="1794" y="2326"/>
                </a:lnTo>
                <a:lnTo>
                  <a:pt x="1794" y="2330"/>
                </a:lnTo>
                <a:lnTo>
                  <a:pt x="1790" y="2329"/>
                </a:lnTo>
                <a:lnTo>
                  <a:pt x="1787" y="2319"/>
                </a:lnTo>
                <a:lnTo>
                  <a:pt x="1789" y="2318"/>
                </a:lnTo>
                <a:lnTo>
                  <a:pt x="1791" y="2318"/>
                </a:lnTo>
                <a:lnTo>
                  <a:pt x="1791" y="2315"/>
                </a:lnTo>
                <a:lnTo>
                  <a:pt x="1798" y="2314"/>
                </a:lnTo>
                <a:lnTo>
                  <a:pt x="1801" y="2315"/>
                </a:lnTo>
                <a:lnTo>
                  <a:pt x="1805" y="2320"/>
                </a:lnTo>
                <a:lnTo>
                  <a:pt x="1808" y="2320"/>
                </a:lnTo>
                <a:lnTo>
                  <a:pt x="1812" y="2326"/>
                </a:lnTo>
                <a:lnTo>
                  <a:pt x="1821" y="2330"/>
                </a:lnTo>
                <a:lnTo>
                  <a:pt x="1826" y="2338"/>
                </a:lnTo>
                <a:lnTo>
                  <a:pt x="1833" y="2340"/>
                </a:lnTo>
                <a:lnTo>
                  <a:pt x="1837" y="2340"/>
                </a:lnTo>
                <a:lnTo>
                  <a:pt x="1839" y="2337"/>
                </a:lnTo>
                <a:lnTo>
                  <a:pt x="1837" y="2334"/>
                </a:lnTo>
                <a:lnTo>
                  <a:pt x="1835" y="2334"/>
                </a:lnTo>
                <a:lnTo>
                  <a:pt x="1836" y="2334"/>
                </a:lnTo>
                <a:lnTo>
                  <a:pt x="1835" y="2332"/>
                </a:lnTo>
                <a:lnTo>
                  <a:pt x="1832" y="2334"/>
                </a:lnTo>
                <a:lnTo>
                  <a:pt x="1830" y="2334"/>
                </a:lnTo>
                <a:lnTo>
                  <a:pt x="1832" y="2330"/>
                </a:lnTo>
                <a:lnTo>
                  <a:pt x="1830" y="2330"/>
                </a:lnTo>
                <a:lnTo>
                  <a:pt x="1830" y="2327"/>
                </a:lnTo>
                <a:lnTo>
                  <a:pt x="1826" y="2326"/>
                </a:lnTo>
                <a:lnTo>
                  <a:pt x="1827" y="2325"/>
                </a:lnTo>
                <a:lnTo>
                  <a:pt x="1827" y="2322"/>
                </a:lnTo>
                <a:lnTo>
                  <a:pt x="1835" y="2327"/>
                </a:lnTo>
                <a:lnTo>
                  <a:pt x="1836" y="2330"/>
                </a:lnTo>
                <a:lnTo>
                  <a:pt x="1837" y="2330"/>
                </a:lnTo>
                <a:lnTo>
                  <a:pt x="1837" y="2334"/>
                </a:lnTo>
                <a:lnTo>
                  <a:pt x="1840" y="2337"/>
                </a:lnTo>
                <a:lnTo>
                  <a:pt x="1840" y="2344"/>
                </a:lnTo>
                <a:lnTo>
                  <a:pt x="1847" y="2348"/>
                </a:lnTo>
                <a:lnTo>
                  <a:pt x="1847" y="2351"/>
                </a:lnTo>
                <a:lnTo>
                  <a:pt x="1849" y="2351"/>
                </a:lnTo>
                <a:lnTo>
                  <a:pt x="1860" y="2352"/>
                </a:lnTo>
                <a:lnTo>
                  <a:pt x="1864" y="2351"/>
                </a:lnTo>
                <a:lnTo>
                  <a:pt x="1860" y="2339"/>
                </a:lnTo>
                <a:lnTo>
                  <a:pt x="1860" y="2334"/>
                </a:lnTo>
                <a:lnTo>
                  <a:pt x="1857" y="2332"/>
                </a:lnTo>
                <a:lnTo>
                  <a:pt x="1854" y="2334"/>
                </a:lnTo>
                <a:lnTo>
                  <a:pt x="1854" y="2330"/>
                </a:lnTo>
                <a:lnTo>
                  <a:pt x="1858" y="2327"/>
                </a:lnTo>
                <a:lnTo>
                  <a:pt x="1860" y="2326"/>
                </a:lnTo>
                <a:lnTo>
                  <a:pt x="1866" y="2327"/>
                </a:lnTo>
                <a:lnTo>
                  <a:pt x="1869" y="2326"/>
                </a:lnTo>
                <a:lnTo>
                  <a:pt x="1869" y="2327"/>
                </a:lnTo>
                <a:lnTo>
                  <a:pt x="1871" y="2327"/>
                </a:lnTo>
                <a:lnTo>
                  <a:pt x="1878" y="2326"/>
                </a:lnTo>
                <a:lnTo>
                  <a:pt x="1878" y="2325"/>
                </a:lnTo>
                <a:lnTo>
                  <a:pt x="1876" y="2323"/>
                </a:lnTo>
                <a:lnTo>
                  <a:pt x="1876" y="2315"/>
                </a:lnTo>
                <a:lnTo>
                  <a:pt x="1875" y="2310"/>
                </a:lnTo>
                <a:lnTo>
                  <a:pt x="1875" y="2305"/>
                </a:lnTo>
                <a:lnTo>
                  <a:pt x="1874" y="2301"/>
                </a:lnTo>
                <a:lnTo>
                  <a:pt x="1872" y="2301"/>
                </a:lnTo>
                <a:lnTo>
                  <a:pt x="1871" y="2302"/>
                </a:lnTo>
                <a:lnTo>
                  <a:pt x="1868" y="2293"/>
                </a:lnTo>
                <a:lnTo>
                  <a:pt x="1876" y="2284"/>
                </a:lnTo>
                <a:lnTo>
                  <a:pt x="1880" y="2284"/>
                </a:lnTo>
                <a:lnTo>
                  <a:pt x="1887" y="2281"/>
                </a:lnTo>
                <a:lnTo>
                  <a:pt x="1883" y="2281"/>
                </a:lnTo>
                <a:lnTo>
                  <a:pt x="1882" y="2280"/>
                </a:lnTo>
                <a:lnTo>
                  <a:pt x="1875" y="2277"/>
                </a:lnTo>
                <a:lnTo>
                  <a:pt x="1876" y="2275"/>
                </a:lnTo>
                <a:lnTo>
                  <a:pt x="1876" y="2273"/>
                </a:lnTo>
                <a:lnTo>
                  <a:pt x="1874" y="2272"/>
                </a:lnTo>
                <a:lnTo>
                  <a:pt x="1872" y="2275"/>
                </a:lnTo>
                <a:lnTo>
                  <a:pt x="1866" y="2272"/>
                </a:lnTo>
                <a:lnTo>
                  <a:pt x="1865" y="2273"/>
                </a:lnTo>
                <a:lnTo>
                  <a:pt x="1864" y="2269"/>
                </a:lnTo>
                <a:lnTo>
                  <a:pt x="1865" y="2269"/>
                </a:lnTo>
                <a:lnTo>
                  <a:pt x="1868" y="2270"/>
                </a:lnTo>
                <a:lnTo>
                  <a:pt x="1879" y="2270"/>
                </a:lnTo>
                <a:lnTo>
                  <a:pt x="1893" y="2278"/>
                </a:lnTo>
                <a:lnTo>
                  <a:pt x="1901" y="2278"/>
                </a:lnTo>
                <a:lnTo>
                  <a:pt x="1911" y="2280"/>
                </a:lnTo>
                <a:lnTo>
                  <a:pt x="1910" y="2307"/>
                </a:lnTo>
                <a:lnTo>
                  <a:pt x="1912" y="2322"/>
                </a:lnTo>
                <a:lnTo>
                  <a:pt x="1919" y="2329"/>
                </a:lnTo>
                <a:lnTo>
                  <a:pt x="1922" y="2329"/>
                </a:lnTo>
                <a:lnTo>
                  <a:pt x="1922" y="2338"/>
                </a:lnTo>
                <a:lnTo>
                  <a:pt x="1925" y="2340"/>
                </a:lnTo>
                <a:lnTo>
                  <a:pt x="1921" y="2348"/>
                </a:lnTo>
                <a:lnTo>
                  <a:pt x="1907" y="2369"/>
                </a:lnTo>
                <a:lnTo>
                  <a:pt x="1901" y="2384"/>
                </a:lnTo>
                <a:lnTo>
                  <a:pt x="1901" y="2387"/>
                </a:lnTo>
                <a:lnTo>
                  <a:pt x="1904" y="2387"/>
                </a:lnTo>
                <a:lnTo>
                  <a:pt x="1905" y="2388"/>
                </a:lnTo>
                <a:lnTo>
                  <a:pt x="1897" y="2400"/>
                </a:lnTo>
                <a:lnTo>
                  <a:pt x="1885" y="2427"/>
                </a:lnTo>
                <a:lnTo>
                  <a:pt x="1879" y="2446"/>
                </a:lnTo>
                <a:lnTo>
                  <a:pt x="1880" y="2455"/>
                </a:lnTo>
                <a:lnTo>
                  <a:pt x="1883" y="2462"/>
                </a:lnTo>
                <a:lnTo>
                  <a:pt x="1879" y="2472"/>
                </a:lnTo>
                <a:lnTo>
                  <a:pt x="1875" y="2493"/>
                </a:lnTo>
                <a:lnTo>
                  <a:pt x="1876" y="2503"/>
                </a:lnTo>
                <a:lnTo>
                  <a:pt x="1880" y="2505"/>
                </a:lnTo>
                <a:lnTo>
                  <a:pt x="1879" y="2521"/>
                </a:lnTo>
                <a:lnTo>
                  <a:pt x="1880" y="2528"/>
                </a:lnTo>
                <a:lnTo>
                  <a:pt x="1880" y="2534"/>
                </a:lnTo>
                <a:lnTo>
                  <a:pt x="1871" y="2550"/>
                </a:lnTo>
                <a:lnTo>
                  <a:pt x="1862" y="2571"/>
                </a:lnTo>
                <a:lnTo>
                  <a:pt x="1854" y="2584"/>
                </a:lnTo>
                <a:lnTo>
                  <a:pt x="1826" y="2613"/>
                </a:lnTo>
                <a:lnTo>
                  <a:pt x="1822" y="2621"/>
                </a:lnTo>
                <a:lnTo>
                  <a:pt x="1821" y="2630"/>
                </a:lnTo>
                <a:lnTo>
                  <a:pt x="1818" y="2634"/>
                </a:lnTo>
                <a:lnTo>
                  <a:pt x="1808" y="2648"/>
                </a:lnTo>
                <a:lnTo>
                  <a:pt x="1790" y="2671"/>
                </a:lnTo>
                <a:lnTo>
                  <a:pt x="1754" y="2712"/>
                </a:lnTo>
                <a:lnTo>
                  <a:pt x="1744" y="2724"/>
                </a:lnTo>
                <a:lnTo>
                  <a:pt x="1705" y="2770"/>
                </a:lnTo>
                <a:lnTo>
                  <a:pt x="1692" y="2787"/>
                </a:lnTo>
                <a:lnTo>
                  <a:pt x="1661" y="2816"/>
                </a:lnTo>
                <a:lnTo>
                  <a:pt x="1654" y="2827"/>
                </a:lnTo>
                <a:lnTo>
                  <a:pt x="1644" y="2840"/>
                </a:lnTo>
                <a:lnTo>
                  <a:pt x="1641" y="2846"/>
                </a:lnTo>
                <a:lnTo>
                  <a:pt x="1640" y="2857"/>
                </a:lnTo>
                <a:lnTo>
                  <a:pt x="1641" y="2865"/>
                </a:lnTo>
                <a:lnTo>
                  <a:pt x="1640" y="2869"/>
                </a:lnTo>
                <a:lnTo>
                  <a:pt x="1614" y="2891"/>
                </a:lnTo>
                <a:lnTo>
                  <a:pt x="1605" y="2903"/>
                </a:lnTo>
                <a:lnTo>
                  <a:pt x="1598" y="2914"/>
                </a:lnTo>
                <a:lnTo>
                  <a:pt x="1580" y="2928"/>
                </a:lnTo>
                <a:lnTo>
                  <a:pt x="1563" y="2937"/>
                </a:lnTo>
                <a:lnTo>
                  <a:pt x="1533" y="2956"/>
                </a:lnTo>
                <a:lnTo>
                  <a:pt x="1479" y="2983"/>
                </a:lnTo>
                <a:lnTo>
                  <a:pt x="1406" y="3011"/>
                </a:lnTo>
                <a:lnTo>
                  <a:pt x="1341" y="3043"/>
                </a:lnTo>
                <a:lnTo>
                  <a:pt x="1287" y="3062"/>
                </a:lnTo>
                <a:lnTo>
                  <a:pt x="1209" y="3087"/>
                </a:lnTo>
                <a:lnTo>
                  <a:pt x="1118" y="3117"/>
                </a:lnTo>
                <a:lnTo>
                  <a:pt x="1108" y="3119"/>
                </a:lnTo>
                <a:lnTo>
                  <a:pt x="1105" y="3123"/>
                </a:lnTo>
                <a:lnTo>
                  <a:pt x="1089" y="3128"/>
                </a:lnTo>
                <a:lnTo>
                  <a:pt x="1086" y="3131"/>
                </a:lnTo>
                <a:lnTo>
                  <a:pt x="1081" y="3134"/>
                </a:lnTo>
                <a:lnTo>
                  <a:pt x="1055" y="3140"/>
                </a:lnTo>
                <a:lnTo>
                  <a:pt x="1024" y="3095"/>
                </a:lnTo>
                <a:lnTo>
                  <a:pt x="915" y="3086"/>
                </a:lnTo>
                <a:lnTo>
                  <a:pt x="915" y="3043"/>
                </a:lnTo>
                <a:lnTo>
                  <a:pt x="914" y="3018"/>
                </a:lnTo>
                <a:lnTo>
                  <a:pt x="1035" y="2957"/>
                </a:lnTo>
                <a:lnTo>
                  <a:pt x="1006" y="2923"/>
                </a:lnTo>
                <a:lnTo>
                  <a:pt x="996" y="2915"/>
                </a:lnTo>
                <a:lnTo>
                  <a:pt x="985" y="2902"/>
                </a:lnTo>
                <a:lnTo>
                  <a:pt x="981" y="2895"/>
                </a:lnTo>
                <a:lnTo>
                  <a:pt x="976" y="2886"/>
                </a:lnTo>
                <a:lnTo>
                  <a:pt x="972" y="2882"/>
                </a:lnTo>
                <a:lnTo>
                  <a:pt x="957" y="2881"/>
                </a:lnTo>
                <a:lnTo>
                  <a:pt x="957" y="2879"/>
                </a:lnTo>
                <a:lnTo>
                  <a:pt x="1018" y="2817"/>
                </a:lnTo>
                <a:lnTo>
                  <a:pt x="1018" y="2815"/>
                </a:lnTo>
                <a:lnTo>
                  <a:pt x="1016" y="2812"/>
                </a:lnTo>
                <a:lnTo>
                  <a:pt x="1007" y="2811"/>
                </a:lnTo>
                <a:lnTo>
                  <a:pt x="993" y="2817"/>
                </a:lnTo>
                <a:lnTo>
                  <a:pt x="982" y="2817"/>
                </a:lnTo>
                <a:lnTo>
                  <a:pt x="972" y="2821"/>
                </a:lnTo>
                <a:lnTo>
                  <a:pt x="965" y="2821"/>
                </a:lnTo>
                <a:lnTo>
                  <a:pt x="953" y="2822"/>
                </a:lnTo>
                <a:lnTo>
                  <a:pt x="942" y="2828"/>
                </a:lnTo>
                <a:lnTo>
                  <a:pt x="939" y="2832"/>
                </a:lnTo>
                <a:lnTo>
                  <a:pt x="937" y="2834"/>
                </a:lnTo>
                <a:lnTo>
                  <a:pt x="926" y="2837"/>
                </a:lnTo>
                <a:lnTo>
                  <a:pt x="925" y="2837"/>
                </a:lnTo>
                <a:lnTo>
                  <a:pt x="921" y="2834"/>
                </a:lnTo>
                <a:lnTo>
                  <a:pt x="917" y="2834"/>
                </a:lnTo>
                <a:lnTo>
                  <a:pt x="910" y="2836"/>
                </a:lnTo>
                <a:lnTo>
                  <a:pt x="901" y="2841"/>
                </a:lnTo>
                <a:lnTo>
                  <a:pt x="898" y="2841"/>
                </a:lnTo>
                <a:lnTo>
                  <a:pt x="893" y="2839"/>
                </a:lnTo>
                <a:lnTo>
                  <a:pt x="889" y="2839"/>
                </a:lnTo>
                <a:lnTo>
                  <a:pt x="879" y="2845"/>
                </a:lnTo>
                <a:lnTo>
                  <a:pt x="872" y="2846"/>
                </a:lnTo>
                <a:lnTo>
                  <a:pt x="851" y="2853"/>
                </a:lnTo>
                <a:lnTo>
                  <a:pt x="848" y="2856"/>
                </a:lnTo>
                <a:lnTo>
                  <a:pt x="847" y="2861"/>
                </a:lnTo>
                <a:lnTo>
                  <a:pt x="839" y="2862"/>
                </a:lnTo>
                <a:lnTo>
                  <a:pt x="837" y="2865"/>
                </a:lnTo>
                <a:lnTo>
                  <a:pt x="833" y="2865"/>
                </a:lnTo>
                <a:lnTo>
                  <a:pt x="831" y="2862"/>
                </a:lnTo>
                <a:lnTo>
                  <a:pt x="825" y="2864"/>
                </a:lnTo>
                <a:lnTo>
                  <a:pt x="823" y="2865"/>
                </a:lnTo>
                <a:lnTo>
                  <a:pt x="815" y="2865"/>
                </a:lnTo>
                <a:lnTo>
                  <a:pt x="812" y="2869"/>
                </a:lnTo>
                <a:lnTo>
                  <a:pt x="806" y="2873"/>
                </a:lnTo>
                <a:lnTo>
                  <a:pt x="798" y="2873"/>
                </a:lnTo>
                <a:lnTo>
                  <a:pt x="794" y="2876"/>
                </a:lnTo>
                <a:lnTo>
                  <a:pt x="790" y="2879"/>
                </a:lnTo>
                <a:lnTo>
                  <a:pt x="789" y="2878"/>
                </a:lnTo>
                <a:lnTo>
                  <a:pt x="751" y="2824"/>
                </a:lnTo>
                <a:lnTo>
                  <a:pt x="735" y="2809"/>
                </a:lnTo>
                <a:lnTo>
                  <a:pt x="722" y="2794"/>
                </a:lnTo>
                <a:lnTo>
                  <a:pt x="716" y="2787"/>
                </a:lnTo>
                <a:lnTo>
                  <a:pt x="715" y="2782"/>
                </a:lnTo>
                <a:lnTo>
                  <a:pt x="708" y="2775"/>
                </a:lnTo>
                <a:lnTo>
                  <a:pt x="690" y="2749"/>
                </a:lnTo>
                <a:lnTo>
                  <a:pt x="673" y="2730"/>
                </a:lnTo>
                <a:lnTo>
                  <a:pt x="675" y="2647"/>
                </a:lnTo>
                <a:lnTo>
                  <a:pt x="673" y="2605"/>
                </a:lnTo>
                <a:lnTo>
                  <a:pt x="671" y="2519"/>
                </a:lnTo>
                <a:lnTo>
                  <a:pt x="663" y="2517"/>
                </a:lnTo>
                <a:lnTo>
                  <a:pt x="661" y="2509"/>
                </a:lnTo>
                <a:lnTo>
                  <a:pt x="652" y="2504"/>
                </a:lnTo>
                <a:lnTo>
                  <a:pt x="644" y="2508"/>
                </a:lnTo>
                <a:lnTo>
                  <a:pt x="637" y="2505"/>
                </a:lnTo>
                <a:lnTo>
                  <a:pt x="632" y="2509"/>
                </a:lnTo>
                <a:lnTo>
                  <a:pt x="626" y="2509"/>
                </a:lnTo>
                <a:lnTo>
                  <a:pt x="625" y="2506"/>
                </a:lnTo>
                <a:lnTo>
                  <a:pt x="625" y="2498"/>
                </a:lnTo>
                <a:lnTo>
                  <a:pt x="623" y="2498"/>
                </a:lnTo>
                <a:lnTo>
                  <a:pt x="623" y="2494"/>
                </a:lnTo>
                <a:lnTo>
                  <a:pt x="621" y="2493"/>
                </a:lnTo>
                <a:lnTo>
                  <a:pt x="622" y="2491"/>
                </a:lnTo>
                <a:lnTo>
                  <a:pt x="616" y="2480"/>
                </a:lnTo>
                <a:lnTo>
                  <a:pt x="615" y="2472"/>
                </a:lnTo>
                <a:lnTo>
                  <a:pt x="612" y="2468"/>
                </a:lnTo>
                <a:lnTo>
                  <a:pt x="612" y="2464"/>
                </a:lnTo>
                <a:lnTo>
                  <a:pt x="618" y="2464"/>
                </a:lnTo>
                <a:lnTo>
                  <a:pt x="621" y="2459"/>
                </a:lnTo>
                <a:lnTo>
                  <a:pt x="619" y="2455"/>
                </a:lnTo>
                <a:lnTo>
                  <a:pt x="615" y="2454"/>
                </a:lnTo>
                <a:lnTo>
                  <a:pt x="613" y="2450"/>
                </a:lnTo>
                <a:lnTo>
                  <a:pt x="612" y="2448"/>
                </a:lnTo>
                <a:lnTo>
                  <a:pt x="615" y="2446"/>
                </a:lnTo>
                <a:lnTo>
                  <a:pt x="619" y="2444"/>
                </a:lnTo>
                <a:lnTo>
                  <a:pt x="621" y="2443"/>
                </a:lnTo>
                <a:lnTo>
                  <a:pt x="625" y="2437"/>
                </a:lnTo>
                <a:lnTo>
                  <a:pt x="622" y="2434"/>
                </a:lnTo>
                <a:lnTo>
                  <a:pt x="619" y="2435"/>
                </a:lnTo>
                <a:lnTo>
                  <a:pt x="616" y="2435"/>
                </a:lnTo>
                <a:lnTo>
                  <a:pt x="613" y="2434"/>
                </a:lnTo>
                <a:lnTo>
                  <a:pt x="612" y="2430"/>
                </a:lnTo>
                <a:lnTo>
                  <a:pt x="613" y="2427"/>
                </a:lnTo>
                <a:lnTo>
                  <a:pt x="618" y="2423"/>
                </a:lnTo>
                <a:lnTo>
                  <a:pt x="621" y="2417"/>
                </a:lnTo>
                <a:lnTo>
                  <a:pt x="618" y="2409"/>
                </a:lnTo>
                <a:lnTo>
                  <a:pt x="618" y="2401"/>
                </a:lnTo>
                <a:lnTo>
                  <a:pt x="615" y="2400"/>
                </a:lnTo>
                <a:lnTo>
                  <a:pt x="611" y="2397"/>
                </a:lnTo>
                <a:lnTo>
                  <a:pt x="613" y="2394"/>
                </a:lnTo>
                <a:lnTo>
                  <a:pt x="612" y="2392"/>
                </a:lnTo>
                <a:lnTo>
                  <a:pt x="615" y="2389"/>
                </a:lnTo>
                <a:lnTo>
                  <a:pt x="616" y="2388"/>
                </a:lnTo>
                <a:lnTo>
                  <a:pt x="619" y="2384"/>
                </a:lnTo>
                <a:lnTo>
                  <a:pt x="611" y="2377"/>
                </a:lnTo>
                <a:lnTo>
                  <a:pt x="608" y="2372"/>
                </a:lnTo>
                <a:lnTo>
                  <a:pt x="611" y="2368"/>
                </a:lnTo>
                <a:lnTo>
                  <a:pt x="612" y="2364"/>
                </a:lnTo>
                <a:lnTo>
                  <a:pt x="609" y="2364"/>
                </a:lnTo>
                <a:lnTo>
                  <a:pt x="605" y="2362"/>
                </a:lnTo>
                <a:lnTo>
                  <a:pt x="605" y="2356"/>
                </a:lnTo>
                <a:lnTo>
                  <a:pt x="602" y="2352"/>
                </a:lnTo>
                <a:lnTo>
                  <a:pt x="604" y="2352"/>
                </a:lnTo>
                <a:lnTo>
                  <a:pt x="605" y="2352"/>
                </a:lnTo>
                <a:lnTo>
                  <a:pt x="607" y="2351"/>
                </a:lnTo>
                <a:lnTo>
                  <a:pt x="605" y="2350"/>
                </a:lnTo>
                <a:lnTo>
                  <a:pt x="607" y="2348"/>
                </a:lnTo>
                <a:lnTo>
                  <a:pt x="611" y="2350"/>
                </a:lnTo>
                <a:lnTo>
                  <a:pt x="611" y="2347"/>
                </a:lnTo>
                <a:lnTo>
                  <a:pt x="621" y="2344"/>
                </a:lnTo>
                <a:lnTo>
                  <a:pt x="626" y="2342"/>
                </a:lnTo>
                <a:lnTo>
                  <a:pt x="629" y="2339"/>
                </a:lnTo>
                <a:lnTo>
                  <a:pt x="627" y="2334"/>
                </a:lnTo>
                <a:lnTo>
                  <a:pt x="622" y="2334"/>
                </a:lnTo>
                <a:lnTo>
                  <a:pt x="622" y="2332"/>
                </a:lnTo>
                <a:lnTo>
                  <a:pt x="618" y="2330"/>
                </a:lnTo>
                <a:lnTo>
                  <a:pt x="616" y="2329"/>
                </a:lnTo>
                <a:lnTo>
                  <a:pt x="612" y="2329"/>
                </a:lnTo>
                <a:lnTo>
                  <a:pt x="612" y="2325"/>
                </a:lnTo>
                <a:lnTo>
                  <a:pt x="615" y="2322"/>
                </a:lnTo>
                <a:lnTo>
                  <a:pt x="612" y="2319"/>
                </a:lnTo>
                <a:lnTo>
                  <a:pt x="611" y="2319"/>
                </a:lnTo>
                <a:lnTo>
                  <a:pt x="607" y="2314"/>
                </a:lnTo>
                <a:lnTo>
                  <a:pt x="609" y="2310"/>
                </a:lnTo>
                <a:lnTo>
                  <a:pt x="611" y="2312"/>
                </a:lnTo>
                <a:lnTo>
                  <a:pt x="613" y="2310"/>
                </a:lnTo>
                <a:lnTo>
                  <a:pt x="615" y="2305"/>
                </a:lnTo>
                <a:lnTo>
                  <a:pt x="619" y="2303"/>
                </a:lnTo>
                <a:lnTo>
                  <a:pt x="618" y="2302"/>
                </a:lnTo>
                <a:lnTo>
                  <a:pt x="618" y="2300"/>
                </a:lnTo>
                <a:lnTo>
                  <a:pt x="616" y="2301"/>
                </a:lnTo>
                <a:lnTo>
                  <a:pt x="613" y="2298"/>
                </a:lnTo>
                <a:lnTo>
                  <a:pt x="616" y="2295"/>
                </a:lnTo>
                <a:lnTo>
                  <a:pt x="616" y="2293"/>
                </a:lnTo>
                <a:lnTo>
                  <a:pt x="619" y="2289"/>
                </a:lnTo>
                <a:lnTo>
                  <a:pt x="616" y="2285"/>
                </a:lnTo>
                <a:lnTo>
                  <a:pt x="618" y="2281"/>
                </a:lnTo>
                <a:lnTo>
                  <a:pt x="615" y="2278"/>
                </a:lnTo>
                <a:lnTo>
                  <a:pt x="615" y="2276"/>
                </a:lnTo>
                <a:lnTo>
                  <a:pt x="613" y="2275"/>
                </a:lnTo>
                <a:lnTo>
                  <a:pt x="612" y="2270"/>
                </a:lnTo>
                <a:lnTo>
                  <a:pt x="608" y="2269"/>
                </a:lnTo>
                <a:lnTo>
                  <a:pt x="608" y="2267"/>
                </a:lnTo>
                <a:lnTo>
                  <a:pt x="608" y="2265"/>
                </a:lnTo>
                <a:lnTo>
                  <a:pt x="615" y="2258"/>
                </a:lnTo>
                <a:lnTo>
                  <a:pt x="615" y="2253"/>
                </a:lnTo>
                <a:lnTo>
                  <a:pt x="618" y="2251"/>
                </a:lnTo>
                <a:lnTo>
                  <a:pt x="618" y="2248"/>
                </a:lnTo>
                <a:lnTo>
                  <a:pt x="616" y="2245"/>
                </a:lnTo>
                <a:lnTo>
                  <a:pt x="618" y="2240"/>
                </a:lnTo>
                <a:lnTo>
                  <a:pt x="623" y="2235"/>
                </a:lnTo>
                <a:lnTo>
                  <a:pt x="621" y="2231"/>
                </a:lnTo>
                <a:lnTo>
                  <a:pt x="622" y="2225"/>
                </a:lnTo>
                <a:lnTo>
                  <a:pt x="618" y="2222"/>
                </a:lnTo>
                <a:lnTo>
                  <a:pt x="621" y="2219"/>
                </a:lnTo>
                <a:lnTo>
                  <a:pt x="626" y="2218"/>
                </a:lnTo>
                <a:lnTo>
                  <a:pt x="626" y="2214"/>
                </a:lnTo>
                <a:lnTo>
                  <a:pt x="629" y="2213"/>
                </a:lnTo>
                <a:lnTo>
                  <a:pt x="636" y="2213"/>
                </a:lnTo>
                <a:lnTo>
                  <a:pt x="638" y="2211"/>
                </a:lnTo>
                <a:lnTo>
                  <a:pt x="638" y="2208"/>
                </a:lnTo>
                <a:lnTo>
                  <a:pt x="637" y="2207"/>
                </a:lnTo>
                <a:lnTo>
                  <a:pt x="633" y="2206"/>
                </a:lnTo>
                <a:lnTo>
                  <a:pt x="632" y="2205"/>
                </a:lnTo>
                <a:lnTo>
                  <a:pt x="630" y="2205"/>
                </a:lnTo>
                <a:lnTo>
                  <a:pt x="632" y="2202"/>
                </a:lnTo>
                <a:lnTo>
                  <a:pt x="633" y="2202"/>
                </a:lnTo>
                <a:lnTo>
                  <a:pt x="634" y="2199"/>
                </a:lnTo>
                <a:lnTo>
                  <a:pt x="634" y="2194"/>
                </a:lnTo>
                <a:lnTo>
                  <a:pt x="629" y="2195"/>
                </a:lnTo>
                <a:lnTo>
                  <a:pt x="625" y="2194"/>
                </a:lnTo>
                <a:lnTo>
                  <a:pt x="626" y="2188"/>
                </a:lnTo>
                <a:lnTo>
                  <a:pt x="627" y="2186"/>
                </a:lnTo>
                <a:lnTo>
                  <a:pt x="622" y="2180"/>
                </a:lnTo>
                <a:lnTo>
                  <a:pt x="621" y="2169"/>
                </a:lnTo>
                <a:lnTo>
                  <a:pt x="615" y="2169"/>
                </a:lnTo>
                <a:lnTo>
                  <a:pt x="609" y="2177"/>
                </a:lnTo>
                <a:lnTo>
                  <a:pt x="599" y="2181"/>
                </a:lnTo>
                <a:lnTo>
                  <a:pt x="596" y="2181"/>
                </a:lnTo>
                <a:lnTo>
                  <a:pt x="594" y="2178"/>
                </a:lnTo>
                <a:lnTo>
                  <a:pt x="587" y="2177"/>
                </a:lnTo>
                <a:lnTo>
                  <a:pt x="587" y="2174"/>
                </a:lnTo>
                <a:lnTo>
                  <a:pt x="593" y="2173"/>
                </a:lnTo>
                <a:lnTo>
                  <a:pt x="594" y="2171"/>
                </a:lnTo>
                <a:lnTo>
                  <a:pt x="597" y="2169"/>
                </a:lnTo>
                <a:lnTo>
                  <a:pt x="597" y="2165"/>
                </a:lnTo>
                <a:lnTo>
                  <a:pt x="598" y="2165"/>
                </a:lnTo>
                <a:lnTo>
                  <a:pt x="601" y="2165"/>
                </a:lnTo>
                <a:lnTo>
                  <a:pt x="604" y="2165"/>
                </a:lnTo>
                <a:lnTo>
                  <a:pt x="604" y="2161"/>
                </a:lnTo>
                <a:lnTo>
                  <a:pt x="601" y="2161"/>
                </a:lnTo>
                <a:lnTo>
                  <a:pt x="604" y="2157"/>
                </a:lnTo>
                <a:lnTo>
                  <a:pt x="602" y="2155"/>
                </a:lnTo>
                <a:lnTo>
                  <a:pt x="607" y="2152"/>
                </a:lnTo>
                <a:lnTo>
                  <a:pt x="608" y="2149"/>
                </a:lnTo>
                <a:lnTo>
                  <a:pt x="609" y="2151"/>
                </a:lnTo>
                <a:lnTo>
                  <a:pt x="611" y="2149"/>
                </a:lnTo>
                <a:lnTo>
                  <a:pt x="613" y="2146"/>
                </a:lnTo>
                <a:lnTo>
                  <a:pt x="618" y="2145"/>
                </a:lnTo>
                <a:lnTo>
                  <a:pt x="618" y="2141"/>
                </a:lnTo>
                <a:lnTo>
                  <a:pt x="621" y="2140"/>
                </a:lnTo>
                <a:lnTo>
                  <a:pt x="616" y="2136"/>
                </a:lnTo>
                <a:lnTo>
                  <a:pt x="616" y="2129"/>
                </a:lnTo>
                <a:lnTo>
                  <a:pt x="618" y="2126"/>
                </a:lnTo>
                <a:lnTo>
                  <a:pt x="625" y="2123"/>
                </a:lnTo>
                <a:lnTo>
                  <a:pt x="630" y="2116"/>
                </a:lnTo>
                <a:lnTo>
                  <a:pt x="632" y="2112"/>
                </a:lnTo>
                <a:lnTo>
                  <a:pt x="629" y="2112"/>
                </a:lnTo>
                <a:lnTo>
                  <a:pt x="622" y="2112"/>
                </a:lnTo>
                <a:lnTo>
                  <a:pt x="619" y="2108"/>
                </a:lnTo>
                <a:lnTo>
                  <a:pt x="615" y="2108"/>
                </a:lnTo>
                <a:lnTo>
                  <a:pt x="616" y="2103"/>
                </a:lnTo>
                <a:lnTo>
                  <a:pt x="622" y="2098"/>
                </a:lnTo>
                <a:lnTo>
                  <a:pt x="622" y="2096"/>
                </a:lnTo>
                <a:lnTo>
                  <a:pt x="623" y="2096"/>
                </a:lnTo>
                <a:lnTo>
                  <a:pt x="627" y="2094"/>
                </a:lnTo>
                <a:lnTo>
                  <a:pt x="630" y="2093"/>
                </a:lnTo>
                <a:lnTo>
                  <a:pt x="630" y="2089"/>
                </a:lnTo>
                <a:lnTo>
                  <a:pt x="634" y="2086"/>
                </a:lnTo>
                <a:lnTo>
                  <a:pt x="634" y="2084"/>
                </a:lnTo>
                <a:lnTo>
                  <a:pt x="633" y="2082"/>
                </a:lnTo>
                <a:lnTo>
                  <a:pt x="629" y="2082"/>
                </a:lnTo>
                <a:lnTo>
                  <a:pt x="625" y="2076"/>
                </a:lnTo>
                <a:lnTo>
                  <a:pt x="622" y="2076"/>
                </a:lnTo>
                <a:lnTo>
                  <a:pt x="622" y="2074"/>
                </a:lnTo>
                <a:lnTo>
                  <a:pt x="621" y="2071"/>
                </a:lnTo>
                <a:lnTo>
                  <a:pt x="619" y="2071"/>
                </a:lnTo>
                <a:lnTo>
                  <a:pt x="618" y="2070"/>
                </a:lnTo>
                <a:lnTo>
                  <a:pt x="619" y="2068"/>
                </a:lnTo>
                <a:lnTo>
                  <a:pt x="621" y="2069"/>
                </a:lnTo>
                <a:lnTo>
                  <a:pt x="622" y="2069"/>
                </a:lnTo>
                <a:lnTo>
                  <a:pt x="623" y="2069"/>
                </a:lnTo>
                <a:lnTo>
                  <a:pt x="625" y="2065"/>
                </a:lnTo>
                <a:lnTo>
                  <a:pt x="623" y="2064"/>
                </a:lnTo>
                <a:lnTo>
                  <a:pt x="623" y="2061"/>
                </a:lnTo>
                <a:lnTo>
                  <a:pt x="621" y="2062"/>
                </a:lnTo>
                <a:lnTo>
                  <a:pt x="619" y="2062"/>
                </a:lnTo>
                <a:lnTo>
                  <a:pt x="621" y="2059"/>
                </a:lnTo>
                <a:lnTo>
                  <a:pt x="619" y="2053"/>
                </a:lnTo>
                <a:lnTo>
                  <a:pt x="615" y="2052"/>
                </a:lnTo>
                <a:lnTo>
                  <a:pt x="613" y="2049"/>
                </a:lnTo>
                <a:lnTo>
                  <a:pt x="613" y="2045"/>
                </a:lnTo>
                <a:lnTo>
                  <a:pt x="616" y="2044"/>
                </a:lnTo>
                <a:lnTo>
                  <a:pt x="618" y="2042"/>
                </a:lnTo>
                <a:lnTo>
                  <a:pt x="615" y="2033"/>
                </a:lnTo>
                <a:lnTo>
                  <a:pt x="609" y="2031"/>
                </a:lnTo>
                <a:lnTo>
                  <a:pt x="605" y="2032"/>
                </a:lnTo>
                <a:lnTo>
                  <a:pt x="601" y="2029"/>
                </a:lnTo>
                <a:lnTo>
                  <a:pt x="598" y="2031"/>
                </a:lnTo>
                <a:lnTo>
                  <a:pt x="598" y="2032"/>
                </a:lnTo>
                <a:lnTo>
                  <a:pt x="598" y="2033"/>
                </a:lnTo>
                <a:lnTo>
                  <a:pt x="591" y="2034"/>
                </a:lnTo>
                <a:lnTo>
                  <a:pt x="586" y="2033"/>
                </a:lnTo>
                <a:lnTo>
                  <a:pt x="584" y="2027"/>
                </a:lnTo>
                <a:lnTo>
                  <a:pt x="586" y="2026"/>
                </a:lnTo>
                <a:lnTo>
                  <a:pt x="584" y="2023"/>
                </a:lnTo>
                <a:lnTo>
                  <a:pt x="583" y="2016"/>
                </a:lnTo>
                <a:lnTo>
                  <a:pt x="586" y="2014"/>
                </a:lnTo>
                <a:lnTo>
                  <a:pt x="586" y="2011"/>
                </a:lnTo>
                <a:lnTo>
                  <a:pt x="582" y="2004"/>
                </a:lnTo>
                <a:lnTo>
                  <a:pt x="583" y="2000"/>
                </a:lnTo>
                <a:lnTo>
                  <a:pt x="580" y="2000"/>
                </a:lnTo>
                <a:lnTo>
                  <a:pt x="580" y="1996"/>
                </a:lnTo>
                <a:lnTo>
                  <a:pt x="577" y="1994"/>
                </a:lnTo>
                <a:lnTo>
                  <a:pt x="574" y="1996"/>
                </a:lnTo>
                <a:lnTo>
                  <a:pt x="573" y="1996"/>
                </a:lnTo>
                <a:lnTo>
                  <a:pt x="572" y="1994"/>
                </a:lnTo>
                <a:lnTo>
                  <a:pt x="568" y="1994"/>
                </a:lnTo>
                <a:lnTo>
                  <a:pt x="565" y="1990"/>
                </a:lnTo>
                <a:lnTo>
                  <a:pt x="565" y="1989"/>
                </a:lnTo>
                <a:lnTo>
                  <a:pt x="566" y="1984"/>
                </a:lnTo>
                <a:lnTo>
                  <a:pt x="563" y="1982"/>
                </a:lnTo>
                <a:lnTo>
                  <a:pt x="563" y="1978"/>
                </a:lnTo>
                <a:lnTo>
                  <a:pt x="568" y="1975"/>
                </a:lnTo>
                <a:lnTo>
                  <a:pt x="566" y="1973"/>
                </a:lnTo>
                <a:lnTo>
                  <a:pt x="566" y="1971"/>
                </a:lnTo>
                <a:lnTo>
                  <a:pt x="569" y="1970"/>
                </a:lnTo>
                <a:lnTo>
                  <a:pt x="569" y="1969"/>
                </a:lnTo>
                <a:lnTo>
                  <a:pt x="569" y="1967"/>
                </a:lnTo>
                <a:lnTo>
                  <a:pt x="562" y="1965"/>
                </a:lnTo>
                <a:lnTo>
                  <a:pt x="559" y="1962"/>
                </a:lnTo>
                <a:lnTo>
                  <a:pt x="549" y="1962"/>
                </a:lnTo>
                <a:lnTo>
                  <a:pt x="547" y="1959"/>
                </a:lnTo>
                <a:lnTo>
                  <a:pt x="548" y="1955"/>
                </a:lnTo>
                <a:lnTo>
                  <a:pt x="552" y="1946"/>
                </a:lnTo>
                <a:lnTo>
                  <a:pt x="551" y="1944"/>
                </a:lnTo>
                <a:lnTo>
                  <a:pt x="552" y="1941"/>
                </a:lnTo>
                <a:lnTo>
                  <a:pt x="549" y="1939"/>
                </a:lnTo>
                <a:lnTo>
                  <a:pt x="548" y="1933"/>
                </a:lnTo>
                <a:lnTo>
                  <a:pt x="548" y="1929"/>
                </a:lnTo>
                <a:lnTo>
                  <a:pt x="549" y="1928"/>
                </a:lnTo>
                <a:lnTo>
                  <a:pt x="552" y="1925"/>
                </a:lnTo>
                <a:lnTo>
                  <a:pt x="558" y="1925"/>
                </a:lnTo>
                <a:lnTo>
                  <a:pt x="561" y="1928"/>
                </a:lnTo>
                <a:lnTo>
                  <a:pt x="562" y="1933"/>
                </a:lnTo>
                <a:lnTo>
                  <a:pt x="569" y="1933"/>
                </a:lnTo>
                <a:lnTo>
                  <a:pt x="571" y="1932"/>
                </a:lnTo>
                <a:lnTo>
                  <a:pt x="572" y="1928"/>
                </a:lnTo>
                <a:lnTo>
                  <a:pt x="574" y="1927"/>
                </a:lnTo>
                <a:lnTo>
                  <a:pt x="574" y="1925"/>
                </a:lnTo>
                <a:lnTo>
                  <a:pt x="569" y="1923"/>
                </a:lnTo>
                <a:lnTo>
                  <a:pt x="572" y="1917"/>
                </a:lnTo>
                <a:lnTo>
                  <a:pt x="573" y="1917"/>
                </a:lnTo>
                <a:lnTo>
                  <a:pt x="576" y="1919"/>
                </a:lnTo>
                <a:lnTo>
                  <a:pt x="583" y="1921"/>
                </a:lnTo>
                <a:lnTo>
                  <a:pt x="587" y="1920"/>
                </a:lnTo>
                <a:lnTo>
                  <a:pt x="594" y="1915"/>
                </a:lnTo>
                <a:lnTo>
                  <a:pt x="596" y="1905"/>
                </a:lnTo>
                <a:lnTo>
                  <a:pt x="594" y="1904"/>
                </a:lnTo>
                <a:lnTo>
                  <a:pt x="591" y="1904"/>
                </a:lnTo>
                <a:lnTo>
                  <a:pt x="584" y="1905"/>
                </a:lnTo>
                <a:lnTo>
                  <a:pt x="577" y="1907"/>
                </a:lnTo>
                <a:lnTo>
                  <a:pt x="572" y="1903"/>
                </a:lnTo>
                <a:lnTo>
                  <a:pt x="572" y="1900"/>
                </a:lnTo>
                <a:lnTo>
                  <a:pt x="574" y="1900"/>
                </a:lnTo>
                <a:lnTo>
                  <a:pt x="574" y="1899"/>
                </a:lnTo>
                <a:lnTo>
                  <a:pt x="571" y="1896"/>
                </a:lnTo>
                <a:lnTo>
                  <a:pt x="572" y="1888"/>
                </a:lnTo>
                <a:lnTo>
                  <a:pt x="568" y="1884"/>
                </a:lnTo>
                <a:lnTo>
                  <a:pt x="566" y="1879"/>
                </a:lnTo>
                <a:lnTo>
                  <a:pt x="568" y="1874"/>
                </a:lnTo>
                <a:lnTo>
                  <a:pt x="572" y="1870"/>
                </a:lnTo>
                <a:lnTo>
                  <a:pt x="571" y="1866"/>
                </a:lnTo>
                <a:lnTo>
                  <a:pt x="571" y="1862"/>
                </a:lnTo>
                <a:lnTo>
                  <a:pt x="574" y="1862"/>
                </a:lnTo>
                <a:lnTo>
                  <a:pt x="576" y="1858"/>
                </a:lnTo>
                <a:lnTo>
                  <a:pt x="571" y="1853"/>
                </a:lnTo>
                <a:lnTo>
                  <a:pt x="568" y="1846"/>
                </a:lnTo>
                <a:lnTo>
                  <a:pt x="565" y="1843"/>
                </a:lnTo>
                <a:lnTo>
                  <a:pt x="563" y="1840"/>
                </a:lnTo>
                <a:lnTo>
                  <a:pt x="561" y="1840"/>
                </a:lnTo>
                <a:lnTo>
                  <a:pt x="557" y="1840"/>
                </a:lnTo>
                <a:lnTo>
                  <a:pt x="552" y="1840"/>
                </a:lnTo>
                <a:lnTo>
                  <a:pt x="549" y="1836"/>
                </a:lnTo>
                <a:lnTo>
                  <a:pt x="548" y="1833"/>
                </a:lnTo>
                <a:lnTo>
                  <a:pt x="551" y="1830"/>
                </a:lnTo>
                <a:lnTo>
                  <a:pt x="554" y="1824"/>
                </a:lnTo>
                <a:lnTo>
                  <a:pt x="551" y="1820"/>
                </a:lnTo>
                <a:lnTo>
                  <a:pt x="551" y="1812"/>
                </a:lnTo>
                <a:lnTo>
                  <a:pt x="555" y="1808"/>
                </a:lnTo>
                <a:lnTo>
                  <a:pt x="555" y="1807"/>
                </a:lnTo>
                <a:lnTo>
                  <a:pt x="551" y="1807"/>
                </a:lnTo>
                <a:lnTo>
                  <a:pt x="551" y="1804"/>
                </a:lnTo>
                <a:lnTo>
                  <a:pt x="554" y="1801"/>
                </a:lnTo>
                <a:lnTo>
                  <a:pt x="549" y="1795"/>
                </a:lnTo>
                <a:lnTo>
                  <a:pt x="554" y="1791"/>
                </a:lnTo>
                <a:lnTo>
                  <a:pt x="552" y="1790"/>
                </a:lnTo>
                <a:lnTo>
                  <a:pt x="548" y="1790"/>
                </a:lnTo>
                <a:lnTo>
                  <a:pt x="546" y="1791"/>
                </a:lnTo>
                <a:lnTo>
                  <a:pt x="543" y="1791"/>
                </a:lnTo>
                <a:lnTo>
                  <a:pt x="540" y="1790"/>
                </a:lnTo>
                <a:lnTo>
                  <a:pt x="533" y="1787"/>
                </a:lnTo>
                <a:lnTo>
                  <a:pt x="533" y="1783"/>
                </a:lnTo>
                <a:lnTo>
                  <a:pt x="533" y="1780"/>
                </a:lnTo>
                <a:lnTo>
                  <a:pt x="536" y="1776"/>
                </a:lnTo>
                <a:lnTo>
                  <a:pt x="540" y="1774"/>
                </a:lnTo>
                <a:lnTo>
                  <a:pt x="540" y="1771"/>
                </a:lnTo>
                <a:lnTo>
                  <a:pt x="537" y="1768"/>
                </a:lnTo>
                <a:lnTo>
                  <a:pt x="536" y="1765"/>
                </a:lnTo>
                <a:lnTo>
                  <a:pt x="524" y="1762"/>
                </a:lnTo>
                <a:lnTo>
                  <a:pt x="521" y="1761"/>
                </a:lnTo>
                <a:lnTo>
                  <a:pt x="515" y="1754"/>
                </a:lnTo>
                <a:lnTo>
                  <a:pt x="516" y="1749"/>
                </a:lnTo>
                <a:lnTo>
                  <a:pt x="515" y="1745"/>
                </a:lnTo>
                <a:lnTo>
                  <a:pt x="515" y="1741"/>
                </a:lnTo>
                <a:lnTo>
                  <a:pt x="496" y="1733"/>
                </a:lnTo>
                <a:lnTo>
                  <a:pt x="493" y="1731"/>
                </a:lnTo>
                <a:lnTo>
                  <a:pt x="491" y="1728"/>
                </a:lnTo>
                <a:lnTo>
                  <a:pt x="497" y="1722"/>
                </a:lnTo>
                <a:lnTo>
                  <a:pt x="498" y="1718"/>
                </a:lnTo>
                <a:lnTo>
                  <a:pt x="493" y="1709"/>
                </a:lnTo>
                <a:lnTo>
                  <a:pt x="490" y="1708"/>
                </a:lnTo>
                <a:lnTo>
                  <a:pt x="484" y="1711"/>
                </a:lnTo>
                <a:lnTo>
                  <a:pt x="480" y="1709"/>
                </a:lnTo>
                <a:lnTo>
                  <a:pt x="474" y="1712"/>
                </a:lnTo>
                <a:lnTo>
                  <a:pt x="469" y="1716"/>
                </a:lnTo>
                <a:lnTo>
                  <a:pt x="465" y="1713"/>
                </a:lnTo>
                <a:lnTo>
                  <a:pt x="463" y="1709"/>
                </a:lnTo>
                <a:lnTo>
                  <a:pt x="465" y="1704"/>
                </a:lnTo>
                <a:lnTo>
                  <a:pt x="462" y="1701"/>
                </a:lnTo>
                <a:lnTo>
                  <a:pt x="462" y="1697"/>
                </a:lnTo>
                <a:lnTo>
                  <a:pt x="463" y="1693"/>
                </a:lnTo>
                <a:lnTo>
                  <a:pt x="452" y="1688"/>
                </a:lnTo>
                <a:lnTo>
                  <a:pt x="451" y="1684"/>
                </a:lnTo>
                <a:lnTo>
                  <a:pt x="449" y="1683"/>
                </a:lnTo>
                <a:lnTo>
                  <a:pt x="449" y="1678"/>
                </a:lnTo>
                <a:lnTo>
                  <a:pt x="447" y="1674"/>
                </a:lnTo>
                <a:lnTo>
                  <a:pt x="444" y="1671"/>
                </a:lnTo>
                <a:lnTo>
                  <a:pt x="438" y="1669"/>
                </a:lnTo>
                <a:lnTo>
                  <a:pt x="431" y="1664"/>
                </a:lnTo>
                <a:lnTo>
                  <a:pt x="427" y="1664"/>
                </a:lnTo>
                <a:lnTo>
                  <a:pt x="424" y="1661"/>
                </a:lnTo>
                <a:lnTo>
                  <a:pt x="424" y="1658"/>
                </a:lnTo>
                <a:lnTo>
                  <a:pt x="427" y="1655"/>
                </a:lnTo>
                <a:lnTo>
                  <a:pt x="426" y="1652"/>
                </a:lnTo>
                <a:lnTo>
                  <a:pt x="427" y="1646"/>
                </a:lnTo>
                <a:lnTo>
                  <a:pt x="429" y="1644"/>
                </a:lnTo>
                <a:lnTo>
                  <a:pt x="431" y="1643"/>
                </a:lnTo>
                <a:lnTo>
                  <a:pt x="429" y="1639"/>
                </a:lnTo>
                <a:lnTo>
                  <a:pt x="427" y="1633"/>
                </a:lnTo>
                <a:lnTo>
                  <a:pt x="424" y="1630"/>
                </a:lnTo>
                <a:lnTo>
                  <a:pt x="422" y="1626"/>
                </a:lnTo>
                <a:lnTo>
                  <a:pt x="420" y="1625"/>
                </a:lnTo>
                <a:lnTo>
                  <a:pt x="423" y="1618"/>
                </a:lnTo>
                <a:lnTo>
                  <a:pt x="423" y="1616"/>
                </a:lnTo>
                <a:lnTo>
                  <a:pt x="419" y="1614"/>
                </a:lnTo>
                <a:lnTo>
                  <a:pt x="417" y="1613"/>
                </a:lnTo>
                <a:lnTo>
                  <a:pt x="416" y="1607"/>
                </a:lnTo>
                <a:lnTo>
                  <a:pt x="419" y="1604"/>
                </a:lnTo>
                <a:lnTo>
                  <a:pt x="419" y="1602"/>
                </a:lnTo>
                <a:lnTo>
                  <a:pt x="417" y="1600"/>
                </a:lnTo>
                <a:lnTo>
                  <a:pt x="412" y="1599"/>
                </a:lnTo>
                <a:lnTo>
                  <a:pt x="406" y="1592"/>
                </a:lnTo>
                <a:lnTo>
                  <a:pt x="402" y="1581"/>
                </a:lnTo>
                <a:lnTo>
                  <a:pt x="392" y="1576"/>
                </a:lnTo>
                <a:lnTo>
                  <a:pt x="389" y="1571"/>
                </a:lnTo>
                <a:lnTo>
                  <a:pt x="391" y="1567"/>
                </a:lnTo>
                <a:lnTo>
                  <a:pt x="394" y="1563"/>
                </a:lnTo>
                <a:lnTo>
                  <a:pt x="391" y="1555"/>
                </a:lnTo>
                <a:lnTo>
                  <a:pt x="388" y="1555"/>
                </a:lnTo>
                <a:lnTo>
                  <a:pt x="387" y="1555"/>
                </a:lnTo>
                <a:lnTo>
                  <a:pt x="377" y="1562"/>
                </a:lnTo>
                <a:lnTo>
                  <a:pt x="373" y="1563"/>
                </a:lnTo>
                <a:lnTo>
                  <a:pt x="356" y="1559"/>
                </a:lnTo>
                <a:lnTo>
                  <a:pt x="351" y="1548"/>
                </a:lnTo>
                <a:lnTo>
                  <a:pt x="338" y="1540"/>
                </a:lnTo>
                <a:lnTo>
                  <a:pt x="337" y="1537"/>
                </a:lnTo>
                <a:lnTo>
                  <a:pt x="338" y="1531"/>
                </a:lnTo>
                <a:lnTo>
                  <a:pt x="330" y="1518"/>
                </a:lnTo>
                <a:lnTo>
                  <a:pt x="312" y="1510"/>
                </a:lnTo>
                <a:lnTo>
                  <a:pt x="302" y="1500"/>
                </a:lnTo>
                <a:lnTo>
                  <a:pt x="294" y="1500"/>
                </a:lnTo>
                <a:lnTo>
                  <a:pt x="277" y="1487"/>
                </a:lnTo>
                <a:lnTo>
                  <a:pt x="274" y="1481"/>
                </a:lnTo>
                <a:lnTo>
                  <a:pt x="274" y="1478"/>
                </a:lnTo>
                <a:lnTo>
                  <a:pt x="277" y="1473"/>
                </a:lnTo>
                <a:lnTo>
                  <a:pt x="274" y="1469"/>
                </a:lnTo>
                <a:lnTo>
                  <a:pt x="272" y="1465"/>
                </a:lnTo>
                <a:lnTo>
                  <a:pt x="263" y="1468"/>
                </a:lnTo>
                <a:lnTo>
                  <a:pt x="261" y="1464"/>
                </a:lnTo>
                <a:lnTo>
                  <a:pt x="261" y="1456"/>
                </a:lnTo>
                <a:lnTo>
                  <a:pt x="266" y="1451"/>
                </a:lnTo>
                <a:lnTo>
                  <a:pt x="269" y="1447"/>
                </a:lnTo>
                <a:lnTo>
                  <a:pt x="264" y="1443"/>
                </a:lnTo>
                <a:lnTo>
                  <a:pt x="252" y="1439"/>
                </a:lnTo>
                <a:lnTo>
                  <a:pt x="248" y="1438"/>
                </a:lnTo>
                <a:lnTo>
                  <a:pt x="247" y="1435"/>
                </a:lnTo>
                <a:lnTo>
                  <a:pt x="241" y="1428"/>
                </a:lnTo>
                <a:lnTo>
                  <a:pt x="241" y="1426"/>
                </a:lnTo>
                <a:lnTo>
                  <a:pt x="237" y="1417"/>
                </a:lnTo>
                <a:lnTo>
                  <a:pt x="238" y="1413"/>
                </a:lnTo>
                <a:lnTo>
                  <a:pt x="237" y="1409"/>
                </a:lnTo>
                <a:lnTo>
                  <a:pt x="231" y="1406"/>
                </a:lnTo>
                <a:lnTo>
                  <a:pt x="219" y="1406"/>
                </a:lnTo>
                <a:lnTo>
                  <a:pt x="209" y="1405"/>
                </a:lnTo>
                <a:lnTo>
                  <a:pt x="203" y="1398"/>
                </a:lnTo>
                <a:lnTo>
                  <a:pt x="197" y="1393"/>
                </a:lnTo>
                <a:lnTo>
                  <a:pt x="189" y="1390"/>
                </a:lnTo>
                <a:lnTo>
                  <a:pt x="183" y="1385"/>
                </a:lnTo>
                <a:lnTo>
                  <a:pt x="174" y="1381"/>
                </a:lnTo>
                <a:lnTo>
                  <a:pt x="163" y="1378"/>
                </a:lnTo>
                <a:lnTo>
                  <a:pt x="159" y="1368"/>
                </a:lnTo>
                <a:lnTo>
                  <a:pt x="142" y="1370"/>
                </a:lnTo>
                <a:lnTo>
                  <a:pt x="137" y="1375"/>
                </a:lnTo>
                <a:lnTo>
                  <a:pt x="134" y="1375"/>
                </a:lnTo>
                <a:lnTo>
                  <a:pt x="131" y="1368"/>
                </a:lnTo>
                <a:lnTo>
                  <a:pt x="129" y="1357"/>
                </a:lnTo>
                <a:lnTo>
                  <a:pt x="125" y="1351"/>
                </a:lnTo>
                <a:lnTo>
                  <a:pt x="125" y="1348"/>
                </a:lnTo>
                <a:lnTo>
                  <a:pt x="123" y="1344"/>
                </a:lnTo>
                <a:lnTo>
                  <a:pt x="120" y="1341"/>
                </a:lnTo>
                <a:lnTo>
                  <a:pt x="118" y="1339"/>
                </a:lnTo>
                <a:lnTo>
                  <a:pt x="117" y="1339"/>
                </a:lnTo>
                <a:lnTo>
                  <a:pt x="117" y="1340"/>
                </a:lnTo>
                <a:lnTo>
                  <a:pt x="114" y="1339"/>
                </a:lnTo>
                <a:lnTo>
                  <a:pt x="114" y="1332"/>
                </a:lnTo>
                <a:lnTo>
                  <a:pt x="112" y="1331"/>
                </a:lnTo>
                <a:lnTo>
                  <a:pt x="110" y="1327"/>
                </a:lnTo>
                <a:lnTo>
                  <a:pt x="107" y="1323"/>
                </a:lnTo>
                <a:lnTo>
                  <a:pt x="107" y="1318"/>
                </a:lnTo>
                <a:lnTo>
                  <a:pt x="104" y="1316"/>
                </a:lnTo>
                <a:lnTo>
                  <a:pt x="104" y="1313"/>
                </a:lnTo>
                <a:lnTo>
                  <a:pt x="100" y="1313"/>
                </a:lnTo>
                <a:lnTo>
                  <a:pt x="102" y="1310"/>
                </a:lnTo>
                <a:lnTo>
                  <a:pt x="100" y="1310"/>
                </a:lnTo>
                <a:lnTo>
                  <a:pt x="98" y="1310"/>
                </a:lnTo>
                <a:lnTo>
                  <a:pt x="96" y="1304"/>
                </a:lnTo>
                <a:lnTo>
                  <a:pt x="98" y="1297"/>
                </a:lnTo>
                <a:lnTo>
                  <a:pt x="92" y="1293"/>
                </a:lnTo>
                <a:lnTo>
                  <a:pt x="85" y="1288"/>
                </a:lnTo>
                <a:lnTo>
                  <a:pt x="89" y="1285"/>
                </a:lnTo>
                <a:lnTo>
                  <a:pt x="88" y="1281"/>
                </a:lnTo>
                <a:lnTo>
                  <a:pt x="91" y="1274"/>
                </a:lnTo>
                <a:lnTo>
                  <a:pt x="96" y="1274"/>
                </a:lnTo>
                <a:lnTo>
                  <a:pt x="93" y="1269"/>
                </a:lnTo>
                <a:lnTo>
                  <a:pt x="99" y="1265"/>
                </a:lnTo>
                <a:lnTo>
                  <a:pt x="98" y="1260"/>
                </a:lnTo>
                <a:lnTo>
                  <a:pt x="102" y="1256"/>
                </a:lnTo>
                <a:lnTo>
                  <a:pt x="100" y="1248"/>
                </a:lnTo>
                <a:lnTo>
                  <a:pt x="104" y="1245"/>
                </a:lnTo>
                <a:lnTo>
                  <a:pt x="106" y="1241"/>
                </a:lnTo>
                <a:lnTo>
                  <a:pt x="104" y="1237"/>
                </a:lnTo>
                <a:lnTo>
                  <a:pt x="109" y="1229"/>
                </a:lnTo>
                <a:lnTo>
                  <a:pt x="110" y="1224"/>
                </a:lnTo>
                <a:lnTo>
                  <a:pt x="113" y="1222"/>
                </a:lnTo>
                <a:lnTo>
                  <a:pt x="114" y="1212"/>
                </a:lnTo>
                <a:lnTo>
                  <a:pt x="117" y="1207"/>
                </a:lnTo>
                <a:lnTo>
                  <a:pt x="116" y="1203"/>
                </a:lnTo>
                <a:lnTo>
                  <a:pt x="118" y="1202"/>
                </a:lnTo>
                <a:lnTo>
                  <a:pt x="117" y="1199"/>
                </a:lnTo>
                <a:lnTo>
                  <a:pt x="121" y="1197"/>
                </a:lnTo>
                <a:lnTo>
                  <a:pt x="117" y="1192"/>
                </a:lnTo>
                <a:lnTo>
                  <a:pt x="117" y="1189"/>
                </a:lnTo>
                <a:lnTo>
                  <a:pt x="117" y="1187"/>
                </a:lnTo>
                <a:lnTo>
                  <a:pt x="123" y="1179"/>
                </a:lnTo>
                <a:lnTo>
                  <a:pt x="121" y="1177"/>
                </a:lnTo>
                <a:lnTo>
                  <a:pt x="116" y="1170"/>
                </a:lnTo>
                <a:lnTo>
                  <a:pt x="120" y="1166"/>
                </a:lnTo>
                <a:lnTo>
                  <a:pt x="120" y="1162"/>
                </a:lnTo>
                <a:lnTo>
                  <a:pt x="125" y="1154"/>
                </a:lnTo>
                <a:lnTo>
                  <a:pt x="124" y="1153"/>
                </a:lnTo>
                <a:lnTo>
                  <a:pt x="127" y="1150"/>
                </a:lnTo>
                <a:lnTo>
                  <a:pt x="125" y="1148"/>
                </a:lnTo>
                <a:lnTo>
                  <a:pt x="125" y="1147"/>
                </a:lnTo>
                <a:lnTo>
                  <a:pt x="129" y="1145"/>
                </a:lnTo>
                <a:lnTo>
                  <a:pt x="134" y="1149"/>
                </a:lnTo>
                <a:lnTo>
                  <a:pt x="137" y="1149"/>
                </a:lnTo>
                <a:lnTo>
                  <a:pt x="148" y="1141"/>
                </a:lnTo>
                <a:lnTo>
                  <a:pt x="152" y="1140"/>
                </a:lnTo>
                <a:lnTo>
                  <a:pt x="155" y="1140"/>
                </a:lnTo>
                <a:lnTo>
                  <a:pt x="163" y="1145"/>
                </a:lnTo>
                <a:lnTo>
                  <a:pt x="170" y="1145"/>
                </a:lnTo>
                <a:lnTo>
                  <a:pt x="174" y="1149"/>
                </a:lnTo>
                <a:lnTo>
                  <a:pt x="178" y="1148"/>
                </a:lnTo>
                <a:lnTo>
                  <a:pt x="180" y="1145"/>
                </a:lnTo>
                <a:lnTo>
                  <a:pt x="180" y="1144"/>
                </a:lnTo>
                <a:lnTo>
                  <a:pt x="173" y="1140"/>
                </a:lnTo>
                <a:lnTo>
                  <a:pt x="171" y="1132"/>
                </a:lnTo>
                <a:lnTo>
                  <a:pt x="164" y="1127"/>
                </a:lnTo>
                <a:lnTo>
                  <a:pt x="166" y="1123"/>
                </a:lnTo>
                <a:lnTo>
                  <a:pt x="162" y="1117"/>
                </a:lnTo>
                <a:lnTo>
                  <a:pt x="160" y="1110"/>
                </a:lnTo>
                <a:lnTo>
                  <a:pt x="160" y="1103"/>
                </a:lnTo>
                <a:lnTo>
                  <a:pt x="160" y="1098"/>
                </a:lnTo>
                <a:lnTo>
                  <a:pt x="157" y="1097"/>
                </a:lnTo>
                <a:lnTo>
                  <a:pt x="156" y="1094"/>
                </a:lnTo>
                <a:lnTo>
                  <a:pt x="156" y="1087"/>
                </a:lnTo>
                <a:lnTo>
                  <a:pt x="164" y="1073"/>
                </a:lnTo>
                <a:lnTo>
                  <a:pt x="164" y="1070"/>
                </a:lnTo>
                <a:lnTo>
                  <a:pt x="167" y="1067"/>
                </a:lnTo>
                <a:lnTo>
                  <a:pt x="170" y="1065"/>
                </a:lnTo>
                <a:lnTo>
                  <a:pt x="170" y="1063"/>
                </a:lnTo>
                <a:lnTo>
                  <a:pt x="167" y="1061"/>
                </a:lnTo>
                <a:lnTo>
                  <a:pt x="170" y="1060"/>
                </a:lnTo>
                <a:lnTo>
                  <a:pt x="170" y="1055"/>
                </a:lnTo>
                <a:lnTo>
                  <a:pt x="166" y="1049"/>
                </a:lnTo>
                <a:lnTo>
                  <a:pt x="156" y="1048"/>
                </a:lnTo>
                <a:lnTo>
                  <a:pt x="145" y="1038"/>
                </a:lnTo>
                <a:lnTo>
                  <a:pt x="137" y="1035"/>
                </a:lnTo>
                <a:lnTo>
                  <a:pt x="135" y="1032"/>
                </a:lnTo>
                <a:lnTo>
                  <a:pt x="137" y="1029"/>
                </a:lnTo>
                <a:lnTo>
                  <a:pt x="135" y="1028"/>
                </a:lnTo>
                <a:lnTo>
                  <a:pt x="135" y="1020"/>
                </a:lnTo>
                <a:lnTo>
                  <a:pt x="134" y="1018"/>
                </a:lnTo>
                <a:lnTo>
                  <a:pt x="134" y="1012"/>
                </a:lnTo>
                <a:lnTo>
                  <a:pt x="139" y="1007"/>
                </a:lnTo>
                <a:lnTo>
                  <a:pt x="141" y="998"/>
                </a:lnTo>
                <a:lnTo>
                  <a:pt x="143" y="993"/>
                </a:lnTo>
                <a:lnTo>
                  <a:pt x="142" y="990"/>
                </a:lnTo>
                <a:lnTo>
                  <a:pt x="143" y="984"/>
                </a:lnTo>
                <a:lnTo>
                  <a:pt x="146" y="979"/>
                </a:lnTo>
                <a:lnTo>
                  <a:pt x="143" y="970"/>
                </a:lnTo>
                <a:lnTo>
                  <a:pt x="143" y="962"/>
                </a:lnTo>
                <a:lnTo>
                  <a:pt x="145" y="961"/>
                </a:lnTo>
                <a:lnTo>
                  <a:pt x="157" y="961"/>
                </a:lnTo>
                <a:lnTo>
                  <a:pt x="160" y="958"/>
                </a:lnTo>
                <a:lnTo>
                  <a:pt x="162" y="954"/>
                </a:lnTo>
                <a:lnTo>
                  <a:pt x="163" y="949"/>
                </a:lnTo>
                <a:lnTo>
                  <a:pt x="162" y="945"/>
                </a:lnTo>
                <a:lnTo>
                  <a:pt x="163" y="941"/>
                </a:lnTo>
                <a:lnTo>
                  <a:pt x="162" y="938"/>
                </a:lnTo>
                <a:lnTo>
                  <a:pt x="159" y="933"/>
                </a:lnTo>
                <a:lnTo>
                  <a:pt x="160" y="926"/>
                </a:lnTo>
                <a:lnTo>
                  <a:pt x="157" y="923"/>
                </a:lnTo>
                <a:lnTo>
                  <a:pt x="157" y="921"/>
                </a:lnTo>
                <a:lnTo>
                  <a:pt x="155" y="918"/>
                </a:lnTo>
                <a:lnTo>
                  <a:pt x="153" y="914"/>
                </a:lnTo>
                <a:lnTo>
                  <a:pt x="151" y="911"/>
                </a:lnTo>
                <a:lnTo>
                  <a:pt x="141" y="909"/>
                </a:lnTo>
                <a:lnTo>
                  <a:pt x="137" y="905"/>
                </a:lnTo>
                <a:lnTo>
                  <a:pt x="135" y="900"/>
                </a:lnTo>
                <a:lnTo>
                  <a:pt x="137" y="896"/>
                </a:lnTo>
                <a:lnTo>
                  <a:pt x="138" y="892"/>
                </a:lnTo>
                <a:lnTo>
                  <a:pt x="132" y="887"/>
                </a:lnTo>
                <a:lnTo>
                  <a:pt x="134" y="883"/>
                </a:lnTo>
                <a:lnTo>
                  <a:pt x="132" y="872"/>
                </a:lnTo>
                <a:lnTo>
                  <a:pt x="134" y="868"/>
                </a:lnTo>
                <a:lnTo>
                  <a:pt x="139" y="862"/>
                </a:lnTo>
                <a:lnTo>
                  <a:pt x="146" y="841"/>
                </a:lnTo>
                <a:lnTo>
                  <a:pt x="104" y="824"/>
                </a:lnTo>
                <a:lnTo>
                  <a:pt x="75" y="799"/>
                </a:lnTo>
                <a:lnTo>
                  <a:pt x="70" y="789"/>
                </a:lnTo>
                <a:lnTo>
                  <a:pt x="28" y="726"/>
                </a:lnTo>
                <a:lnTo>
                  <a:pt x="6" y="671"/>
                </a:lnTo>
                <a:lnTo>
                  <a:pt x="7" y="663"/>
                </a:lnTo>
                <a:lnTo>
                  <a:pt x="24" y="631"/>
                </a:lnTo>
                <a:lnTo>
                  <a:pt x="7" y="597"/>
                </a:lnTo>
                <a:lnTo>
                  <a:pt x="0" y="586"/>
                </a:lnTo>
                <a:lnTo>
                  <a:pt x="21" y="533"/>
                </a:lnTo>
                <a:lnTo>
                  <a:pt x="27" y="531"/>
                </a:lnTo>
                <a:lnTo>
                  <a:pt x="32" y="535"/>
                </a:lnTo>
                <a:lnTo>
                  <a:pt x="35" y="534"/>
                </a:lnTo>
                <a:lnTo>
                  <a:pt x="38" y="530"/>
                </a:lnTo>
                <a:lnTo>
                  <a:pt x="35" y="516"/>
                </a:lnTo>
                <a:lnTo>
                  <a:pt x="39" y="507"/>
                </a:lnTo>
                <a:lnTo>
                  <a:pt x="43" y="503"/>
                </a:lnTo>
                <a:lnTo>
                  <a:pt x="60" y="499"/>
                </a:lnTo>
                <a:lnTo>
                  <a:pt x="66" y="491"/>
                </a:lnTo>
                <a:lnTo>
                  <a:pt x="64" y="485"/>
                </a:lnTo>
                <a:lnTo>
                  <a:pt x="59" y="472"/>
                </a:lnTo>
                <a:lnTo>
                  <a:pt x="60" y="465"/>
                </a:lnTo>
                <a:lnTo>
                  <a:pt x="63" y="461"/>
                </a:lnTo>
                <a:lnTo>
                  <a:pt x="77" y="461"/>
                </a:lnTo>
                <a:lnTo>
                  <a:pt x="84" y="457"/>
                </a:lnTo>
                <a:lnTo>
                  <a:pt x="85" y="463"/>
                </a:lnTo>
                <a:lnTo>
                  <a:pt x="91" y="463"/>
                </a:lnTo>
                <a:lnTo>
                  <a:pt x="109" y="440"/>
                </a:lnTo>
                <a:lnTo>
                  <a:pt x="121" y="437"/>
                </a:lnTo>
                <a:lnTo>
                  <a:pt x="129" y="432"/>
                </a:lnTo>
                <a:lnTo>
                  <a:pt x="132" y="431"/>
                </a:lnTo>
                <a:lnTo>
                  <a:pt x="137" y="419"/>
                </a:lnTo>
                <a:lnTo>
                  <a:pt x="148" y="414"/>
                </a:lnTo>
                <a:lnTo>
                  <a:pt x="152" y="412"/>
                </a:lnTo>
                <a:lnTo>
                  <a:pt x="156" y="412"/>
                </a:lnTo>
                <a:lnTo>
                  <a:pt x="159" y="414"/>
                </a:lnTo>
                <a:lnTo>
                  <a:pt x="162" y="416"/>
                </a:lnTo>
                <a:lnTo>
                  <a:pt x="164" y="416"/>
                </a:lnTo>
                <a:lnTo>
                  <a:pt x="170" y="415"/>
                </a:lnTo>
                <a:lnTo>
                  <a:pt x="174" y="412"/>
                </a:lnTo>
                <a:lnTo>
                  <a:pt x="180" y="416"/>
                </a:lnTo>
                <a:lnTo>
                  <a:pt x="184" y="416"/>
                </a:lnTo>
                <a:lnTo>
                  <a:pt x="194" y="409"/>
                </a:lnTo>
                <a:lnTo>
                  <a:pt x="203" y="404"/>
                </a:lnTo>
                <a:lnTo>
                  <a:pt x="209" y="402"/>
                </a:lnTo>
                <a:lnTo>
                  <a:pt x="219" y="397"/>
                </a:lnTo>
                <a:lnTo>
                  <a:pt x="220" y="395"/>
                </a:lnTo>
                <a:lnTo>
                  <a:pt x="223" y="398"/>
                </a:lnTo>
                <a:lnTo>
                  <a:pt x="224" y="398"/>
                </a:lnTo>
                <a:lnTo>
                  <a:pt x="234" y="390"/>
                </a:lnTo>
                <a:lnTo>
                  <a:pt x="237" y="391"/>
                </a:lnTo>
                <a:lnTo>
                  <a:pt x="239" y="391"/>
                </a:lnTo>
                <a:lnTo>
                  <a:pt x="244" y="379"/>
                </a:lnTo>
                <a:lnTo>
                  <a:pt x="242" y="376"/>
                </a:lnTo>
                <a:lnTo>
                  <a:pt x="244" y="373"/>
                </a:lnTo>
                <a:lnTo>
                  <a:pt x="249" y="367"/>
                </a:lnTo>
                <a:lnTo>
                  <a:pt x="255" y="367"/>
                </a:lnTo>
                <a:lnTo>
                  <a:pt x="261" y="364"/>
                </a:lnTo>
                <a:lnTo>
                  <a:pt x="266" y="353"/>
                </a:lnTo>
                <a:lnTo>
                  <a:pt x="270" y="352"/>
                </a:lnTo>
                <a:lnTo>
                  <a:pt x="272" y="348"/>
                </a:lnTo>
                <a:lnTo>
                  <a:pt x="283" y="342"/>
                </a:lnTo>
                <a:lnTo>
                  <a:pt x="289" y="341"/>
                </a:lnTo>
                <a:lnTo>
                  <a:pt x="291" y="339"/>
                </a:lnTo>
                <a:lnTo>
                  <a:pt x="302" y="337"/>
                </a:lnTo>
                <a:lnTo>
                  <a:pt x="303" y="337"/>
                </a:lnTo>
                <a:lnTo>
                  <a:pt x="306" y="339"/>
                </a:lnTo>
                <a:lnTo>
                  <a:pt x="313" y="339"/>
                </a:lnTo>
                <a:lnTo>
                  <a:pt x="316" y="342"/>
                </a:lnTo>
                <a:lnTo>
                  <a:pt x="319" y="344"/>
                </a:lnTo>
                <a:lnTo>
                  <a:pt x="331" y="342"/>
                </a:lnTo>
                <a:lnTo>
                  <a:pt x="337" y="348"/>
                </a:lnTo>
                <a:lnTo>
                  <a:pt x="345" y="349"/>
                </a:lnTo>
                <a:lnTo>
                  <a:pt x="349" y="350"/>
                </a:lnTo>
                <a:lnTo>
                  <a:pt x="361" y="350"/>
                </a:lnTo>
                <a:lnTo>
                  <a:pt x="364" y="348"/>
                </a:lnTo>
                <a:lnTo>
                  <a:pt x="367" y="347"/>
                </a:lnTo>
                <a:lnTo>
                  <a:pt x="370" y="348"/>
                </a:lnTo>
                <a:lnTo>
                  <a:pt x="374" y="350"/>
                </a:lnTo>
                <a:lnTo>
                  <a:pt x="376" y="350"/>
                </a:lnTo>
                <a:lnTo>
                  <a:pt x="386" y="348"/>
                </a:lnTo>
                <a:lnTo>
                  <a:pt x="391" y="341"/>
                </a:lnTo>
                <a:lnTo>
                  <a:pt x="401" y="341"/>
                </a:lnTo>
                <a:lnTo>
                  <a:pt x="406" y="344"/>
                </a:lnTo>
                <a:lnTo>
                  <a:pt x="405" y="349"/>
                </a:lnTo>
                <a:lnTo>
                  <a:pt x="406" y="350"/>
                </a:lnTo>
                <a:lnTo>
                  <a:pt x="415" y="353"/>
                </a:lnTo>
                <a:lnTo>
                  <a:pt x="422" y="356"/>
                </a:lnTo>
                <a:lnTo>
                  <a:pt x="427" y="364"/>
                </a:lnTo>
                <a:lnTo>
                  <a:pt x="431" y="361"/>
                </a:lnTo>
                <a:lnTo>
                  <a:pt x="437" y="361"/>
                </a:lnTo>
                <a:lnTo>
                  <a:pt x="440" y="366"/>
                </a:lnTo>
                <a:lnTo>
                  <a:pt x="445" y="365"/>
                </a:lnTo>
                <a:lnTo>
                  <a:pt x="452" y="370"/>
                </a:lnTo>
                <a:lnTo>
                  <a:pt x="458" y="372"/>
                </a:lnTo>
                <a:lnTo>
                  <a:pt x="463" y="376"/>
                </a:lnTo>
                <a:lnTo>
                  <a:pt x="466" y="374"/>
                </a:lnTo>
                <a:lnTo>
                  <a:pt x="474" y="367"/>
                </a:lnTo>
                <a:lnTo>
                  <a:pt x="479" y="369"/>
                </a:lnTo>
                <a:lnTo>
                  <a:pt x="486" y="365"/>
                </a:lnTo>
                <a:lnTo>
                  <a:pt x="490" y="361"/>
                </a:lnTo>
                <a:lnTo>
                  <a:pt x="490" y="356"/>
                </a:lnTo>
                <a:lnTo>
                  <a:pt x="490" y="353"/>
                </a:lnTo>
                <a:lnTo>
                  <a:pt x="499" y="350"/>
                </a:lnTo>
                <a:lnTo>
                  <a:pt x="501" y="345"/>
                </a:lnTo>
                <a:lnTo>
                  <a:pt x="507" y="344"/>
                </a:lnTo>
                <a:lnTo>
                  <a:pt x="508" y="347"/>
                </a:lnTo>
                <a:lnTo>
                  <a:pt x="516" y="348"/>
                </a:lnTo>
                <a:lnTo>
                  <a:pt x="523" y="347"/>
                </a:lnTo>
                <a:lnTo>
                  <a:pt x="529" y="350"/>
                </a:lnTo>
                <a:lnTo>
                  <a:pt x="530" y="350"/>
                </a:lnTo>
                <a:lnTo>
                  <a:pt x="532" y="349"/>
                </a:lnTo>
                <a:lnTo>
                  <a:pt x="537" y="349"/>
                </a:lnTo>
                <a:lnTo>
                  <a:pt x="538" y="353"/>
                </a:lnTo>
                <a:lnTo>
                  <a:pt x="544" y="353"/>
                </a:lnTo>
                <a:lnTo>
                  <a:pt x="552" y="361"/>
                </a:lnTo>
                <a:lnTo>
                  <a:pt x="561" y="364"/>
                </a:lnTo>
                <a:lnTo>
                  <a:pt x="561" y="366"/>
                </a:lnTo>
                <a:lnTo>
                  <a:pt x="566" y="369"/>
                </a:lnTo>
                <a:lnTo>
                  <a:pt x="571" y="366"/>
                </a:lnTo>
                <a:lnTo>
                  <a:pt x="580" y="364"/>
                </a:lnTo>
                <a:lnTo>
                  <a:pt x="584" y="361"/>
                </a:lnTo>
                <a:lnTo>
                  <a:pt x="591" y="361"/>
                </a:lnTo>
                <a:lnTo>
                  <a:pt x="596" y="356"/>
                </a:lnTo>
                <a:lnTo>
                  <a:pt x="599" y="356"/>
                </a:lnTo>
                <a:lnTo>
                  <a:pt x="602" y="357"/>
                </a:lnTo>
                <a:lnTo>
                  <a:pt x="605" y="357"/>
                </a:lnTo>
                <a:lnTo>
                  <a:pt x="608" y="353"/>
                </a:lnTo>
                <a:lnTo>
                  <a:pt x="612" y="352"/>
                </a:lnTo>
                <a:lnTo>
                  <a:pt x="612" y="348"/>
                </a:lnTo>
                <a:lnTo>
                  <a:pt x="615" y="345"/>
                </a:lnTo>
                <a:lnTo>
                  <a:pt x="616" y="344"/>
                </a:lnTo>
                <a:lnTo>
                  <a:pt x="615" y="342"/>
                </a:lnTo>
                <a:lnTo>
                  <a:pt x="612" y="341"/>
                </a:lnTo>
                <a:lnTo>
                  <a:pt x="612" y="337"/>
                </a:lnTo>
                <a:lnTo>
                  <a:pt x="613" y="335"/>
                </a:lnTo>
                <a:lnTo>
                  <a:pt x="618" y="335"/>
                </a:lnTo>
                <a:lnTo>
                  <a:pt x="621" y="333"/>
                </a:lnTo>
                <a:lnTo>
                  <a:pt x="622" y="327"/>
                </a:lnTo>
                <a:lnTo>
                  <a:pt x="625" y="324"/>
                </a:lnTo>
                <a:lnTo>
                  <a:pt x="626" y="316"/>
                </a:lnTo>
                <a:lnTo>
                  <a:pt x="625" y="312"/>
                </a:lnTo>
                <a:lnTo>
                  <a:pt x="625" y="308"/>
                </a:lnTo>
                <a:lnTo>
                  <a:pt x="623" y="304"/>
                </a:lnTo>
                <a:lnTo>
                  <a:pt x="623" y="298"/>
                </a:lnTo>
                <a:lnTo>
                  <a:pt x="625" y="295"/>
                </a:lnTo>
                <a:lnTo>
                  <a:pt x="630" y="294"/>
                </a:lnTo>
                <a:lnTo>
                  <a:pt x="632" y="289"/>
                </a:lnTo>
                <a:lnTo>
                  <a:pt x="638" y="286"/>
                </a:lnTo>
                <a:lnTo>
                  <a:pt x="643" y="282"/>
                </a:lnTo>
                <a:lnTo>
                  <a:pt x="646" y="282"/>
                </a:lnTo>
                <a:lnTo>
                  <a:pt x="648" y="282"/>
                </a:lnTo>
                <a:lnTo>
                  <a:pt x="652" y="286"/>
                </a:lnTo>
                <a:lnTo>
                  <a:pt x="676" y="286"/>
                </a:lnTo>
                <a:lnTo>
                  <a:pt x="683" y="285"/>
                </a:lnTo>
                <a:lnTo>
                  <a:pt x="686" y="282"/>
                </a:lnTo>
                <a:lnTo>
                  <a:pt x="687" y="281"/>
                </a:lnTo>
                <a:lnTo>
                  <a:pt x="697" y="278"/>
                </a:lnTo>
                <a:lnTo>
                  <a:pt x="703" y="278"/>
                </a:lnTo>
                <a:lnTo>
                  <a:pt x="707" y="275"/>
                </a:lnTo>
                <a:lnTo>
                  <a:pt x="712" y="274"/>
                </a:lnTo>
                <a:lnTo>
                  <a:pt x="719" y="275"/>
                </a:lnTo>
                <a:lnTo>
                  <a:pt x="725" y="274"/>
                </a:lnTo>
                <a:lnTo>
                  <a:pt x="730" y="277"/>
                </a:lnTo>
                <a:lnTo>
                  <a:pt x="736" y="277"/>
                </a:lnTo>
                <a:lnTo>
                  <a:pt x="746" y="272"/>
                </a:lnTo>
                <a:lnTo>
                  <a:pt x="748" y="272"/>
                </a:lnTo>
                <a:lnTo>
                  <a:pt x="751" y="267"/>
                </a:lnTo>
                <a:lnTo>
                  <a:pt x="754" y="267"/>
                </a:lnTo>
                <a:lnTo>
                  <a:pt x="758" y="270"/>
                </a:lnTo>
                <a:lnTo>
                  <a:pt x="769" y="267"/>
                </a:lnTo>
                <a:lnTo>
                  <a:pt x="772" y="267"/>
                </a:lnTo>
                <a:lnTo>
                  <a:pt x="772" y="273"/>
                </a:lnTo>
                <a:lnTo>
                  <a:pt x="778" y="274"/>
                </a:lnTo>
                <a:lnTo>
                  <a:pt x="782" y="277"/>
                </a:lnTo>
                <a:lnTo>
                  <a:pt x="782" y="282"/>
                </a:lnTo>
                <a:lnTo>
                  <a:pt x="786" y="290"/>
                </a:lnTo>
                <a:lnTo>
                  <a:pt x="789" y="290"/>
                </a:lnTo>
                <a:lnTo>
                  <a:pt x="793" y="289"/>
                </a:lnTo>
                <a:lnTo>
                  <a:pt x="797" y="285"/>
                </a:lnTo>
                <a:lnTo>
                  <a:pt x="801" y="286"/>
                </a:lnTo>
                <a:lnTo>
                  <a:pt x="801" y="289"/>
                </a:lnTo>
                <a:lnTo>
                  <a:pt x="803" y="289"/>
                </a:lnTo>
                <a:lnTo>
                  <a:pt x="808" y="286"/>
                </a:lnTo>
                <a:lnTo>
                  <a:pt x="810" y="289"/>
                </a:lnTo>
                <a:lnTo>
                  <a:pt x="814" y="289"/>
                </a:lnTo>
                <a:lnTo>
                  <a:pt x="826" y="285"/>
                </a:lnTo>
                <a:lnTo>
                  <a:pt x="826" y="281"/>
                </a:lnTo>
                <a:lnTo>
                  <a:pt x="828" y="278"/>
                </a:lnTo>
                <a:lnTo>
                  <a:pt x="836" y="277"/>
                </a:lnTo>
                <a:lnTo>
                  <a:pt x="842" y="273"/>
                </a:lnTo>
                <a:lnTo>
                  <a:pt x="845" y="260"/>
                </a:lnTo>
                <a:lnTo>
                  <a:pt x="847" y="256"/>
                </a:lnTo>
                <a:lnTo>
                  <a:pt x="847" y="253"/>
                </a:lnTo>
                <a:lnTo>
                  <a:pt x="850" y="250"/>
                </a:lnTo>
                <a:lnTo>
                  <a:pt x="854" y="250"/>
                </a:lnTo>
                <a:lnTo>
                  <a:pt x="862" y="245"/>
                </a:lnTo>
                <a:lnTo>
                  <a:pt x="865" y="245"/>
                </a:lnTo>
                <a:lnTo>
                  <a:pt x="868" y="245"/>
                </a:lnTo>
                <a:lnTo>
                  <a:pt x="871" y="244"/>
                </a:lnTo>
                <a:lnTo>
                  <a:pt x="875" y="245"/>
                </a:lnTo>
                <a:lnTo>
                  <a:pt x="876" y="245"/>
                </a:lnTo>
                <a:lnTo>
                  <a:pt x="882" y="248"/>
                </a:lnTo>
                <a:lnTo>
                  <a:pt x="885" y="250"/>
                </a:lnTo>
                <a:lnTo>
                  <a:pt x="889" y="260"/>
                </a:lnTo>
                <a:lnTo>
                  <a:pt x="895" y="260"/>
                </a:lnTo>
                <a:lnTo>
                  <a:pt x="898" y="262"/>
                </a:lnTo>
                <a:lnTo>
                  <a:pt x="900" y="263"/>
                </a:lnTo>
                <a:lnTo>
                  <a:pt x="900" y="270"/>
                </a:lnTo>
                <a:lnTo>
                  <a:pt x="901" y="273"/>
                </a:lnTo>
                <a:lnTo>
                  <a:pt x="907" y="275"/>
                </a:lnTo>
                <a:lnTo>
                  <a:pt x="912" y="274"/>
                </a:lnTo>
                <a:lnTo>
                  <a:pt x="914" y="274"/>
                </a:lnTo>
                <a:lnTo>
                  <a:pt x="918" y="277"/>
                </a:lnTo>
                <a:lnTo>
                  <a:pt x="922" y="281"/>
                </a:lnTo>
                <a:lnTo>
                  <a:pt x="926" y="282"/>
                </a:lnTo>
                <a:lnTo>
                  <a:pt x="931" y="289"/>
                </a:lnTo>
                <a:lnTo>
                  <a:pt x="935" y="289"/>
                </a:lnTo>
                <a:lnTo>
                  <a:pt x="937" y="285"/>
                </a:lnTo>
                <a:lnTo>
                  <a:pt x="950" y="285"/>
                </a:lnTo>
                <a:lnTo>
                  <a:pt x="951" y="285"/>
                </a:lnTo>
                <a:lnTo>
                  <a:pt x="956" y="279"/>
                </a:lnTo>
                <a:lnTo>
                  <a:pt x="956" y="277"/>
                </a:lnTo>
                <a:lnTo>
                  <a:pt x="954" y="273"/>
                </a:lnTo>
                <a:lnTo>
                  <a:pt x="956" y="267"/>
                </a:lnTo>
                <a:lnTo>
                  <a:pt x="964" y="263"/>
                </a:lnTo>
                <a:lnTo>
                  <a:pt x="967" y="260"/>
                </a:lnTo>
                <a:lnTo>
                  <a:pt x="970" y="256"/>
                </a:lnTo>
                <a:lnTo>
                  <a:pt x="974" y="256"/>
                </a:lnTo>
                <a:lnTo>
                  <a:pt x="976" y="257"/>
                </a:lnTo>
                <a:lnTo>
                  <a:pt x="979" y="256"/>
                </a:lnTo>
                <a:lnTo>
                  <a:pt x="986" y="249"/>
                </a:lnTo>
                <a:lnTo>
                  <a:pt x="985" y="245"/>
                </a:lnTo>
                <a:lnTo>
                  <a:pt x="990" y="240"/>
                </a:lnTo>
                <a:lnTo>
                  <a:pt x="993" y="231"/>
                </a:lnTo>
                <a:lnTo>
                  <a:pt x="1000" y="228"/>
                </a:lnTo>
                <a:lnTo>
                  <a:pt x="1010" y="227"/>
                </a:lnTo>
                <a:lnTo>
                  <a:pt x="1014" y="223"/>
                </a:lnTo>
                <a:lnTo>
                  <a:pt x="1014" y="217"/>
                </a:lnTo>
                <a:lnTo>
                  <a:pt x="1024" y="215"/>
                </a:lnTo>
                <a:lnTo>
                  <a:pt x="1025" y="211"/>
                </a:lnTo>
                <a:lnTo>
                  <a:pt x="1025" y="208"/>
                </a:lnTo>
                <a:lnTo>
                  <a:pt x="1027" y="206"/>
                </a:lnTo>
                <a:lnTo>
                  <a:pt x="1035" y="203"/>
                </a:lnTo>
                <a:lnTo>
                  <a:pt x="1035" y="200"/>
                </a:lnTo>
                <a:lnTo>
                  <a:pt x="1033" y="196"/>
                </a:lnTo>
                <a:lnTo>
                  <a:pt x="1035" y="195"/>
                </a:lnTo>
                <a:lnTo>
                  <a:pt x="1039" y="191"/>
                </a:lnTo>
                <a:lnTo>
                  <a:pt x="1039" y="186"/>
                </a:lnTo>
                <a:lnTo>
                  <a:pt x="1038" y="181"/>
                </a:lnTo>
                <a:lnTo>
                  <a:pt x="1038" y="178"/>
                </a:lnTo>
                <a:lnTo>
                  <a:pt x="1039" y="173"/>
                </a:lnTo>
                <a:lnTo>
                  <a:pt x="1045" y="169"/>
                </a:lnTo>
                <a:lnTo>
                  <a:pt x="1050" y="166"/>
                </a:lnTo>
                <a:lnTo>
                  <a:pt x="1063" y="166"/>
                </a:lnTo>
                <a:lnTo>
                  <a:pt x="1066" y="166"/>
                </a:lnTo>
                <a:lnTo>
                  <a:pt x="1068" y="170"/>
                </a:lnTo>
                <a:lnTo>
                  <a:pt x="1071" y="170"/>
                </a:lnTo>
                <a:lnTo>
                  <a:pt x="1074" y="169"/>
                </a:lnTo>
                <a:lnTo>
                  <a:pt x="1075" y="165"/>
                </a:lnTo>
                <a:lnTo>
                  <a:pt x="1081" y="162"/>
                </a:lnTo>
                <a:lnTo>
                  <a:pt x="1082" y="158"/>
                </a:lnTo>
                <a:lnTo>
                  <a:pt x="1088" y="148"/>
                </a:lnTo>
                <a:lnTo>
                  <a:pt x="1093" y="148"/>
                </a:lnTo>
                <a:lnTo>
                  <a:pt x="1100" y="148"/>
                </a:lnTo>
                <a:lnTo>
                  <a:pt x="1106" y="144"/>
                </a:lnTo>
                <a:lnTo>
                  <a:pt x="1110" y="144"/>
                </a:lnTo>
                <a:lnTo>
                  <a:pt x="1114" y="148"/>
                </a:lnTo>
                <a:lnTo>
                  <a:pt x="1121" y="146"/>
                </a:lnTo>
                <a:lnTo>
                  <a:pt x="1122" y="142"/>
                </a:lnTo>
                <a:lnTo>
                  <a:pt x="1132" y="142"/>
                </a:lnTo>
                <a:lnTo>
                  <a:pt x="1138" y="144"/>
                </a:lnTo>
                <a:lnTo>
                  <a:pt x="1146" y="140"/>
                </a:lnTo>
                <a:lnTo>
                  <a:pt x="1145" y="137"/>
                </a:lnTo>
                <a:lnTo>
                  <a:pt x="1146" y="134"/>
                </a:lnTo>
                <a:lnTo>
                  <a:pt x="1160" y="129"/>
                </a:lnTo>
                <a:lnTo>
                  <a:pt x="1167" y="121"/>
                </a:lnTo>
                <a:lnTo>
                  <a:pt x="1172" y="124"/>
                </a:lnTo>
                <a:lnTo>
                  <a:pt x="1175" y="121"/>
                </a:lnTo>
                <a:lnTo>
                  <a:pt x="1177" y="121"/>
                </a:lnTo>
                <a:lnTo>
                  <a:pt x="1177" y="117"/>
                </a:lnTo>
                <a:lnTo>
                  <a:pt x="1185" y="112"/>
                </a:lnTo>
                <a:lnTo>
                  <a:pt x="1188" y="112"/>
                </a:lnTo>
                <a:lnTo>
                  <a:pt x="1189" y="115"/>
                </a:lnTo>
                <a:lnTo>
                  <a:pt x="1192" y="115"/>
                </a:lnTo>
                <a:lnTo>
                  <a:pt x="1193" y="115"/>
                </a:lnTo>
                <a:lnTo>
                  <a:pt x="1196" y="111"/>
                </a:lnTo>
                <a:lnTo>
                  <a:pt x="1200" y="109"/>
                </a:lnTo>
                <a:lnTo>
                  <a:pt x="1203" y="107"/>
                </a:lnTo>
                <a:lnTo>
                  <a:pt x="1211" y="109"/>
                </a:lnTo>
                <a:lnTo>
                  <a:pt x="1214" y="112"/>
                </a:lnTo>
                <a:lnTo>
                  <a:pt x="1218" y="112"/>
                </a:lnTo>
                <a:lnTo>
                  <a:pt x="1222" y="115"/>
                </a:lnTo>
                <a:lnTo>
                  <a:pt x="1228" y="117"/>
                </a:lnTo>
                <a:lnTo>
                  <a:pt x="1235" y="117"/>
                </a:lnTo>
                <a:lnTo>
                  <a:pt x="1235" y="124"/>
                </a:lnTo>
                <a:lnTo>
                  <a:pt x="1243" y="131"/>
                </a:lnTo>
                <a:lnTo>
                  <a:pt x="1250" y="129"/>
                </a:lnTo>
                <a:lnTo>
                  <a:pt x="1256" y="132"/>
                </a:lnTo>
                <a:lnTo>
                  <a:pt x="1260" y="136"/>
                </a:lnTo>
                <a:lnTo>
                  <a:pt x="1266" y="136"/>
                </a:lnTo>
                <a:lnTo>
                  <a:pt x="1271" y="140"/>
                </a:lnTo>
                <a:lnTo>
                  <a:pt x="1277" y="140"/>
                </a:lnTo>
                <a:lnTo>
                  <a:pt x="1282" y="140"/>
                </a:lnTo>
                <a:lnTo>
                  <a:pt x="1287" y="138"/>
                </a:lnTo>
                <a:lnTo>
                  <a:pt x="1295" y="132"/>
                </a:lnTo>
                <a:lnTo>
                  <a:pt x="1295" y="125"/>
                </a:lnTo>
                <a:lnTo>
                  <a:pt x="1301" y="120"/>
                </a:lnTo>
                <a:lnTo>
                  <a:pt x="1302" y="116"/>
                </a:lnTo>
                <a:lnTo>
                  <a:pt x="1307" y="109"/>
                </a:lnTo>
                <a:lnTo>
                  <a:pt x="1315" y="107"/>
                </a:lnTo>
                <a:lnTo>
                  <a:pt x="1315" y="101"/>
                </a:lnTo>
                <a:lnTo>
                  <a:pt x="1319" y="98"/>
                </a:lnTo>
                <a:lnTo>
                  <a:pt x="1324" y="98"/>
                </a:lnTo>
                <a:lnTo>
                  <a:pt x="1327" y="99"/>
                </a:lnTo>
                <a:lnTo>
                  <a:pt x="1331" y="98"/>
                </a:lnTo>
                <a:lnTo>
                  <a:pt x="1331" y="95"/>
                </a:lnTo>
                <a:lnTo>
                  <a:pt x="1334" y="89"/>
                </a:lnTo>
                <a:lnTo>
                  <a:pt x="1332" y="86"/>
                </a:lnTo>
                <a:lnTo>
                  <a:pt x="1335" y="81"/>
                </a:lnTo>
                <a:lnTo>
                  <a:pt x="1341" y="83"/>
                </a:lnTo>
                <a:lnTo>
                  <a:pt x="1359" y="75"/>
                </a:lnTo>
                <a:lnTo>
                  <a:pt x="1362" y="75"/>
                </a:lnTo>
                <a:lnTo>
                  <a:pt x="1366" y="75"/>
                </a:lnTo>
                <a:lnTo>
                  <a:pt x="1367" y="71"/>
                </a:lnTo>
                <a:lnTo>
                  <a:pt x="1373" y="70"/>
                </a:lnTo>
                <a:lnTo>
                  <a:pt x="1376" y="66"/>
                </a:lnTo>
                <a:lnTo>
                  <a:pt x="1381" y="66"/>
                </a:lnTo>
                <a:lnTo>
                  <a:pt x="1385" y="61"/>
                </a:lnTo>
                <a:lnTo>
                  <a:pt x="1385" y="57"/>
                </a:lnTo>
                <a:lnTo>
                  <a:pt x="1394" y="50"/>
                </a:lnTo>
                <a:lnTo>
                  <a:pt x="1396" y="50"/>
                </a:lnTo>
                <a:lnTo>
                  <a:pt x="1399" y="54"/>
                </a:lnTo>
                <a:lnTo>
                  <a:pt x="1406" y="53"/>
                </a:lnTo>
                <a:lnTo>
                  <a:pt x="1409" y="54"/>
                </a:lnTo>
                <a:lnTo>
                  <a:pt x="1410" y="50"/>
                </a:lnTo>
                <a:lnTo>
                  <a:pt x="1407" y="46"/>
                </a:lnTo>
                <a:lnTo>
                  <a:pt x="1413" y="41"/>
                </a:lnTo>
                <a:lnTo>
                  <a:pt x="1416" y="41"/>
                </a:lnTo>
                <a:lnTo>
                  <a:pt x="1420" y="45"/>
                </a:lnTo>
                <a:lnTo>
                  <a:pt x="1421" y="45"/>
                </a:lnTo>
                <a:lnTo>
                  <a:pt x="1434" y="37"/>
                </a:lnTo>
                <a:lnTo>
                  <a:pt x="1437" y="32"/>
                </a:lnTo>
                <a:lnTo>
                  <a:pt x="1441" y="30"/>
                </a:lnTo>
                <a:lnTo>
                  <a:pt x="1441" y="28"/>
                </a:lnTo>
                <a:lnTo>
                  <a:pt x="1451" y="28"/>
                </a:lnTo>
                <a:lnTo>
                  <a:pt x="1455" y="26"/>
                </a:lnTo>
                <a:lnTo>
                  <a:pt x="1469" y="26"/>
                </a:lnTo>
                <a:lnTo>
                  <a:pt x="1473" y="28"/>
                </a:lnTo>
                <a:lnTo>
                  <a:pt x="1477" y="28"/>
                </a:lnTo>
                <a:lnTo>
                  <a:pt x="1492" y="22"/>
                </a:lnTo>
                <a:lnTo>
                  <a:pt x="1508" y="20"/>
                </a:lnTo>
                <a:lnTo>
                  <a:pt x="1519" y="13"/>
                </a:lnTo>
                <a:lnTo>
                  <a:pt x="1524" y="14"/>
                </a:lnTo>
                <a:lnTo>
                  <a:pt x="1533" y="14"/>
                </a:lnTo>
                <a:lnTo>
                  <a:pt x="1538" y="9"/>
                </a:lnTo>
                <a:lnTo>
                  <a:pt x="1541" y="5"/>
                </a:lnTo>
                <a:lnTo>
                  <a:pt x="1544" y="1"/>
                </a:lnTo>
                <a:lnTo>
                  <a:pt x="1551" y="5"/>
                </a:lnTo>
                <a:lnTo>
                  <a:pt x="1561" y="5"/>
                </a:lnTo>
                <a:lnTo>
                  <a:pt x="1567" y="4"/>
                </a:lnTo>
                <a:lnTo>
                  <a:pt x="1570" y="5"/>
                </a:lnTo>
                <a:lnTo>
                  <a:pt x="1570" y="12"/>
                </a:lnTo>
                <a:lnTo>
                  <a:pt x="1573" y="16"/>
                </a:lnTo>
                <a:lnTo>
                  <a:pt x="1577" y="9"/>
                </a:lnTo>
                <a:lnTo>
                  <a:pt x="1576" y="9"/>
                </a:lnTo>
                <a:lnTo>
                  <a:pt x="1575" y="5"/>
                </a:lnTo>
                <a:lnTo>
                  <a:pt x="1577" y="5"/>
                </a:lnTo>
                <a:lnTo>
                  <a:pt x="1579" y="0"/>
                </a:lnTo>
                <a:lnTo>
                  <a:pt x="1581" y="0"/>
                </a:lnTo>
                <a:lnTo>
                  <a:pt x="1584" y="1"/>
                </a:lnTo>
                <a:lnTo>
                  <a:pt x="1572" y="26"/>
                </a:lnTo>
                <a:lnTo>
                  <a:pt x="1570" y="32"/>
                </a:lnTo>
                <a:lnTo>
                  <a:pt x="1566" y="42"/>
                </a:lnTo>
                <a:lnTo>
                  <a:pt x="1565" y="54"/>
                </a:lnTo>
                <a:lnTo>
                  <a:pt x="1558" y="66"/>
                </a:lnTo>
                <a:lnTo>
                  <a:pt x="1556" y="67"/>
                </a:lnTo>
                <a:lnTo>
                  <a:pt x="1555" y="62"/>
                </a:lnTo>
                <a:lnTo>
                  <a:pt x="1558" y="62"/>
                </a:lnTo>
                <a:lnTo>
                  <a:pt x="1559" y="61"/>
                </a:lnTo>
                <a:lnTo>
                  <a:pt x="1556" y="58"/>
                </a:lnTo>
                <a:lnTo>
                  <a:pt x="1556" y="57"/>
                </a:lnTo>
                <a:lnTo>
                  <a:pt x="1559" y="57"/>
                </a:lnTo>
                <a:lnTo>
                  <a:pt x="1559" y="54"/>
                </a:lnTo>
                <a:lnTo>
                  <a:pt x="1556" y="46"/>
                </a:lnTo>
                <a:lnTo>
                  <a:pt x="1554" y="46"/>
                </a:lnTo>
                <a:lnTo>
                  <a:pt x="1549" y="49"/>
                </a:lnTo>
                <a:lnTo>
                  <a:pt x="1548" y="46"/>
                </a:lnTo>
                <a:lnTo>
                  <a:pt x="1542" y="50"/>
                </a:lnTo>
                <a:lnTo>
                  <a:pt x="1538" y="57"/>
                </a:lnTo>
                <a:lnTo>
                  <a:pt x="1537" y="58"/>
                </a:lnTo>
                <a:lnTo>
                  <a:pt x="1540" y="62"/>
                </a:lnTo>
                <a:lnTo>
                  <a:pt x="1545" y="58"/>
                </a:lnTo>
                <a:lnTo>
                  <a:pt x="1542" y="66"/>
                </a:lnTo>
                <a:lnTo>
                  <a:pt x="1544" y="71"/>
                </a:lnTo>
                <a:lnTo>
                  <a:pt x="1548" y="75"/>
                </a:lnTo>
                <a:lnTo>
                  <a:pt x="1554" y="76"/>
                </a:lnTo>
                <a:lnTo>
                  <a:pt x="1551" y="99"/>
                </a:lnTo>
                <a:lnTo>
                  <a:pt x="1548" y="106"/>
                </a:lnTo>
                <a:lnTo>
                  <a:pt x="1540" y="103"/>
                </a:lnTo>
                <a:lnTo>
                  <a:pt x="1540" y="101"/>
                </a:lnTo>
                <a:lnTo>
                  <a:pt x="1542" y="99"/>
                </a:lnTo>
                <a:lnTo>
                  <a:pt x="1540" y="95"/>
                </a:lnTo>
                <a:lnTo>
                  <a:pt x="1535" y="98"/>
                </a:lnTo>
                <a:lnTo>
                  <a:pt x="1535" y="99"/>
                </a:lnTo>
                <a:lnTo>
                  <a:pt x="1534" y="101"/>
                </a:lnTo>
                <a:lnTo>
                  <a:pt x="1524" y="103"/>
                </a:lnTo>
                <a:lnTo>
                  <a:pt x="1519" y="108"/>
                </a:lnTo>
                <a:lnTo>
                  <a:pt x="1517" y="108"/>
                </a:lnTo>
                <a:lnTo>
                  <a:pt x="1517" y="107"/>
                </a:lnTo>
                <a:lnTo>
                  <a:pt x="1519" y="103"/>
                </a:lnTo>
                <a:lnTo>
                  <a:pt x="1516" y="95"/>
                </a:lnTo>
                <a:lnTo>
                  <a:pt x="1517" y="91"/>
                </a:lnTo>
                <a:lnTo>
                  <a:pt x="1513" y="94"/>
                </a:lnTo>
                <a:lnTo>
                  <a:pt x="1512" y="98"/>
                </a:lnTo>
                <a:lnTo>
                  <a:pt x="1512" y="99"/>
                </a:lnTo>
                <a:lnTo>
                  <a:pt x="1515" y="101"/>
                </a:lnTo>
                <a:lnTo>
                  <a:pt x="1509" y="103"/>
                </a:lnTo>
                <a:lnTo>
                  <a:pt x="1505" y="101"/>
                </a:lnTo>
                <a:lnTo>
                  <a:pt x="1504" y="98"/>
                </a:lnTo>
                <a:lnTo>
                  <a:pt x="1505" y="92"/>
                </a:lnTo>
                <a:lnTo>
                  <a:pt x="1501" y="89"/>
                </a:lnTo>
                <a:lnTo>
                  <a:pt x="1502" y="94"/>
                </a:lnTo>
                <a:lnTo>
                  <a:pt x="1501" y="95"/>
                </a:lnTo>
                <a:lnTo>
                  <a:pt x="1496" y="92"/>
                </a:lnTo>
                <a:lnTo>
                  <a:pt x="1491" y="91"/>
                </a:lnTo>
                <a:lnTo>
                  <a:pt x="1490" y="91"/>
                </a:lnTo>
                <a:lnTo>
                  <a:pt x="1491" y="95"/>
                </a:lnTo>
                <a:lnTo>
                  <a:pt x="1494" y="95"/>
                </a:lnTo>
                <a:lnTo>
                  <a:pt x="1498" y="106"/>
                </a:lnTo>
                <a:lnTo>
                  <a:pt x="1498" y="108"/>
                </a:lnTo>
                <a:lnTo>
                  <a:pt x="1496" y="108"/>
                </a:lnTo>
                <a:lnTo>
                  <a:pt x="1499" y="115"/>
                </a:lnTo>
                <a:lnTo>
                  <a:pt x="1498" y="116"/>
                </a:lnTo>
                <a:lnTo>
                  <a:pt x="1498" y="117"/>
                </a:lnTo>
                <a:lnTo>
                  <a:pt x="1494" y="121"/>
                </a:lnTo>
                <a:lnTo>
                  <a:pt x="1492" y="121"/>
                </a:lnTo>
                <a:lnTo>
                  <a:pt x="1491" y="117"/>
                </a:lnTo>
                <a:lnTo>
                  <a:pt x="1490" y="117"/>
                </a:lnTo>
                <a:lnTo>
                  <a:pt x="1490" y="121"/>
                </a:lnTo>
                <a:lnTo>
                  <a:pt x="1484" y="125"/>
                </a:lnTo>
                <a:lnTo>
                  <a:pt x="1485" y="128"/>
                </a:lnTo>
                <a:lnTo>
                  <a:pt x="1490" y="125"/>
                </a:lnTo>
                <a:lnTo>
                  <a:pt x="1498" y="125"/>
                </a:lnTo>
                <a:lnTo>
                  <a:pt x="1505" y="129"/>
                </a:lnTo>
                <a:lnTo>
                  <a:pt x="1504" y="132"/>
                </a:lnTo>
                <a:lnTo>
                  <a:pt x="1506" y="133"/>
                </a:lnTo>
                <a:lnTo>
                  <a:pt x="1508" y="133"/>
                </a:lnTo>
                <a:lnTo>
                  <a:pt x="1513" y="140"/>
                </a:lnTo>
                <a:lnTo>
                  <a:pt x="1513" y="142"/>
                </a:lnTo>
                <a:lnTo>
                  <a:pt x="1510" y="144"/>
                </a:lnTo>
                <a:lnTo>
                  <a:pt x="1512" y="148"/>
                </a:lnTo>
                <a:lnTo>
                  <a:pt x="1509" y="148"/>
                </a:lnTo>
                <a:lnTo>
                  <a:pt x="1512" y="151"/>
                </a:lnTo>
                <a:lnTo>
                  <a:pt x="1513" y="150"/>
                </a:lnTo>
                <a:lnTo>
                  <a:pt x="1513" y="144"/>
                </a:lnTo>
                <a:lnTo>
                  <a:pt x="1515" y="144"/>
                </a:lnTo>
                <a:lnTo>
                  <a:pt x="1515" y="146"/>
                </a:lnTo>
                <a:lnTo>
                  <a:pt x="1516" y="146"/>
                </a:lnTo>
                <a:lnTo>
                  <a:pt x="1516" y="144"/>
                </a:lnTo>
                <a:lnTo>
                  <a:pt x="1520" y="140"/>
                </a:lnTo>
                <a:lnTo>
                  <a:pt x="1520" y="137"/>
                </a:lnTo>
                <a:lnTo>
                  <a:pt x="1521" y="134"/>
                </a:lnTo>
                <a:lnTo>
                  <a:pt x="1523" y="133"/>
                </a:lnTo>
                <a:lnTo>
                  <a:pt x="1526" y="136"/>
                </a:lnTo>
                <a:lnTo>
                  <a:pt x="1531" y="144"/>
                </a:lnTo>
                <a:lnTo>
                  <a:pt x="1531" y="154"/>
                </a:lnTo>
                <a:lnTo>
                  <a:pt x="1529" y="160"/>
                </a:lnTo>
                <a:lnTo>
                  <a:pt x="1527" y="161"/>
                </a:lnTo>
                <a:lnTo>
                  <a:pt x="1523" y="161"/>
                </a:lnTo>
                <a:lnTo>
                  <a:pt x="1520" y="165"/>
                </a:lnTo>
                <a:lnTo>
                  <a:pt x="1520" y="166"/>
                </a:lnTo>
                <a:lnTo>
                  <a:pt x="1513" y="169"/>
                </a:lnTo>
                <a:lnTo>
                  <a:pt x="1510" y="170"/>
                </a:lnTo>
                <a:lnTo>
                  <a:pt x="1516" y="170"/>
                </a:lnTo>
                <a:lnTo>
                  <a:pt x="1515" y="173"/>
                </a:lnTo>
                <a:lnTo>
                  <a:pt x="1517" y="174"/>
                </a:lnTo>
                <a:lnTo>
                  <a:pt x="1517" y="176"/>
                </a:lnTo>
                <a:lnTo>
                  <a:pt x="1516" y="179"/>
                </a:lnTo>
                <a:lnTo>
                  <a:pt x="1519" y="183"/>
                </a:lnTo>
                <a:lnTo>
                  <a:pt x="1520" y="183"/>
                </a:lnTo>
                <a:lnTo>
                  <a:pt x="1520" y="179"/>
                </a:lnTo>
                <a:lnTo>
                  <a:pt x="1520" y="178"/>
                </a:lnTo>
                <a:lnTo>
                  <a:pt x="1527" y="174"/>
                </a:lnTo>
                <a:lnTo>
                  <a:pt x="1529" y="176"/>
                </a:lnTo>
                <a:lnTo>
                  <a:pt x="1531" y="182"/>
                </a:lnTo>
                <a:lnTo>
                  <a:pt x="1535" y="181"/>
                </a:lnTo>
                <a:lnTo>
                  <a:pt x="1541" y="183"/>
                </a:lnTo>
                <a:lnTo>
                  <a:pt x="1541" y="188"/>
                </a:lnTo>
                <a:lnTo>
                  <a:pt x="1537" y="187"/>
                </a:lnTo>
                <a:lnTo>
                  <a:pt x="1534" y="191"/>
                </a:lnTo>
                <a:lnTo>
                  <a:pt x="1535" y="192"/>
                </a:lnTo>
                <a:lnTo>
                  <a:pt x="1537" y="188"/>
                </a:lnTo>
                <a:lnTo>
                  <a:pt x="1544" y="196"/>
                </a:lnTo>
                <a:lnTo>
                  <a:pt x="1542" y="200"/>
                </a:lnTo>
                <a:lnTo>
                  <a:pt x="1547" y="202"/>
                </a:lnTo>
                <a:lnTo>
                  <a:pt x="1547" y="203"/>
                </a:lnTo>
                <a:lnTo>
                  <a:pt x="1545" y="206"/>
                </a:lnTo>
                <a:lnTo>
                  <a:pt x="1547" y="208"/>
                </a:lnTo>
                <a:lnTo>
                  <a:pt x="1545" y="210"/>
                </a:lnTo>
                <a:lnTo>
                  <a:pt x="1547" y="211"/>
                </a:lnTo>
                <a:lnTo>
                  <a:pt x="1549" y="207"/>
                </a:lnTo>
                <a:lnTo>
                  <a:pt x="1552" y="206"/>
                </a:lnTo>
                <a:lnTo>
                  <a:pt x="1552" y="202"/>
                </a:lnTo>
                <a:lnTo>
                  <a:pt x="1554" y="196"/>
                </a:lnTo>
                <a:lnTo>
                  <a:pt x="1556" y="200"/>
                </a:lnTo>
                <a:lnTo>
                  <a:pt x="1559" y="202"/>
                </a:lnTo>
                <a:lnTo>
                  <a:pt x="1558" y="202"/>
                </a:lnTo>
                <a:lnTo>
                  <a:pt x="1558" y="203"/>
                </a:lnTo>
                <a:lnTo>
                  <a:pt x="1562" y="204"/>
                </a:lnTo>
                <a:lnTo>
                  <a:pt x="1562" y="210"/>
                </a:lnTo>
                <a:lnTo>
                  <a:pt x="1562" y="213"/>
                </a:lnTo>
                <a:lnTo>
                  <a:pt x="1563" y="215"/>
                </a:lnTo>
                <a:lnTo>
                  <a:pt x="1561" y="219"/>
                </a:lnTo>
                <a:lnTo>
                  <a:pt x="1561" y="221"/>
                </a:lnTo>
                <a:lnTo>
                  <a:pt x="1558" y="224"/>
                </a:lnTo>
                <a:lnTo>
                  <a:pt x="1556" y="229"/>
                </a:lnTo>
                <a:lnTo>
                  <a:pt x="1554" y="235"/>
                </a:lnTo>
                <a:lnTo>
                  <a:pt x="1549" y="227"/>
                </a:lnTo>
                <a:lnTo>
                  <a:pt x="1548" y="225"/>
                </a:lnTo>
                <a:lnTo>
                  <a:pt x="1538" y="227"/>
                </a:lnTo>
                <a:lnTo>
                  <a:pt x="1533" y="231"/>
                </a:lnTo>
                <a:lnTo>
                  <a:pt x="1524" y="231"/>
                </a:lnTo>
                <a:lnTo>
                  <a:pt x="1523" y="228"/>
                </a:lnTo>
                <a:lnTo>
                  <a:pt x="1526" y="229"/>
                </a:lnTo>
                <a:lnTo>
                  <a:pt x="1527" y="227"/>
                </a:lnTo>
                <a:lnTo>
                  <a:pt x="1524" y="225"/>
                </a:lnTo>
                <a:lnTo>
                  <a:pt x="1521" y="225"/>
                </a:lnTo>
                <a:lnTo>
                  <a:pt x="1519" y="215"/>
                </a:lnTo>
                <a:lnTo>
                  <a:pt x="1515" y="215"/>
                </a:lnTo>
                <a:lnTo>
                  <a:pt x="1519" y="224"/>
                </a:lnTo>
                <a:lnTo>
                  <a:pt x="1517" y="228"/>
                </a:lnTo>
                <a:lnTo>
                  <a:pt x="1519" y="232"/>
                </a:lnTo>
                <a:lnTo>
                  <a:pt x="1516" y="236"/>
                </a:lnTo>
                <a:lnTo>
                  <a:pt x="1521" y="237"/>
                </a:lnTo>
                <a:lnTo>
                  <a:pt x="1527" y="240"/>
                </a:lnTo>
                <a:lnTo>
                  <a:pt x="1537" y="237"/>
                </a:lnTo>
                <a:lnTo>
                  <a:pt x="1541" y="241"/>
                </a:lnTo>
                <a:lnTo>
                  <a:pt x="1540" y="245"/>
                </a:lnTo>
                <a:lnTo>
                  <a:pt x="1531" y="252"/>
                </a:lnTo>
                <a:lnTo>
                  <a:pt x="1533" y="253"/>
                </a:lnTo>
                <a:lnTo>
                  <a:pt x="1538" y="253"/>
                </a:lnTo>
                <a:lnTo>
                  <a:pt x="1535" y="254"/>
                </a:lnTo>
                <a:lnTo>
                  <a:pt x="1529" y="253"/>
                </a:lnTo>
                <a:lnTo>
                  <a:pt x="1529" y="254"/>
                </a:lnTo>
                <a:lnTo>
                  <a:pt x="1531" y="256"/>
                </a:lnTo>
                <a:lnTo>
                  <a:pt x="1529" y="256"/>
                </a:lnTo>
                <a:lnTo>
                  <a:pt x="1529" y="257"/>
                </a:lnTo>
                <a:lnTo>
                  <a:pt x="1530" y="258"/>
                </a:lnTo>
                <a:lnTo>
                  <a:pt x="1530" y="260"/>
                </a:lnTo>
                <a:lnTo>
                  <a:pt x="1534" y="260"/>
                </a:lnTo>
                <a:lnTo>
                  <a:pt x="1540" y="262"/>
                </a:lnTo>
                <a:lnTo>
                  <a:pt x="1541" y="272"/>
                </a:lnTo>
                <a:lnTo>
                  <a:pt x="1537" y="278"/>
                </a:lnTo>
                <a:lnTo>
                  <a:pt x="1540" y="285"/>
                </a:lnTo>
                <a:lnTo>
                  <a:pt x="1541" y="290"/>
                </a:lnTo>
                <a:lnTo>
                  <a:pt x="1542" y="289"/>
                </a:lnTo>
                <a:lnTo>
                  <a:pt x="1545" y="282"/>
                </a:lnTo>
                <a:lnTo>
                  <a:pt x="1552" y="281"/>
                </a:lnTo>
                <a:lnTo>
                  <a:pt x="1555" y="275"/>
                </a:lnTo>
                <a:lnTo>
                  <a:pt x="1561" y="272"/>
                </a:lnTo>
                <a:lnTo>
                  <a:pt x="1561" y="270"/>
                </a:lnTo>
                <a:lnTo>
                  <a:pt x="1559" y="272"/>
                </a:lnTo>
                <a:lnTo>
                  <a:pt x="1558" y="272"/>
                </a:lnTo>
                <a:lnTo>
                  <a:pt x="1563" y="263"/>
                </a:lnTo>
                <a:lnTo>
                  <a:pt x="1566" y="245"/>
                </a:lnTo>
                <a:lnTo>
                  <a:pt x="1569" y="240"/>
                </a:lnTo>
                <a:lnTo>
                  <a:pt x="1572" y="240"/>
                </a:lnTo>
                <a:lnTo>
                  <a:pt x="1567" y="277"/>
                </a:lnTo>
                <a:lnTo>
                  <a:pt x="1567" y="290"/>
                </a:lnTo>
                <a:lnTo>
                  <a:pt x="1570" y="311"/>
                </a:lnTo>
                <a:lnTo>
                  <a:pt x="1575" y="331"/>
                </a:lnTo>
                <a:lnTo>
                  <a:pt x="1584" y="360"/>
                </a:lnTo>
                <a:lnTo>
                  <a:pt x="1591" y="376"/>
                </a:lnTo>
                <a:lnTo>
                  <a:pt x="1600" y="392"/>
                </a:lnTo>
                <a:lnTo>
                  <a:pt x="1631" y="444"/>
                </a:lnTo>
                <a:lnTo>
                  <a:pt x="1640" y="461"/>
                </a:lnTo>
                <a:lnTo>
                  <a:pt x="1650" y="476"/>
                </a:lnTo>
                <a:lnTo>
                  <a:pt x="1679" y="503"/>
                </a:lnTo>
                <a:lnTo>
                  <a:pt x="1683" y="513"/>
                </a:lnTo>
                <a:lnTo>
                  <a:pt x="1684" y="526"/>
                </a:lnTo>
                <a:lnTo>
                  <a:pt x="1690" y="538"/>
                </a:lnTo>
                <a:lnTo>
                  <a:pt x="1692" y="543"/>
                </a:lnTo>
                <a:lnTo>
                  <a:pt x="1697" y="544"/>
                </a:lnTo>
                <a:lnTo>
                  <a:pt x="1697" y="548"/>
                </a:lnTo>
                <a:lnTo>
                  <a:pt x="1701" y="551"/>
                </a:lnTo>
                <a:lnTo>
                  <a:pt x="1698" y="552"/>
                </a:lnTo>
                <a:lnTo>
                  <a:pt x="1698" y="556"/>
                </a:lnTo>
                <a:lnTo>
                  <a:pt x="1700" y="560"/>
                </a:lnTo>
                <a:lnTo>
                  <a:pt x="1697" y="564"/>
                </a:lnTo>
                <a:lnTo>
                  <a:pt x="1698" y="573"/>
                </a:lnTo>
                <a:lnTo>
                  <a:pt x="1694" y="603"/>
                </a:lnTo>
                <a:lnTo>
                  <a:pt x="1694" y="606"/>
                </a:lnTo>
                <a:lnTo>
                  <a:pt x="1695" y="606"/>
                </a:lnTo>
                <a:lnTo>
                  <a:pt x="1694" y="608"/>
                </a:lnTo>
                <a:lnTo>
                  <a:pt x="1695" y="611"/>
                </a:lnTo>
                <a:lnTo>
                  <a:pt x="1700" y="611"/>
                </a:lnTo>
                <a:lnTo>
                  <a:pt x="1701" y="615"/>
                </a:lnTo>
                <a:lnTo>
                  <a:pt x="1704" y="618"/>
                </a:lnTo>
                <a:lnTo>
                  <a:pt x="1706" y="625"/>
                </a:lnTo>
                <a:lnTo>
                  <a:pt x="1704" y="634"/>
                </a:lnTo>
                <a:lnTo>
                  <a:pt x="1701" y="653"/>
                </a:lnTo>
                <a:lnTo>
                  <a:pt x="1704" y="664"/>
                </a:lnTo>
                <a:lnTo>
                  <a:pt x="1706" y="667"/>
                </a:lnTo>
                <a:lnTo>
                  <a:pt x="1705" y="675"/>
                </a:lnTo>
                <a:lnTo>
                  <a:pt x="1708" y="679"/>
                </a:lnTo>
                <a:lnTo>
                  <a:pt x="1706" y="693"/>
                </a:lnTo>
                <a:lnTo>
                  <a:pt x="1711" y="705"/>
                </a:lnTo>
                <a:lnTo>
                  <a:pt x="1714" y="705"/>
                </a:lnTo>
                <a:lnTo>
                  <a:pt x="1716" y="715"/>
                </a:lnTo>
                <a:lnTo>
                  <a:pt x="1719" y="717"/>
                </a:lnTo>
                <a:lnTo>
                  <a:pt x="1720" y="722"/>
                </a:lnTo>
                <a:lnTo>
                  <a:pt x="1720" y="730"/>
                </a:lnTo>
                <a:lnTo>
                  <a:pt x="1723" y="747"/>
                </a:lnTo>
                <a:lnTo>
                  <a:pt x="1726" y="756"/>
                </a:lnTo>
                <a:lnTo>
                  <a:pt x="1736" y="767"/>
                </a:lnTo>
                <a:lnTo>
                  <a:pt x="1736" y="770"/>
                </a:lnTo>
                <a:lnTo>
                  <a:pt x="1731" y="788"/>
                </a:lnTo>
                <a:lnTo>
                  <a:pt x="1733" y="791"/>
                </a:lnTo>
                <a:lnTo>
                  <a:pt x="1736" y="791"/>
                </a:lnTo>
                <a:lnTo>
                  <a:pt x="1736" y="793"/>
                </a:lnTo>
                <a:lnTo>
                  <a:pt x="1730" y="806"/>
                </a:lnTo>
                <a:lnTo>
                  <a:pt x="1729" y="814"/>
                </a:lnTo>
                <a:lnTo>
                  <a:pt x="1730" y="820"/>
                </a:lnTo>
                <a:lnTo>
                  <a:pt x="1733" y="825"/>
                </a:lnTo>
                <a:lnTo>
                  <a:pt x="1736" y="825"/>
                </a:lnTo>
                <a:lnTo>
                  <a:pt x="1739" y="825"/>
                </a:lnTo>
                <a:lnTo>
                  <a:pt x="1740" y="834"/>
                </a:lnTo>
                <a:lnTo>
                  <a:pt x="1737" y="859"/>
                </a:lnTo>
                <a:lnTo>
                  <a:pt x="1739" y="868"/>
                </a:lnTo>
                <a:lnTo>
                  <a:pt x="1739" y="876"/>
                </a:lnTo>
                <a:lnTo>
                  <a:pt x="1740" y="891"/>
                </a:lnTo>
                <a:lnTo>
                  <a:pt x="1747" y="911"/>
                </a:lnTo>
                <a:lnTo>
                  <a:pt x="1747" y="926"/>
                </a:lnTo>
                <a:lnTo>
                  <a:pt x="1747" y="940"/>
                </a:lnTo>
                <a:lnTo>
                  <a:pt x="1745" y="943"/>
                </a:lnTo>
                <a:lnTo>
                  <a:pt x="1747" y="949"/>
                </a:lnTo>
                <a:lnTo>
                  <a:pt x="1745" y="954"/>
                </a:lnTo>
                <a:lnTo>
                  <a:pt x="1747" y="956"/>
                </a:lnTo>
                <a:lnTo>
                  <a:pt x="1745" y="958"/>
                </a:lnTo>
                <a:lnTo>
                  <a:pt x="1745" y="963"/>
                </a:lnTo>
                <a:lnTo>
                  <a:pt x="1742" y="988"/>
                </a:lnTo>
                <a:lnTo>
                  <a:pt x="1747" y="990"/>
                </a:lnTo>
                <a:lnTo>
                  <a:pt x="1748" y="992"/>
                </a:lnTo>
                <a:lnTo>
                  <a:pt x="1750" y="992"/>
                </a:lnTo>
                <a:lnTo>
                  <a:pt x="1750" y="993"/>
                </a:lnTo>
                <a:lnTo>
                  <a:pt x="1751" y="993"/>
                </a:lnTo>
                <a:lnTo>
                  <a:pt x="1750" y="996"/>
                </a:lnTo>
                <a:lnTo>
                  <a:pt x="1751" y="998"/>
                </a:lnTo>
                <a:lnTo>
                  <a:pt x="1750" y="1003"/>
                </a:lnTo>
                <a:lnTo>
                  <a:pt x="1748" y="1004"/>
                </a:lnTo>
                <a:lnTo>
                  <a:pt x="1747" y="1003"/>
                </a:lnTo>
                <a:lnTo>
                  <a:pt x="1747" y="1005"/>
                </a:lnTo>
                <a:lnTo>
                  <a:pt x="1751" y="1008"/>
                </a:lnTo>
                <a:lnTo>
                  <a:pt x="1750" y="1011"/>
                </a:lnTo>
                <a:lnTo>
                  <a:pt x="1751" y="1011"/>
                </a:lnTo>
                <a:lnTo>
                  <a:pt x="1751" y="1012"/>
                </a:lnTo>
                <a:lnTo>
                  <a:pt x="1752" y="1012"/>
                </a:lnTo>
                <a:lnTo>
                  <a:pt x="1751" y="1015"/>
                </a:lnTo>
                <a:lnTo>
                  <a:pt x="1748" y="1018"/>
                </a:lnTo>
                <a:lnTo>
                  <a:pt x="1754" y="1016"/>
                </a:lnTo>
                <a:lnTo>
                  <a:pt x="1754" y="1020"/>
                </a:lnTo>
                <a:lnTo>
                  <a:pt x="1755" y="1020"/>
                </a:lnTo>
                <a:lnTo>
                  <a:pt x="1758" y="1018"/>
                </a:lnTo>
                <a:lnTo>
                  <a:pt x="1759" y="1020"/>
                </a:lnTo>
                <a:lnTo>
                  <a:pt x="1759" y="1018"/>
                </a:lnTo>
                <a:lnTo>
                  <a:pt x="1762" y="1012"/>
                </a:lnTo>
                <a:lnTo>
                  <a:pt x="1761" y="1012"/>
                </a:lnTo>
                <a:lnTo>
                  <a:pt x="1758" y="1012"/>
                </a:lnTo>
                <a:lnTo>
                  <a:pt x="1758" y="1008"/>
                </a:lnTo>
                <a:lnTo>
                  <a:pt x="1766" y="1000"/>
                </a:lnTo>
                <a:lnTo>
                  <a:pt x="1766" y="1003"/>
                </a:lnTo>
                <a:lnTo>
                  <a:pt x="1762" y="1005"/>
                </a:lnTo>
                <a:lnTo>
                  <a:pt x="1761" y="1011"/>
                </a:lnTo>
                <a:lnTo>
                  <a:pt x="1766" y="1010"/>
                </a:lnTo>
                <a:lnTo>
                  <a:pt x="1767" y="1005"/>
                </a:lnTo>
                <a:lnTo>
                  <a:pt x="1775" y="1007"/>
                </a:lnTo>
                <a:lnTo>
                  <a:pt x="1775" y="1010"/>
                </a:lnTo>
                <a:lnTo>
                  <a:pt x="1779" y="1011"/>
                </a:lnTo>
                <a:lnTo>
                  <a:pt x="1779" y="1020"/>
                </a:lnTo>
                <a:lnTo>
                  <a:pt x="1781" y="1016"/>
                </a:lnTo>
                <a:lnTo>
                  <a:pt x="1783" y="1012"/>
                </a:lnTo>
                <a:lnTo>
                  <a:pt x="1784" y="1015"/>
                </a:lnTo>
                <a:lnTo>
                  <a:pt x="1784" y="1011"/>
                </a:lnTo>
                <a:lnTo>
                  <a:pt x="1787" y="1010"/>
                </a:lnTo>
                <a:lnTo>
                  <a:pt x="1789" y="1010"/>
                </a:lnTo>
                <a:lnTo>
                  <a:pt x="1789" y="1007"/>
                </a:lnTo>
                <a:lnTo>
                  <a:pt x="1791" y="1008"/>
                </a:lnTo>
                <a:lnTo>
                  <a:pt x="1793" y="1007"/>
                </a:lnTo>
                <a:lnTo>
                  <a:pt x="1795" y="1007"/>
                </a:lnTo>
                <a:lnTo>
                  <a:pt x="1797" y="1010"/>
                </a:lnTo>
                <a:lnTo>
                  <a:pt x="1798" y="1015"/>
                </a:lnTo>
                <a:lnTo>
                  <a:pt x="1800" y="1004"/>
                </a:lnTo>
                <a:lnTo>
                  <a:pt x="1804" y="999"/>
                </a:lnTo>
                <a:lnTo>
                  <a:pt x="1805" y="1000"/>
                </a:lnTo>
                <a:lnTo>
                  <a:pt x="1808" y="999"/>
                </a:lnTo>
                <a:lnTo>
                  <a:pt x="1808" y="998"/>
                </a:lnTo>
                <a:lnTo>
                  <a:pt x="1811" y="998"/>
                </a:lnTo>
                <a:lnTo>
                  <a:pt x="1815" y="999"/>
                </a:lnTo>
                <a:lnTo>
                  <a:pt x="1811" y="993"/>
                </a:lnTo>
                <a:lnTo>
                  <a:pt x="1812" y="988"/>
                </a:lnTo>
                <a:lnTo>
                  <a:pt x="1816" y="990"/>
                </a:lnTo>
                <a:lnTo>
                  <a:pt x="1819" y="990"/>
                </a:lnTo>
                <a:lnTo>
                  <a:pt x="1816" y="988"/>
                </a:lnTo>
                <a:lnTo>
                  <a:pt x="1811" y="984"/>
                </a:lnTo>
                <a:lnTo>
                  <a:pt x="1814" y="979"/>
                </a:lnTo>
                <a:lnTo>
                  <a:pt x="1822" y="971"/>
                </a:lnTo>
                <a:lnTo>
                  <a:pt x="1837" y="963"/>
                </a:lnTo>
                <a:lnTo>
                  <a:pt x="1837" y="961"/>
                </a:lnTo>
                <a:lnTo>
                  <a:pt x="1840" y="959"/>
                </a:lnTo>
                <a:lnTo>
                  <a:pt x="1839" y="955"/>
                </a:lnTo>
                <a:lnTo>
                  <a:pt x="1839" y="954"/>
                </a:lnTo>
                <a:lnTo>
                  <a:pt x="1833" y="941"/>
                </a:lnTo>
                <a:lnTo>
                  <a:pt x="1836" y="938"/>
                </a:lnTo>
                <a:lnTo>
                  <a:pt x="1840" y="933"/>
                </a:lnTo>
                <a:lnTo>
                  <a:pt x="1844" y="931"/>
                </a:lnTo>
                <a:lnTo>
                  <a:pt x="1844" y="926"/>
                </a:lnTo>
                <a:lnTo>
                  <a:pt x="1847" y="925"/>
                </a:lnTo>
                <a:lnTo>
                  <a:pt x="1849" y="917"/>
                </a:lnTo>
                <a:lnTo>
                  <a:pt x="1851" y="916"/>
                </a:lnTo>
                <a:lnTo>
                  <a:pt x="1862" y="917"/>
                </a:lnTo>
                <a:lnTo>
                  <a:pt x="1868" y="918"/>
                </a:lnTo>
                <a:lnTo>
                  <a:pt x="1871" y="923"/>
                </a:lnTo>
                <a:lnTo>
                  <a:pt x="1875" y="931"/>
                </a:lnTo>
                <a:lnTo>
                  <a:pt x="1874" y="943"/>
                </a:lnTo>
                <a:lnTo>
                  <a:pt x="1878" y="953"/>
                </a:lnTo>
                <a:lnTo>
                  <a:pt x="1878" y="961"/>
                </a:lnTo>
                <a:lnTo>
                  <a:pt x="1885" y="974"/>
                </a:lnTo>
                <a:lnTo>
                  <a:pt x="1891" y="988"/>
                </a:lnTo>
                <a:lnTo>
                  <a:pt x="1897" y="1012"/>
                </a:lnTo>
                <a:lnTo>
                  <a:pt x="1897" y="1020"/>
                </a:lnTo>
                <a:lnTo>
                  <a:pt x="1901" y="1016"/>
                </a:lnTo>
                <a:lnTo>
                  <a:pt x="1900" y="1011"/>
                </a:lnTo>
                <a:lnTo>
                  <a:pt x="1903" y="1010"/>
                </a:lnTo>
                <a:lnTo>
                  <a:pt x="1901" y="1004"/>
                </a:lnTo>
                <a:lnTo>
                  <a:pt x="1904" y="1000"/>
                </a:lnTo>
                <a:lnTo>
                  <a:pt x="1903" y="998"/>
                </a:lnTo>
                <a:lnTo>
                  <a:pt x="1904" y="993"/>
                </a:lnTo>
                <a:lnTo>
                  <a:pt x="1905" y="992"/>
                </a:lnTo>
                <a:lnTo>
                  <a:pt x="1908" y="990"/>
                </a:lnTo>
                <a:lnTo>
                  <a:pt x="1911" y="982"/>
                </a:lnTo>
                <a:lnTo>
                  <a:pt x="1911" y="978"/>
                </a:lnTo>
                <a:lnTo>
                  <a:pt x="1912" y="976"/>
                </a:lnTo>
                <a:lnTo>
                  <a:pt x="1912" y="975"/>
                </a:lnTo>
                <a:lnTo>
                  <a:pt x="1910" y="974"/>
                </a:lnTo>
                <a:lnTo>
                  <a:pt x="1910" y="967"/>
                </a:lnTo>
                <a:lnTo>
                  <a:pt x="1915" y="967"/>
                </a:lnTo>
                <a:lnTo>
                  <a:pt x="1912" y="967"/>
                </a:lnTo>
                <a:lnTo>
                  <a:pt x="1912" y="963"/>
                </a:lnTo>
                <a:lnTo>
                  <a:pt x="1914" y="963"/>
                </a:lnTo>
                <a:lnTo>
                  <a:pt x="1914" y="962"/>
                </a:lnTo>
                <a:lnTo>
                  <a:pt x="1915" y="959"/>
                </a:lnTo>
                <a:lnTo>
                  <a:pt x="1915" y="958"/>
                </a:lnTo>
                <a:lnTo>
                  <a:pt x="1916" y="954"/>
                </a:lnTo>
                <a:lnTo>
                  <a:pt x="1916" y="951"/>
                </a:lnTo>
                <a:lnTo>
                  <a:pt x="1915" y="948"/>
                </a:lnTo>
                <a:lnTo>
                  <a:pt x="1914" y="940"/>
                </a:lnTo>
                <a:lnTo>
                  <a:pt x="1911" y="933"/>
                </a:lnTo>
                <a:lnTo>
                  <a:pt x="1915" y="937"/>
                </a:lnTo>
                <a:lnTo>
                  <a:pt x="1918" y="949"/>
                </a:lnTo>
                <a:lnTo>
                  <a:pt x="1918" y="962"/>
                </a:lnTo>
                <a:lnTo>
                  <a:pt x="1910" y="993"/>
                </a:lnTo>
                <a:lnTo>
                  <a:pt x="1904" y="1032"/>
                </a:lnTo>
                <a:lnTo>
                  <a:pt x="1905" y="1033"/>
                </a:lnTo>
                <a:lnTo>
                  <a:pt x="1904" y="1041"/>
                </a:lnTo>
                <a:lnTo>
                  <a:pt x="1904" y="1048"/>
                </a:lnTo>
                <a:lnTo>
                  <a:pt x="1908" y="1055"/>
                </a:lnTo>
                <a:lnTo>
                  <a:pt x="1908" y="1070"/>
                </a:lnTo>
                <a:lnTo>
                  <a:pt x="1911" y="1079"/>
                </a:lnTo>
                <a:lnTo>
                  <a:pt x="1914" y="1095"/>
                </a:lnTo>
                <a:lnTo>
                  <a:pt x="1915" y="1098"/>
                </a:lnTo>
                <a:lnTo>
                  <a:pt x="1914" y="1136"/>
                </a:lnTo>
                <a:lnTo>
                  <a:pt x="1912" y="1173"/>
                </a:lnTo>
                <a:lnTo>
                  <a:pt x="1912" y="1177"/>
                </a:lnTo>
                <a:lnTo>
                  <a:pt x="1908" y="1212"/>
                </a:lnTo>
                <a:lnTo>
                  <a:pt x="1901" y="1237"/>
                </a:lnTo>
                <a:lnTo>
                  <a:pt x="1899" y="1248"/>
                </a:lnTo>
                <a:lnTo>
                  <a:pt x="1887" y="1284"/>
                </a:lnTo>
                <a:lnTo>
                  <a:pt x="1883" y="1310"/>
                </a:lnTo>
                <a:lnTo>
                  <a:pt x="1883" y="1322"/>
                </a:lnTo>
                <a:lnTo>
                  <a:pt x="1885" y="1323"/>
                </a:lnTo>
                <a:lnTo>
                  <a:pt x="1885" y="1336"/>
                </a:lnTo>
                <a:lnTo>
                  <a:pt x="1887" y="1344"/>
                </a:lnTo>
                <a:lnTo>
                  <a:pt x="1887" y="1353"/>
                </a:lnTo>
                <a:lnTo>
                  <a:pt x="1890" y="1360"/>
                </a:lnTo>
                <a:lnTo>
                  <a:pt x="1890" y="1372"/>
                </a:lnTo>
                <a:lnTo>
                  <a:pt x="1893" y="1384"/>
                </a:lnTo>
                <a:lnTo>
                  <a:pt x="1893" y="1397"/>
                </a:lnTo>
                <a:lnTo>
                  <a:pt x="1891" y="1411"/>
                </a:lnTo>
                <a:lnTo>
                  <a:pt x="1891" y="1420"/>
                </a:lnTo>
                <a:lnTo>
                  <a:pt x="1890" y="1450"/>
                </a:lnTo>
                <a:lnTo>
                  <a:pt x="1891" y="1456"/>
                </a:lnTo>
                <a:lnTo>
                  <a:pt x="1891" y="1472"/>
                </a:lnTo>
                <a:lnTo>
                  <a:pt x="1894" y="1493"/>
                </a:lnTo>
                <a:lnTo>
                  <a:pt x="1894" y="1502"/>
                </a:lnTo>
                <a:lnTo>
                  <a:pt x="1900" y="1523"/>
                </a:lnTo>
                <a:lnTo>
                  <a:pt x="1904" y="1532"/>
                </a:lnTo>
                <a:lnTo>
                  <a:pt x="1903" y="1537"/>
                </a:lnTo>
                <a:lnTo>
                  <a:pt x="1911" y="1548"/>
                </a:lnTo>
                <a:lnTo>
                  <a:pt x="1911" y="1555"/>
                </a:lnTo>
                <a:lnTo>
                  <a:pt x="1916" y="1563"/>
                </a:lnTo>
                <a:lnTo>
                  <a:pt x="1915" y="1567"/>
                </a:lnTo>
                <a:lnTo>
                  <a:pt x="1918" y="1575"/>
                </a:lnTo>
                <a:lnTo>
                  <a:pt x="1916" y="1577"/>
                </a:lnTo>
                <a:lnTo>
                  <a:pt x="1916" y="1581"/>
                </a:lnTo>
                <a:lnTo>
                  <a:pt x="1918" y="1584"/>
                </a:lnTo>
                <a:lnTo>
                  <a:pt x="1928" y="1584"/>
                </a:lnTo>
                <a:lnTo>
                  <a:pt x="1936" y="1589"/>
                </a:lnTo>
                <a:lnTo>
                  <a:pt x="1939" y="1588"/>
                </a:lnTo>
                <a:lnTo>
                  <a:pt x="1941" y="1593"/>
                </a:lnTo>
                <a:lnTo>
                  <a:pt x="1943" y="1591"/>
                </a:lnTo>
                <a:lnTo>
                  <a:pt x="1941" y="1585"/>
                </a:lnTo>
                <a:lnTo>
                  <a:pt x="1936" y="1581"/>
                </a:lnTo>
                <a:lnTo>
                  <a:pt x="1929" y="1571"/>
                </a:lnTo>
                <a:lnTo>
                  <a:pt x="1926" y="1569"/>
                </a:lnTo>
                <a:lnTo>
                  <a:pt x="1922" y="1562"/>
                </a:lnTo>
                <a:lnTo>
                  <a:pt x="1919" y="1559"/>
                </a:lnTo>
                <a:lnTo>
                  <a:pt x="1919" y="1555"/>
                </a:lnTo>
                <a:lnTo>
                  <a:pt x="1918" y="1554"/>
                </a:lnTo>
                <a:lnTo>
                  <a:pt x="1916" y="1550"/>
                </a:lnTo>
                <a:lnTo>
                  <a:pt x="1918" y="1550"/>
                </a:lnTo>
                <a:lnTo>
                  <a:pt x="1926" y="1564"/>
                </a:lnTo>
                <a:lnTo>
                  <a:pt x="1932" y="1574"/>
                </a:lnTo>
                <a:lnTo>
                  <a:pt x="1939" y="1575"/>
                </a:lnTo>
                <a:lnTo>
                  <a:pt x="1941" y="1577"/>
                </a:lnTo>
                <a:lnTo>
                  <a:pt x="1955" y="1580"/>
                </a:lnTo>
                <a:lnTo>
                  <a:pt x="1958" y="1581"/>
                </a:lnTo>
                <a:lnTo>
                  <a:pt x="1962" y="1581"/>
                </a:lnTo>
                <a:close/>
                <a:moveTo>
                  <a:pt x="1874" y="513"/>
                </a:moveTo>
                <a:lnTo>
                  <a:pt x="1874" y="518"/>
                </a:lnTo>
                <a:lnTo>
                  <a:pt x="1875" y="524"/>
                </a:lnTo>
                <a:lnTo>
                  <a:pt x="1869" y="543"/>
                </a:lnTo>
                <a:lnTo>
                  <a:pt x="1872" y="548"/>
                </a:lnTo>
                <a:lnTo>
                  <a:pt x="1875" y="551"/>
                </a:lnTo>
                <a:lnTo>
                  <a:pt x="1878" y="551"/>
                </a:lnTo>
                <a:lnTo>
                  <a:pt x="1878" y="552"/>
                </a:lnTo>
                <a:lnTo>
                  <a:pt x="1868" y="583"/>
                </a:lnTo>
                <a:lnTo>
                  <a:pt x="1866" y="600"/>
                </a:lnTo>
                <a:lnTo>
                  <a:pt x="1855" y="620"/>
                </a:lnTo>
                <a:lnTo>
                  <a:pt x="1852" y="623"/>
                </a:lnTo>
                <a:lnTo>
                  <a:pt x="1849" y="634"/>
                </a:lnTo>
                <a:lnTo>
                  <a:pt x="1847" y="652"/>
                </a:lnTo>
                <a:lnTo>
                  <a:pt x="1850" y="660"/>
                </a:lnTo>
                <a:lnTo>
                  <a:pt x="1850" y="664"/>
                </a:lnTo>
                <a:lnTo>
                  <a:pt x="1844" y="675"/>
                </a:lnTo>
                <a:lnTo>
                  <a:pt x="1835" y="660"/>
                </a:lnTo>
                <a:lnTo>
                  <a:pt x="1833" y="659"/>
                </a:lnTo>
                <a:lnTo>
                  <a:pt x="1829" y="653"/>
                </a:lnTo>
                <a:lnTo>
                  <a:pt x="1827" y="650"/>
                </a:lnTo>
                <a:lnTo>
                  <a:pt x="1827" y="648"/>
                </a:lnTo>
                <a:lnTo>
                  <a:pt x="1829" y="647"/>
                </a:lnTo>
                <a:lnTo>
                  <a:pt x="1830" y="642"/>
                </a:lnTo>
                <a:lnTo>
                  <a:pt x="1829" y="637"/>
                </a:lnTo>
                <a:lnTo>
                  <a:pt x="1827" y="634"/>
                </a:lnTo>
                <a:lnTo>
                  <a:pt x="1827" y="631"/>
                </a:lnTo>
                <a:lnTo>
                  <a:pt x="1825" y="625"/>
                </a:lnTo>
                <a:lnTo>
                  <a:pt x="1819" y="620"/>
                </a:lnTo>
                <a:lnTo>
                  <a:pt x="1821" y="615"/>
                </a:lnTo>
                <a:lnTo>
                  <a:pt x="1826" y="615"/>
                </a:lnTo>
                <a:lnTo>
                  <a:pt x="1833" y="609"/>
                </a:lnTo>
                <a:lnTo>
                  <a:pt x="1837" y="601"/>
                </a:lnTo>
                <a:lnTo>
                  <a:pt x="1837" y="596"/>
                </a:lnTo>
                <a:lnTo>
                  <a:pt x="1835" y="586"/>
                </a:lnTo>
                <a:lnTo>
                  <a:pt x="1835" y="584"/>
                </a:lnTo>
                <a:lnTo>
                  <a:pt x="1832" y="576"/>
                </a:lnTo>
                <a:lnTo>
                  <a:pt x="1829" y="573"/>
                </a:lnTo>
                <a:lnTo>
                  <a:pt x="1826" y="566"/>
                </a:lnTo>
                <a:lnTo>
                  <a:pt x="1825" y="564"/>
                </a:lnTo>
                <a:lnTo>
                  <a:pt x="1841" y="552"/>
                </a:lnTo>
                <a:lnTo>
                  <a:pt x="1850" y="539"/>
                </a:lnTo>
                <a:lnTo>
                  <a:pt x="1850" y="526"/>
                </a:lnTo>
                <a:lnTo>
                  <a:pt x="1850" y="522"/>
                </a:lnTo>
                <a:lnTo>
                  <a:pt x="1852" y="522"/>
                </a:lnTo>
                <a:lnTo>
                  <a:pt x="1852" y="521"/>
                </a:lnTo>
                <a:lnTo>
                  <a:pt x="1852" y="510"/>
                </a:lnTo>
                <a:lnTo>
                  <a:pt x="1849" y="489"/>
                </a:lnTo>
                <a:lnTo>
                  <a:pt x="1854" y="484"/>
                </a:lnTo>
                <a:lnTo>
                  <a:pt x="1857" y="476"/>
                </a:lnTo>
                <a:lnTo>
                  <a:pt x="1857" y="463"/>
                </a:lnTo>
                <a:lnTo>
                  <a:pt x="1861" y="460"/>
                </a:lnTo>
                <a:lnTo>
                  <a:pt x="1864" y="457"/>
                </a:lnTo>
                <a:lnTo>
                  <a:pt x="1862" y="454"/>
                </a:lnTo>
                <a:lnTo>
                  <a:pt x="1861" y="451"/>
                </a:lnTo>
                <a:lnTo>
                  <a:pt x="1846" y="444"/>
                </a:lnTo>
                <a:lnTo>
                  <a:pt x="1841" y="441"/>
                </a:lnTo>
                <a:lnTo>
                  <a:pt x="1837" y="440"/>
                </a:lnTo>
                <a:lnTo>
                  <a:pt x="1840" y="440"/>
                </a:lnTo>
                <a:lnTo>
                  <a:pt x="1860" y="449"/>
                </a:lnTo>
                <a:lnTo>
                  <a:pt x="1865" y="447"/>
                </a:lnTo>
                <a:lnTo>
                  <a:pt x="1871" y="459"/>
                </a:lnTo>
                <a:lnTo>
                  <a:pt x="1875" y="464"/>
                </a:lnTo>
                <a:lnTo>
                  <a:pt x="1875" y="485"/>
                </a:lnTo>
                <a:lnTo>
                  <a:pt x="1878" y="488"/>
                </a:lnTo>
                <a:lnTo>
                  <a:pt x="1878" y="490"/>
                </a:lnTo>
                <a:lnTo>
                  <a:pt x="1874" y="513"/>
                </a:lnTo>
                <a:close/>
                <a:moveTo>
                  <a:pt x="1854" y="687"/>
                </a:moveTo>
                <a:lnTo>
                  <a:pt x="1854" y="693"/>
                </a:lnTo>
                <a:lnTo>
                  <a:pt x="1851" y="698"/>
                </a:lnTo>
                <a:lnTo>
                  <a:pt x="1847" y="715"/>
                </a:lnTo>
                <a:lnTo>
                  <a:pt x="1846" y="718"/>
                </a:lnTo>
                <a:lnTo>
                  <a:pt x="1843" y="749"/>
                </a:lnTo>
                <a:lnTo>
                  <a:pt x="1840" y="760"/>
                </a:lnTo>
                <a:lnTo>
                  <a:pt x="1836" y="770"/>
                </a:lnTo>
                <a:lnTo>
                  <a:pt x="1832" y="766"/>
                </a:lnTo>
                <a:lnTo>
                  <a:pt x="1822" y="762"/>
                </a:lnTo>
                <a:lnTo>
                  <a:pt x="1821" y="762"/>
                </a:lnTo>
                <a:lnTo>
                  <a:pt x="1818" y="754"/>
                </a:lnTo>
                <a:lnTo>
                  <a:pt x="1819" y="750"/>
                </a:lnTo>
                <a:lnTo>
                  <a:pt x="1818" y="743"/>
                </a:lnTo>
                <a:lnTo>
                  <a:pt x="1816" y="739"/>
                </a:lnTo>
                <a:lnTo>
                  <a:pt x="1809" y="734"/>
                </a:lnTo>
                <a:lnTo>
                  <a:pt x="1809" y="730"/>
                </a:lnTo>
                <a:lnTo>
                  <a:pt x="1815" y="729"/>
                </a:lnTo>
                <a:lnTo>
                  <a:pt x="1822" y="720"/>
                </a:lnTo>
                <a:lnTo>
                  <a:pt x="1830" y="717"/>
                </a:lnTo>
                <a:lnTo>
                  <a:pt x="1832" y="713"/>
                </a:lnTo>
                <a:lnTo>
                  <a:pt x="1843" y="715"/>
                </a:lnTo>
                <a:lnTo>
                  <a:pt x="1841" y="709"/>
                </a:lnTo>
                <a:lnTo>
                  <a:pt x="1841" y="705"/>
                </a:lnTo>
                <a:lnTo>
                  <a:pt x="1843" y="702"/>
                </a:lnTo>
                <a:lnTo>
                  <a:pt x="1847" y="700"/>
                </a:lnTo>
                <a:lnTo>
                  <a:pt x="1847" y="693"/>
                </a:lnTo>
                <a:lnTo>
                  <a:pt x="1850" y="687"/>
                </a:lnTo>
                <a:lnTo>
                  <a:pt x="1849" y="687"/>
                </a:lnTo>
                <a:lnTo>
                  <a:pt x="1849" y="683"/>
                </a:lnTo>
                <a:lnTo>
                  <a:pt x="1851" y="685"/>
                </a:lnTo>
                <a:lnTo>
                  <a:pt x="1854" y="687"/>
                </a:lnTo>
                <a:close/>
                <a:moveTo>
                  <a:pt x="1905" y="953"/>
                </a:moveTo>
                <a:lnTo>
                  <a:pt x="1907" y="958"/>
                </a:lnTo>
                <a:lnTo>
                  <a:pt x="1905" y="959"/>
                </a:lnTo>
                <a:lnTo>
                  <a:pt x="1904" y="963"/>
                </a:lnTo>
                <a:lnTo>
                  <a:pt x="1904" y="967"/>
                </a:lnTo>
                <a:lnTo>
                  <a:pt x="1897" y="963"/>
                </a:lnTo>
                <a:lnTo>
                  <a:pt x="1896" y="956"/>
                </a:lnTo>
                <a:lnTo>
                  <a:pt x="1896" y="951"/>
                </a:lnTo>
                <a:lnTo>
                  <a:pt x="1897" y="949"/>
                </a:lnTo>
                <a:lnTo>
                  <a:pt x="1900" y="945"/>
                </a:lnTo>
                <a:lnTo>
                  <a:pt x="1903" y="945"/>
                </a:lnTo>
                <a:lnTo>
                  <a:pt x="1904" y="949"/>
                </a:lnTo>
                <a:lnTo>
                  <a:pt x="1907" y="949"/>
                </a:lnTo>
                <a:lnTo>
                  <a:pt x="1907" y="951"/>
                </a:lnTo>
                <a:lnTo>
                  <a:pt x="1905" y="953"/>
                </a:lnTo>
                <a:close/>
                <a:moveTo>
                  <a:pt x="1826" y="806"/>
                </a:moveTo>
                <a:lnTo>
                  <a:pt x="1826" y="813"/>
                </a:lnTo>
                <a:lnTo>
                  <a:pt x="1829" y="824"/>
                </a:lnTo>
                <a:lnTo>
                  <a:pt x="1823" y="818"/>
                </a:lnTo>
                <a:lnTo>
                  <a:pt x="1818" y="824"/>
                </a:lnTo>
                <a:lnTo>
                  <a:pt x="1815" y="824"/>
                </a:lnTo>
                <a:lnTo>
                  <a:pt x="1816" y="816"/>
                </a:lnTo>
                <a:lnTo>
                  <a:pt x="1819" y="812"/>
                </a:lnTo>
                <a:lnTo>
                  <a:pt x="1822" y="806"/>
                </a:lnTo>
                <a:lnTo>
                  <a:pt x="1823" y="806"/>
                </a:lnTo>
                <a:lnTo>
                  <a:pt x="1826" y="806"/>
                </a:lnTo>
                <a:close/>
                <a:moveTo>
                  <a:pt x="1583" y="187"/>
                </a:moveTo>
                <a:lnTo>
                  <a:pt x="1583" y="192"/>
                </a:lnTo>
                <a:lnTo>
                  <a:pt x="1581" y="195"/>
                </a:lnTo>
                <a:lnTo>
                  <a:pt x="1580" y="186"/>
                </a:lnTo>
                <a:lnTo>
                  <a:pt x="1576" y="179"/>
                </a:lnTo>
                <a:lnTo>
                  <a:pt x="1577" y="173"/>
                </a:lnTo>
                <a:lnTo>
                  <a:pt x="1575" y="169"/>
                </a:lnTo>
                <a:lnTo>
                  <a:pt x="1575" y="166"/>
                </a:lnTo>
                <a:lnTo>
                  <a:pt x="1576" y="166"/>
                </a:lnTo>
                <a:lnTo>
                  <a:pt x="1580" y="173"/>
                </a:lnTo>
                <a:lnTo>
                  <a:pt x="1581" y="176"/>
                </a:lnTo>
                <a:lnTo>
                  <a:pt x="1583" y="187"/>
                </a:lnTo>
                <a:close/>
                <a:moveTo>
                  <a:pt x="1900" y="978"/>
                </a:moveTo>
                <a:lnTo>
                  <a:pt x="1901" y="982"/>
                </a:lnTo>
                <a:lnTo>
                  <a:pt x="1900" y="986"/>
                </a:lnTo>
                <a:lnTo>
                  <a:pt x="1896" y="987"/>
                </a:lnTo>
                <a:lnTo>
                  <a:pt x="1896" y="986"/>
                </a:lnTo>
                <a:lnTo>
                  <a:pt x="1896" y="980"/>
                </a:lnTo>
                <a:lnTo>
                  <a:pt x="1897" y="978"/>
                </a:lnTo>
                <a:lnTo>
                  <a:pt x="1897" y="976"/>
                </a:lnTo>
                <a:lnTo>
                  <a:pt x="1900" y="978"/>
                </a:lnTo>
                <a:close/>
                <a:moveTo>
                  <a:pt x="1754" y="531"/>
                </a:moveTo>
                <a:lnTo>
                  <a:pt x="1752" y="539"/>
                </a:lnTo>
                <a:lnTo>
                  <a:pt x="1750" y="538"/>
                </a:lnTo>
                <a:lnTo>
                  <a:pt x="1751" y="534"/>
                </a:lnTo>
                <a:lnTo>
                  <a:pt x="1751" y="531"/>
                </a:lnTo>
                <a:lnTo>
                  <a:pt x="1747" y="530"/>
                </a:lnTo>
                <a:lnTo>
                  <a:pt x="1747" y="526"/>
                </a:lnTo>
                <a:lnTo>
                  <a:pt x="1754" y="531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59" name="Freeform 58"/>
          <p:cNvSpPr>
            <a:spLocks noEditPoints="1"/>
          </p:cNvSpPr>
          <p:nvPr/>
        </p:nvSpPr>
        <p:spPr bwMode="auto">
          <a:xfrm>
            <a:off x="1656506" y="5448929"/>
            <a:ext cx="291445" cy="688671"/>
          </a:xfrm>
          <a:custGeom>
            <a:avLst/>
            <a:gdLst>
              <a:gd name="T0" fmla="*/ 679 w 970"/>
              <a:gd name="T1" fmla="*/ 1183 h 2143"/>
              <a:gd name="T2" fmla="*/ 650 w 970"/>
              <a:gd name="T3" fmla="*/ 1324 h 2143"/>
              <a:gd name="T4" fmla="*/ 618 w 970"/>
              <a:gd name="T5" fmla="*/ 1310 h 2143"/>
              <a:gd name="T6" fmla="*/ 464 w 970"/>
              <a:gd name="T7" fmla="*/ 1397 h 2143"/>
              <a:gd name="T8" fmla="*/ 455 w 970"/>
              <a:gd name="T9" fmla="*/ 1451 h 2143"/>
              <a:gd name="T10" fmla="*/ 425 w 970"/>
              <a:gd name="T11" fmla="*/ 1519 h 2143"/>
              <a:gd name="T12" fmla="*/ 542 w 970"/>
              <a:gd name="T13" fmla="*/ 1480 h 2143"/>
              <a:gd name="T14" fmla="*/ 617 w 970"/>
              <a:gd name="T15" fmla="*/ 1596 h 2143"/>
              <a:gd name="T16" fmla="*/ 756 w 970"/>
              <a:gd name="T17" fmla="*/ 1667 h 2143"/>
              <a:gd name="T18" fmla="*/ 769 w 970"/>
              <a:gd name="T19" fmla="*/ 1576 h 2143"/>
              <a:gd name="T20" fmla="*/ 786 w 970"/>
              <a:gd name="T21" fmla="*/ 1571 h 2143"/>
              <a:gd name="T22" fmla="*/ 797 w 970"/>
              <a:gd name="T23" fmla="*/ 1530 h 2143"/>
              <a:gd name="T24" fmla="*/ 799 w 970"/>
              <a:gd name="T25" fmla="*/ 1525 h 2143"/>
              <a:gd name="T26" fmla="*/ 821 w 970"/>
              <a:gd name="T27" fmla="*/ 1571 h 2143"/>
              <a:gd name="T28" fmla="*/ 808 w 970"/>
              <a:gd name="T29" fmla="*/ 1733 h 2143"/>
              <a:gd name="T30" fmla="*/ 794 w 970"/>
              <a:gd name="T31" fmla="*/ 1859 h 2143"/>
              <a:gd name="T32" fmla="*/ 785 w 970"/>
              <a:gd name="T33" fmla="*/ 2013 h 2143"/>
              <a:gd name="T34" fmla="*/ 775 w 970"/>
              <a:gd name="T35" fmla="*/ 2064 h 2143"/>
              <a:gd name="T36" fmla="*/ 769 w 970"/>
              <a:gd name="T37" fmla="*/ 2114 h 2143"/>
              <a:gd name="T38" fmla="*/ 778 w 970"/>
              <a:gd name="T39" fmla="*/ 2123 h 2143"/>
              <a:gd name="T40" fmla="*/ 326 w 970"/>
              <a:gd name="T41" fmla="*/ 2131 h 2143"/>
              <a:gd name="T42" fmla="*/ 311 w 970"/>
              <a:gd name="T43" fmla="*/ 2129 h 2143"/>
              <a:gd name="T44" fmla="*/ 293 w 970"/>
              <a:gd name="T45" fmla="*/ 2129 h 2143"/>
              <a:gd name="T46" fmla="*/ 276 w 970"/>
              <a:gd name="T47" fmla="*/ 2125 h 2143"/>
              <a:gd name="T48" fmla="*/ 258 w 970"/>
              <a:gd name="T49" fmla="*/ 2119 h 2143"/>
              <a:gd name="T50" fmla="*/ 241 w 970"/>
              <a:gd name="T51" fmla="*/ 2114 h 2143"/>
              <a:gd name="T52" fmla="*/ 226 w 970"/>
              <a:gd name="T53" fmla="*/ 2119 h 2143"/>
              <a:gd name="T54" fmla="*/ 218 w 970"/>
              <a:gd name="T55" fmla="*/ 2129 h 2143"/>
              <a:gd name="T56" fmla="*/ 201 w 970"/>
              <a:gd name="T57" fmla="*/ 2135 h 2143"/>
              <a:gd name="T58" fmla="*/ 184 w 970"/>
              <a:gd name="T59" fmla="*/ 2127 h 2143"/>
              <a:gd name="T60" fmla="*/ 170 w 970"/>
              <a:gd name="T61" fmla="*/ 2119 h 2143"/>
              <a:gd name="T62" fmla="*/ 168 w 970"/>
              <a:gd name="T63" fmla="*/ 1960 h 2143"/>
              <a:gd name="T64" fmla="*/ 138 w 970"/>
              <a:gd name="T65" fmla="*/ 1600 h 2143"/>
              <a:gd name="T66" fmla="*/ 35 w 970"/>
              <a:gd name="T67" fmla="*/ 1407 h 2143"/>
              <a:gd name="T68" fmla="*/ 48 w 970"/>
              <a:gd name="T69" fmla="*/ 989 h 2143"/>
              <a:gd name="T70" fmla="*/ 38 w 970"/>
              <a:gd name="T71" fmla="*/ 33 h 2143"/>
              <a:gd name="T72" fmla="*/ 113 w 970"/>
              <a:gd name="T73" fmla="*/ 0 h 2143"/>
              <a:gd name="T74" fmla="*/ 193 w 970"/>
              <a:gd name="T75" fmla="*/ 11 h 2143"/>
              <a:gd name="T76" fmla="*/ 222 w 970"/>
              <a:gd name="T77" fmla="*/ 20 h 2143"/>
              <a:gd name="T78" fmla="*/ 284 w 970"/>
              <a:gd name="T79" fmla="*/ 43 h 2143"/>
              <a:gd name="T80" fmla="*/ 332 w 970"/>
              <a:gd name="T81" fmla="*/ 35 h 2143"/>
              <a:gd name="T82" fmla="*/ 395 w 970"/>
              <a:gd name="T83" fmla="*/ 56 h 2143"/>
              <a:gd name="T84" fmla="*/ 457 w 970"/>
              <a:gd name="T85" fmla="*/ 105 h 2143"/>
              <a:gd name="T86" fmla="*/ 536 w 970"/>
              <a:gd name="T87" fmla="*/ 127 h 2143"/>
              <a:gd name="T88" fmla="*/ 624 w 970"/>
              <a:gd name="T89" fmla="*/ 156 h 2143"/>
              <a:gd name="T90" fmla="*/ 639 w 970"/>
              <a:gd name="T91" fmla="*/ 256 h 2143"/>
              <a:gd name="T92" fmla="*/ 672 w 970"/>
              <a:gd name="T93" fmla="*/ 294 h 2143"/>
              <a:gd name="T94" fmla="*/ 703 w 970"/>
              <a:gd name="T95" fmla="*/ 346 h 2143"/>
              <a:gd name="T96" fmla="*/ 733 w 970"/>
              <a:gd name="T97" fmla="*/ 391 h 2143"/>
              <a:gd name="T98" fmla="*/ 747 w 970"/>
              <a:gd name="T99" fmla="*/ 433 h 2143"/>
              <a:gd name="T100" fmla="*/ 785 w 970"/>
              <a:gd name="T101" fmla="*/ 450 h 2143"/>
              <a:gd name="T102" fmla="*/ 791 w 970"/>
              <a:gd name="T103" fmla="*/ 538 h 2143"/>
              <a:gd name="T104" fmla="*/ 799 w 970"/>
              <a:gd name="T105" fmla="*/ 560 h 2143"/>
              <a:gd name="T106" fmla="*/ 810 w 970"/>
              <a:gd name="T107" fmla="*/ 574 h 2143"/>
              <a:gd name="T108" fmla="*/ 791 w 970"/>
              <a:gd name="T109" fmla="*/ 588 h 2143"/>
              <a:gd name="T110" fmla="*/ 797 w 970"/>
              <a:gd name="T111" fmla="*/ 642 h 2143"/>
              <a:gd name="T112" fmla="*/ 813 w 970"/>
              <a:gd name="T113" fmla="*/ 698 h 2143"/>
              <a:gd name="T114" fmla="*/ 860 w 970"/>
              <a:gd name="T115" fmla="*/ 712 h 2143"/>
              <a:gd name="T116" fmla="*/ 846 w 970"/>
              <a:gd name="T117" fmla="*/ 741 h 2143"/>
              <a:gd name="T118" fmla="*/ 856 w 970"/>
              <a:gd name="T119" fmla="*/ 783 h 2143"/>
              <a:gd name="T120" fmla="*/ 967 w 970"/>
              <a:gd name="T121" fmla="*/ 866 h 2143"/>
              <a:gd name="T122" fmla="*/ 628 w 970"/>
              <a:gd name="T123" fmla="*/ 1310 h 214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970"/>
              <a:gd name="T187" fmla="*/ 0 h 2143"/>
              <a:gd name="T188" fmla="*/ 970 w 970"/>
              <a:gd name="T189" fmla="*/ 2143 h 214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970" h="2143">
                <a:moveTo>
                  <a:pt x="967" y="947"/>
                </a:moveTo>
                <a:lnTo>
                  <a:pt x="948" y="960"/>
                </a:lnTo>
                <a:lnTo>
                  <a:pt x="916" y="976"/>
                </a:lnTo>
                <a:lnTo>
                  <a:pt x="887" y="991"/>
                </a:lnTo>
                <a:lnTo>
                  <a:pt x="841" y="1023"/>
                </a:lnTo>
                <a:lnTo>
                  <a:pt x="810" y="1043"/>
                </a:lnTo>
                <a:lnTo>
                  <a:pt x="788" y="1057"/>
                </a:lnTo>
                <a:lnTo>
                  <a:pt x="743" y="1094"/>
                </a:lnTo>
                <a:lnTo>
                  <a:pt x="725" y="1111"/>
                </a:lnTo>
                <a:lnTo>
                  <a:pt x="717" y="1121"/>
                </a:lnTo>
                <a:lnTo>
                  <a:pt x="706" y="1135"/>
                </a:lnTo>
                <a:lnTo>
                  <a:pt x="694" y="1156"/>
                </a:lnTo>
                <a:lnTo>
                  <a:pt x="679" y="1183"/>
                </a:lnTo>
                <a:lnTo>
                  <a:pt x="661" y="1222"/>
                </a:lnTo>
                <a:lnTo>
                  <a:pt x="654" y="1242"/>
                </a:lnTo>
                <a:lnTo>
                  <a:pt x="649" y="1273"/>
                </a:lnTo>
                <a:lnTo>
                  <a:pt x="647" y="1288"/>
                </a:lnTo>
                <a:lnTo>
                  <a:pt x="653" y="1324"/>
                </a:lnTo>
                <a:lnTo>
                  <a:pt x="657" y="1334"/>
                </a:lnTo>
                <a:lnTo>
                  <a:pt x="661" y="1342"/>
                </a:lnTo>
                <a:lnTo>
                  <a:pt x="656" y="1342"/>
                </a:lnTo>
                <a:lnTo>
                  <a:pt x="654" y="1339"/>
                </a:lnTo>
                <a:lnTo>
                  <a:pt x="654" y="1335"/>
                </a:lnTo>
                <a:lnTo>
                  <a:pt x="652" y="1333"/>
                </a:lnTo>
                <a:lnTo>
                  <a:pt x="650" y="1332"/>
                </a:lnTo>
                <a:lnTo>
                  <a:pt x="650" y="1324"/>
                </a:lnTo>
                <a:lnTo>
                  <a:pt x="647" y="1317"/>
                </a:lnTo>
                <a:lnTo>
                  <a:pt x="649" y="1309"/>
                </a:lnTo>
                <a:lnTo>
                  <a:pt x="646" y="1298"/>
                </a:lnTo>
                <a:lnTo>
                  <a:pt x="646" y="1295"/>
                </a:lnTo>
                <a:lnTo>
                  <a:pt x="644" y="1289"/>
                </a:lnTo>
                <a:lnTo>
                  <a:pt x="642" y="1289"/>
                </a:lnTo>
                <a:lnTo>
                  <a:pt x="638" y="1289"/>
                </a:lnTo>
                <a:lnTo>
                  <a:pt x="636" y="1295"/>
                </a:lnTo>
                <a:lnTo>
                  <a:pt x="633" y="1300"/>
                </a:lnTo>
                <a:lnTo>
                  <a:pt x="627" y="1300"/>
                </a:lnTo>
                <a:lnTo>
                  <a:pt x="621" y="1302"/>
                </a:lnTo>
                <a:lnTo>
                  <a:pt x="621" y="1308"/>
                </a:lnTo>
                <a:lnTo>
                  <a:pt x="618" y="1310"/>
                </a:lnTo>
                <a:lnTo>
                  <a:pt x="618" y="1317"/>
                </a:lnTo>
                <a:lnTo>
                  <a:pt x="617" y="1318"/>
                </a:lnTo>
                <a:lnTo>
                  <a:pt x="617" y="1326"/>
                </a:lnTo>
                <a:lnTo>
                  <a:pt x="514" y="1292"/>
                </a:lnTo>
                <a:lnTo>
                  <a:pt x="508" y="1327"/>
                </a:lnTo>
                <a:lnTo>
                  <a:pt x="508" y="1347"/>
                </a:lnTo>
                <a:lnTo>
                  <a:pt x="505" y="1358"/>
                </a:lnTo>
                <a:lnTo>
                  <a:pt x="501" y="1367"/>
                </a:lnTo>
                <a:lnTo>
                  <a:pt x="497" y="1376"/>
                </a:lnTo>
                <a:lnTo>
                  <a:pt x="493" y="1379"/>
                </a:lnTo>
                <a:lnTo>
                  <a:pt x="484" y="1384"/>
                </a:lnTo>
                <a:lnTo>
                  <a:pt x="467" y="1392"/>
                </a:lnTo>
                <a:lnTo>
                  <a:pt x="464" y="1397"/>
                </a:lnTo>
                <a:lnTo>
                  <a:pt x="459" y="1412"/>
                </a:lnTo>
                <a:lnTo>
                  <a:pt x="455" y="1414"/>
                </a:lnTo>
                <a:lnTo>
                  <a:pt x="454" y="1413"/>
                </a:lnTo>
                <a:lnTo>
                  <a:pt x="451" y="1412"/>
                </a:lnTo>
                <a:lnTo>
                  <a:pt x="447" y="1414"/>
                </a:lnTo>
                <a:lnTo>
                  <a:pt x="447" y="1419"/>
                </a:lnTo>
                <a:lnTo>
                  <a:pt x="444" y="1420"/>
                </a:lnTo>
                <a:lnTo>
                  <a:pt x="443" y="1424"/>
                </a:lnTo>
                <a:lnTo>
                  <a:pt x="437" y="1432"/>
                </a:lnTo>
                <a:lnTo>
                  <a:pt x="437" y="1437"/>
                </a:lnTo>
                <a:lnTo>
                  <a:pt x="442" y="1449"/>
                </a:lnTo>
                <a:lnTo>
                  <a:pt x="448" y="1453"/>
                </a:lnTo>
                <a:lnTo>
                  <a:pt x="455" y="1451"/>
                </a:lnTo>
                <a:lnTo>
                  <a:pt x="457" y="1461"/>
                </a:lnTo>
                <a:lnTo>
                  <a:pt x="455" y="1466"/>
                </a:lnTo>
                <a:lnTo>
                  <a:pt x="451" y="1474"/>
                </a:lnTo>
                <a:lnTo>
                  <a:pt x="437" y="1489"/>
                </a:lnTo>
                <a:lnTo>
                  <a:pt x="430" y="1491"/>
                </a:lnTo>
                <a:lnTo>
                  <a:pt x="420" y="1487"/>
                </a:lnTo>
                <a:lnTo>
                  <a:pt x="417" y="1487"/>
                </a:lnTo>
                <a:lnTo>
                  <a:pt x="412" y="1489"/>
                </a:lnTo>
                <a:lnTo>
                  <a:pt x="411" y="1492"/>
                </a:lnTo>
                <a:lnTo>
                  <a:pt x="411" y="1498"/>
                </a:lnTo>
                <a:lnTo>
                  <a:pt x="417" y="1507"/>
                </a:lnTo>
                <a:lnTo>
                  <a:pt x="422" y="1517"/>
                </a:lnTo>
                <a:lnTo>
                  <a:pt x="425" y="1519"/>
                </a:lnTo>
                <a:lnTo>
                  <a:pt x="430" y="1514"/>
                </a:lnTo>
                <a:lnTo>
                  <a:pt x="433" y="1514"/>
                </a:lnTo>
                <a:lnTo>
                  <a:pt x="440" y="1517"/>
                </a:lnTo>
                <a:lnTo>
                  <a:pt x="444" y="1520"/>
                </a:lnTo>
                <a:lnTo>
                  <a:pt x="464" y="1512"/>
                </a:lnTo>
                <a:lnTo>
                  <a:pt x="469" y="1507"/>
                </a:lnTo>
                <a:lnTo>
                  <a:pt x="482" y="1505"/>
                </a:lnTo>
                <a:lnTo>
                  <a:pt x="497" y="1505"/>
                </a:lnTo>
                <a:lnTo>
                  <a:pt x="505" y="1507"/>
                </a:lnTo>
                <a:lnTo>
                  <a:pt x="509" y="1511"/>
                </a:lnTo>
                <a:lnTo>
                  <a:pt x="515" y="1512"/>
                </a:lnTo>
                <a:lnTo>
                  <a:pt x="523" y="1492"/>
                </a:lnTo>
                <a:lnTo>
                  <a:pt x="542" y="1480"/>
                </a:lnTo>
                <a:lnTo>
                  <a:pt x="546" y="1472"/>
                </a:lnTo>
                <a:lnTo>
                  <a:pt x="548" y="1478"/>
                </a:lnTo>
                <a:lnTo>
                  <a:pt x="562" y="1501"/>
                </a:lnTo>
                <a:lnTo>
                  <a:pt x="581" y="1521"/>
                </a:lnTo>
                <a:lnTo>
                  <a:pt x="592" y="1541"/>
                </a:lnTo>
                <a:lnTo>
                  <a:pt x="593" y="1546"/>
                </a:lnTo>
                <a:lnTo>
                  <a:pt x="592" y="1551"/>
                </a:lnTo>
                <a:lnTo>
                  <a:pt x="592" y="1557"/>
                </a:lnTo>
                <a:lnTo>
                  <a:pt x="593" y="1563"/>
                </a:lnTo>
                <a:lnTo>
                  <a:pt x="599" y="1573"/>
                </a:lnTo>
                <a:lnTo>
                  <a:pt x="604" y="1592"/>
                </a:lnTo>
                <a:lnTo>
                  <a:pt x="608" y="1595"/>
                </a:lnTo>
                <a:lnTo>
                  <a:pt x="617" y="1596"/>
                </a:lnTo>
                <a:lnTo>
                  <a:pt x="625" y="1594"/>
                </a:lnTo>
                <a:lnTo>
                  <a:pt x="635" y="1591"/>
                </a:lnTo>
                <a:lnTo>
                  <a:pt x="639" y="1591"/>
                </a:lnTo>
                <a:lnTo>
                  <a:pt x="646" y="1600"/>
                </a:lnTo>
                <a:lnTo>
                  <a:pt x="664" y="1613"/>
                </a:lnTo>
                <a:lnTo>
                  <a:pt x="682" y="1630"/>
                </a:lnTo>
                <a:lnTo>
                  <a:pt x="696" y="1640"/>
                </a:lnTo>
                <a:lnTo>
                  <a:pt x="706" y="1662"/>
                </a:lnTo>
                <a:lnTo>
                  <a:pt x="710" y="1666"/>
                </a:lnTo>
                <a:lnTo>
                  <a:pt x="727" y="1675"/>
                </a:lnTo>
                <a:lnTo>
                  <a:pt x="739" y="1675"/>
                </a:lnTo>
                <a:lnTo>
                  <a:pt x="746" y="1669"/>
                </a:lnTo>
                <a:lnTo>
                  <a:pt x="756" y="1667"/>
                </a:lnTo>
                <a:lnTo>
                  <a:pt x="764" y="1669"/>
                </a:lnTo>
                <a:lnTo>
                  <a:pt x="768" y="1672"/>
                </a:lnTo>
                <a:lnTo>
                  <a:pt x="768" y="1669"/>
                </a:lnTo>
                <a:lnTo>
                  <a:pt x="764" y="1663"/>
                </a:lnTo>
                <a:lnTo>
                  <a:pt x="758" y="1661"/>
                </a:lnTo>
                <a:lnTo>
                  <a:pt x="753" y="1652"/>
                </a:lnTo>
                <a:lnTo>
                  <a:pt x="756" y="1644"/>
                </a:lnTo>
                <a:lnTo>
                  <a:pt x="754" y="1619"/>
                </a:lnTo>
                <a:lnTo>
                  <a:pt x="754" y="1610"/>
                </a:lnTo>
                <a:lnTo>
                  <a:pt x="756" y="1603"/>
                </a:lnTo>
                <a:lnTo>
                  <a:pt x="761" y="1594"/>
                </a:lnTo>
                <a:lnTo>
                  <a:pt x="769" y="1571"/>
                </a:lnTo>
                <a:lnTo>
                  <a:pt x="769" y="1576"/>
                </a:lnTo>
                <a:lnTo>
                  <a:pt x="763" y="1594"/>
                </a:lnTo>
                <a:lnTo>
                  <a:pt x="757" y="1603"/>
                </a:lnTo>
                <a:lnTo>
                  <a:pt x="757" y="1607"/>
                </a:lnTo>
                <a:lnTo>
                  <a:pt x="761" y="1604"/>
                </a:lnTo>
                <a:lnTo>
                  <a:pt x="769" y="1592"/>
                </a:lnTo>
                <a:lnTo>
                  <a:pt x="769" y="1586"/>
                </a:lnTo>
                <a:lnTo>
                  <a:pt x="771" y="1582"/>
                </a:lnTo>
                <a:lnTo>
                  <a:pt x="772" y="1571"/>
                </a:lnTo>
                <a:lnTo>
                  <a:pt x="775" y="1570"/>
                </a:lnTo>
                <a:lnTo>
                  <a:pt x="775" y="1571"/>
                </a:lnTo>
                <a:lnTo>
                  <a:pt x="778" y="1571"/>
                </a:lnTo>
                <a:lnTo>
                  <a:pt x="781" y="1573"/>
                </a:lnTo>
                <a:lnTo>
                  <a:pt x="786" y="1571"/>
                </a:lnTo>
                <a:lnTo>
                  <a:pt x="783" y="1569"/>
                </a:lnTo>
                <a:lnTo>
                  <a:pt x="781" y="1570"/>
                </a:lnTo>
                <a:lnTo>
                  <a:pt x="782" y="1565"/>
                </a:lnTo>
                <a:lnTo>
                  <a:pt x="782" y="1561"/>
                </a:lnTo>
                <a:lnTo>
                  <a:pt x="778" y="1557"/>
                </a:lnTo>
                <a:lnTo>
                  <a:pt x="781" y="1554"/>
                </a:lnTo>
                <a:lnTo>
                  <a:pt x="781" y="1553"/>
                </a:lnTo>
                <a:lnTo>
                  <a:pt x="783" y="1549"/>
                </a:lnTo>
                <a:lnTo>
                  <a:pt x="783" y="1544"/>
                </a:lnTo>
                <a:lnTo>
                  <a:pt x="785" y="1540"/>
                </a:lnTo>
                <a:lnTo>
                  <a:pt x="793" y="1534"/>
                </a:lnTo>
                <a:lnTo>
                  <a:pt x="794" y="1530"/>
                </a:lnTo>
                <a:lnTo>
                  <a:pt x="797" y="1530"/>
                </a:lnTo>
                <a:lnTo>
                  <a:pt x="797" y="1526"/>
                </a:lnTo>
                <a:lnTo>
                  <a:pt x="791" y="1530"/>
                </a:lnTo>
                <a:lnTo>
                  <a:pt x="785" y="1537"/>
                </a:lnTo>
                <a:lnTo>
                  <a:pt x="777" y="1557"/>
                </a:lnTo>
                <a:lnTo>
                  <a:pt x="777" y="1558"/>
                </a:lnTo>
                <a:lnTo>
                  <a:pt x="778" y="1559"/>
                </a:lnTo>
                <a:lnTo>
                  <a:pt x="775" y="1558"/>
                </a:lnTo>
                <a:lnTo>
                  <a:pt x="774" y="1565"/>
                </a:lnTo>
                <a:lnTo>
                  <a:pt x="771" y="1570"/>
                </a:lnTo>
                <a:lnTo>
                  <a:pt x="775" y="1557"/>
                </a:lnTo>
                <a:lnTo>
                  <a:pt x="788" y="1532"/>
                </a:lnTo>
                <a:lnTo>
                  <a:pt x="796" y="1525"/>
                </a:lnTo>
                <a:lnTo>
                  <a:pt x="799" y="1525"/>
                </a:lnTo>
                <a:lnTo>
                  <a:pt x="800" y="1526"/>
                </a:lnTo>
                <a:lnTo>
                  <a:pt x="804" y="1524"/>
                </a:lnTo>
                <a:lnTo>
                  <a:pt x="822" y="1517"/>
                </a:lnTo>
                <a:lnTo>
                  <a:pt x="824" y="1513"/>
                </a:lnTo>
                <a:lnTo>
                  <a:pt x="822" y="1509"/>
                </a:lnTo>
                <a:lnTo>
                  <a:pt x="831" y="1509"/>
                </a:lnTo>
                <a:lnTo>
                  <a:pt x="831" y="1513"/>
                </a:lnTo>
                <a:lnTo>
                  <a:pt x="827" y="1528"/>
                </a:lnTo>
                <a:lnTo>
                  <a:pt x="827" y="1529"/>
                </a:lnTo>
                <a:lnTo>
                  <a:pt x="829" y="1529"/>
                </a:lnTo>
                <a:lnTo>
                  <a:pt x="831" y="1533"/>
                </a:lnTo>
                <a:lnTo>
                  <a:pt x="821" y="1561"/>
                </a:lnTo>
                <a:lnTo>
                  <a:pt x="821" y="1571"/>
                </a:lnTo>
                <a:lnTo>
                  <a:pt x="818" y="1587"/>
                </a:lnTo>
                <a:lnTo>
                  <a:pt x="819" y="1594"/>
                </a:lnTo>
                <a:lnTo>
                  <a:pt x="818" y="1601"/>
                </a:lnTo>
                <a:lnTo>
                  <a:pt x="818" y="1608"/>
                </a:lnTo>
                <a:lnTo>
                  <a:pt x="811" y="1644"/>
                </a:lnTo>
                <a:lnTo>
                  <a:pt x="811" y="1646"/>
                </a:lnTo>
                <a:lnTo>
                  <a:pt x="816" y="1653"/>
                </a:lnTo>
                <a:lnTo>
                  <a:pt x="810" y="1669"/>
                </a:lnTo>
                <a:lnTo>
                  <a:pt x="806" y="1699"/>
                </a:lnTo>
                <a:lnTo>
                  <a:pt x="807" y="1703"/>
                </a:lnTo>
                <a:lnTo>
                  <a:pt x="806" y="1717"/>
                </a:lnTo>
                <a:lnTo>
                  <a:pt x="808" y="1728"/>
                </a:lnTo>
                <a:lnTo>
                  <a:pt x="808" y="1733"/>
                </a:lnTo>
                <a:lnTo>
                  <a:pt x="804" y="1744"/>
                </a:lnTo>
                <a:lnTo>
                  <a:pt x="800" y="1762"/>
                </a:lnTo>
                <a:lnTo>
                  <a:pt x="800" y="1766"/>
                </a:lnTo>
                <a:lnTo>
                  <a:pt x="802" y="1770"/>
                </a:lnTo>
                <a:lnTo>
                  <a:pt x="799" y="1782"/>
                </a:lnTo>
                <a:lnTo>
                  <a:pt x="797" y="1795"/>
                </a:lnTo>
                <a:lnTo>
                  <a:pt x="800" y="1802"/>
                </a:lnTo>
                <a:lnTo>
                  <a:pt x="803" y="1804"/>
                </a:lnTo>
                <a:lnTo>
                  <a:pt x="806" y="1806"/>
                </a:lnTo>
                <a:lnTo>
                  <a:pt x="806" y="1809"/>
                </a:lnTo>
                <a:lnTo>
                  <a:pt x="796" y="1834"/>
                </a:lnTo>
                <a:lnTo>
                  <a:pt x="793" y="1854"/>
                </a:lnTo>
                <a:lnTo>
                  <a:pt x="794" y="1859"/>
                </a:lnTo>
                <a:lnTo>
                  <a:pt x="797" y="1860"/>
                </a:lnTo>
                <a:lnTo>
                  <a:pt x="797" y="1862"/>
                </a:lnTo>
                <a:lnTo>
                  <a:pt x="789" y="1888"/>
                </a:lnTo>
                <a:lnTo>
                  <a:pt x="791" y="1889"/>
                </a:lnTo>
                <a:lnTo>
                  <a:pt x="786" y="1906"/>
                </a:lnTo>
                <a:lnTo>
                  <a:pt x="786" y="1918"/>
                </a:lnTo>
                <a:lnTo>
                  <a:pt x="782" y="1938"/>
                </a:lnTo>
                <a:lnTo>
                  <a:pt x="775" y="1972"/>
                </a:lnTo>
                <a:lnTo>
                  <a:pt x="777" y="1985"/>
                </a:lnTo>
                <a:lnTo>
                  <a:pt x="782" y="1996"/>
                </a:lnTo>
                <a:lnTo>
                  <a:pt x="781" y="2006"/>
                </a:lnTo>
                <a:lnTo>
                  <a:pt x="781" y="2010"/>
                </a:lnTo>
                <a:lnTo>
                  <a:pt x="785" y="2013"/>
                </a:lnTo>
                <a:lnTo>
                  <a:pt x="785" y="2015"/>
                </a:lnTo>
                <a:lnTo>
                  <a:pt x="782" y="2022"/>
                </a:lnTo>
                <a:lnTo>
                  <a:pt x="782" y="2025"/>
                </a:lnTo>
                <a:lnTo>
                  <a:pt x="781" y="2030"/>
                </a:lnTo>
                <a:lnTo>
                  <a:pt x="781" y="2031"/>
                </a:lnTo>
                <a:lnTo>
                  <a:pt x="782" y="2036"/>
                </a:lnTo>
                <a:lnTo>
                  <a:pt x="782" y="2038"/>
                </a:lnTo>
                <a:lnTo>
                  <a:pt x="782" y="2039"/>
                </a:lnTo>
                <a:lnTo>
                  <a:pt x="782" y="2040"/>
                </a:lnTo>
                <a:lnTo>
                  <a:pt x="782" y="2044"/>
                </a:lnTo>
                <a:lnTo>
                  <a:pt x="779" y="2050"/>
                </a:lnTo>
                <a:lnTo>
                  <a:pt x="777" y="2060"/>
                </a:lnTo>
                <a:lnTo>
                  <a:pt x="775" y="2064"/>
                </a:lnTo>
                <a:lnTo>
                  <a:pt x="774" y="2072"/>
                </a:lnTo>
                <a:lnTo>
                  <a:pt x="774" y="2075"/>
                </a:lnTo>
                <a:lnTo>
                  <a:pt x="772" y="2078"/>
                </a:lnTo>
                <a:lnTo>
                  <a:pt x="772" y="2080"/>
                </a:lnTo>
                <a:lnTo>
                  <a:pt x="774" y="2081"/>
                </a:lnTo>
                <a:lnTo>
                  <a:pt x="775" y="2083"/>
                </a:lnTo>
                <a:lnTo>
                  <a:pt x="775" y="2084"/>
                </a:lnTo>
                <a:lnTo>
                  <a:pt x="775" y="2085"/>
                </a:lnTo>
                <a:lnTo>
                  <a:pt x="774" y="2090"/>
                </a:lnTo>
                <a:lnTo>
                  <a:pt x="771" y="2097"/>
                </a:lnTo>
                <a:lnTo>
                  <a:pt x="771" y="2104"/>
                </a:lnTo>
                <a:lnTo>
                  <a:pt x="769" y="2110"/>
                </a:lnTo>
                <a:lnTo>
                  <a:pt x="769" y="2114"/>
                </a:lnTo>
                <a:lnTo>
                  <a:pt x="769" y="2115"/>
                </a:lnTo>
                <a:lnTo>
                  <a:pt x="769" y="2117"/>
                </a:lnTo>
                <a:lnTo>
                  <a:pt x="771" y="2117"/>
                </a:lnTo>
                <a:lnTo>
                  <a:pt x="771" y="2118"/>
                </a:lnTo>
                <a:lnTo>
                  <a:pt x="771" y="2119"/>
                </a:lnTo>
                <a:lnTo>
                  <a:pt x="772" y="2121"/>
                </a:lnTo>
                <a:lnTo>
                  <a:pt x="772" y="2122"/>
                </a:lnTo>
                <a:lnTo>
                  <a:pt x="774" y="2122"/>
                </a:lnTo>
                <a:lnTo>
                  <a:pt x="775" y="2122"/>
                </a:lnTo>
                <a:lnTo>
                  <a:pt x="775" y="2121"/>
                </a:lnTo>
                <a:lnTo>
                  <a:pt x="777" y="2121"/>
                </a:lnTo>
                <a:lnTo>
                  <a:pt x="778" y="2122"/>
                </a:lnTo>
                <a:lnTo>
                  <a:pt x="778" y="2123"/>
                </a:lnTo>
                <a:lnTo>
                  <a:pt x="777" y="2129"/>
                </a:lnTo>
                <a:lnTo>
                  <a:pt x="777" y="2133"/>
                </a:lnTo>
                <a:lnTo>
                  <a:pt x="774" y="2134"/>
                </a:lnTo>
                <a:lnTo>
                  <a:pt x="772" y="2134"/>
                </a:lnTo>
                <a:lnTo>
                  <a:pt x="758" y="2139"/>
                </a:lnTo>
                <a:lnTo>
                  <a:pt x="749" y="2140"/>
                </a:lnTo>
                <a:lnTo>
                  <a:pt x="738" y="2142"/>
                </a:lnTo>
                <a:lnTo>
                  <a:pt x="716" y="2143"/>
                </a:lnTo>
                <a:lnTo>
                  <a:pt x="679" y="2140"/>
                </a:lnTo>
                <a:lnTo>
                  <a:pt x="653" y="2140"/>
                </a:lnTo>
                <a:lnTo>
                  <a:pt x="333" y="2131"/>
                </a:lnTo>
                <a:lnTo>
                  <a:pt x="327" y="2131"/>
                </a:lnTo>
                <a:lnTo>
                  <a:pt x="326" y="2131"/>
                </a:lnTo>
                <a:lnTo>
                  <a:pt x="326" y="2130"/>
                </a:lnTo>
                <a:lnTo>
                  <a:pt x="325" y="2130"/>
                </a:lnTo>
                <a:lnTo>
                  <a:pt x="323" y="2130"/>
                </a:lnTo>
                <a:lnTo>
                  <a:pt x="322" y="2130"/>
                </a:lnTo>
                <a:lnTo>
                  <a:pt x="320" y="2130"/>
                </a:lnTo>
                <a:lnTo>
                  <a:pt x="319" y="2130"/>
                </a:lnTo>
                <a:lnTo>
                  <a:pt x="318" y="2130"/>
                </a:lnTo>
                <a:lnTo>
                  <a:pt x="316" y="2130"/>
                </a:lnTo>
                <a:lnTo>
                  <a:pt x="316" y="2129"/>
                </a:lnTo>
                <a:lnTo>
                  <a:pt x="315" y="2129"/>
                </a:lnTo>
                <a:lnTo>
                  <a:pt x="313" y="2129"/>
                </a:lnTo>
                <a:lnTo>
                  <a:pt x="312" y="2129"/>
                </a:lnTo>
                <a:lnTo>
                  <a:pt x="311" y="2129"/>
                </a:lnTo>
                <a:lnTo>
                  <a:pt x="309" y="2129"/>
                </a:lnTo>
                <a:lnTo>
                  <a:pt x="308" y="2129"/>
                </a:lnTo>
                <a:lnTo>
                  <a:pt x="307" y="2129"/>
                </a:lnTo>
                <a:lnTo>
                  <a:pt x="305" y="2129"/>
                </a:lnTo>
                <a:lnTo>
                  <a:pt x="304" y="2129"/>
                </a:lnTo>
                <a:lnTo>
                  <a:pt x="302" y="2129"/>
                </a:lnTo>
                <a:lnTo>
                  <a:pt x="301" y="2129"/>
                </a:lnTo>
                <a:lnTo>
                  <a:pt x="300" y="2129"/>
                </a:lnTo>
                <a:lnTo>
                  <a:pt x="298" y="2129"/>
                </a:lnTo>
                <a:lnTo>
                  <a:pt x="297" y="2129"/>
                </a:lnTo>
                <a:lnTo>
                  <a:pt x="295" y="2129"/>
                </a:lnTo>
                <a:lnTo>
                  <a:pt x="294" y="2129"/>
                </a:lnTo>
                <a:lnTo>
                  <a:pt x="293" y="2129"/>
                </a:lnTo>
                <a:lnTo>
                  <a:pt x="291" y="2129"/>
                </a:lnTo>
                <a:lnTo>
                  <a:pt x="290" y="2127"/>
                </a:lnTo>
                <a:lnTo>
                  <a:pt x="288" y="2127"/>
                </a:lnTo>
                <a:lnTo>
                  <a:pt x="287" y="2127"/>
                </a:lnTo>
                <a:lnTo>
                  <a:pt x="286" y="2127"/>
                </a:lnTo>
                <a:lnTo>
                  <a:pt x="284" y="2127"/>
                </a:lnTo>
                <a:lnTo>
                  <a:pt x="283" y="2127"/>
                </a:lnTo>
                <a:lnTo>
                  <a:pt x="282" y="2126"/>
                </a:lnTo>
                <a:lnTo>
                  <a:pt x="280" y="2126"/>
                </a:lnTo>
                <a:lnTo>
                  <a:pt x="279" y="2126"/>
                </a:lnTo>
                <a:lnTo>
                  <a:pt x="277" y="2126"/>
                </a:lnTo>
                <a:lnTo>
                  <a:pt x="277" y="2125"/>
                </a:lnTo>
                <a:lnTo>
                  <a:pt x="276" y="2125"/>
                </a:lnTo>
                <a:lnTo>
                  <a:pt x="274" y="2125"/>
                </a:lnTo>
                <a:lnTo>
                  <a:pt x="273" y="2125"/>
                </a:lnTo>
                <a:lnTo>
                  <a:pt x="272" y="2123"/>
                </a:lnTo>
                <a:lnTo>
                  <a:pt x="270" y="2123"/>
                </a:lnTo>
                <a:lnTo>
                  <a:pt x="269" y="2123"/>
                </a:lnTo>
                <a:lnTo>
                  <a:pt x="268" y="2122"/>
                </a:lnTo>
                <a:lnTo>
                  <a:pt x="266" y="2122"/>
                </a:lnTo>
                <a:lnTo>
                  <a:pt x="265" y="2122"/>
                </a:lnTo>
                <a:lnTo>
                  <a:pt x="263" y="2121"/>
                </a:lnTo>
                <a:lnTo>
                  <a:pt x="262" y="2121"/>
                </a:lnTo>
                <a:lnTo>
                  <a:pt x="260" y="2121"/>
                </a:lnTo>
                <a:lnTo>
                  <a:pt x="259" y="2119"/>
                </a:lnTo>
                <a:lnTo>
                  <a:pt x="258" y="2119"/>
                </a:lnTo>
                <a:lnTo>
                  <a:pt x="257" y="2119"/>
                </a:lnTo>
                <a:lnTo>
                  <a:pt x="255" y="2118"/>
                </a:lnTo>
                <a:lnTo>
                  <a:pt x="254" y="2118"/>
                </a:lnTo>
                <a:lnTo>
                  <a:pt x="252" y="2118"/>
                </a:lnTo>
                <a:lnTo>
                  <a:pt x="251" y="2117"/>
                </a:lnTo>
                <a:lnTo>
                  <a:pt x="249" y="2117"/>
                </a:lnTo>
                <a:lnTo>
                  <a:pt x="248" y="2117"/>
                </a:lnTo>
                <a:lnTo>
                  <a:pt x="248" y="2115"/>
                </a:lnTo>
                <a:lnTo>
                  <a:pt x="247" y="2115"/>
                </a:lnTo>
                <a:lnTo>
                  <a:pt x="245" y="2115"/>
                </a:lnTo>
                <a:lnTo>
                  <a:pt x="244" y="2114"/>
                </a:lnTo>
                <a:lnTo>
                  <a:pt x="243" y="2114"/>
                </a:lnTo>
                <a:lnTo>
                  <a:pt x="241" y="2114"/>
                </a:lnTo>
                <a:lnTo>
                  <a:pt x="240" y="2114"/>
                </a:lnTo>
                <a:lnTo>
                  <a:pt x="238" y="2114"/>
                </a:lnTo>
                <a:lnTo>
                  <a:pt x="237" y="2114"/>
                </a:lnTo>
                <a:lnTo>
                  <a:pt x="235" y="2114"/>
                </a:lnTo>
                <a:lnTo>
                  <a:pt x="234" y="2114"/>
                </a:lnTo>
                <a:lnTo>
                  <a:pt x="233" y="2114"/>
                </a:lnTo>
                <a:lnTo>
                  <a:pt x="233" y="2115"/>
                </a:lnTo>
                <a:lnTo>
                  <a:pt x="232" y="2115"/>
                </a:lnTo>
                <a:lnTo>
                  <a:pt x="230" y="2117"/>
                </a:lnTo>
                <a:lnTo>
                  <a:pt x="229" y="2117"/>
                </a:lnTo>
                <a:lnTo>
                  <a:pt x="229" y="2118"/>
                </a:lnTo>
                <a:lnTo>
                  <a:pt x="227" y="2119"/>
                </a:lnTo>
                <a:lnTo>
                  <a:pt x="226" y="2119"/>
                </a:lnTo>
                <a:lnTo>
                  <a:pt x="226" y="2121"/>
                </a:lnTo>
                <a:lnTo>
                  <a:pt x="224" y="2121"/>
                </a:lnTo>
                <a:lnTo>
                  <a:pt x="224" y="2122"/>
                </a:lnTo>
                <a:lnTo>
                  <a:pt x="223" y="2122"/>
                </a:lnTo>
                <a:lnTo>
                  <a:pt x="223" y="2123"/>
                </a:lnTo>
                <a:lnTo>
                  <a:pt x="222" y="2123"/>
                </a:lnTo>
                <a:lnTo>
                  <a:pt x="222" y="2125"/>
                </a:lnTo>
                <a:lnTo>
                  <a:pt x="220" y="2125"/>
                </a:lnTo>
                <a:lnTo>
                  <a:pt x="220" y="2126"/>
                </a:lnTo>
                <a:lnTo>
                  <a:pt x="219" y="2126"/>
                </a:lnTo>
                <a:lnTo>
                  <a:pt x="219" y="2127"/>
                </a:lnTo>
                <a:lnTo>
                  <a:pt x="218" y="2127"/>
                </a:lnTo>
                <a:lnTo>
                  <a:pt x="218" y="2129"/>
                </a:lnTo>
                <a:lnTo>
                  <a:pt x="216" y="2130"/>
                </a:lnTo>
                <a:lnTo>
                  <a:pt x="215" y="2131"/>
                </a:lnTo>
                <a:lnTo>
                  <a:pt x="213" y="2133"/>
                </a:lnTo>
                <a:lnTo>
                  <a:pt x="212" y="2134"/>
                </a:lnTo>
                <a:lnTo>
                  <a:pt x="210" y="2135"/>
                </a:lnTo>
                <a:lnTo>
                  <a:pt x="209" y="2135"/>
                </a:lnTo>
                <a:lnTo>
                  <a:pt x="208" y="2135"/>
                </a:lnTo>
                <a:lnTo>
                  <a:pt x="207" y="2135"/>
                </a:lnTo>
                <a:lnTo>
                  <a:pt x="207" y="2137"/>
                </a:lnTo>
                <a:lnTo>
                  <a:pt x="205" y="2137"/>
                </a:lnTo>
                <a:lnTo>
                  <a:pt x="204" y="2135"/>
                </a:lnTo>
                <a:lnTo>
                  <a:pt x="202" y="2135"/>
                </a:lnTo>
                <a:lnTo>
                  <a:pt x="201" y="2135"/>
                </a:lnTo>
                <a:lnTo>
                  <a:pt x="199" y="2135"/>
                </a:lnTo>
                <a:lnTo>
                  <a:pt x="198" y="2134"/>
                </a:lnTo>
                <a:lnTo>
                  <a:pt x="197" y="2134"/>
                </a:lnTo>
                <a:lnTo>
                  <a:pt x="195" y="2134"/>
                </a:lnTo>
                <a:lnTo>
                  <a:pt x="194" y="2133"/>
                </a:lnTo>
                <a:lnTo>
                  <a:pt x="193" y="2133"/>
                </a:lnTo>
                <a:lnTo>
                  <a:pt x="191" y="2131"/>
                </a:lnTo>
                <a:lnTo>
                  <a:pt x="190" y="2131"/>
                </a:lnTo>
                <a:lnTo>
                  <a:pt x="188" y="2130"/>
                </a:lnTo>
                <a:lnTo>
                  <a:pt x="187" y="2130"/>
                </a:lnTo>
                <a:lnTo>
                  <a:pt x="185" y="2129"/>
                </a:lnTo>
                <a:lnTo>
                  <a:pt x="184" y="2129"/>
                </a:lnTo>
                <a:lnTo>
                  <a:pt x="184" y="2127"/>
                </a:lnTo>
                <a:lnTo>
                  <a:pt x="183" y="2127"/>
                </a:lnTo>
                <a:lnTo>
                  <a:pt x="182" y="2126"/>
                </a:lnTo>
                <a:lnTo>
                  <a:pt x="180" y="2126"/>
                </a:lnTo>
                <a:lnTo>
                  <a:pt x="180" y="2125"/>
                </a:lnTo>
                <a:lnTo>
                  <a:pt x="179" y="2125"/>
                </a:lnTo>
                <a:lnTo>
                  <a:pt x="177" y="2123"/>
                </a:lnTo>
                <a:lnTo>
                  <a:pt x="176" y="2123"/>
                </a:lnTo>
                <a:lnTo>
                  <a:pt x="176" y="2122"/>
                </a:lnTo>
                <a:lnTo>
                  <a:pt x="174" y="2122"/>
                </a:lnTo>
                <a:lnTo>
                  <a:pt x="173" y="2121"/>
                </a:lnTo>
                <a:lnTo>
                  <a:pt x="172" y="2121"/>
                </a:lnTo>
                <a:lnTo>
                  <a:pt x="172" y="2119"/>
                </a:lnTo>
                <a:lnTo>
                  <a:pt x="170" y="2119"/>
                </a:lnTo>
                <a:lnTo>
                  <a:pt x="170" y="2118"/>
                </a:lnTo>
                <a:lnTo>
                  <a:pt x="169" y="2118"/>
                </a:lnTo>
                <a:lnTo>
                  <a:pt x="168" y="2118"/>
                </a:lnTo>
                <a:lnTo>
                  <a:pt x="168" y="2117"/>
                </a:lnTo>
                <a:lnTo>
                  <a:pt x="166" y="2117"/>
                </a:lnTo>
                <a:lnTo>
                  <a:pt x="165" y="2117"/>
                </a:lnTo>
                <a:lnTo>
                  <a:pt x="165" y="2115"/>
                </a:lnTo>
                <a:lnTo>
                  <a:pt x="163" y="2115"/>
                </a:lnTo>
                <a:lnTo>
                  <a:pt x="163" y="2104"/>
                </a:lnTo>
                <a:lnTo>
                  <a:pt x="165" y="2028"/>
                </a:lnTo>
                <a:lnTo>
                  <a:pt x="166" y="2023"/>
                </a:lnTo>
                <a:lnTo>
                  <a:pt x="165" y="1984"/>
                </a:lnTo>
                <a:lnTo>
                  <a:pt x="168" y="1960"/>
                </a:lnTo>
                <a:lnTo>
                  <a:pt x="166" y="1948"/>
                </a:lnTo>
                <a:lnTo>
                  <a:pt x="166" y="1874"/>
                </a:lnTo>
                <a:lnTo>
                  <a:pt x="135" y="1809"/>
                </a:lnTo>
                <a:lnTo>
                  <a:pt x="129" y="1791"/>
                </a:lnTo>
                <a:lnTo>
                  <a:pt x="122" y="1773"/>
                </a:lnTo>
                <a:lnTo>
                  <a:pt x="122" y="1765"/>
                </a:lnTo>
                <a:lnTo>
                  <a:pt x="119" y="1737"/>
                </a:lnTo>
                <a:lnTo>
                  <a:pt x="118" y="1707"/>
                </a:lnTo>
                <a:lnTo>
                  <a:pt x="116" y="1695"/>
                </a:lnTo>
                <a:lnTo>
                  <a:pt x="130" y="1641"/>
                </a:lnTo>
                <a:lnTo>
                  <a:pt x="134" y="1620"/>
                </a:lnTo>
                <a:lnTo>
                  <a:pt x="134" y="1613"/>
                </a:lnTo>
                <a:lnTo>
                  <a:pt x="138" y="1600"/>
                </a:lnTo>
                <a:lnTo>
                  <a:pt x="144" y="1578"/>
                </a:lnTo>
                <a:lnTo>
                  <a:pt x="135" y="1524"/>
                </a:lnTo>
                <a:lnTo>
                  <a:pt x="134" y="1503"/>
                </a:lnTo>
                <a:lnTo>
                  <a:pt x="127" y="1453"/>
                </a:lnTo>
                <a:lnTo>
                  <a:pt x="119" y="1451"/>
                </a:lnTo>
                <a:lnTo>
                  <a:pt x="112" y="1451"/>
                </a:lnTo>
                <a:lnTo>
                  <a:pt x="109" y="1449"/>
                </a:lnTo>
                <a:lnTo>
                  <a:pt x="102" y="1449"/>
                </a:lnTo>
                <a:lnTo>
                  <a:pt x="98" y="1446"/>
                </a:lnTo>
                <a:lnTo>
                  <a:pt x="80" y="1442"/>
                </a:lnTo>
                <a:lnTo>
                  <a:pt x="80" y="1444"/>
                </a:lnTo>
                <a:lnTo>
                  <a:pt x="60" y="1437"/>
                </a:lnTo>
                <a:lnTo>
                  <a:pt x="35" y="1407"/>
                </a:lnTo>
                <a:lnTo>
                  <a:pt x="0" y="1315"/>
                </a:lnTo>
                <a:lnTo>
                  <a:pt x="40" y="1198"/>
                </a:lnTo>
                <a:lnTo>
                  <a:pt x="52" y="1185"/>
                </a:lnTo>
                <a:lnTo>
                  <a:pt x="54" y="1184"/>
                </a:lnTo>
                <a:lnTo>
                  <a:pt x="62" y="1159"/>
                </a:lnTo>
                <a:lnTo>
                  <a:pt x="55" y="1080"/>
                </a:lnTo>
                <a:lnTo>
                  <a:pt x="54" y="1063"/>
                </a:lnTo>
                <a:lnTo>
                  <a:pt x="42" y="1060"/>
                </a:lnTo>
                <a:lnTo>
                  <a:pt x="38" y="1049"/>
                </a:lnTo>
                <a:lnTo>
                  <a:pt x="40" y="1006"/>
                </a:lnTo>
                <a:lnTo>
                  <a:pt x="47" y="993"/>
                </a:lnTo>
                <a:lnTo>
                  <a:pt x="48" y="991"/>
                </a:lnTo>
                <a:lnTo>
                  <a:pt x="48" y="989"/>
                </a:lnTo>
                <a:lnTo>
                  <a:pt x="70" y="940"/>
                </a:lnTo>
                <a:lnTo>
                  <a:pt x="80" y="840"/>
                </a:lnTo>
                <a:lnTo>
                  <a:pt x="83" y="787"/>
                </a:lnTo>
                <a:lnTo>
                  <a:pt x="84" y="746"/>
                </a:lnTo>
                <a:lnTo>
                  <a:pt x="66" y="520"/>
                </a:lnTo>
                <a:lnTo>
                  <a:pt x="62" y="471"/>
                </a:lnTo>
                <a:lnTo>
                  <a:pt x="55" y="391"/>
                </a:lnTo>
                <a:lnTo>
                  <a:pt x="63" y="298"/>
                </a:lnTo>
                <a:lnTo>
                  <a:pt x="68" y="202"/>
                </a:lnTo>
                <a:lnTo>
                  <a:pt x="47" y="80"/>
                </a:lnTo>
                <a:lnTo>
                  <a:pt x="24" y="45"/>
                </a:lnTo>
                <a:lnTo>
                  <a:pt x="19" y="38"/>
                </a:lnTo>
                <a:lnTo>
                  <a:pt x="38" y="33"/>
                </a:lnTo>
                <a:lnTo>
                  <a:pt x="42" y="30"/>
                </a:lnTo>
                <a:lnTo>
                  <a:pt x="56" y="24"/>
                </a:lnTo>
                <a:lnTo>
                  <a:pt x="58" y="22"/>
                </a:lnTo>
                <a:lnTo>
                  <a:pt x="68" y="20"/>
                </a:lnTo>
                <a:lnTo>
                  <a:pt x="77" y="13"/>
                </a:lnTo>
                <a:lnTo>
                  <a:pt x="80" y="13"/>
                </a:lnTo>
                <a:lnTo>
                  <a:pt x="81" y="11"/>
                </a:lnTo>
                <a:lnTo>
                  <a:pt x="85" y="11"/>
                </a:lnTo>
                <a:lnTo>
                  <a:pt x="87" y="8"/>
                </a:lnTo>
                <a:lnTo>
                  <a:pt x="95" y="5"/>
                </a:lnTo>
                <a:lnTo>
                  <a:pt x="109" y="5"/>
                </a:lnTo>
                <a:lnTo>
                  <a:pt x="109" y="3"/>
                </a:lnTo>
                <a:lnTo>
                  <a:pt x="113" y="0"/>
                </a:lnTo>
                <a:lnTo>
                  <a:pt x="119" y="0"/>
                </a:lnTo>
                <a:lnTo>
                  <a:pt x="141" y="5"/>
                </a:lnTo>
                <a:lnTo>
                  <a:pt x="144" y="5"/>
                </a:lnTo>
                <a:lnTo>
                  <a:pt x="151" y="5"/>
                </a:lnTo>
                <a:lnTo>
                  <a:pt x="152" y="10"/>
                </a:lnTo>
                <a:lnTo>
                  <a:pt x="166" y="10"/>
                </a:lnTo>
                <a:lnTo>
                  <a:pt x="172" y="12"/>
                </a:lnTo>
                <a:lnTo>
                  <a:pt x="174" y="8"/>
                </a:lnTo>
                <a:lnTo>
                  <a:pt x="179" y="10"/>
                </a:lnTo>
                <a:lnTo>
                  <a:pt x="183" y="8"/>
                </a:lnTo>
                <a:lnTo>
                  <a:pt x="187" y="8"/>
                </a:lnTo>
                <a:lnTo>
                  <a:pt x="190" y="12"/>
                </a:lnTo>
                <a:lnTo>
                  <a:pt x="193" y="11"/>
                </a:lnTo>
                <a:lnTo>
                  <a:pt x="195" y="12"/>
                </a:lnTo>
                <a:lnTo>
                  <a:pt x="199" y="12"/>
                </a:lnTo>
                <a:lnTo>
                  <a:pt x="201" y="11"/>
                </a:lnTo>
                <a:lnTo>
                  <a:pt x="204" y="12"/>
                </a:lnTo>
                <a:lnTo>
                  <a:pt x="205" y="11"/>
                </a:lnTo>
                <a:lnTo>
                  <a:pt x="207" y="12"/>
                </a:lnTo>
                <a:lnTo>
                  <a:pt x="208" y="11"/>
                </a:lnTo>
                <a:lnTo>
                  <a:pt x="212" y="11"/>
                </a:lnTo>
                <a:lnTo>
                  <a:pt x="215" y="13"/>
                </a:lnTo>
                <a:lnTo>
                  <a:pt x="215" y="18"/>
                </a:lnTo>
                <a:lnTo>
                  <a:pt x="218" y="16"/>
                </a:lnTo>
                <a:lnTo>
                  <a:pt x="218" y="19"/>
                </a:lnTo>
                <a:lnTo>
                  <a:pt x="222" y="20"/>
                </a:lnTo>
                <a:lnTo>
                  <a:pt x="226" y="25"/>
                </a:lnTo>
                <a:lnTo>
                  <a:pt x="232" y="25"/>
                </a:lnTo>
                <a:lnTo>
                  <a:pt x="237" y="27"/>
                </a:lnTo>
                <a:lnTo>
                  <a:pt x="240" y="32"/>
                </a:lnTo>
                <a:lnTo>
                  <a:pt x="244" y="24"/>
                </a:lnTo>
                <a:lnTo>
                  <a:pt x="245" y="25"/>
                </a:lnTo>
                <a:lnTo>
                  <a:pt x="247" y="23"/>
                </a:lnTo>
                <a:lnTo>
                  <a:pt x="255" y="27"/>
                </a:lnTo>
                <a:lnTo>
                  <a:pt x="258" y="25"/>
                </a:lnTo>
                <a:lnTo>
                  <a:pt x="266" y="31"/>
                </a:lnTo>
                <a:lnTo>
                  <a:pt x="277" y="37"/>
                </a:lnTo>
                <a:lnTo>
                  <a:pt x="279" y="40"/>
                </a:lnTo>
                <a:lnTo>
                  <a:pt x="284" y="43"/>
                </a:lnTo>
                <a:lnTo>
                  <a:pt x="287" y="43"/>
                </a:lnTo>
                <a:lnTo>
                  <a:pt x="290" y="38"/>
                </a:lnTo>
                <a:lnTo>
                  <a:pt x="294" y="37"/>
                </a:lnTo>
                <a:lnTo>
                  <a:pt x="300" y="37"/>
                </a:lnTo>
                <a:lnTo>
                  <a:pt x="302" y="38"/>
                </a:lnTo>
                <a:lnTo>
                  <a:pt x="307" y="40"/>
                </a:lnTo>
                <a:lnTo>
                  <a:pt x="311" y="38"/>
                </a:lnTo>
                <a:lnTo>
                  <a:pt x="316" y="40"/>
                </a:lnTo>
                <a:lnTo>
                  <a:pt x="320" y="36"/>
                </a:lnTo>
                <a:lnTo>
                  <a:pt x="326" y="35"/>
                </a:lnTo>
                <a:lnTo>
                  <a:pt x="326" y="33"/>
                </a:lnTo>
                <a:lnTo>
                  <a:pt x="327" y="33"/>
                </a:lnTo>
                <a:lnTo>
                  <a:pt x="332" y="35"/>
                </a:lnTo>
                <a:lnTo>
                  <a:pt x="337" y="33"/>
                </a:lnTo>
                <a:lnTo>
                  <a:pt x="341" y="36"/>
                </a:lnTo>
                <a:lnTo>
                  <a:pt x="350" y="36"/>
                </a:lnTo>
                <a:lnTo>
                  <a:pt x="357" y="40"/>
                </a:lnTo>
                <a:lnTo>
                  <a:pt x="368" y="40"/>
                </a:lnTo>
                <a:lnTo>
                  <a:pt x="378" y="45"/>
                </a:lnTo>
                <a:lnTo>
                  <a:pt x="379" y="43"/>
                </a:lnTo>
                <a:lnTo>
                  <a:pt x="382" y="43"/>
                </a:lnTo>
                <a:lnTo>
                  <a:pt x="384" y="44"/>
                </a:lnTo>
                <a:lnTo>
                  <a:pt x="386" y="48"/>
                </a:lnTo>
                <a:lnTo>
                  <a:pt x="389" y="48"/>
                </a:lnTo>
                <a:lnTo>
                  <a:pt x="393" y="52"/>
                </a:lnTo>
                <a:lnTo>
                  <a:pt x="395" y="56"/>
                </a:lnTo>
                <a:lnTo>
                  <a:pt x="403" y="62"/>
                </a:lnTo>
                <a:lnTo>
                  <a:pt x="409" y="60"/>
                </a:lnTo>
                <a:lnTo>
                  <a:pt x="414" y="72"/>
                </a:lnTo>
                <a:lnTo>
                  <a:pt x="418" y="74"/>
                </a:lnTo>
                <a:lnTo>
                  <a:pt x="419" y="82"/>
                </a:lnTo>
                <a:lnTo>
                  <a:pt x="423" y="83"/>
                </a:lnTo>
                <a:lnTo>
                  <a:pt x="428" y="83"/>
                </a:lnTo>
                <a:lnTo>
                  <a:pt x="440" y="100"/>
                </a:lnTo>
                <a:lnTo>
                  <a:pt x="443" y="102"/>
                </a:lnTo>
                <a:lnTo>
                  <a:pt x="446" y="102"/>
                </a:lnTo>
                <a:lnTo>
                  <a:pt x="450" y="103"/>
                </a:lnTo>
                <a:lnTo>
                  <a:pt x="454" y="103"/>
                </a:lnTo>
                <a:lnTo>
                  <a:pt x="457" y="105"/>
                </a:lnTo>
                <a:lnTo>
                  <a:pt x="467" y="103"/>
                </a:lnTo>
                <a:lnTo>
                  <a:pt x="476" y="107"/>
                </a:lnTo>
                <a:lnTo>
                  <a:pt x="480" y="106"/>
                </a:lnTo>
                <a:lnTo>
                  <a:pt x="484" y="114"/>
                </a:lnTo>
                <a:lnTo>
                  <a:pt x="492" y="117"/>
                </a:lnTo>
                <a:lnTo>
                  <a:pt x="497" y="115"/>
                </a:lnTo>
                <a:lnTo>
                  <a:pt x="507" y="106"/>
                </a:lnTo>
                <a:lnTo>
                  <a:pt x="517" y="110"/>
                </a:lnTo>
                <a:lnTo>
                  <a:pt x="528" y="117"/>
                </a:lnTo>
                <a:lnTo>
                  <a:pt x="529" y="119"/>
                </a:lnTo>
                <a:lnTo>
                  <a:pt x="532" y="120"/>
                </a:lnTo>
                <a:lnTo>
                  <a:pt x="533" y="124"/>
                </a:lnTo>
                <a:lnTo>
                  <a:pt x="536" y="127"/>
                </a:lnTo>
                <a:lnTo>
                  <a:pt x="537" y="132"/>
                </a:lnTo>
                <a:lnTo>
                  <a:pt x="543" y="137"/>
                </a:lnTo>
                <a:lnTo>
                  <a:pt x="547" y="143"/>
                </a:lnTo>
                <a:lnTo>
                  <a:pt x="551" y="142"/>
                </a:lnTo>
                <a:lnTo>
                  <a:pt x="557" y="143"/>
                </a:lnTo>
                <a:lnTo>
                  <a:pt x="572" y="140"/>
                </a:lnTo>
                <a:lnTo>
                  <a:pt x="581" y="142"/>
                </a:lnTo>
                <a:lnTo>
                  <a:pt x="585" y="142"/>
                </a:lnTo>
                <a:lnTo>
                  <a:pt x="597" y="149"/>
                </a:lnTo>
                <a:lnTo>
                  <a:pt x="617" y="152"/>
                </a:lnTo>
                <a:lnTo>
                  <a:pt x="615" y="153"/>
                </a:lnTo>
                <a:lnTo>
                  <a:pt x="619" y="156"/>
                </a:lnTo>
                <a:lnTo>
                  <a:pt x="624" y="156"/>
                </a:lnTo>
                <a:lnTo>
                  <a:pt x="638" y="164"/>
                </a:lnTo>
                <a:lnTo>
                  <a:pt x="640" y="176"/>
                </a:lnTo>
                <a:lnTo>
                  <a:pt x="639" y="187"/>
                </a:lnTo>
                <a:lnTo>
                  <a:pt x="642" y="201"/>
                </a:lnTo>
                <a:lnTo>
                  <a:pt x="640" y="207"/>
                </a:lnTo>
                <a:lnTo>
                  <a:pt x="642" y="209"/>
                </a:lnTo>
                <a:lnTo>
                  <a:pt x="642" y="222"/>
                </a:lnTo>
                <a:lnTo>
                  <a:pt x="635" y="230"/>
                </a:lnTo>
                <a:lnTo>
                  <a:pt x="635" y="234"/>
                </a:lnTo>
                <a:lnTo>
                  <a:pt x="632" y="239"/>
                </a:lnTo>
                <a:lnTo>
                  <a:pt x="632" y="251"/>
                </a:lnTo>
                <a:lnTo>
                  <a:pt x="633" y="254"/>
                </a:lnTo>
                <a:lnTo>
                  <a:pt x="639" y="256"/>
                </a:lnTo>
                <a:lnTo>
                  <a:pt x="639" y="263"/>
                </a:lnTo>
                <a:lnTo>
                  <a:pt x="647" y="269"/>
                </a:lnTo>
                <a:lnTo>
                  <a:pt x="647" y="272"/>
                </a:lnTo>
                <a:lnTo>
                  <a:pt x="649" y="272"/>
                </a:lnTo>
                <a:lnTo>
                  <a:pt x="652" y="271"/>
                </a:lnTo>
                <a:lnTo>
                  <a:pt x="654" y="272"/>
                </a:lnTo>
                <a:lnTo>
                  <a:pt x="658" y="274"/>
                </a:lnTo>
                <a:lnTo>
                  <a:pt x="657" y="280"/>
                </a:lnTo>
                <a:lnTo>
                  <a:pt x="660" y="285"/>
                </a:lnTo>
                <a:lnTo>
                  <a:pt x="664" y="285"/>
                </a:lnTo>
                <a:lnTo>
                  <a:pt x="671" y="291"/>
                </a:lnTo>
                <a:lnTo>
                  <a:pt x="671" y="292"/>
                </a:lnTo>
                <a:lnTo>
                  <a:pt x="672" y="294"/>
                </a:lnTo>
                <a:lnTo>
                  <a:pt x="671" y="299"/>
                </a:lnTo>
                <a:lnTo>
                  <a:pt x="675" y="301"/>
                </a:lnTo>
                <a:lnTo>
                  <a:pt x="675" y="302"/>
                </a:lnTo>
                <a:lnTo>
                  <a:pt x="678" y="308"/>
                </a:lnTo>
                <a:lnTo>
                  <a:pt x="679" y="317"/>
                </a:lnTo>
                <a:lnTo>
                  <a:pt x="681" y="319"/>
                </a:lnTo>
                <a:lnTo>
                  <a:pt x="682" y="323"/>
                </a:lnTo>
                <a:lnTo>
                  <a:pt x="686" y="326"/>
                </a:lnTo>
                <a:lnTo>
                  <a:pt x="688" y="330"/>
                </a:lnTo>
                <a:lnTo>
                  <a:pt x="693" y="334"/>
                </a:lnTo>
                <a:lnTo>
                  <a:pt x="694" y="336"/>
                </a:lnTo>
                <a:lnTo>
                  <a:pt x="697" y="339"/>
                </a:lnTo>
                <a:lnTo>
                  <a:pt x="703" y="346"/>
                </a:lnTo>
                <a:lnTo>
                  <a:pt x="703" y="350"/>
                </a:lnTo>
                <a:lnTo>
                  <a:pt x="706" y="352"/>
                </a:lnTo>
                <a:lnTo>
                  <a:pt x="708" y="352"/>
                </a:lnTo>
                <a:lnTo>
                  <a:pt x="710" y="356"/>
                </a:lnTo>
                <a:lnTo>
                  <a:pt x="708" y="359"/>
                </a:lnTo>
                <a:lnTo>
                  <a:pt x="718" y="375"/>
                </a:lnTo>
                <a:lnTo>
                  <a:pt x="719" y="375"/>
                </a:lnTo>
                <a:lnTo>
                  <a:pt x="724" y="375"/>
                </a:lnTo>
                <a:lnTo>
                  <a:pt x="727" y="376"/>
                </a:lnTo>
                <a:lnTo>
                  <a:pt x="729" y="381"/>
                </a:lnTo>
                <a:lnTo>
                  <a:pt x="729" y="386"/>
                </a:lnTo>
                <a:lnTo>
                  <a:pt x="733" y="388"/>
                </a:lnTo>
                <a:lnTo>
                  <a:pt x="733" y="391"/>
                </a:lnTo>
                <a:lnTo>
                  <a:pt x="736" y="393"/>
                </a:lnTo>
                <a:lnTo>
                  <a:pt x="735" y="396"/>
                </a:lnTo>
                <a:lnTo>
                  <a:pt x="731" y="397"/>
                </a:lnTo>
                <a:lnTo>
                  <a:pt x="733" y="401"/>
                </a:lnTo>
                <a:lnTo>
                  <a:pt x="732" y="401"/>
                </a:lnTo>
                <a:lnTo>
                  <a:pt x="731" y="405"/>
                </a:lnTo>
                <a:lnTo>
                  <a:pt x="732" y="412"/>
                </a:lnTo>
                <a:lnTo>
                  <a:pt x="729" y="417"/>
                </a:lnTo>
                <a:lnTo>
                  <a:pt x="731" y="420"/>
                </a:lnTo>
                <a:lnTo>
                  <a:pt x="736" y="425"/>
                </a:lnTo>
                <a:lnTo>
                  <a:pt x="738" y="425"/>
                </a:lnTo>
                <a:lnTo>
                  <a:pt x="747" y="430"/>
                </a:lnTo>
                <a:lnTo>
                  <a:pt x="747" y="433"/>
                </a:lnTo>
                <a:lnTo>
                  <a:pt x="749" y="435"/>
                </a:lnTo>
                <a:lnTo>
                  <a:pt x="749" y="437"/>
                </a:lnTo>
                <a:lnTo>
                  <a:pt x="753" y="439"/>
                </a:lnTo>
                <a:lnTo>
                  <a:pt x="756" y="438"/>
                </a:lnTo>
                <a:lnTo>
                  <a:pt x="760" y="441"/>
                </a:lnTo>
                <a:lnTo>
                  <a:pt x="758" y="447"/>
                </a:lnTo>
                <a:lnTo>
                  <a:pt x="756" y="450"/>
                </a:lnTo>
                <a:lnTo>
                  <a:pt x="757" y="454"/>
                </a:lnTo>
                <a:lnTo>
                  <a:pt x="753" y="457"/>
                </a:lnTo>
                <a:lnTo>
                  <a:pt x="753" y="462"/>
                </a:lnTo>
                <a:lnTo>
                  <a:pt x="757" y="460"/>
                </a:lnTo>
                <a:lnTo>
                  <a:pt x="769" y="450"/>
                </a:lnTo>
                <a:lnTo>
                  <a:pt x="785" y="450"/>
                </a:lnTo>
                <a:lnTo>
                  <a:pt x="824" y="450"/>
                </a:lnTo>
                <a:lnTo>
                  <a:pt x="803" y="499"/>
                </a:lnTo>
                <a:lnTo>
                  <a:pt x="793" y="509"/>
                </a:lnTo>
                <a:lnTo>
                  <a:pt x="782" y="525"/>
                </a:lnTo>
                <a:lnTo>
                  <a:pt x="782" y="526"/>
                </a:lnTo>
                <a:lnTo>
                  <a:pt x="788" y="526"/>
                </a:lnTo>
                <a:lnTo>
                  <a:pt x="788" y="527"/>
                </a:lnTo>
                <a:lnTo>
                  <a:pt x="788" y="529"/>
                </a:lnTo>
                <a:lnTo>
                  <a:pt x="786" y="529"/>
                </a:lnTo>
                <a:lnTo>
                  <a:pt x="788" y="532"/>
                </a:lnTo>
                <a:lnTo>
                  <a:pt x="785" y="533"/>
                </a:lnTo>
                <a:lnTo>
                  <a:pt x="783" y="535"/>
                </a:lnTo>
                <a:lnTo>
                  <a:pt x="791" y="538"/>
                </a:lnTo>
                <a:lnTo>
                  <a:pt x="789" y="539"/>
                </a:lnTo>
                <a:lnTo>
                  <a:pt x="791" y="541"/>
                </a:lnTo>
                <a:lnTo>
                  <a:pt x="789" y="542"/>
                </a:lnTo>
                <a:lnTo>
                  <a:pt x="789" y="546"/>
                </a:lnTo>
                <a:lnTo>
                  <a:pt x="791" y="547"/>
                </a:lnTo>
                <a:lnTo>
                  <a:pt x="793" y="547"/>
                </a:lnTo>
                <a:lnTo>
                  <a:pt x="794" y="549"/>
                </a:lnTo>
                <a:lnTo>
                  <a:pt x="792" y="551"/>
                </a:lnTo>
                <a:lnTo>
                  <a:pt x="794" y="552"/>
                </a:lnTo>
                <a:lnTo>
                  <a:pt x="792" y="554"/>
                </a:lnTo>
                <a:lnTo>
                  <a:pt x="794" y="555"/>
                </a:lnTo>
                <a:lnTo>
                  <a:pt x="793" y="558"/>
                </a:lnTo>
                <a:lnTo>
                  <a:pt x="799" y="560"/>
                </a:lnTo>
                <a:lnTo>
                  <a:pt x="802" y="560"/>
                </a:lnTo>
                <a:lnTo>
                  <a:pt x="803" y="559"/>
                </a:lnTo>
                <a:lnTo>
                  <a:pt x="810" y="560"/>
                </a:lnTo>
                <a:lnTo>
                  <a:pt x="811" y="559"/>
                </a:lnTo>
                <a:lnTo>
                  <a:pt x="813" y="560"/>
                </a:lnTo>
                <a:lnTo>
                  <a:pt x="813" y="563"/>
                </a:lnTo>
                <a:lnTo>
                  <a:pt x="813" y="564"/>
                </a:lnTo>
                <a:lnTo>
                  <a:pt x="811" y="566"/>
                </a:lnTo>
                <a:lnTo>
                  <a:pt x="814" y="569"/>
                </a:lnTo>
                <a:lnTo>
                  <a:pt x="816" y="572"/>
                </a:lnTo>
                <a:lnTo>
                  <a:pt x="814" y="574"/>
                </a:lnTo>
                <a:lnTo>
                  <a:pt x="813" y="572"/>
                </a:lnTo>
                <a:lnTo>
                  <a:pt x="810" y="574"/>
                </a:lnTo>
                <a:lnTo>
                  <a:pt x="808" y="572"/>
                </a:lnTo>
                <a:lnTo>
                  <a:pt x="806" y="574"/>
                </a:lnTo>
                <a:lnTo>
                  <a:pt x="806" y="575"/>
                </a:lnTo>
                <a:lnTo>
                  <a:pt x="803" y="575"/>
                </a:lnTo>
                <a:lnTo>
                  <a:pt x="803" y="577"/>
                </a:lnTo>
                <a:lnTo>
                  <a:pt x="797" y="579"/>
                </a:lnTo>
                <a:lnTo>
                  <a:pt x="796" y="582"/>
                </a:lnTo>
                <a:lnTo>
                  <a:pt x="799" y="582"/>
                </a:lnTo>
                <a:lnTo>
                  <a:pt x="797" y="583"/>
                </a:lnTo>
                <a:lnTo>
                  <a:pt x="793" y="580"/>
                </a:lnTo>
                <a:lnTo>
                  <a:pt x="792" y="582"/>
                </a:lnTo>
                <a:lnTo>
                  <a:pt x="792" y="586"/>
                </a:lnTo>
                <a:lnTo>
                  <a:pt x="791" y="588"/>
                </a:lnTo>
                <a:lnTo>
                  <a:pt x="786" y="592"/>
                </a:lnTo>
                <a:lnTo>
                  <a:pt x="783" y="597"/>
                </a:lnTo>
                <a:lnTo>
                  <a:pt x="782" y="611"/>
                </a:lnTo>
                <a:lnTo>
                  <a:pt x="783" y="614"/>
                </a:lnTo>
                <a:lnTo>
                  <a:pt x="792" y="620"/>
                </a:lnTo>
                <a:lnTo>
                  <a:pt x="799" y="621"/>
                </a:lnTo>
                <a:lnTo>
                  <a:pt x="800" y="625"/>
                </a:lnTo>
                <a:lnTo>
                  <a:pt x="799" y="629"/>
                </a:lnTo>
                <a:lnTo>
                  <a:pt x="796" y="630"/>
                </a:lnTo>
                <a:lnTo>
                  <a:pt x="794" y="633"/>
                </a:lnTo>
                <a:lnTo>
                  <a:pt x="799" y="636"/>
                </a:lnTo>
                <a:lnTo>
                  <a:pt x="799" y="639"/>
                </a:lnTo>
                <a:lnTo>
                  <a:pt x="797" y="642"/>
                </a:lnTo>
                <a:lnTo>
                  <a:pt x="793" y="642"/>
                </a:lnTo>
                <a:lnTo>
                  <a:pt x="792" y="644"/>
                </a:lnTo>
                <a:lnTo>
                  <a:pt x="796" y="647"/>
                </a:lnTo>
                <a:lnTo>
                  <a:pt x="797" y="650"/>
                </a:lnTo>
                <a:lnTo>
                  <a:pt x="792" y="673"/>
                </a:lnTo>
                <a:lnTo>
                  <a:pt x="792" y="675"/>
                </a:lnTo>
                <a:lnTo>
                  <a:pt x="793" y="678"/>
                </a:lnTo>
                <a:lnTo>
                  <a:pt x="800" y="684"/>
                </a:lnTo>
                <a:lnTo>
                  <a:pt x="800" y="688"/>
                </a:lnTo>
                <a:lnTo>
                  <a:pt x="797" y="692"/>
                </a:lnTo>
                <a:lnTo>
                  <a:pt x="799" y="696"/>
                </a:lnTo>
                <a:lnTo>
                  <a:pt x="810" y="696"/>
                </a:lnTo>
                <a:lnTo>
                  <a:pt x="813" y="698"/>
                </a:lnTo>
                <a:lnTo>
                  <a:pt x="814" y="700"/>
                </a:lnTo>
                <a:lnTo>
                  <a:pt x="818" y="700"/>
                </a:lnTo>
                <a:lnTo>
                  <a:pt x="819" y="703"/>
                </a:lnTo>
                <a:lnTo>
                  <a:pt x="827" y="704"/>
                </a:lnTo>
                <a:lnTo>
                  <a:pt x="831" y="707"/>
                </a:lnTo>
                <a:lnTo>
                  <a:pt x="838" y="706"/>
                </a:lnTo>
                <a:lnTo>
                  <a:pt x="841" y="707"/>
                </a:lnTo>
                <a:lnTo>
                  <a:pt x="845" y="707"/>
                </a:lnTo>
                <a:lnTo>
                  <a:pt x="849" y="708"/>
                </a:lnTo>
                <a:lnTo>
                  <a:pt x="852" y="708"/>
                </a:lnTo>
                <a:lnTo>
                  <a:pt x="854" y="708"/>
                </a:lnTo>
                <a:lnTo>
                  <a:pt x="857" y="708"/>
                </a:lnTo>
                <a:lnTo>
                  <a:pt x="860" y="712"/>
                </a:lnTo>
                <a:lnTo>
                  <a:pt x="860" y="713"/>
                </a:lnTo>
                <a:lnTo>
                  <a:pt x="857" y="716"/>
                </a:lnTo>
                <a:lnTo>
                  <a:pt x="856" y="715"/>
                </a:lnTo>
                <a:lnTo>
                  <a:pt x="854" y="720"/>
                </a:lnTo>
                <a:lnTo>
                  <a:pt x="852" y="721"/>
                </a:lnTo>
                <a:lnTo>
                  <a:pt x="852" y="724"/>
                </a:lnTo>
                <a:lnTo>
                  <a:pt x="850" y="728"/>
                </a:lnTo>
                <a:lnTo>
                  <a:pt x="850" y="731"/>
                </a:lnTo>
                <a:lnTo>
                  <a:pt x="846" y="731"/>
                </a:lnTo>
                <a:lnTo>
                  <a:pt x="847" y="737"/>
                </a:lnTo>
                <a:lnTo>
                  <a:pt x="845" y="738"/>
                </a:lnTo>
                <a:lnTo>
                  <a:pt x="845" y="740"/>
                </a:lnTo>
                <a:lnTo>
                  <a:pt x="846" y="741"/>
                </a:lnTo>
                <a:lnTo>
                  <a:pt x="850" y="743"/>
                </a:lnTo>
                <a:lnTo>
                  <a:pt x="856" y="750"/>
                </a:lnTo>
                <a:lnTo>
                  <a:pt x="861" y="748"/>
                </a:lnTo>
                <a:lnTo>
                  <a:pt x="866" y="748"/>
                </a:lnTo>
                <a:lnTo>
                  <a:pt x="868" y="754"/>
                </a:lnTo>
                <a:lnTo>
                  <a:pt x="867" y="757"/>
                </a:lnTo>
                <a:lnTo>
                  <a:pt x="868" y="763"/>
                </a:lnTo>
                <a:lnTo>
                  <a:pt x="867" y="766"/>
                </a:lnTo>
                <a:lnTo>
                  <a:pt x="863" y="769"/>
                </a:lnTo>
                <a:lnTo>
                  <a:pt x="861" y="774"/>
                </a:lnTo>
                <a:lnTo>
                  <a:pt x="859" y="775"/>
                </a:lnTo>
                <a:lnTo>
                  <a:pt x="854" y="779"/>
                </a:lnTo>
                <a:lnTo>
                  <a:pt x="856" y="783"/>
                </a:lnTo>
                <a:lnTo>
                  <a:pt x="854" y="783"/>
                </a:lnTo>
                <a:lnTo>
                  <a:pt x="854" y="785"/>
                </a:lnTo>
                <a:lnTo>
                  <a:pt x="857" y="786"/>
                </a:lnTo>
                <a:lnTo>
                  <a:pt x="859" y="787"/>
                </a:lnTo>
                <a:lnTo>
                  <a:pt x="856" y="795"/>
                </a:lnTo>
                <a:lnTo>
                  <a:pt x="856" y="798"/>
                </a:lnTo>
                <a:lnTo>
                  <a:pt x="852" y="799"/>
                </a:lnTo>
                <a:lnTo>
                  <a:pt x="852" y="804"/>
                </a:lnTo>
                <a:lnTo>
                  <a:pt x="939" y="802"/>
                </a:lnTo>
                <a:lnTo>
                  <a:pt x="954" y="824"/>
                </a:lnTo>
                <a:lnTo>
                  <a:pt x="963" y="838"/>
                </a:lnTo>
                <a:lnTo>
                  <a:pt x="966" y="845"/>
                </a:lnTo>
                <a:lnTo>
                  <a:pt x="967" y="866"/>
                </a:lnTo>
                <a:lnTo>
                  <a:pt x="970" y="880"/>
                </a:lnTo>
                <a:lnTo>
                  <a:pt x="967" y="910"/>
                </a:lnTo>
                <a:lnTo>
                  <a:pt x="967" y="947"/>
                </a:lnTo>
                <a:close/>
                <a:moveTo>
                  <a:pt x="640" y="1301"/>
                </a:moveTo>
                <a:lnTo>
                  <a:pt x="642" y="1309"/>
                </a:lnTo>
                <a:lnTo>
                  <a:pt x="638" y="1315"/>
                </a:lnTo>
                <a:lnTo>
                  <a:pt x="636" y="1327"/>
                </a:lnTo>
                <a:lnTo>
                  <a:pt x="635" y="1330"/>
                </a:lnTo>
                <a:lnTo>
                  <a:pt x="632" y="1330"/>
                </a:lnTo>
                <a:lnTo>
                  <a:pt x="631" y="1329"/>
                </a:lnTo>
                <a:lnTo>
                  <a:pt x="631" y="1326"/>
                </a:lnTo>
                <a:lnTo>
                  <a:pt x="627" y="1318"/>
                </a:lnTo>
                <a:lnTo>
                  <a:pt x="628" y="1310"/>
                </a:lnTo>
                <a:lnTo>
                  <a:pt x="632" y="1305"/>
                </a:lnTo>
                <a:lnTo>
                  <a:pt x="639" y="1298"/>
                </a:lnTo>
                <a:lnTo>
                  <a:pt x="640" y="1301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60" name="Freeform 59"/>
          <p:cNvSpPr>
            <a:spLocks noEditPoints="1"/>
          </p:cNvSpPr>
          <p:nvPr/>
        </p:nvSpPr>
        <p:spPr bwMode="auto">
          <a:xfrm>
            <a:off x="2007741" y="3536204"/>
            <a:ext cx="677234" cy="1167173"/>
          </a:xfrm>
          <a:custGeom>
            <a:avLst/>
            <a:gdLst>
              <a:gd name="T0" fmla="*/ 1355 w 2254"/>
              <a:gd name="T1" fmla="*/ 3305 h 3632"/>
              <a:gd name="T2" fmla="*/ 2151 w 2254"/>
              <a:gd name="T3" fmla="*/ 1708 h 3632"/>
              <a:gd name="T4" fmla="*/ 2073 w 2254"/>
              <a:gd name="T5" fmla="*/ 1699 h 3632"/>
              <a:gd name="T6" fmla="*/ 1874 w 2254"/>
              <a:gd name="T7" fmla="*/ 1841 h 3632"/>
              <a:gd name="T8" fmla="*/ 1800 w 2254"/>
              <a:gd name="T9" fmla="*/ 1929 h 3632"/>
              <a:gd name="T10" fmla="*/ 1667 w 2254"/>
              <a:gd name="T11" fmla="*/ 2069 h 3632"/>
              <a:gd name="T12" fmla="*/ 1500 w 2254"/>
              <a:gd name="T13" fmla="*/ 2247 h 3632"/>
              <a:gd name="T14" fmla="*/ 1289 w 2254"/>
              <a:gd name="T15" fmla="*/ 2397 h 3632"/>
              <a:gd name="T16" fmla="*/ 1135 w 2254"/>
              <a:gd name="T17" fmla="*/ 2381 h 3632"/>
              <a:gd name="T18" fmla="*/ 1113 w 2254"/>
              <a:gd name="T19" fmla="*/ 2430 h 3632"/>
              <a:gd name="T20" fmla="*/ 1097 w 2254"/>
              <a:gd name="T21" fmla="*/ 2599 h 3632"/>
              <a:gd name="T22" fmla="*/ 1077 w 2254"/>
              <a:gd name="T23" fmla="*/ 2692 h 3632"/>
              <a:gd name="T24" fmla="*/ 1072 w 2254"/>
              <a:gd name="T25" fmla="*/ 2755 h 3632"/>
              <a:gd name="T26" fmla="*/ 1075 w 2254"/>
              <a:gd name="T27" fmla="*/ 2786 h 3632"/>
              <a:gd name="T28" fmla="*/ 1033 w 2254"/>
              <a:gd name="T29" fmla="*/ 2849 h 3632"/>
              <a:gd name="T30" fmla="*/ 1030 w 2254"/>
              <a:gd name="T31" fmla="*/ 2894 h 3632"/>
              <a:gd name="T32" fmla="*/ 1044 w 2254"/>
              <a:gd name="T33" fmla="*/ 2931 h 3632"/>
              <a:gd name="T34" fmla="*/ 1033 w 2254"/>
              <a:gd name="T35" fmla="*/ 3040 h 3632"/>
              <a:gd name="T36" fmla="*/ 1073 w 2254"/>
              <a:gd name="T37" fmla="*/ 2991 h 3632"/>
              <a:gd name="T38" fmla="*/ 1162 w 2254"/>
              <a:gd name="T39" fmla="*/ 3069 h 3632"/>
              <a:gd name="T40" fmla="*/ 1133 w 2254"/>
              <a:gd name="T41" fmla="*/ 3126 h 3632"/>
              <a:gd name="T42" fmla="*/ 1205 w 2254"/>
              <a:gd name="T43" fmla="*/ 3145 h 3632"/>
              <a:gd name="T44" fmla="*/ 1257 w 2254"/>
              <a:gd name="T45" fmla="*/ 3138 h 3632"/>
              <a:gd name="T46" fmla="*/ 1268 w 2254"/>
              <a:gd name="T47" fmla="*/ 3182 h 3632"/>
              <a:gd name="T48" fmla="*/ 1279 w 2254"/>
              <a:gd name="T49" fmla="*/ 3222 h 3632"/>
              <a:gd name="T50" fmla="*/ 1335 w 2254"/>
              <a:gd name="T51" fmla="*/ 3263 h 3632"/>
              <a:gd name="T52" fmla="*/ 1271 w 2254"/>
              <a:gd name="T53" fmla="*/ 3370 h 3632"/>
              <a:gd name="T54" fmla="*/ 1147 w 2254"/>
              <a:gd name="T55" fmla="*/ 3441 h 3632"/>
              <a:gd name="T56" fmla="*/ 1009 w 2254"/>
              <a:gd name="T57" fmla="*/ 3457 h 3632"/>
              <a:gd name="T58" fmla="*/ 865 w 2254"/>
              <a:gd name="T59" fmla="*/ 3511 h 3632"/>
              <a:gd name="T60" fmla="*/ 776 w 2254"/>
              <a:gd name="T61" fmla="*/ 3621 h 3632"/>
              <a:gd name="T62" fmla="*/ 662 w 2254"/>
              <a:gd name="T63" fmla="*/ 3615 h 3632"/>
              <a:gd name="T64" fmla="*/ 527 w 2254"/>
              <a:gd name="T65" fmla="*/ 3617 h 3632"/>
              <a:gd name="T66" fmla="*/ 343 w 2254"/>
              <a:gd name="T67" fmla="*/ 3168 h 3632"/>
              <a:gd name="T68" fmla="*/ 71 w 2254"/>
              <a:gd name="T69" fmla="*/ 2909 h 3632"/>
              <a:gd name="T70" fmla="*/ 15 w 2254"/>
              <a:gd name="T71" fmla="*/ 2633 h 3632"/>
              <a:gd name="T72" fmla="*/ 103 w 2254"/>
              <a:gd name="T73" fmla="*/ 2564 h 3632"/>
              <a:gd name="T74" fmla="*/ 194 w 2254"/>
              <a:gd name="T75" fmla="*/ 2531 h 3632"/>
              <a:gd name="T76" fmla="*/ 354 w 2254"/>
              <a:gd name="T77" fmla="*/ 2491 h 3632"/>
              <a:gd name="T78" fmla="*/ 292 w 2254"/>
              <a:gd name="T79" fmla="*/ 2264 h 3632"/>
              <a:gd name="T80" fmla="*/ 499 w 2254"/>
              <a:gd name="T81" fmla="*/ 1708 h 3632"/>
              <a:gd name="T82" fmla="*/ 339 w 2254"/>
              <a:gd name="T83" fmla="*/ 1568 h 3632"/>
              <a:gd name="T84" fmla="*/ 374 w 2254"/>
              <a:gd name="T85" fmla="*/ 1378 h 3632"/>
              <a:gd name="T86" fmla="*/ 368 w 2254"/>
              <a:gd name="T87" fmla="*/ 1303 h 3632"/>
              <a:gd name="T88" fmla="*/ 361 w 2254"/>
              <a:gd name="T89" fmla="*/ 1182 h 3632"/>
              <a:gd name="T90" fmla="*/ 534 w 2254"/>
              <a:gd name="T91" fmla="*/ 1119 h 3632"/>
              <a:gd name="T92" fmla="*/ 695 w 2254"/>
              <a:gd name="T93" fmla="*/ 1135 h 3632"/>
              <a:gd name="T94" fmla="*/ 680 w 2254"/>
              <a:gd name="T95" fmla="*/ 869 h 3632"/>
              <a:gd name="T96" fmla="*/ 649 w 2254"/>
              <a:gd name="T97" fmla="*/ 457 h 3632"/>
              <a:gd name="T98" fmla="*/ 913 w 2254"/>
              <a:gd name="T99" fmla="*/ 31 h 3632"/>
              <a:gd name="T100" fmla="*/ 1166 w 2254"/>
              <a:gd name="T101" fmla="*/ 158 h 3632"/>
              <a:gd name="T102" fmla="*/ 1286 w 2254"/>
              <a:gd name="T103" fmla="*/ 423 h 3632"/>
              <a:gd name="T104" fmla="*/ 1446 w 2254"/>
              <a:gd name="T105" fmla="*/ 663 h 3632"/>
              <a:gd name="T106" fmla="*/ 1621 w 2254"/>
              <a:gd name="T107" fmla="*/ 813 h 3632"/>
              <a:gd name="T108" fmla="*/ 1784 w 2254"/>
              <a:gd name="T109" fmla="*/ 987 h 3632"/>
              <a:gd name="T110" fmla="*/ 2063 w 2254"/>
              <a:gd name="T111" fmla="*/ 1187 h 3632"/>
              <a:gd name="T112" fmla="*/ 2225 w 2254"/>
              <a:gd name="T113" fmla="*/ 1438 h 3632"/>
              <a:gd name="T114" fmla="*/ 2220 w 2254"/>
              <a:gd name="T115" fmla="*/ 1546 h 3632"/>
              <a:gd name="T116" fmla="*/ 1227 w 2254"/>
              <a:gd name="T117" fmla="*/ 3080 h 3632"/>
              <a:gd name="T118" fmla="*/ 1036 w 2254"/>
              <a:gd name="T119" fmla="*/ 2345 h 3632"/>
              <a:gd name="T120" fmla="*/ 1122 w 2254"/>
              <a:gd name="T121" fmla="*/ 2396 h 3632"/>
              <a:gd name="T122" fmla="*/ 1058 w 2254"/>
              <a:gd name="T123" fmla="*/ 2377 h 3632"/>
              <a:gd name="T124" fmla="*/ 1144 w 2254"/>
              <a:gd name="T125" fmla="*/ 2399 h 36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254"/>
              <a:gd name="T190" fmla="*/ 0 h 3632"/>
              <a:gd name="T191" fmla="*/ 2254 w 2254"/>
              <a:gd name="T192" fmla="*/ 3632 h 363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254" h="3632">
                <a:moveTo>
                  <a:pt x="1400" y="3329"/>
                </a:moveTo>
                <a:lnTo>
                  <a:pt x="1396" y="3329"/>
                </a:lnTo>
                <a:lnTo>
                  <a:pt x="1393" y="3325"/>
                </a:lnTo>
                <a:lnTo>
                  <a:pt x="1390" y="3325"/>
                </a:lnTo>
                <a:lnTo>
                  <a:pt x="1389" y="3325"/>
                </a:lnTo>
                <a:lnTo>
                  <a:pt x="1392" y="3328"/>
                </a:lnTo>
                <a:lnTo>
                  <a:pt x="1393" y="3329"/>
                </a:lnTo>
                <a:lnTo>
                  <a:pt x="1395" y="3331"/>
                </a:lnTo>
                <a:lnTo>
                  <a:pt x="1393" y="3334"/>
                </a:lnTo>
                <a:lnTo>
                  <a:pt x="1382" y="3338"/>
                </a:lnTo>
                <a:lnTo>
                  <a:pt x="1375" y="3337"/>
                </a:lnTo>
                <a:lnTo>
                  <a:pt x="1371" y="3339"/>
                </a:lnTo>
                <a:lnTo>
                  <a:pt x="1364" y="3338"/>
                </a:lnTo>
                <a:lnTo>
                  <a:pt x="1371" y="3341"/>
                </a:lnTo>
                <a:lnTo>
                  <a:pt x="1378" y="3341"/>
                </a:lnTo>
                <a:lnTo>
                  <a:pt x="1378" y="3342"/>
                </a:lnTo>
                <a:lnTo>
                  <a:pt x="1375" y="3343"/>
                </a:lnTo>
                <a:lnTo>
                  <a:pt x="1372" y="3343"/>
                </a:lnTo>
                <a:lnTo>
                  <a:pt x="1365" y="3342"/>
                </a:lnTo>
                <a:lnTo>
                  <a:pt x="1362" y="3343"/>
                </a:lnTo>
                <a:lnTo>
                  <a:pt x="1353" y="3354"/>
                </a:lnTo>
                <a:lnTo>
                  <a:pt x="1346" y="3355"/>
                </a:lnTo>
                <a:lnTo>
                  <a:pt x="1343" y="3354"/>
                </a:lnTo>
                <a:lnTo>
                  <a:pt x="1347" y="3346"/>
                </a:lnTo>
                <a:lnTo>
                  <a:pt x="1347" y="3333"/>
                </a:lnTo>
                <a:lnTo>
                  <a:pt x="1343" y="3329"/>
                </a:lnTo>
                <a:lnTo>
                  <a:pt x="1336" y="3331"/>
                </a:lnTo>
                <a:lnTo>
                  <a:pt x="1335" y="3329"/>
                </a:lnTo>
                <a:lnTo>
                  <a:pt x="1350" y="3321"/>
                </a:lnTo>
                <a:lnTo>
                  <a:pt x="1358" y="3312"/>
                </a:lnTo>
                <a:lnTo>
                  <a:pt x="1355" y="3305"/>
                </a:lnTo>
                <a:lnTo>
                  <a:pt x="1369" y="3302"/>
                </a:lnTo>
                <a:lnTo>
                  <a:pt x="1378" y="3311"/>
                </a:lnTo>
                <a:lnTo>
                  <a:pt x="1379" y="3302"/>
                </a:lnTo>
                <a:lnTo>
                  <a:pt x="1382" y="3301"/>
                </a:lnTo>
                <a:lnTo>
                  <a:pt x="1385" y="3301"/>
                </a:lnTo>
                <a:lnTo>
                  <a:pt x="1385" y="3297"/>
                </a:lnTo>
                <a:lnTo>
                  <a:pt x="1386" y="3297"/>
                </a:lnTo>
                <a:lnTo>
                  <a:pt x="1390" y="3311"/>
                </a:lnTo>
                <a:lnTo>
                  <a:pt x="1401" y="3328"/>
                </a:lnTo>
                <a:lnTo>
                  <a:pt x="1403" y="3333"/>
                </a:lnTo>
                <a:lnTo>
                  <a:pt x="1400" y="3329"/>
                </a:lnTo>
                <a:close/>
                <a:moveTo>
                  <a:pt x="2250" y="1587"/>
                </a:moveTo>
                <a:lnTo>
                  <a:pt x="2233" y="1587"/>
                </a:lnTo>
                <a:lnTo>
                  <a:pt x="2230" y="1588"/>
                </a:lnTo>
                <a:lnTo>
                  <a:pt x="2228" y="1592"/>
                </a:lnTo>
                <a:lnTo>
                  <a:pt x="2229" y="1605"/>
                </a:lnTo>
                <a:lnTo>
                  <a:pt x="2206" y="1617"/>
                </a:lnTo>
                <a:lnTo>
                  <a:pt x="2198" y="1629"/>
                </a:lnTo>
                <a:lnTo>
                  <a:pt x="2195" y="1636"/>
                </a:lnTo>
                <a:lnTo>
                  <a:pt x="2195" y="1645"/>
                </a:lnTo>
                <a:lnTo>
                  <a:pt x="2197" y="1647"/>
                </a:lnTo>
                <a:lnTo>
                  <a:pt x="2200" y="1651"/>
                </a:lnTo>
                <a:lnTo>
                  <a:pt x="2202" y="1659"/>
                </a:lnTo>
                <a:lnTo>
                  <a:pt x="2204" y="1670"/>
                </a:lnTo>
                <a:lnTo>
                  <a:pt x="2201" y="1678"/>
                </a:lnTo>
                <a:lnTo>
                  <a:pt x="2194" y="1686"/>
                </a:lnTo>
                <a:lnTo>
                  <a:pt x="2193" y="1696"/>
                </a:lnTo>
                <a:lnTo>
                  <a:pt x="2190" y="1700"/>
                </a:lnTo>
                <a:lnTo>
                  <a:pt x="2184" y="1704"/>
                </a:lnTo>
                <a:lnTo>
                  <a:pt x="2173" y="1704"/>
                </a:lnTo>
                <a:lnTo>
                  <a:pt x="2151" y="1708"/>
                </a:lnTo>
                <a:lnTo>
                  <a:pt x="2149" y="1704"/>
                </a:lnTo>
                <a:lnTo>
                  <a:pt x="2154" y="1700"/>
                </a:lnTo>
                <a:lnTo>
                  <a:pt x="2165" y="1699"/>
                </a:lnTo>
                <a:lnTo>
                  <a:pt x="2172" y="1695"/>
                </a:lnTo>
                <a:lnTo>
                  <a:pt x="2172" y="1692"/>
                </a:lnTo>
                <a:lnTo>
                  <a:pt x="2170" y="1686"/>
                </a:lnTo>
                <a:lnTo>
                  <a:pt x="2168" y="1688"/>
                </a:lnTo>
                <a:lnTo>
                  <a:pt x="2163" y="1686"/>
                </a:lnTo>
                <a:lnTo>
                  <a:pt x="2155" y="1695"/>
                </a:lnTo>
                <a:lnTo>
                  <a:pt x="2149" y="1694"/>
                </a:lnTo>
                <a:lnTo>
                  <a:pt x="2141" y="1699"/>
                </a:lnTo>
                <a:lnTo>
                  <a:pt x="2133" y="1700"/>
                </a:lnTo>
                <a:lnTo>
                  <a:pt x="2131" y="1704"/>
                </a:lnTo>
                <a:lnTo>
                  <a:pt x="2133" y="1711"/>
                </a:lnTo>
                <a:lnTo>
                  <a:pt x="2130" y="1712"/>
                </a:lnTo>
                <a:lnTo>
                  <a:pt x="2102" y="1721"/>
                </a:lnTo>
                <a:lnTo>
                  <a:pt x="2088" y="1719"/>
                </a:lnTo>
                <a:lnTo>
                  <a:pt x="2088" y="1716"/>
                </a:lnTo>
                <a:lnTo>
                  <a:pt x="2094" y="1713"/>
                </a:lnTo>
                <a:lnTo>
                  <a:pt x="2102" y="1704"/>
                </a:lnTo>
                <a:lnTo>
                  <a:pt x="2113" y="1696"/>
                </a:lnTo>
                <a:lnTo>
                  <a:pt x="2123" y="1663"/>
                </a:lnTo>
                <a:lnTo>
                  <a:pt x="2123" y="1655"/>
                </a:lnTo>
                <a:lnTo>
                  <a:pt x="2118" y="1666"/>
                </a:lnTo>
                <a:lnTo>
                  <a:pt x="2112" y="1674"/>
                </a:lnTo>
                <a:lnTo>
                  <a:pt x="2109" y="1686"/>
                </a:lnTo>
                <a:lnTo>
                  <a:pt x="2105" y="1695"/>
                </a:lnTo>
                <a:lnTo>
                  <a:pt x="2101" y="1696"/>
                </a:lnTo>
                <a:lnTo>
                  <a:pt x="2094" y="1694"/>
                </a:lnTo>
                <a:lnTo>
                  <a:pt x="2087" y="1694"/>
                </a:lnTo>
                <a:lnTo>
                  <a:pt x="2073" y="1699"/>
                </a:lnTo>
                <a:lnTo>
                  <a:pt x="2068" y="1704"/>
                </a:lnTo>
                <a:lnTo>
                  <a:pt x="2065" y="1708"/>
                </a:lnTo>
                <a:lnTo>
                  <a:pt x="2065" y="1714"/>
                </a:lnTo>
                <a:lnTo>
                  <a:pt x="2069" y="1719"/>
                </a:lnTo>
                <a:lnTo>
                  <a:pt x="2069" y="1726"/>
                </a:lnTo>
                <a:lnTo>
                  <a:pt x="2066" y="1731"/>
                </a:lnTo>
                <a:lnTo>
                  <a:pt x="2062" y="1734"/>
                </a:lnTo>
                <a:lnTo>
                  <a:pt x="2055" y="1737"/>
                </a:lnTo>
                <a:lnTo>
                  <a:pt x="2048" y="1738"/>
                </a:lnTo>
                <a:lnTo>
                  <a:pt x="2035" y="1733"/>
                </a:lnTo>
                <a:lnTo>
                  <a:pt x="2029" y="1734"/>
                </a:lnTo>
                <a:lnTo>
                  <a:pt x="2024" y="1731"/>
                </a:lnTo>
                <a:lnTo>
                  <a:pt x="2019" y="1731"/>
                </a:lnTo>
                <a:lnTo>
                  <a:pt x="2015" y="1725"/>
                </a:lnTo>
                <a:lnTo>
                  <a:pt x="2015" y="1729"/>
                </a:lnTo>
                <a:lnTo>
                  <a:pt x="2012" y="1736"/>
                </a:lnTo>
                <a:lnTo>
                  <a:pt x="2012" y="1737"/>
                </a:lnTo>
                <a:lnTo>
                  <a:pt x="2006" y="1739"/>
                </a:lnTo>
                <a:lnTo>
                  <a:pt x="2006" y="1741"/>
                </a:lnTo>
                <a:lnTo>
                  <a:pt x="2015" y="1738"/>
                </a:lnTo>
                <a:lnTo>
                  <a:pt x="2021" y="1741"/>
                </a:lnTo>
                <a:lnTo>
                  <a:pt x="2030" y="1741"/>
                </a:lnTo>
                <a:lnTo>
                  <a:pt x="2029" y="1745"/>
                </a:lnTo>
                <a:lnTo>
                  <a:pt x="1973" y="1775"/>
                </a:lnTo>
                <a:lnTo>
                  <a:pt x="1916" y="1812"/>
                </a:lnTo>
                <a:lnTo>
                  <a:pt x="1905" y="1820"/>
                </a:lnTo>
                <a:lnTo>
                  <a:pt x="1896" y="1829"/>
                </a:lnTo>
                <a:lnTo>
                  <a:pt x="1891" y="1831"/>
                </a:lnTo>
                <a:lnTo>
                  <a:pt x="1881" y="1837"/>
                </a:lnTo>
                <a:lnTo>
                  <a:pt x="1875" y="1838"/>
                </a:lnTo>
                <a:lnTo>
                  <a:pt x="1874" y="1841"/>
                </a:lnTo>
                <a:lnTo>
                  <a:pt x="1874" y="1846"/>
                </a:lnTo>
                <a:lnTo>
                  <a:pt x="1870" y="1850"/>
                </a:lnTo>
                <a:lnTo>
                  <a:pt x="1874" y="1850"/>
                </a:lnTo>
                <a:lnTo>
                  <a:pt x="1878" y="1849"/>
                </a:lnTo>
                <a:lnTo>
                  <a:pt x="1880" y="1849"/>
                </a:lnTo>
                <a:lnTo>
                  <a:pt x="1867" y="1858"/>
                </a:lnTo>
                <a:lnTo>
                  <a:pt x="1863" y="1863"/>
                </a:lnTo>
                <a:lnTo>
                  <a:pt x="1860" y="1865"/>
                </a:lnTo>
                <a:lnTo>
                  <a:pt x="1860" y="1861"/>
                </a:lnTo>
                <a:lnTo>
                  <a:pt x="1859" y="1861"/>
                </a:lnTo>
                <a:lnTo>
                  <a:pt x="1852" y="1865"/>
                </a:lnTo>
                <a:lnTo>
                  <a:pt x="1846" y="1857"/>
                </a:lnTo>
                <a:lnTo>
                  <a:pt x="1845" y="1857"/>
                </a:lnTo>
                <a:lnTo>
                  <a:pt x="1845" y="1860"/>
                </a:lnTo>
                <a:lnTo>
                  <a:pt x="1846" y="1861"/>
                </a:lnTo>
                <a:lnTo>
                  <a:pt x="1848" y="1865"/>
                </a:lnTo>
                <a:lnTo>
                  <a:pt x="1841" y="1869"/>
                </a:lnTo>
                <a:lnTo>
                  <a:pt x="1845" y="1871"/>
                </a:lnTo>
                <a:lnTo>
                  <a:pt x="1848" y="1875"/>
                </a:lnTo>
                <a:lnTo>
                  <a:pt x="1849" y="1877"/>
                </a:lnTo>
                <a:lnTo>
                  <a:pt x="1839" y="1881"/>
                </a:lnTo>
                <a:lnTo>
                  <a:pt x="1833" y="1882"/>
                </a:lnTo>
                <a:lnTo>
                  <a:pt x="1828" y="1883"/>
                </a:lnTo>
                <a:lnTo>
                  <a:pt x="1828" y="1886"/>
                </a:lnTo>
                <a:lnTo>
                  <a:pt x="1828" y="1891"/>
                </a:lnTo>
                <a:lnTo>
                  <a:pt x="1833" y="1887"/>
                </a:lnTo>
                <a:lnTo>
                  <a:pt x="1838" y="1891"/>
                </a:lnTo>
                <a:lnTo>
                  <a:pt x="1838" y="1895"/>
                </a:lnTo>
                <a:lnTo>
                  <a:pt x="1824" y="1904"/>
                </a:lnTo>
                <a:lnTo>
                  <a:pt x="1814" y="1916"/>
                </a:lnTo>
                <a:lnTo>
                  <a:pt x="1800" y="1929"/>
                </a:lnTo>
                <a:lnTo>
                  <a:pt x="1795" y="1936"/>
                </a:lnTo>
                <a:lnTo>
                  <a:pt x="1788" y="1942"/>
                </a:lnTo>
                <a:lnTo>
                  <a:pt x="1785" y="1947"/>
                </a:lnTo>
                <a:lnTo>
                  <a:pt x="1767" y="1958"/>
                </a:lnTo>
                <a:lnTo>
                  <a:pt x="1767" y="1962"/>
                </a:lnTo>
                <a:lnTo>
                  <a:pt x="1769" y="1962"/>
                </a:lnTo>
                <a:lnTo>
                  <a:pt x="1764" y="1965"/>
                </a:lnTo>
                <a:lnTo>
                  <a:pt x="1763" y="1969"/>
                </a:lnTo>
                <a:lnTo>
                  <a:pt x="1763" y="1970"/>
                </a:lnTo>
                <a:lnTo>
                  <a:pt x="1767" y="1966"/>
                </a:lnTo>
                <a:lnTo>
                  <a:pt x="1770" y="1966"/>
                </a:lnTo>
                <a:lnTo>
                  <a:pt x="1755" y="1981"/>
                </a:lnTo>
                <a:lnTo>
                  <a:pt x="1725" y="2014"/>
                </a:lnTo>
                <a:lnTo>
                  <a:pt x="1723" y="2015"/>
                </a:lnTo>
                <a:lnTo>
                  <a:pt x="1721" y="2011"/>
                </a:lnTo>
                <a:lnTo>
                  <a:pt x="1719" y="2011"/>
                </a:lnTo>
                <a:lnTo>
                  <a:pt x="1719" y="2014"/>
                </a:lnTo>
                <a:lnTo>
                  <a:pt x="1716" y="2017"/>
                </a:lnTo>
                <a:lnTo>
                  <a:pt x="1711" y="2029"/>
                </a:lnTo>
                <a:lnTo>
                  <a:pt x="1706" y="2037"/>
                </a:lnTo>
                <a:lnTo>
                  <a:pt x="1699" y="2040"/>
                </a:lnTo>
                <a:lnTo>
                  <a:pt x="1694" y="2047"/>
                </a:lnTo>
                <a:lnTo>
                  <a:pt x="1688" y="2052"/>
                </a:lnTo>
                <a:lnTo>
                  <a:pt x="1686" y="2056"/>
                </a:lnTo>
                <a:lnTo>
                  <a:pt x="1686" y="2060"/>
                </a:lnTo>
                <a:lnTo>
                  <a:pt x="1672" y="2078"/>
                </a:lnTo>
                <a:lnTo>
                  <a:pt x="1670" y="2078"/>
                </a:lnTo>
                <a:lnTo>
                  <a:pt x="1667" y="2078"/>
                </a:lnTo>
                <a:lnTo>
                  <a:pt x="1667" y="2074"/>
                </a:lnTo>
                <a:lnTo>
                  <a:pt x="1670" y="2069"/>
                </a:lnTo>
                <a:lnTo>
                  <a:pt x="1667" y="2069"/>
                </a:lnTo>
                <a:lnTo>
                  <a:pt x="1663" y="2070"/>
                </a:lnTo>
                <a:lnTo>
                  <a:pt x="1661" y="2073"/>
                </a:lnTo>
                <a:lnTo>
                  <a:pt x="1661" y="2077"/>
                </a:lnTo>
                <a:lnTo>
                  <a:pt x="1659" y="2082"/>
                </a:lnTo>
                <a:lnTo>
                  <a:pt x="1661" y="2086"/>
                </a:lnTo>
                <a:lnTo>
                  <a:pt x="1666" y="2086"/>
                </a:lnTo>
                <a:lnTo>
                  <a:pt x="1666" y="2089"/>
                </a:lnTo>
                <a:lnTo>
                  <a:pt x="1647" y="2109"/>
                </a:lnTo>
                <a:lnTo>
                  <a:pt x="1642" y="2109"/>
                </a:lnTo>
                <a:lnTo>
                  <a:pt x="1638" y="2114"/>
                </a:lnTo>
                <a:lnTo>
                  <a:pt x="1635" y="2118"/>
                </a:lnTo>
                <a:lnTo>
                  <a:pt x="1634" y="2123"/>
                </a:lnTo>
                <a:lnTo>
                  <a:pt x="1628" y="2129"/>
                </a:lnTo>
                <a:lnTo>
                  <a:pt x="1625" y="2131"/>
                </a:lnTo>
                <a:lnTo>
                  <a:pt x="1621" y="2131"/>
                </a:lnTo>
                <a:lnTo>
                  <a:pt x="1618" y="2136"/>
                </a:lnTo>
                <a:lnTo>
                  <a:pt x="1611" y="2141"/>
                </a:lnTo>
                <a:lnTo>
                  <a:pt x="1604" y="2149"/>
                </a:lnTo>
                <a:lnTo>
                  <a:pt x="1603" y="2153"/>
                </a:lnTo>
                <a:lnTo>
                  <a:pt x="1586" y="2172"/>
                </a:lnTo>
                <a:lnTo>
                  <a:pt x="1582" y="2176"/>
                </a:lnTo>
                <a:lnTo>
                  <a:pt x="1578" y="2176"/>
                </a:lnTo>
                <a:lnTo>
                  <a:pt x="1574" y="2178"/>
                </a:lnTo>
                <a:lnTo>
                  <a:pt x="1556" y="2194"/>
                </a:lnTo>
                <a:lnTo>
                  <a:pt x="1559" y="2194"/>
                </a:lnTo>
                <a:lnTo>
                  <a:pt x="1557" y="2198"/>
                </a:lnTo>
                <a:lnTo>
                  <a:pt x="1551" y="2202"/>
                </a:lnTo>
                <a:lnTo>
                  <a:pt x="1532" y="2221"/>
                </a:lnTo>
                <a:lnTo>
                  <a:pt x="1515" y="2231"/>
                </a:lnTo>
                <a:lnTo>
                  <a:pt x="1501" y="2243"/>
                </a:lnTo>
                <a:lnTo>
                  <a:pt x="1500" y="2247"/>
                </a:lnTo>
                <a:lnTo>
                  <a:pt x="1482" y="2261"/>
                </a:lnTo>
                <a:lnTo>
                  <a:pt x="1474" y="2265"/>
                </a:lnTo>
                <a:lnTo>
                  <a:pt x="1465" y="2273"/>
                </a:lnTo>
                <a:lnTo>
                  <a:pt x="1449" y="2288"/>
                </a:lnTo>
                <a:lnTo>
                  <a:pt x="1415" y="2318"/>
                </a:lnTo>
                <a:lnTo>
                  <a:pt x="1412" y="2318"/>
                </a:lnTo>
                <a:lnTo>
                  <a:pt x="1410" y="2318"/>
                </a:lnTo>
                <a:lnTo>
                  <a:pt x="1411" y="2309"/>
                </a:lnTo>
                <a:lnTo>
                  <a:pt x="1407" y="2314"/>
                </a:lnTo>
                <a:lnTo>
                  <a:pt x="1396" y="2322"/>
                </a:lnTo>
                <a:lnTo>
                  <a:pt x="1399" y="2327"/>
                </a:lnTo>
                <a:lnTo>
                  <a:pt x="1389" y="2337"/>
                </a:lnTo>
                <a:lnTo>
                  <a:pt x="1382" y="2340"/>
                </a:lnTo>
                <a:lnTo>
                  <a:pt x="1372" y="2340"/>
                </a:lnTo>
                <a:lnTo>
                  <a:pt x="1371" y="2343"/>
                </a:lnTo>
                <a:lnTo>
                  <a:pt x="1364" y="2345"/>
                </a:lnTo>
                <a:lnTo>
                  <a:pt x="1364" y="2348"/>
                </a:lnTo>
                <a:lnTo>
                  <a:pt x="1361" y="2351"/>
                </a:lnTo>
                <a:lnTo>
                  <a:pt x="1353" y="2355"/>
                </a:lnTo>
                <a:lnTo>
                  <a:pt x="1321" y="2377"/>
                </a:lnTo>
                <a:lnTo>
                  <a:pt x="1308" y="2393"/>
                </a:lnTo>
                <a:lnTo>
                  <a:pt x="1287" y="2408"/>
                </a:lnTo>
                <a:lnTo>
                  <a:pt x="1283" y="2412"/>
                </a:lnTo>
                <a:lnTo>
                  <a:pt x="1285" y="2410"/>
                </a:lnTo>
                <a:lnTo>
                  <a:pt x="1283" y="2408"/>
                </a:lnTo>
                <a:lnTo>
                  <a:pt x="1287" y="2404"/>
                </a:lnTo>
                <a:lnTo>
                  <a:pt x="1294" y="2402"/>
                </a:lnTo>
                <a:lnTo>
                  <a:pt x="1299" y="2399"/>
                </a:lnTo>
                <a:lnTo>
                  <a:pt x="1299" y="2393"/>
                </a:lnTo>
                <a:lnTo>
                  <a:pt x="1293" y="2399"/>
                </a:lnTo>
                <a:lnTo>
                  <a:pt x="1289" y="2397"/>
                </a:lnTo>
                <a:lnTo>
                  <a:pt x="1290" y="2399"/>
                </a:lnTo>
                <a:lnTo>
                  <a:pt x="1286" y="2400"/>
                </a:lnTo>
                <a:lnTo>
                  <a:pt x="1283" y="2400"/>
                </a:lnTo>
                <a:lnTo>
                  <a:pt x="1280" y="2404"/>
                </a:lnTo>
                <a:lnTo>
                  <a:pt x="1275" y="2406"/>
                </a:lnTo>
                <a:lnTo>
                  <a:pt x="1272" y="2412"/>
                </a:lnTo>
                <a:lnTo>
                  <a:pt x="1265" y="2416"/>
                </a:lnTo>
                <a:lnTo>
                  <a:pt x="1258" y="2422"/>
                </a:lnTo>
                <a:lnTo>
                  <a:pt x="1254" y="2422"/>
                </a:lnTo>
                <a:lnTo>
                  <a:pt x="1241" y="2426"/>
                </a:lnTo>
                <a:lnTo>
                  <a:pt x="1222" y="2445"/>
                </a:lnTo>
                <a:lnTo>
                  <a:pt x="1208" y="2452"/>
                </a:lnTo>
                <a:lnTo>
                  <a:pt x="1204" y="2455"/>
                </a:lnTo>
                <a:lnTo>
                  <a:pt x="1180" y="2452"/>
                </a:lnTo>
                <a:lnTo>
                  <a:pt x="1171" y="2452"/>
                </a:lnTo>
                <a:lnTo>
                  <a:pt x="1165" y="2449"/>
                </a:lnTo>
                <a:lnTo>
                  <a:pt x="1161" y="2443"/>
                </a:lnTo>
                <a:lnTo>
                  <a:pt x="1165" y="2438"/>
                </a:lnTo>
                <a:lnTo>
                  <a:pt x="1164" y="2434"/>
                </a:lnTo>
                <a:lnTo>
                  <a:pt x="1166" y="2434"/>
                </a:lnTo>
                <a:lnTo>
                  <a:pt x="1165" y="2433"/>
                </a:lnTo>
                <a:lnTo>
                  <a:pt x="1166" y="2426"/>
                </a:lnTo>
                <a:lnTo>
                  <a:pt x="1165" y="2420"/>
                </a:lnTo>
                <a:lnTo>
                  <a:pt x="1165" y="2418"/>
                </a:lnTo>
                <a:lnTo>
                  <a:pt x="1162" y="2412"/>
                </a:lnTo>
                <a:lnTo>
                  <a:pt x="1164" y="2410"/>
                </a:lnTo>
                <a:lnTo>
                  <a:pt x="1161" y="2408"/>
                </a:lnTo>
                <a:lnTo>
                  <a:pt x="1158" y="2404"/>
                </a:lnTo>
                <a:lnTo>
                  <a:pt x="1147" y="2392"/>
                </a:lnTo>
                <a:lnTo>
                  <a:pt x="1140" y="2385"/>
                </a:lnTo>
                <a:lnTo>
                  <a:pt x="1135" y="2381"/>
                </a:lnTo>
                <a:lnTo>
                  <a:pt x="1122" y="2374"/>
                </a:lnTo>
                <a:lnTo>
                  <a:pt x="1113" y="2372"/>
                </a:lnTo>
                <a:lnTo>
                  <a:pt x="1102" y="2363"/>
                </a:lnTo>
                <a:lnTo>
                  <a:pt x="1090" y="2358"/>
                </a:lnTo>
                <a:lnTo>
                  <a:pt x="1082" y="2355"/>
                </a:lnTo>
                <a:lnTo>
                  <a:pt x="1069" y="2359"/>
                </a:lnTo>
                <a:lnTo>
                  <a:pt x="1062" y="2359"/>
                </a:lnTo>
                <a:lnTo>
                  <a:pt x="1055" y="2352"/>
                </a:lnTo>
                <a:lnTo>
                  <a:pt x="1055" y="2348"/>
                </a:lnTo>
                <a:lnTo>
                  <a:pt x="1056" y="2340"/>
                </a:lnTo>
                <a:lnTo>
                  <a:pt x="1055" y="2333"/>
                </a:lnTo>
                <a:lnTo>
                  <a:pt x="1051" y="2326"/>
                </a:lnTo>
                <a:lnTo>
                  <a:pt x="1042" y="2329"/>
                </a:lnTo>
                <a:lnTo>
                  <a:pt x="1037" y="2333"/>
                </a:lnTo>
                <a:lnTo>
                  <a:pt x="1036" y="2343"/>
                </a:lnTo>
                <a:lnTo>
                  <a:pt x="1033" y="2345"/>
                </a:lnTo>
                <a:lnTo>
                  <a:pt x="1029" y="2343"/>
                </a:lnTo>
                <a:lnTo>
                  <a:pt x="1026" y="2345"/>
                </a:lnTo>
                <a:lnTo>
                  <a:pt x="1026" y="2350"/>
                </a:lnTo>
                <a:lnTo>
                  <a:pt x="1027" y="2355"/>
                </a:lnTo>
                <a:lnTo>
                  <a:pt x="1037" y="2363"/>
                </a:lnTo>
                <a:lnTo>
                  <a:pt x="1040" y="2367"/>
                </a:lnTo>
                <a:lnTo>
                  <a:pt x="1050" y="2377"/>
                </a:lnTo>
                <a:lnTo>
                  <a:pt x="1054" y="2380"/>
                </a:lnTo>
                <a:lnTo>
                  <a:pt x="1062" y="2377"/>
                </a:lnTo>
                <a:lnTo>
                  <a:pt x="1080" y="2381"/>
                </a:lnTo>
                <a:lnTo>
                  <a:pt x="1091" y="2395"/>
                </a:lnTo>
                <a:lnTo>
                  <a:pt x="1101" y="2400"/>
                </a:lnTo>
                <a:lnTo>
                  <a:pt x="1102" y="2404"/>
                </a:lnTo>
                <a:lnTo>
                  <a:pt x="1107" y="2420"/>
                </a:lnTo>
                <a:lnTo>
                  <a:pt x="1113" y="2430"/>
                </a:lnTo>
                <a:lnTo>
                  <a:pt x="1115" y="2439"/>
                </a:lnTo>
                <a:lnTo>
                  <a:pt x="1118" y="2443"/>
                </a:lnTo>
                <a:lnTo>
                  <a:pt x="1119" y="2449"/>
                </a:lnTo>
                <a:lnTo>
                  <a:pt x="1116" y="2460"/>
                </a:lnTo>
                <a:lnTo>
                  <a:pt x="1109" y="2460"/>
                </a:lnTo>
                <a:lnTo>
                  <a:pt x="1102" y="2463"/>
                </a:lnTo>
                <a:lnTo>
                  <a:pt x="1098" y="2470"/>
                </a:lnTo>
                <a:lnTo>
                  <a:pt x="1091" y="2475"/>
                </a:lnTo>
                <a:lnTo>
                  <a:pt x="1088" y="2479"/>
                </a:lnTo>
                <a:lnTo>
                  <a:pt x="1093" y="2483"/>
                </a:lnTo>
                <a:lnTo>
                  <a:pt x="1094" y="2483"/>
                </a:lnTo>
                <a:lnTo>
                  <a:pt x="1097" y="2483"/>
                </a:lnTo>
                <a:lnTo>
                  <a:pt x="1102" y="2487"/>
                </a:lnTo>
                <a:lnTo>
                  <a:pt x="1105" y="2492"/>
                </a:lnTo>
                <a:lnTo>
                  <a:pt x="1107" y="2500"/>
                </a:lnTo>
                <a:lnTo>
                  <a:pt x="1107" y="2512"/>
                </a:lnTo>
                <a:lnTo>
                  <a:pt x="1108" y="2517"/>
                </a:lnTo>
                <a:lnTo>
                  <a:pt x="1109" y="2522"/>
                </a:lnTo>
                <a:lnTo>
                  <a:pt x="1108" y="2528"/>
                </a:lnTo>
                <a:lnTo>
                  <a:pt x="1107" y="2528"/>
                </a:lnTo>
                <a:lnTo>
                  <a:pt x="1105" y="2531"/>
                </a:lnTo>
                <a:lnTo>
                  <a:pt x="1104" y="2536"/>
                </a:lnTo>
                <a:lnTo>
                  <a:pt x="1107" y="2541"/>
                </a:lnTo>
                <a:lnTo>
                  <a:pt x="1105" y="2549"/>
                </a:lnTo>
                <a:lnTo>
                  <a:pt x="1102" y="2554"/>
                </a:lnTo>
                <a:lnTo>
                  <a:pt x="1104" y="2562"/>
                </a:lnTo>
                <a:lnTo>
                  <a:pt x="1101" y="2573"/>
                </a:lnTo>
                <a:lnTo>
                  <a:pt x="1100" y="2580"/>
                </a:lnTo>
                <a:lnTo>
                  <a:pt x="1094" y="2590"/>
                </a:lnTo>
                <a:lnTo>
                  <a:pt x="1094" y="2595"/>
                </a:lnTo>
                <a:lnTo>
                  <a:pt x="1097" y="2599"/>
                </a:lnTo>
                <a:lnTo>
                  <a:pt x="1096" y="2591"/>
                </a:lnTo>
                <a:lnTo>
                  <a:pt x="1097" y="2591"/>
                </a:lnTo>
                <a:lnTo>
                  <a:pt x="1098" y="2591"/>
                </a:lnTo>
                <a:lnTo>
                  <a:pt x="1100" y="2611"/>
                </a:lnTo>
                <a:lnTo>
                  <a:pt x="1104" y="2638"/>
                </a:lnTo>
                <a:lnTo>
                  <a:pt x="1107" y="2643"/>
                </a:lnTo>
                <a:lnTo>
                  <a:pt x="1115" y="2658"/>
                </a:lnTo>
                <a:lnTo>
                  <a:pt x="1119" y="2670"/>
                </a:lnTo>
                <a:lnTo>
                  <a:pt x="1122" y="2687"/>
                </a:lnTo>
                <a:lnTo>
                  <a:pt x="1121" y="2688"/>
                </a:lnTo>
                <a:lnTo>
                  <a:pt x="1116" y="2688"/>
                </a:lnTo>
                <a:lnTo>
                  <a:pt x="1121" y="2688"/>
                </a:lnTo>
                <a:lnTo>
                  <a:pt x="1121" y="2692"/>
                </a:lnTo>
                <a:lnTo>
                  <a:pt x="1118" y="2699"/>
                </a:lnTo>
                <a:lnTo>
                  <a:pt x="1113" y="2703"/>
                </a:lnTo>
                <a:lnTo>
                  <a:pt x="1112" y="2703"/>
                </a:lnTo>
                <a:lnTo>
                  <a:pt x="1112" y="2704"/>
                </a:lnTo>
                <a:lnTo>
                  <a:pt x="1113" y="2704"/>
                </a:lnTo>
                <a:lnTo>
                  <a:pt x="1112" y="2707"/>
                </a:lnTo>
                <a:lnTo>
                  <a:pt x="1109" y="2711"/>
                </a:lnTo>
                <a:lnTo>
                  <a:pt x="1105" y="2711"/>
                </a:lnTo>
                <a:lnTo>
                  <a:pt x="1100" y="2710"/>
                </a:lnTo>
                <a:lnTo>
                  <a:pt x="1096" y="2703"/>
                </a:lnTo>
                <a:lnTo>
                  <a:pt x="1090" y="2699"/>
                </a:lnTo>
                <a:lnTo>
                  <a:pt x="1083" y="2702"/>
                </a:lnTo>
                <a:lnTo>
                  <a:pt x="1080" y="2699"/>
                </a:lnTo>
                <a:lnTo>
                  <a:pt x="1075" y="2702"/>
                </a:lnTo>
                <a:lnTo>
                  <a:pt x="1069" y="2700"/>
                </a:lnTo>
                <a:lnTo>
                  <a:pt x="1070" y="2699"/>
                </a:lnTo>
                <a:lnTo>
                  <a:pt x="1076" y="2696"/>
                </a:lnTo>
                <a:lnTo>
                  <a:pt x="1077" y="2692"/>
                </a:lnTo>
                <a:lnTo>
                  <a:pt x="1075" y="2692"/>
                </a:lnTo>
                <a:lnTo>
                  <a:pt x="1077" y="2688"/>
                </a:lnTo>
                <a:lnTo>
                  <a:pt x="1073" y="2691"/>
                </a:lnTo>
                <a:lnTo>
                  <a:pt x="1073" y="2695"/>
                </a:lnTo>
                <a:lnTo>
                  <a:pt x="1069" y="2696"/>
                </a:lnTo>
                <a:lnTo>
                  <a:pt x="1068" y="2699"/>
                </a:lnTo>
                <a:lnTo>
                  <a:pt x="1063" y="2703"/>
                </a:lnTo>
                <a:lnTo>
                  <a:pt x="1058" y="2703"/>
                </a:lnTo>
                <a:lnTo>
                  <a:pt x="1058" y="2700"/>
                </a:lnTo>
                <a:lnTo>
                  <a:pt x="1056" y="2702"/>
                </a:lnTo>
                <a:lnTo>
                  <a:pt x="1055" y="2707"/>
                </a:lnTo>
                <a:lnTo>
                  <a:pt x="1051" y="2707"/>
                </a:lnTo>
                <a:lnTo>
                  <a:pt x="1041" y="2715"/>
                </a:lnTo>
                <a:lnTo>
                  <a:pt x="1041" y="2717"/>
                </a:lnTo>
                <a:lnTo>
                  <a:pt x="1045" y="2717"/>
                </a:lnTo>
                <a:lnTo>
                  <a:pt x="1038" y="2724"/>
                </a:lnTo>
                <a:lnTo>
                  <a:pt x="1044" y="2719"/>
                </a:lnTo>
                <a:lnTo>
                  <a:pt x="1048" y="2723"/>
                </a:lnTo>
                <a:lnTo>
                  <a:pt x="1055" y="2721"/>
                </a:lnTo>
                <a:lnTo>
                  <a:pt x="1061" y="2725"/>
                </a:lnTo>
                <a:lnTo>
                  <a:pt x="1063" y="2728"/>
                </a:lnTo>
                <a:lnTo>
                  <a:pt x="1062" y="2729"/>
                </a:lnTo>
                <a:lnTo>
                  <a:pt x="1058" y="2733"/>
                </a:lnTo>
                <a:lnTo>
                  <a:pt x="1063" y="2729"/>
                </a:lnTo>
                <a:lnTo>
                  <a:pt x="1063" y="2733"/>
                </a:lnTo>
                <a:lnTo>
                  <a:pt x="1066" y="2737"/>
                </a:lnTo>
                <a:lnTo>
                  <a:pt x="1070" y="2741"/>
                </a:lnTo>
                <a:lnTo>
                  <a:pt x="1079" y="2744"/>
                </a:lnTo>
                <a:lnTo>
                  <a:pt x="1077" y="2752"/>
                </a:lnTo>
                <a:lnTo>
                  <a:pt x="1072" y="2753"/>
                </a:lnTo>
                <a:lnTo>
                  <a:pt x="1072" y="2755"/>
                </a:lnTo>
                <a:lnTo>
                  <a:pt x="1073" y="2755"/>
                </a:lnTo>
                <a:lnTo>
                  <a:pt x="1072" y="2754"/>
                </a:lnTo>
                <a:lnTo>
                  <a:pt x="1077" y="2753"/>
                </a:lnTo>
                <a:lnTo>
                  <a:pt x="1079" y="2749"/>
                </a:lnTo>
                <a:lnTo>
                  <a:pt x="1080" y="2747"/>
                </a:lnTo>
                <a:lnTo>
                  <a:pt x="1083" y="2749"/>
                </a:lnTo>
                <a:lnTo>
                  <a:pt x="1087" y="2747"/>
                </a:lnTo>
                <a:lnTo>
                  <a:pt x="1090" y="2747"/>
                </a:lnTo>
                <a:lnTo>
                  <a:pt x="1091" y="2748"/>
                </a:lnTo>
                <a:lnTo>
                  <a:pt x="1090" y="2750"/>
                </a:lnTo>
                <a:lnTo>
                  <a:pt x="1083" y="2754"/>
                </a:lnTo>
                <a:lnTo>
                  <a:pt x="1080" y="2760"/>
                </a:lnTo>
                <a:lnTo>
                  <a:pt x="1082" y="2764"/>
                </a:lnTo>
                <a:lnTo>
                  <a:pt x="1079" y="2770"/>
                </a:lnTo>
                <a:lnTo>
                  <a:pt x="1077" y="2772"/>
                </a:lnTo>
                <a:lnTo>
                  <a:pt x="1077" y="2774"/>
                </a:lnTo>
                <a:lnTo>
                  <a:pt x="1079" y="2772"/>
                </a:lnTo>
                <a:lnTo>
                  <a:pt x="1082" y="2770"/>
                </a:lnTo>
                <a:lnTo>
                  <a:pt x="1083" y="2762"/>
                </a:lnTo>
                <a:lnTo>
                  <a:pt x="1086" y="2758"/>
                </a:lnTo>
                <a:lnTo>
                  <a:pt x="1088" y="2755"/>
                </a:lnTo>
                <a:lnTo>
                  <a:pt x="1088" y="2760"/>
                </a:lnTo>
                <a:lnTo>
                  <a:pt x="1087" y="2767"/>
                </a:lnTo>
                <a:lnTo>
                  <a:pt x="1086" y="2766"/>
                </a:lnTo>
                <a:lnTo>
                  <a:pt x="1084" y="2769"/>
                </a:lnTo>
                <a:lnTo>
                  <a:pt x="1084" y="2772"/>
                </a:lnTo>
                <a:lnTo>
                  <a:pt x="1082" y="2774"/>
                </a:lnTo>
                <a:lnTo>
                  <a:pt x="1080" y="2780"/>
                </a:lnTo>
                <a:lnTo>
                  <a:pt x="1077" y="2782"/>
                </a:lnTo>
                <a:lnTo>
                  <a:pt x="1076" y="2786"/>
                </a:lnTo>
                <a:lnTo>
                  <a:pt x="1075" y="2786"/>
                </a:lnTo>
                <a:lnTo>
                  <a:pt x="1075" y="2790"/>
                </a:lnTo>
                <a:lnTo>
                  <a:pt x="1072" y="2794"/>
                </a:lnTo>
                <a:lnTo>
                  <a:pt x="1073" y="2794"/>
                </a:lnTo>
                <a:lnTo>
                  <a:pt x="1072" y="2797"/>
                </a:lnTo>
                <a:lnTo>
                  <a:pt x="1070" y="2798"/>
                </a:lnTo>
                <a:lnTo>
                  <a:pt x="1069" y="2799"/>
                </a:lnTo>
                <a:lnTo>
                  <a:pt x="1069" y="2800"/>
                </a:lnTo>
                <a:lnTo>
                  <a:pt x="1070" y="2800"/>
                </a:lnTo>
                <a:lnTo>
                  <a:pt x="1066" y="2817"/>
                </a:lnTo>
                <a:lnTo>
                  <a:pt x="1063" y="2819"/>
                </a:lnTo>
                <a:lnTo>
                  <a:pt x="1056" y="2822"/>
                </a:lnTo>
                <a:lnTo>
                  <a:pt x="1052" y="2827"/>
                </a:lnTo>
                <a:lnTo>
                  <a:pt x="1047" y="2829"/>
                </a:lnTo>
                <a:lnTo>
                  <a:pt x="1047" y="2831"/>
                </a:lnTo>
                <a:lnTo>
                  <a:pt x="1044" y="2831"/>
                </a:lnTo>
                <a:lnTo>
                  <a:pt x="1041" y="2837"/>
                </a:lnTo>
                <a:lnTo>
                  <a:pt x="1037" y="2840"/>
                </a:lnTo>
                <a:lnTo>
                  <a:pt x="1036" y="2840"/>
                </a:lnTo>
                <a:lnTo>
                  <a:pt x="1034" y="2837"/>
                </a:lnTo>
                <a:lnTo>
                  <a:pt x="1031" y="2835"/>
                </a:lnTo>
                <a:lnTo>
                  <a:pt x="1027" y="2840"/>
                </a:lnTo>
                <a:lnTo>
                  <a:pt x="1023" y="2840"/>
                </a:lnTo>
                <a:lnTo>
                  <a:pt x="1019" y="2835"/>
                </a:lnTo>
                <a:lnTo>
                  <a:pt x="1020" y="2840"/>
                </a:lnTo>
                <a:lnTo>
                  <a:pt x="1023" y="2842"/>
                </a:lnTo>
                <a:lnTo>
                  <a:pt x="1026" y="2842"/>
                </a:lnTo>
                <a:lnTo>
                  <a:pt x="1030" y="2841"/>
                </a:lnTo>
                <a:lnTo>
                  <a:pt x="1034" y="2844"/>
                </a:lnTo>
                <a:lnTo>
                  <a:pt x="1036" y="2845"/>
                </a:lnTo>
                <a:lnTo>
                  <a:pt x="1033" y="2847"/>
                </a:lnTo>
                <a:lnTo>
                  <a:pt x="1033" y="2849"/>
                </a:lnTo>
                <a:lnTo>
                  <a:pt x="1036" y="2848"/>
                </a:lnTo>
                <a:lnTo>
                  <a:pt x="1040" y="2852"/>
                </a:lnTo>
                <a:lnTo>
                  <a:pt x="1042" y="2847"/>
                </a:lnTo>
                <a:lnTo>
                  <a:pt x="1050" y="2844"/>
                </a:lnTo>
                <a:lnTo>
                  <a:pt x="1055" y="2849"/>
                </a:lnTo>
                <a:lnTo>
                  <a:pt x="1055" y="2860"/>
                </a:lnTo>
                <a:lnTo>
                  <a:pt x="1056" y="2857"/>
                </a:lnTo>
                <a:lnTo>
                  <a:pt x="1058" y="2861"/>
                </a:lnTo>
                <a:lnTo>
                  <a:pt x="1056" y="2861"/>
                </a:lnTo>
                <a:lnTo>
                  <a:pt x="1056" y="2865"/>
                </a:lnTo>
                <a:lnTo>
                  <a:pt x="1061" y="2872"/>
                </a:lnTo>
                <a:lnTo>
                  <a:pt x="1062" y="2876"/>
                </a:lnTo>
                <a:lnTo>
                  <a:pt x="1059" y="2878"/>
                </a:lnTo>
                <a:lnTo>
                  <a:pt x="1058" y="2876"/>
                </a:lnTo>
                <a:lnTo>
                  <a:pt x="1055" y="2876"/>
                </a:lnTo>
                <a:lnTo>
                  <a:pt x="1050" y="2879"/>
                </a:lnTo>
                <a:lnTo>
                  <a:pt x="1047" y="2884"/>
                </a:lnTo>
                <a:lnTo>
                  <a:pt x="1042" y="2879"/>
                </a:lnTo>
                <a:lnTo>
                  <a:pt x="1047" y="2882"/>
                </a:lnTo>
                <a:lnTo>
                  <a:pt x="1047" y="2879"/>
                </a:lnTo>
                <a:lnTo>
                  <a:pt x="1045" y="2878"/>
                </a:lnTo>
                <a:lnTo>
                  <a:pt x="1045" y="2879"/>
                </a:lnTo>
                <a:lnTo>
                  <a:pt x="1044" y="2878"/>
                </a:lnTo>
                <a:lnTo>
                  <a:pt x="1041" y="2878"/>
                </a:lnTo>
                <a:lnTo>
                  <a:pt x="1041" y="2879"/>
                </a:lnTo>
                <a:lnTo>
                  <a:pt x="1042" y="2884"/>
                </a:lnTo>
                <a:lnTo>
                  <a:pt x="1041" y="2887"/>
                </a:lnTo>
                <a:lnTo>
                  <a:pt x="1037" y="2889"/>
                </a:lnTo>
                <a:lnTo>
                  <a:pt x="1036" y="2891"/>
                </a:lnTo>
                <a:lnTo>
                  <a:pt x="1033" y="2893"/>
                </a:lnTo>
                <a:lnTo>
                  <a:pt x="1030" y="2894"/>
                </a:lnTo>
                <a:lnTo>
                  <a:pt x="1030" y="2897"/>
                </a:lnTo>
                <a:lnTo>
                  <a:pt x="1027" y="2894"/>
                </a:lnTo>
                <a:lnTo>
                  <a:pt x="1026" y="2894"/>
                </a:lnTo>
                <a:lnTo>
                  <a:pt x="1030" y="2887"/>
                </a:lnTo>
                <a:lnTo>
                  <a:pt x="1026" y="2886"/>
                </a:lnTo>
                <a:lnTo>
                  <a:pt x="1023" y="2891"/>
                </a:lnTo>
                <a:lnTo>
                  <a:pt x="1016" y="2894"/>
                </a:lnTo>
                <a:lnTo>
                  <a:pt x="1013" y="2897"/>
                </a:lnTo>
                <a:lnTo>
                  <a:pt x="1012" y="2898"/>
                </a:lnTo>
                <a:lnTo>
                  <a:pt x="1015" y="2898"/>
                </a:lnTo>
                <a:lnTo>
                  <a:pt x="1019" y="2894"/>
                </a:lnTo>
                <a:lnTo>
                  <a:pt x="1022" y="2894"/>
                </a:lnTo>
                <a:lnTo>
                  <a:pt x="1023" y="2902"/>
                </a:lnTo>
                <a:lnTo>
                  <a:pt x="1022" y="2911"/>
                </a:lnTo>
                <a:lnTo>
                  <a:pt x="1025" y="2915"/>
                </a:lnTo>
                <a:lnTo>
                  <a:pt x="1027" y="2914"/>
                </a:lnTo>
                <a:lnTo>
                  <a:pt x="1026" y="2909"/>
                </a:lnTo>
                <a:lnTo>
                  <a:pt x="1029" y="2906"/>
                </a:lnTo>
                <a:lnTo>
                  <a:pt x="1034" y="2911"/>
                </a:lnTo>
                <a:lnTo>
                  <a:pt x="1034" y="2914"/>
                </a:lnTo>
                <a:lnTo>
                  <a:pt x="1036" y="2915"/>
                </a:lnTo>
                <a:lnTo>
                  <a:pt x="1036" y="2916"/>
                </a:lnTo>
                <a:lnTo>
                  <a:pt x="1037" y="2915"/>
                </a:lnTo>
                <a:lnTo>
                  <a:pt x="1038" y="2923"/>
                </a:lnTo>
                <a:lnTo>
                  <a:pt x="1033" y="2928"/>
                </a:lnTo>
                <a:lnTo>
                  <a:pt x="1034" y="2932"/>
                </a:lnTo>
                <a:lnTo>
                  <a:pt x="1037" y="2928"/>
                </a:lnTo>
                <a:lnTo>
                  <a:pt x="1041" y="2928"/>
                </a:lnTo>
                <a:lnTo>
                  <a:pt x="1044" y="2932"/>
                </a:lnTo>
                <a:lnTo>
                  <a:pt x="1047" y="2934"/>
                </a:lnTo>
                <a:lnTo>
                  <a:pt x="1044" y="2931"/>
                </a:lnTo>
                <a:lnTo>
                  <a:pt x="1051" y="2924"/>
                </a:lnTo>
                <a:lnTo>
                  <a:pt x="1056" y="2920"/>
                </a:lnTo>
                <a:lnTo>
                  <a:pt x="1061" y="2924"/>
                </a:lnTo>
                <a:lnTo>
                  <a:pt x="1065" y="2928"/>
                </a:lnTo>
                <a:lnTo>
                  <a:pt x="1063" y="2928"/>
                </a:lnTo>
                <a:lnTo>
                  <a:pt x="1065" y="2932"/>
                </a:lnTo>
                <a:lnTo>
                  <a:pt x="1066" y="2938"/>
                </a:lnTo>
                <a:lnTo>
                  <a:pt x="1066" y="2941"/>
                </a:lnTo>
                <a:lnTo>
                  <a:pt x="1068" y="2941"/>
                </a:lnTo>
                <a:lnTo>
                  <a:pt x="1072" y="2953"/>
                </a:lnTo>
                <a:lnTo>
                  <a:pt x="1061" y="2973"/>
                </a:lnTo>
                <a:lnTo>
                  <a:pt x="1058" y="2977"/>
                </a:lnTo>
                <a:lnTo>
                  <a:pt x="1051" y="2980"/>
                </a:lnTo>
                <a:lnTo>
                  <a:pt x="1048" y="2981"/>
                </a:lnTo>
                <a:lnTo>
                  <a:pt x="1048" y="2985"/>
                </a:lnTo>
                <a:lnTo>
                  <a:pt x="1047" y="2988"/>
                </a:lnTo>
                <a:lnTo>
                  <a:pt x="1045" y="2988"/>
                </a:lnTo>
                <a:lnTo>
                  <a:pt x="1041" y="2985"/>
                </a:lnTo>
                <a:lnTo>
                  <a:pt x="1037" y="2984"/>
                </a:lnTo>
                <a:lnTo>
                  <a:pt x="1029" y="2986"/>
                </a:lnTo>
                <a:lnTo>
                  <a:pt x="1027" y="2988"/>
                </a:lnTo>
                <a:lnTo>
                  <a:pt x="1029" y="2988"/>
                </a:lnTo>
                <a:lnTo>
                  <a:pt x="1034" y="2988"/>
                </a:lnTo>
                <a:lnTo>
                  <a:pt x="1036" y="2988"/>
                </a:lnTo>
                <a:lnTo>
                  <a:pt x="1036" y="2990"/>
                </a:lnTo>
                <a:lnTo>
                  <a:pt x="1031" y="2994"/>
                </a:lnTo>
                <a:lnTo>
                  <a:pt x="1031" y="3009"/>
                </a:lnTo>
                <a:lnTo>
                  <a:pt x="1027" y="3014"/>
                </a:lnTo>
                <a:lnTo>
                  <a:pt x="1027" y="3022"/>
                </a:lnTo>
                <a:lnTo>
                  <a:pt x="1031" y="3031"/>
                </a:lnTo>
                <a:lnTo>
                  <a:pt x="1033" y="3040"/>
                </a:lnTo>
                <a:lnTo>
                  <a:pt x="1034" y="3044"/>
                </a:lnTo>
                <a:lnTo>
                  <a:pt x="1041" y="3050"/>
                </a:lnTo>
                <a:lnTo>
                  <a:pt x="1045" y="3063"/>
                </a:lnTo>
                <a:lnTo>
                  <a:pt x="1042" y="3048"/>
                </a:lnTo>
                <a:lnTo>
                  <a:pt x="1036" y="3040"/>
                </a:lnTo>
                <a:lnTo>
                  <a:pt x="1037" y="3031"/>
                </a:lnTo>
                <a:lnTo>
                  <a:pt x="1042" y="3030"/>
                </a:lnTo>
                <a:lnTo>
                  <a:pt x="1044" y="3032"/>
                </a:lnTo>
                <a:lnTo>
                  <a:pt x="1045" y="3031"/>
                </a:lnTo>
                <a:lnTo>
                  <a:pt x="1044" y="3028"/>
                </a:lnTo>
                <a:lnTo>
                  <a:pt x="1038" y="3028"/>
                </a:lnTo>
                <a:lnTo>
                  <a:pt x="1036" y="3026"/>
                </a:lnTo>
                <a:lnTo>
                  <a:pt x="1042" y="3013"/>
                </a:lnTo>
                <a:lnTo>
                  <a:pt x="1042" y="3010"/>
                </a:lnTo>
                <a:lnTo>
                  <a:pt x="1040" y="3005"/>
                </a:lnTo>
                <a:lnTo>
                  <a:pt x="1040" y="3002"/>
                </a:lnTo>
                <a:lnTo>
                  <a:pt x="1041" y="2999"/>
                </a:lnTo>
                <a:lnTo>
                  <a:pt x="1042" y="2999"/>
                </a:lnTo>
                <a:lnTo>
                  <a:pt x="1047" y="3005"/>
                </a:lnTo>
                <a:lnTo>
                  <a:pt x="1052" y="3007"/>
                </a:lnTo>
                <a:lnTo>
                  <a:pt x="1051" y="3005"/>
                </a:lnTo>
                <a:lnTo>
                  <a:pt x="1047" y="3002"/>
                </a:lnTo>
                <a:lnTo>
                  <a:pt x="1044" y="2991"/>
                </a:lnTo>
                <a:lnTo>
                  <a:pt x="1045" y="2991"/>
                </a:lnTo>
                <a:lnTo>
                  <a:pt x="1054" y="2995"/>
                </a:lnTo>
                <a:lnTo>
                  <a:pt x="1056" y="2998"/>
                </a:lnTo>
                <a:lnTo>
                  <a:pt x="1058" y="3003"/>
                </a:lnTo>
                <a:lnTo>
                  <a:pt x="1062" y="3003"/>
                </a:lnTo>
                <a:lnTo>
                  <a:pt x="1059" y="2999"/>
                </a:lnTo>
                <a:lnTo>
                  <a:pt x="1063" y="2991"/>
                </a:lnTo>
                <a:lnTo>
                  <a:pt x="1073" y="2991"/>
                </a:lnTo>
                <a:lnTo>
                  <a:pt x="1088" y="2985"/>
                </a:lnTo>
                <a:lnTo>
                  <a:pt x="1093" y="2988"/>
                </a:lnTo>
                <a:lnTo>
                  <a:pt x="1096" y="2991"/>
                </a:lnTo>
                <a:lnTo>
                  <a:pt x="1098" y="2995"/>
                </a:lnTo>
                <a:lnTo>
                  <a:pt x="1098" y="3002"/>
                </a:lnTo>
                <a:lnTo>
                  <a:pt x="1097" y="3006"/>
                </a:lnTo>
                <a:lnTo>
                  <a:pt x="1090" y="3007"/>
                </a:lnTo>
                <a:lnTo>
                  <a:pt x="1087" y="3010"/>
                </a:lnTo>
                <a:lnTo>
                  <a:pt x="1091" y="3009"/>
                </a:lnTo>
                <a:lnTo>
                  <a:pt x="1097" y="3011"/>
                </a:lnTo>
                <a:lnTo>
                  <a:pt x="1101" y="3013"/>
                </a:lnTo>
                <a:lnTo>
                  <a:pt x="1102" y="3016"/>
                </a:lnTo>
                <a:lnTo>
                  <a:pt x="1104" y="3014"/>
                </a:lnTo>
                <a:lnTo>
                  <a:pt x="1109" y="3014"/>
                </a:lnTo>
                <a:lnTo>
                  <a:pt x="1116" y="3018"/>
                </a:lnTo>
                <a:lnTo>
                  <a:pt x="1116" y="3022"/>
                </a:lnTo>
                <a:lnTo>
                  <a:pt x="1125" y="3026"/>
                </a:lnTo>
                <a:lnTo>
                  <a:pt x="1127" y="3028"/>
                </a:lnTo>
                <a:lnTo>
                  <a:pt x="1129" y="3036"/>
                </a:lnTo>
                <a:lnTo>
                  <a:pt x="1125" y="3035"/>
                </a:lnTo>
                <a:lnTo>
                  <a:pt x="1123" y="3036"/>
                </a:lnTo>
                <a:lnTo>
                  <a:pt x="1125" y="3039"/>
                </a:lnTo>
                <a:lnTo>
                  <a:pt x="1127" y="3040"/>
                </a:lnTo>
                <a:lnTo>
                  <a:pt x="1130" y="3044"/>
                </a:lnTo>
                <a:lnTo>
                  <a:pt x="1133" y="3040"/>
                </a:lnTo>
                <a:lnTo>
                  <a:pt x="1137" y="3040"/>
                </a:lnTo>
                <a:lnTo>
                  <a:pt x="1139" y="3040"/>
                </a:lnTo>
                <a:lnTo>
                  <a:pt x="1139" y="3043"/>
                </a:lnTo>
                <a:lnTo>
                  <a:pt x="1143" y="3043"/>
                </a:lnTo>
                <a:lnTo>
                  <a:pt x="1144" y="3043"/>
                </a:lnTo>
                <a:lnTo>
                  <a:pt x="1162" y="3069"/>
                </a:lnTo>
                <a:lnTo>
                  <a:pt x="1168" y="3075"/>
                </a:lnTo>
                <a:lnTo>
                  <a:pt x="1177" y="3082"/>
                </a:lnTo>
                <a:lnTo>
                  <a:pt x="1177" y="3085"/>
                </a:lnTo>
                <a:lnTo>
                  <a:pt x="1172" y="3084"/>
                </a:lnTo>
                <a:lnTo>
                  <a:pt x="1166" y="3089"/>
                </a:lnTo>
                <a:lnTo>
                  <a:pt x="1164" y="3088"/>
                </a:lnTo>
                <a:lnTo>
                  <a:pt x="1161" y="3084"/>
                </a:lnTo>
                <a:lnTo>
                  <a:pt x="1160" y="3085"/>
                </a:lnTo>
                <a:lnTo>
                  <a:pt x="1164" y="3089"/>
                </a:lnTo>
                <a:lnTo>
                  <a:pt x="1169" y="3089"/>
                </a:lnTo>
                <a:lnTo>
                  <a:pt x="1173" y="3088"/>
                </a:lnTo>
                <a:lnTo>
                  <a:pt x="1177" y="3089"/>
                </a:lnTo>
                <a:lnTo>
                  <a:pt x="1176" y="3102"/>
                </a:lnTo>
                <a:lnTo>
                  <a:pt x="1175" y="3102"/>
                </a:lnTo>
                <a:lnTo>
                  <a:pt x="1172" y="3098"/>
                </a:lnTo>
                <a:lnTo>
                  <a:pt x="1166" y="3093"/>
                </a:lnTo>
                <a:lnTo>
                  <a:pt x="1171" y="3101"/>
                </a:lnTo>
                <a:lnTo>
                  <a:pt x="1173" y="3105"/>
                </a:lnTo>
                <a:lnTo>
                  <a:pt x="1175" y="3105"/>
                </a:lnTo>
                <a:lnTo>
                  <a:pt x="1176" y="3110"/>
                </a:lnTo>
                <a:lnTo>
                  <a:pt x="1175" y="3111"/>
                </a:lnTo>
                <a:lnTo>
                  <a:pt x="1172" y="3114"/>
                </a:lnTo>
                <a:lnTo>
                  <a:pt x="1165" y="3115"/>
                </a:lnTo>
                <a:lnTo>
                  <a:pt x="1154" y="3114"/>
                </a:lnTo>
                <a:lnTo>
                  <a:pt x="1155" y="3115"/>
                </a:lnTo>
                <a:lnTo>
                  <a:pt x="1155" y="3118"/>
                </a:lnTo>
                <a:lnTo>
                  <a:pt x="1148" y="3119"/>
                </a:lnTo>
                <a:lnTo>
                  <a:pt x="1154" y="3120"/>
                </a:lnTo>
                <a:lnTo>
                  <a:pt x="1151" y="3123"/>
                </a:lnTo>
                <a:lnTo>
                  <a:pt x="1147" y="3126"/>
                </a:lnTo>
                <a:lnTo>
                  <a:pt x="1133" y="3126"/>
                </a:lnTo>
                <a:lnTo>
                  <a:pt x="1135" y="3127"/>
                </a:lnTo>
                <a:lnTo>
                  <a:pt x="1144" y="3130"/>
                </a:lnTo>
                <a:lnTo>
                  <a:pt x="1161" y="3123"/>
                </a:lnTo>
                <a:lnTo>
                  <a:pt x="1168" y="3119"/>
                </a:lnTo>
                <a:lnTo>
                  <a:pt x="1175" y="3119"/>
                </a:lnTo>
                <a:lnTo>
                  <a:pt x="1177" y="3120"/>
                </a:lnTo>
                <a:lnTo>
                  <a:pt x="1177" y="3123"/>
                </a:lnTo>
                <a:lnTo>
                  <a:pt x="1182" y="3126"/>
                </a:lnTo>
                <a:lnTo>
                  <a:pt x="1179" y="3134"/>
                </a:lnTo>
                <a:lnTo>
                  <a:pt x="1180" y="3138"/>
                </a:lnTo>
                <a:lnTo>
                  <a:pt x="1182" y="3142"/>
                </a:lnTo>
                <a:lnTo>
                  <a:pt x="1182" y="3137"/>
                </a:lnTo>
                <a:lnTo>
                  <a:pt x="1186" y="3123"/>
                </a:lnTo>
                <a:lnTo>
                  <a:pt x="1185" y="3122"/>
                </a:lnTo>
                <a:lnTo>
                  <a:pt x="1182" y="3120"/>
                </a:lnTo>
                <a:lnTo>
                  <a:pt x="1182" y="3118"/>
                </a:lnTo>
                <a:lnTo>
                  <a:pt x="1187" y="3111"/>
                </a:lnTo>
                <a:lnTo>
                  <a:pt x="1190" y="3110"/>
                </a:lnTo>
                <a:lnTo>
                  <a:pt x="1198" y="3103"/>
                </a:lnTo>
                <a:lnTo>
                  <a:pt x="1210" y="3093"/>
                </a:lnTo>
                <a:lnTo>
                  <a:pt x="1214" y="3093"/>
                </a:lnTo>
                <a:lnTo>
                  <a:pt x="1221" y="3097"/>
                </a:lnTo>
                <a:lnTo>
                  <a:pt x="1222" y="3102"/>
                </a:lnTo>
                <a:lnTo>
                  <a:pt x="1222" y="3106"/>
                </a:lnTo>
                <a:lnTo>
                  <a:pt x="1216" y="3115"/>
                </a:lnTo>
                <a:lnTo>
                  <a:pt x="1211" y="3120"/>
                </a:lnTo>
                <a:lnTo>
                  <a:pt x="1202" y="3123"/>
                </a:lnTo>
                <a:lnTo>
                  <a:pt x="1197" y="3130"/>
                </a:lnTo>
                <a:lnTo>
                  <a:pt x="1196" y="3138"/>
                </a:lnTo>
                <a:lnTo>
                  <a:pt x="1198" y="3142"/>
                </a:lnTo>
                <a:lnTo>
                  <a:pt x="1205" y="3145"/>
                </a:lnTo>
                <a:lnTo>
                  <a:pt x="1211" y="3163"/>
                </a:lnTo>
                <a:lnTo>
                  <a:pt x="1210" y="3164"/>
                </a:lnTo>
                <a:lnTo>
                  <a:pt x="1205" y="3168"/>
                </a:lnTo>
                <a:lnTo>
                  <a:pt x="1202" y="3170"/>
                </a:lnTo>
                <a:lnTo>
                  <a:pt x="1197" y="3173"/>
                </a:lnTo>
                <a:lnTo>
                  <a:pt x="1196" y="3176"/>
                </a:lnTo>
                <a:lnTo>
                  <a:pt x="1197" y="3179"/>
                </a:lnTo>
                <a:lnTo>
                  <a:pt x="1198" y="3179"/>
                </a:lnTo>
                <a:lnTo>
                  <a:pt x="1198" y="3176"/>
                </a:lnTo>
                <a:lnTo>
                  <a:pt x="1204" y="3172"/>
                </a:lnTo>
                <a:lnTo>
                  <a:pt x="1212" y="3168"/>
                </a:lnTo>
                <a:lnTo>
                  <a:pt x="1215" y="3160"/>
                </a:lnTo>
                <a:lnTo>
                  <a:pt x="1215" y="3156"/>
                </a:lnTo>
                <a:lnTo>
                  <a:pt x="1212" y="3152"/>
                </a:lnTo>
                <a:lnTo>
                  <a:pt x="1214" y="3142"/>
                </a:lnTo>
                <a:lnTo>
                  <a:pt x="1210" y="3137"/>
                </a:lnTo>
                <a:lnTo>
                  <a:pt x="1214" y="3132"/>
                </a:lnTo>
                <a:lnTo>
                  <a:pt x="1224" y="3128"/>
                </a:lnTo>
                <a:lnTo>
                  <a:pt x="1229" y="3128"/>
                </a:lnTo>
                <a:lnTo>
                  <a:pt x="1240" y="3125"/>
                </a:lnTo>
                <a:lnTo>
                  <a:pt x="1240" y="3127"/>
                </a:lnTo>
                <a:lnTo>
                  <a:pt x="1239" y="3130"/>
                </a:lnTo>
                <a:lnTo>
                  <a:pt x="1237" y="3138"/>
                </a:lnTo>
                <a:lnTo>
                  <a:pt x="1240" y="3145"/>
                </a:lnTo>
                <a:lnTo>
                  <a:pt x="1243" y="3147"/>
                </a:lnTo>
                <a:lnTo>
                  <a:pt x="1252" y="3142"/>
                </a:lnTo>
                <a:lnTo>
                  <a:pt x="1254" y="3142"/>
                </a:lnTo>
                <a:lnTo>
                  <a:pt x="1261" y="3152"/>
                </a:lnTo>
                <a:lnTo>
                  <a:pt x="1261" y="3150"/>
                </a:lnTo>
                <a:lnTo>
                  <a:pt x="1260" y="3142"/>
                </a:lnTo>
                <a:lnTo>
                  <a:pt x="1257" y="3138"/>
                </a:lnTo>
                <a:lnTo>
                  <a:pt x="1250" y="3138"/>
                </a:lnTo>
                <a:lnTo>
                  <a:pt x="1243" y="3144"/>
                </a:lnTo>
                <a:lnTo>
                  <a:pt x="1240" y="3144"/>
                </a:lnTo>
                <a:lnTo>
                  <a:pt x="1239" y="3142"/>
                </a:lnTo>
                <a:lnTo>
                  <a:pt x="1239" y="3138"/>
                </a:lnTo>
                <a:lnTo>
                  <a:pt x="1244" y="3126"/>
                </a:lnTo>
                <a:lnTo>
                  <a:pt x="1250" y="3125"/>
                </a:lnTo>
                <a:lnTo>
                  <a:pt x="1258" y="3127"/>
                </a:lnTo>
                <a:lnTo>
                  <a:pt x="1260" y="3130"/>
                </a:lnTo>
                <a:lnTo>
                  <a:pt x="1266" y="3130"/>
                </a:lnTo>
                <a:lnTo>
                  <a:pt x="1272" y="3137"/>
                </a:lnTo>
                <a:lnTo>
                  <a:pt x="1276" y="3138"/>
                </a:lnTo>
                <a:lnTo>
                  <a:pt x="1276" y="3134"/>
                </a:lnTo>
                <a:lnTo>
                  <a:pt x="1280" y="3138"/>
                </a:lnTo>
                <a:lnTo>
                  <a:pt x="1289" y="3151"/>
                </a:lnTo>
                <a:lnTo>
                  <a:pt x="1287" y="3159"/>
                </a:lnTo>
                <a:lnTo>
                  <a:pt x="1291" y="3155"/>
                </a:lnTo>
                <a:lnTo>
                  <a:pt x="1291" y="3147"/>
                </a:lnTo>
                <a:lnTo>
                  <a:pt x="1294" y="3145"/>
                </a:lnTo>
                <a:lnTo>
                  <a:pt x="1296" y="3156"/>
                </a:lnTo>
                <a:lnTo>
                  <a:pt x="1300" y="3164"/>
                </a:lnTo>
                <a:lnTo>
                  <a:pt x="1304" y="3176"/>
                </a:lnTo>
                <a:lnTo>
                  <a:pt x="1304" y="3179"/>
                </a:lnTo>
                <a:lnTo>
                  <a:pt x="1299" y="3182"/>
                </a:lnTo>
                <a:lnTo>
                  <a:pt x="1291" y="3179"/>
                </a:lnTo>
                <a:lnTo>
                  <a:pt x="1286" y="3181"/>
                </a:lnTo>
                <a:lnTo>
                  <a:pt x="1275" y="3189"/>
                </a:lnTo>
                <a:lnTo>
                  <a:pt x="1272" y="3187"/>
                </a:lnTo>
                <a:lnTo>
                  <a:pt x="1271" y="3182"/>
                </a:lnTo>
                <a:lnTo>
                  <a:pt x="1266" y="3182"/>
                </a:lnTo>
                <a:lnTo>
                  <a:pt x="1268" y="3182"/>
                </a:lnTo>
                <a:lnTo>
                  <a:pt x="1271" y="3189"/>
                </a:lnTo>
                <a:lnTo>
                  <a:pt x="1275" y="3192"/>
                </a:lnTo>
                <a:lnTo>
                  <a:pt x="1277" y="3190"/>
                </a:lnTo>
                <a:lnTo>
                  <a:pt x="1283" y="3187"/>
                </a:lnTo>
                <a:lnTo>
                  <a:pt x="1289" y="3182"/>
                </a:lnTo>
                <a:lnTo>
                  <a:pt x="1296" y="3187"/>
                </a:lnTo>
                <a:lnTo>
                  <a:pt x="1296" y="3189"/>
                </a:lnTo>
                <a:lnTo>
                  <a:pt x="1300" y="3189"/>
                </a:lnTo>
                <a:lnTo>
                  <a:pt x="1304" y="3187"/>
                </a:lnTo>
                <a:lnTo>
                  <a:pt x="1308" y="3192"/>
                </a:lnTo>
                <a:lnTo>
                  <a:pt x="1308" y="3193"/>
                </a:lnTo>
                <a:lnTo>
                  <a:pt x="1304" y="3196"/>
                </a:lnTo>
                <a:lnTo>
                  <a:pt x="1305" y="3196"/>
                </a:lnTo>
                <a:lnTo>
                  <a:pt x="1308" y="3196"/>
                </a:lnTo>
                <a:lnTo>
                  <a:pt x="1311" y="3193"/>
                </a:lnTo>
                <a:lnTo>
                  <a:pt x="1311" y="3189"/>
                </a:lnTo>
                <a:lnTo>
                  <a:pt x="1308" y="3185"/>
                </a:lnTo>
                <a:lnTo>
                  <a:pt x="1310" y="3185"/>
                </a:lnTo>
                <a:lnTo>
                  <a:pt x="1311" y="3187"/>
                </a:lnTo>
                <a:lnTo>
                  <a:pt x="1318" y="3201"/>
                </a:lnTo>
                <a:lnTo>
                  <a:pt x="1319" y="3209"/>
                </a:lnTo>
                <a:lnTo>
                  <a:pt x="1315" y="3213"/>
                </a:lnTo>
                <a:lnTo>
                  <a:pt x="1314" y="3212"/>
                </a:lnTo>
                <a:lnTo>
                  <a:pt x="1312" y="3209"/>
                </a:lnTo>
                <a:lnTo>
                  <a:pt x="1310" y="3207"/>
                </a:lnTo>
                <a:lnTo>
                  <a:pt x="1308" y="3209"/>
                </a:lnTo>
                <a:lnTo>
                  <a:pt x="1302" y="3209"/>
                </a:lnTo>
                <a:lnTo>
                  <a:pt x="1297" y="3212"/>
                </a:lnTo>
                <a:lnTo>
                  <a:pt x="1289" y="3212"/>
                </a:lnTo>
                <a:lnTo>
                  <a:pt x="1283" y="3215"/>
                </a:lnTo>
                <a:lnTo>
                  <a:pt x="1279" y="3222"/>
                </a:lnTo>
                <a:lnTo>
                  <a:pt x="1272" y="3224"/>
                </a:lnTo>
                <a:lnTo>
                  <a:pt x="1269" y="3226"/>
                </a:lnTo>
                <a:lnTo>
                  <a:pt x="1279" y="3226"/>
                </a:lnTo>
                <a:lnTo>
                  <a:pt x="1282" y="3224"/>
                </a:lnTo>
                <a:lnTo>
                  <a:pt x="1287" y="3218"/>
                </a:lnTo>
                <a:lnTo>
                  <a:pt x="1301" y="3217"/>
                </a:lnTo>
                <a:lnTo>
                  <a:pt x="1301" y="3218"/>
                </a:lnTo>
                <a:lnTo>
                  <a:pt x="1301" y="3224"/>
                </a:lnTo>
                <a:lnTo>
                  <a:pt x="1299" y="3226"/>
                </a:lnTo>
                <a:lnTo>
                  <a:pt x="1299" y="3227"/>
                </a:lnTo>
                <a:lnTo>
                  <a:pt x="1300" y="3227"/>
                </a:lnTo>
                <a:lnTo>
                  <a:pt x="1302" y="3227"/>
                </a:lnTo>
                <a:lnTo>
                  <a:pt x="1304" y="3231"/>
                </a:lnTo>
                <a:lnTo>
                  <a:pt x="1307" y="3231"/>
                </a:lnTo>
                <a:lnTo>
                  <a:pt x="1314" y="3250"/>
                </a:lnTo>
                <a:lnTo>
                  <a:pt x="1312" y="3254"/>
                </a:lnTo>
                <a:lnTo>
                  <a:pt x="1307" y="3254"/>
                </a:lnTo>
                <a:lnTo>
                  <a:pt x="1305" y="3257"/>
                </a:lnTo>
                <a:lnTo>
                  <a:pt x="1312" y="3256"/>
                </a:lnTo>
                <a:lnTo>
                  <a:pt x="1315" y="3254"/>
                </a:lnTo>
                <a:lnTo>
                  <a:pt x="1318" y="3250"/>
                </a:lnTo>
                <a:lnTo>
                  <a:pt x="1316" y="3246"/>
                </a:lnTo>
                <a:lnTo>
                  <a:pt x="1319" y="3246"/>
                </a:lnTo>
                <a:lnTo>
                  <a:pt x="1319" y="3239"/>
                </a:lnTo>
                <a:lnTo>
                  <a:pt x="1318" y="3235"/>
                </a:lnTo>
                <a:lnTo>
                  <a:pt x="1319" y="3231"/>
                </a:lnTo>
                <a:lnTo>
                  <a:pt x="1321" y="3227"/>
                </a:lnTo>
                <a:lnTo>
                  <a:pt x="1322" y="3231"/>
                </a:lnTo>
                <a:lnTo>
                  <a:pt x="1330" y="3254"/>
                </a:lnTo>
                <a:lnTo>
                  <a:pt x="1336" y="3264"/>
                </a:lnTo>
                <a:lnTo>
                  <a:pt x="1335" y="3263"/>
                </a:lnTo>
                <a:lnTo>
                  <a:pt x="1335" y="3267"/>
                </a:lnTo>
                <a:lnTo>
                  <a:pt x="1344" y="3276"/>
                </a:lnTo>
                <a:lnTo>
                  <a:pt x="1349" y="3285"/>
                </a:lnTo>
                <a:lnTo>
                  <a:pt x="1344" y="3291"/>
                </a:lnTo>
                <a:lnTo>
                  <a:pt x="1343" y="3289"/>
                </a:lnTo>
                <a:lnTo>
                  <a:pt x="1343" y="3294"/>
                </a:lnTo>
                <a:lnTo>
                  <a:pt x="1341" y="3297"/>
                </a:lnTo>
                <a:lnTo>
                  <a:pt x="1340" y="3299"/>
                </a:lnTo>
                <a:lnTo>
                  <a:pt x="1336" y="3301"/>
                </a:lnTo>
                <a:lnTo>
                  <a:pt x="1339" y="3302"/>
                </a:lnTo>
                <a:lnTo>
                  <a:pt x="1346" y="3301"/>
                </a:lnTo>
                <a:lnTo>
                  <a:pt x="1346" y="3302"/>
                </a:lnTo>
                <a:lnTo>
                  <a:pt x="1349" y="3305"/>
                </a:lnTo>
                <a:lnTo>
                  <a:pt x="1354" y="3311"/>
                </a:lnTo>
                <a:lnTo>
                  <a:pt x="1346" y="3321"/>
                </a:lnTo>
                <a:lnTo>
                  <a:pt x="1344" y="3321"/>
                </a:lnTo>
                <a:lnTo>
                  <a:pt x="1335" y="3325"/>
                </a:lnTo>
                <a:lnTo>
                  <a:pt x="1332" y="3329"/>
                </a:lnTo>
                <a:lnTo>
                  <a:pt x="1332" y="3331"/>
                </a:lnTo>
                <a:lnTo>
                  <a:pt x="1333" y="3333"/>
                </a:lnTo>
                <a:lnTo>
                  <a:pt x="1343" y="3336"/>
                </a:lnTo>
                <a:lnTo>
                  <a:pt x="1341" y="3347"/>
                </a:lnTo>
                <a:lnTo>
                  <a:pt x="1337" y="3351"/>
                </a:lnTo>
                <a:lnTo>
                  <a:pt x="1339" y="3355"/>
                </a:lnTo>
                <a:lnTo>
                  <a:pt x="1328" y="3362"/>
                </a:lnTo>
                <a:lnTo>
                  <a:pt x="1312" y="3364"/>
                </a:lnTo>
                <a:lnTo>
                  <a:pt x="1297" y="3370"/>
                </a:lnTo>
                <a:lnTo>
                  <a:pt x="1293" y="3370"/>
                </a:lnTo>
                <a:lnTo>
                  <a:pt x="1289" y="3368"/>
                </a:lnTo>
                <a:lnTo>
                  <a:pt x="1275" y="3368"/>
                </a:lnTo>
                <a:lnTo>
                  <a:pt x="1271" y="3370"/>
                </a:lnTo>
                <a:lnTo>
                  <a:pt x="1261" y="3370"/>
                </a:lnTo>
                <a:lnTo>
                  <a:pt x="1261" y="3372"/>
                </a:lnTo>
                <a:lnTo>
                  <a:pt x="1257" y="3374"/>
                </a:lnTo>
                <a:lnTo>
                  <a:pt x="1254" y="3379"/>
                </a:lnTo>
                <a:lnTo>
                  <a:pt x="1241" y="3387"/>
                </a:lnTo>
                <a:lnTo>
                  <a:pt x="1240" y="3387"/>
                </a:lnTo>
                <a:lnTo>
                  <a:pt x="1236" y="3383"/>
                </a:lnTo>
                <a:lnTo>
                  <a:pt x="1233" y="3383"/>
                </a:lnTo>
                <a:lnTo>
                  <a:pt x="1227" y="3388"/>
                </a:lnTo>
                <a:lnTo>
                  <a:pt x="1230" y="3392"/>
                </a:lnTo>
                <a:lnTo>
                  <a:pt x="1229" y="3396"/>
                </a:lnTo>
                <a:lnTo>
                  <a:pt x="1226" y="3395"/>
                </a:lnTo>
                <a:lnTo>
                  <a:pt x="1219" y="3396"/>
                </a:lnTo>
                <a:lnTo>
                  <a:pt x="1216" y="3392"/>
                </a:lnTo>
                <a:lnTo>
                  <a:pt x="1214" y="3392"/>
                </a:lnTo>
                <a:lnTo>
                  <a:pt x="1205" y="3399"/>
                </a:lnTo>
                <a:lnTo>
                  <a:pt x="1205" y="3403"/>
                </a:lnTo>
                <a:lnTo>
                  <a:pt x="1201" y="3408"/>
                </a:lnTo>
                <a:lnTo>
                  <a:pt x="1196" y="3408"/>
                </a:lnTo>
                <a:lnTo>
                  <a:pt x="1193" y="3412"/>
                </a:lnTo>
                <a:lnTo>
                  <a:pt x="1187" y="3413"/>
                </a:lnTo>
                <a:lnTo>
                  <a:pt x="1186" y="3417"/>
                </a:lnTo>
                <a:lnTo>
                  <a:pt x="1182" y="3417"/>
                </a:lnTo>
                <a:lnTo>
                  <a:pt x="1179" y="3417"/>
                </a:lnTo>
                <a:lnTo>
                  <a:pt x="1161" y="3425"/>
                </a:lnTo>
                <a:lnTo>
                  <a:pt x="1155" y="3423"/>
                </a:lnTo>
                <a:lnTo>
                  <a:pt x="1152" y="3428"/>
                </a:lnTo>
                <a:lnTo>
                  <a:pt x="1154" y="3431"/>
                </a:lnTo>
                <a:lnTo>
                  <a:pt x="1151" y="3437"/>
                </a:lnTo>
                <a:lnTo>
                  <a:pt x="1151" y="3440"/>
                </a:lnTo>
                <a:lnTo>
                  <a:pt x="1147" y="3441"/>
                </a:lnTo>
                <a:lnTo>
                  <a:pt x="1144" y="3440"/>
                </a:lnTo>
                <a:lnTo>
                  <a:pt x="1139" y="3440"/>
                </a:lnTo>
                <a:lnTo>
                  <a:pt x="1135" y="3443"/>
                </a:lnTo>
                <a:lnTo>
                  <a:pt x="1135" y="3449"/>
                </a:lnTo>
                <a:lnTo>
                  <a:pt x="1127" y="3451"/>
                </a:lnTo>
                <a:lnTo>
                  <a:pt x="1122" y="3458"/>
                </a:lnTo>
                <a:lnTo>
                  <a:pt x="1121" y="3462"/>
                </a:lnTo>
                <a:lnTo>
                  <a:pt x="1115" y="3467"/>
                </a:lnTo>
                <a:lnTo>
                  <a:pt x="1115" y="3474"/>
                </a:lnTo>
                <a:lnTo>
                  <a:pt x="1107" y="3480"/>
                </a:lnTo>
                <a:lnTo>
                  <a:pt x="1102" y="3482"/>
                </a:lnTo>
                <a:lnTo>
                  <a:pt x="1097" y="3482"/>
                </a:lnTo>
                <a:lnTo>
                  <a:pt x="1091" y="3482"/>
                </a:lnTo>
                <a:lnTo>
                  <a:pt x="1086" y="3478"/>
                </a:lnTo>
                <a:lnTo>
                  <a:pt x="1080" y="3478"/>
                </a:lnTo>
                <a:lnTo>
                  <a:pt x="1076" y="3474"/>
                </a:lnTo>
                <a:lnTo>
                  <a:pt x="1070" y="3471"/>
                </a:lnTo>
                <a:lnTo>
                  <a:pt x="1063" y="3473"/>
                </a:lnTo>
                <a:lnTo>
                  <a:pt x="1055" y="3466"/>
                </a:lnTo>
                <a:lnTo>
                  <a:pt x="1055" y="3459"/>
                </a:lnTo>
                <a:lnTo>
                  <a:pt x="1048" y="3459"/>
                </a:lnTo>
                <a:lnTo>
                  <a:pt x="1042" y="3457"/>
                </a:lnTo>
                <a:lnTo>
                  <a:pt x="1038" y="3454"/>
                </a:lnTo>
                <a:lnTo>
                  <a:pt x="1034" y="3454"/>
                </a:lnTo>
                <a:lnTo>
                  <a:pt x="1031" y="3451"/>
                </a:lnTo>
                <a:lnTo>
                  <a:pt x="1023" y="3449"/>
                </a:lnTo>
                <a:lnTo>
                  <a:pt x="1020" y="3451"/>
                </a:lnTo>
                <a:lnTo>
                  <a:pt x="1016" y="3453"/>
                </a:lnTo>
                <a:lnTo>
                  <a:pt x="1013" y="3457"/>
                </a:lnTo>
                <a:lnTo>
                  <a:pt x="1012" y="3457"/>
                </a:lnTo>
                <a:lnTo>
                  <a:pt x="1009" y="3457"/>
                </a:lnTo>
                <a:lnTo>
                  <a:pt x="1008" y="3454"/>
                </a:lnTo>
                <a:lnTo>
                  <a:pt x="1005" y="3454"/>
                </a:lnTo>
                <a:lnTo>
                  <a:pt x="997" y="3459"/>
                </a:lnTo>
                <a:lnTo>
                  <a:pt x="997" y="3463"/>
                </a:lnTo>
                <a:lnTo>
                  <a:pt x="995" y="3463"/>
                </a:lnTo>
                <a:lnTo>
                  <a:pt x="992" y="3466"/>
                </a:lnTo>
                <a:lnTo>
                  <a:pt x="987" y="3463"/>
                </a:lnTo>
                <a:lnTo>
                  <a:pt x="980" y="3471"/>
                </a:lnTo>
                <a:lnTo>
                  <a:pt x="966" y="3476"/>
                </a:lnTo>
                <a:lnTo>
                  <a:pt x="965" y="3479"/>
                </a:lnTo>
                <a:lnTo>
                  <a:pt x="966" y="3482"/>
                </a:lnTo>
                <a:lnTo>
                  <a:pt x="958" y="3486"/>
                </a:lnTo>
                <a:lnTo>
                  <a:pt x="952" y="3484"/>
                </a:lnTo>
                <a:lnTo>
                  <a:pt x="942" y="3484"/>
                </a:lnTo>
                <a:lnTo>
                  <a:pt x="941" y="3488"/>
                </a:lnTo>
                <a:lnTo>
                  <a:pt x="934" y="3490"/>
                </a:lnTo>
                <a:lnTo>
                  <a:pt x="930" y="3486"/>
                </a:lnTo>
                <a:lnTo>
                  <a:pt x="926" y="3486"/>
                </a:lnTo>
                <a:lnTo>
                  <a:pt x="920" y="3490"/>
                </a:lnTo>
                <a:lnTo>
                  <a:pt x="913" y="3490"/>
                </a:lnTo>
                <a:lnTo>
                  <a:pt x="908" y="3490"/>
                </a:lnTo>
                <a:lnTo>
                  <a:pt x="902" y="3500"/>
                </a:lnTo>
                <a:lnTo>
                  <a:pt x="901" y="3504"/>
                </a:lnTo>
                <a:lnTo>
                  <a:pt x="895" y="3507"/>
                </a:lnTo>
                <a:lnTo>
                  <a:pt x="894" y="3511"/>
                </a:lnTo>
                <a:lnTo>
                  <a:pt x="891" y="3512"/>
                </a:lnTo>
                <a:lnTo>
                  <a:pt x="888" y="3512"/>
                </a:lnTo>
                <a:lnTo>
                  <a:pt x="886" y="3508"/>
                </a:lnTo>
                <a:lnTo>
                  <a:pt x="883" y="3508"/>
                </a:lnTo>
                <a:lnTo>
                  <a:pt x="870" y="3508"/>
                </a:lnTo>
                <a:lnTo>
                  <a:pt x="865" y="3511"/>
                </a:lnTo>
                <a:lnTo>
                  <a:pt x="859" y="3515"/>
                </a:lnTo>
                <a:lnTo>
                  <a:pt x="858" y="3520"/>
                </a:lnTo>
                <a:lnTo>
                  <a:pt x="858" y="3523"/>
                </a:lnTo>
                <a:lnTo>
                  <a:pt x="859" y="3528"/>
                </a:lnTo>
                <a:lnTo>
                  <a:pt x="859" y="3533"/>
                </a:lnTo>
                <a:lnTo>
                  <a:pt x="855" y="3537"/>
                </a:lnTo>
                <a:lnTo>
                  <a:pt x="853" y="3538"/>
                </a:lnTo>
                <a:lnTo>
                  <a:pt x="855" y="3542"/>
                </a:lnTo>
                <a:lnTo>
                  <a:pt x="855" y="3545"/>
                </a:lnTo>
                <a:lnTo>
                  <a:pt x="847" y="3548"/>
                </a:lnTo>
                <a:lnTo>
                  <a:pt x="845" y="3550"/>
                </a:lnTo>
                <a:lnTo>
                  <a:pt x="845" y="3553"/>
                </a:lnTo>
                <a:lnTo>
                  <a:pt x="844" y="3557"/>
                </a:lnTo>
                <a:lnTo>
                  <a:pt x="834" y="3559"/>
                </a:lnTo>
                <a:lnTo>
                  <a:pt x="834" y="3565"/>
                </a:lnTo>
                <a:lnTo>
                  <a:pt x="830" y="3569"/>
                </a:lnTo>
                <a:lnTo>
                  <a:pt x="820" y="3570"/>
                </a:lnTo>
                <a:lnTo>
                  <a:pt x="813" y="3573"/>
                </a:lnTo>
                <a:lnTo>
                  <a:pt x="810" y="3582"/>
                </a:lnTo>
                <a:lnTo>
                  <a:pt x="805" y="3587"/>
                </a:lnTo>
                <a:lnTo>
                  <a:pt x="806" y="3591"/>
                </a:lnTo>
                <a:lnTo>
                  <a:pt x="799" y="3598"/>
                </a:lnTo>
                <a:lnTo>
                  <a:pt x="796" y="3599"/>
                </a:lnTo>
                <a:lnTo>
                  <a:pt x="794" y="3598"/>
                </a:lnTo>
                <a:lnTo>
                  <a:pt x="790" y="3598"/>
                </a:lnTo>
                <a:lnTo>
                  <a:pt x="787" y="3602"/>
                </a:lnTo>
                <a:lnTo>
                  <a:pt x="784" y="3605"/>
                </a:lnTo>
                <a:lnTo>
                  <a:pt x="776" y="3609"/>
                </a:lnTo>
                <a:lnTo>
                  <a:pt x="774" y="3615"/>
                </a:lnTo>
                <a:lnTo>
                  <a:pt x="776" y="3619"/>
                </a:lnTo>
                <a:lnTo>
                  <a:pt x="776" y="3621"/>
                </a:lnTo>
                <a:lnTo>
                  <a:pt x="771" y="3627"/>
                </a:lnTo>
                <a:lnTo>
                  <a:pt x="770" y="3627"/>
                </a:lnTo>
                <a:lnTo>
                  <a:pt x="757" y="3627"/>
                </a:lnTo>
                <a:lnTo>
                  <a:pt x="755" y="3631"/>
                </a:lnTo>
                <a:lnTo>
                  <a:pt x="751" y="3631"/>
                </a:lnTo>
                <a:lnTo>
                  <a:pt x="746" y="3624"/>
                </a:lnTo>
                <a:lnTo>
                  <a:pt x="742" y="3623"/>
                </a:lnTo>
                <a:lnTo>
                  <a:pt x="738" y="3619"/>
                </a:lnTo>
                <a:lnTo>
                  <a:pt x="734" y="3616"/>
                </a:lnTo>
                <a:lnTo>
                  <a:pt x="732" y="3616"/>
                </a:lnTo>
                <a:lnTo>
                  <a:pt x="727" y="3617"/>
                </a:lnTo>
                <a:lnTo>
                  <a:pt x="721" y="3615"/>
                </a:lnTo>
                <a:lnTo>
                  <a:pt x="720" y="3612"/>
                </a:lnTo>
                <a:lnTo>
                  <a:pt x="720" y="3605"/>
                </a:lnTo>
                <a:lnTo>
                  <a:pt x="718" y="3604"/>
                </a:lnTo>
                <a:lnTo>
                  <a:pt x="715" y="3602"/>
                </a:lnTo>
                <a:lnTo>
                  <a:pt x="709" y="3602"/>
                </a:lnTo>
                <a:lnTo>
                  <a:pt x="705" y="3592"/>
                </a:lnTo>
                <a:lnTo>
                  <a:pt x="702" y="3590"/>
                </a:lnTo>
                <a:lnTo>
                  <a:pt x="696" y="3587"/>
                </a:lnTo>
                <a:lnTo>
                  <a:pt x="695" y="3587"/>
                </a:lnTo>
                <a:lnTo>
                  <a:pt x="691" y="3586"/>
                </a:lnTo>
                <a:lnTo>
                  <a:pt x="688" y="3587"/>
                </a:lnTo>
                <a:lnTo>
                  <a:pt x="685" y="3587"/>
                </a:lnTo>
                <a:lnTo>
                  <a:pt x="682" y="3587"/>
                </a:lnTo>
                <a:lnTo>
                  <a:pt x="674" y="3592"/>
                </a:lnTo>
                <a:lnTo>
                  <a:pt x="670" y="3592"/>
                </a:lnTo>
                <a:lnTo>
                  <a:pt x="667" y="3595"/>
                </a:lnTo>
                <a:lnTo>
                  <a:pt x="667" y="3598"/>
                </a:lnTo>
                <a:lnTo>
                  <a:pt x="665" y="3602"/>
                </a:lnTo>
                <a:lnTo>
                  <a:pt x="662" y="3615"/>
                </a:lnTo>
                <a:lnTo>
                  <a:pt x="656" y="3619"/>
                </a:lnTo>
                <a:lnTo>
                  <a:pt x="648" y="3620"/>
                </a:lnTo>
                <a:lnTo>
                  <a:pt x="646" y="3623"/>
                </a:lnTo>
                <a:lnTo>
                  <a:pt x="646" y="3627"/>
                </a:lnTo>
                <a:lnTo>
                  <a:pt x="634" y="3631"/>
                </a:lnTo>
                <a:lnTo>
                  <a:pt x="630" y="3631"/>
                </a:lnTo>
                <a:lnTo>
                  <a:pt x="628" y="3628"/>
                </a:lnTo>
                <a:lnTo>
                  <a:pt x="623" y="3631"/>
                </a:lnTo>
                <a:lnTo>
                  <a:pt x="621" y="3631"/>
                </a:lnTo>
                <a:lnTo>
                  <a:pt x="621" y="3628"/>
                </a:lnTo>
                <a:lnTo>
                  <a:pt x="617" y="3627"/>
                </a:lnTo>
                <a:lnTo>
                  <a:pt x="613" y="3631"/>
                </a:lnTo>
                <a:lnTo>
                  <a:pt x="609" y="3632"/>
                </a:lnTo>
                <a:lnTo>
                  <a:pt x="606" y="3632"/>
                </a:lnTo>
                <a:lnTo>
                  <a:pt x="602" y="3624"/>
                </a:lnTo>
                <a:lnTo>
                  <a:pt x="602" y="3619"/>
                </a:lnTo>
                <a:lnTo>
                  <a:pt x="598" y="3616"/>
                </a:lnTo>
                <a:lnTo>
                  <a:pt x="592" y="3615"/>
                </a:lnTo>
                <a:lnTo>
                  <a:pt x="592" y="3609"/>
                </a:lnTo>
                <a:lnTo>
                  <a:pt x="589" y="3609"/>
                </a:lnTo>
                <a:lnTo>
                  <a:pt x="578" y="3612"/>
                </a:lnTo>
                <a:lnTo>
                  <a:pt x="574" y="3609"/>
                </a:lnTo>
                <a:lnTo>
                  <a:pt x="571" y="3609"/>
                </a:lnTo>
                <a:lnTo>
                  <a:pt x="568" y="3614"/>
                </a:lnTo>
                <a:lnTo>
                  <a:pt x="566" y="3614"/>
                </a:lnTo>
                <a:lnTo>
                  <a:pt x="556" y="3619"/>
                </a:lnTo>
                <a:lnTo>
                  <a:pt x="550" y="3619"/>
                </a:lnTo>
                <a:lnTo>
                  <a:pt x="545" y="3616"/>
                </a:lnTo>
                <a:lnTo>
                  <a:pt x="539" y="3617"/>
                </a:lnTo>
                <a:lnTo>
                  <a:pt x="532" y="3616"/>
                </a:lnTo>
                <a:lnTo>
                  <a:pt x="527" y="3617"/>
                </a:lnTo>
                <a:lnTo>
                  <a:pt x="523" y="3620"/>
                </a:lnTo>
                <a:lnTo>
                  <a:pt x="517" y="3620"/>
                </a:lnTo>
                <a:lnTo>
                  <a:pt x="507" y="3623"/>
                </a:lnTo>
                <a:lnTo>
                  <a:pt x="506" y="3624"/>
                </a:lnTo>
                <a:lnTo>
                  <a:pt x="503" y="3627"/>
                </a:lnTo>
                <a:lnTo>
                  <a:pt x="502" y="3623"/>
                </a:lnTo>
                <a:lnTo>
                  <a:pt x="504" y="3582"/>
                </a:lnTo>
                <a:lnTo>
                  <a:pt x="509" y="3570"/>
                </a:lnTo>
                <a:lnTo>
                  <a:pt x="514" y="3561"/>
                </a:lnTo>
                <a:lnTo>
                  <a:pt x="524" y="3553"/>
                </a:lnTo>
                <a:lnTo>
                  <a:pt x="524" y="3541"/>
                </a:lnTo>
                <a:lnTo>
                  <a:pt x="530" y="3508"/>
                </a:lnTo>
                <a:lnTo>
                  <a:pt x="576" y="3480"/>
                </a:lnTo>
                <a:lnTo>
                  <a:pt x="585" y="3437"/>
                </a:lnTo>
                <a:lnTo>
                  <a:pt x="488" y="3378"/>
                </a:lnTo>
                <a:lnTo>
                  <a:pt x="479" y="3378"/>
                </a:lnTo>
                <a:lnTo>
                  <a:pt x="408" y="3378"/>
                </a:lnTo>
                <a:lnTo>
                  <a:pt x="417" y="3268"/>
                </a:lnTo>
                <a:lnTo>
                  <a:pt x="413" y="3213"/>
                </a:lnTo>
                <a:lnTo>
                  <a:pt x="407" y="3212"/>
                </a:lnTo>
                <a:lnTo>
                  <a:pt x="404" y="3209"/>
                </a:lnTo>
                <a:lnTo>
                  <a:pt x="402" y="3201"/>
                </a:lnTo>
                <a:lnTo>
                  <a:pt x="393" y="3196"/>
                </a:lnTo>
                <a:lnTo>
                  <a:pt x="392" y="3189"/>
                </a:lnTo>
                <a:lnTo>
                  <a:pt x="377" y="3179"/>
                </a:lnTo>
                <a:lnTo>
                  <a:pt x="372" y="3170"/>
                </a:lnTo>
                <a:lnTo>
                  <a:pt x="369" y="3168"/>
                </a:lnTo>
                <a:lnTo>
                  <a:pt x="361" y="3164"/>
                </a:lnTo>
                <a:lnTo>
                  <a:pt x="358" y="3164"/>
                </a:lnTo>
                <a:lnTo>
                  <a:pt x="353" y="3168"/>
                </a:lnTo>
                <a:lnTo>
                  <a:pt x="343" y="3168"/>
                </a:lnTo>
                <a:lnTo>
                  <a:pt x="338" y="3167"/>
                </a:lnTo>
                <a:lnTo>
                  <a:pt x="335" y="3163"/>
                </a:lnTo>
                <a:lnTo>
                  <a:pt x="329" y="3160"/>
                </a:lnTo>
                <a:lnTo>
                  <a:pt x="317" y="3160"/>
                </a:lnTo>
                <a:lnTo>
                  <a:pt x="316" y="3159"/>
                </a:lnTo>
                <a:lnTo>
                  <a:pt x="307" y="3156"/>
                </a:lnTo>
                <a:lnTo>
                  <a:pt x="306" y="3155"/>
                </a:lnTo>
                <a:lnTo>
                  <a:pt x="297" y="3152"/>
                </a:lnTo>
                <a:lnTo>
                  <a:pt x="291" y="3151"/>
                </a:lnTo>
                <a:lnTo>
                  <a:pt x="289" y="3150"/>
                </a:lnTo>
                <a:lnTo>
                  <a:pt x="285" y="3150"/>
                </a:lnTo>
                <a:lnTo>
                  <a:pt x="282" y="3145"/>
                </a:lnTo>
                <a:lnTo>
                  <a:pt x="278" y="3144"/>
                </a:lnTo>
                <a:lnTo>
                  <a:pt x="274" y="3140"/>
                </a:lnTo>
                <a:lnTo>
                  <a:pt x="271" y="3092"/>
                </a:lnTo>
                <a:lnTo>
                  <a:pt x="254" y="3085"/>
                </a:lnTo>
                <a:lnTo>
                  <a:pt x="243" y="3078"/>
                </a:lnTo>
                <a:lnTo>
                  <a:pt x="237" y="3077"/>
                </a:lnTo>
                <a:lnTo>
                  <a:pt x="236" y="3075"/>
                </a:lnTo>
                <a:lnTo>
                  <a:pt x="228" y="3070"/>
                </a:lnTo>
                <a:lnTo>
                  <a:pt x="218" y="3063"/>
                </a:lnTo>
                <a:lnTo>
                  <a:pt x="218" y="3061"/>
                </a:lnTo>
                <a:lnTo>
                  <a:pt x="218" y="3059"/>
                </a:lnTo>
                <a:lnTo>
                  <a:pt x="215" y="3057"/>
                </a:lnTo>
                <a:lnTo>
                  <a:pt x="211" y="3052"/>
                </a:lnTo>
                <a:lnTo>
                  <a:pt x="218" y="3018"/>
                </a:lnTo>
                <a:lnTo>
                  <a:pt x="225" y="3005"/>
                </a:lnTo>
                <a:lnTo>
                  <a:pt x="178" y="3002"/>
                </a:lnTo>
                <a:lnTo>
                  <a:pt x="159" y="2986"/>
                </a:lnTo>
                <a:lnTo>
                  <a:pt x="108" y="2940"/>
                </a:lnTo>
                <a:lnTo>
                  <a:pt x="71" y="2909"/>
                </a:lnTo>
                <a:lnTo>
                  <a:pt x="86" y="2857"/>
                </a:lnTo>
                <a:lnTo>
                  <a:pt x="90" y="2853"/>
                </a:lnTo>
                <a:lnTo>
                  <a:pt x="68" y="2823"/>
                </a:lnTo>
                <a:lnTo>
                  <a:pt x="69" y="2822"/>
                </a:lnTo>
                <a:lnTo>
                  <a:pt x="69" y="2820"/>
                </a:lnTo>
                <a:lnTo>
                  <a:pt x="71" y="2819"/>
                </a:lnTo>
                <a:lnTo>
                  <a:pt x="71" y="2816"/>
                </a:lnTo>
                <a:lnTo>
                  <a:pt x="73" y="2812"/>
                </a:lnTo>
                <a:lnTo>
                  <a:pt x="71" y="2808"/>
                </a:lnTo>
                <a:lnTo>
                  <a:pt x="79" y="2808"/>
                </a:lnTo>
                <a:lnTo>
                  <a:pt x="82" y="2799"/>
                </a:lnTo>
                <a:lnTo>
                  <a:pt x="90" y="2794"/>
                </a:lnTo>
                <a:lnTo>
                  <a:pt x="100" y="2792"/>
                </a:lnTo>
                <a:lnTo>
                  <a:pt x="104" y="2790"/>
                </a:lnTo>
                <a:lnTo>
                  <a:pt x="100" y="2786"/>
                </a:lnTo>
                <a:lnTo>
                  <a:pt x="92" y="2782"/>
                </a:lnTo>
                <a:lnTo>
                  <a:pt x="89" y="2777"/>
                </a:lnTo>
                <a:lnTo>
                  <a:pt x="86" y="2773"/>
                </a:lnTo>
                <a:lnTo>
                  <a:pt x="86" y="2764"/>
                </a:lnTo>
                <a:lnTo>
                  <a:pt x="73" y="2733"/>
                </a:lnTo>
                <a:lnTo>
                  <a:pt x="64" y="2725"/>
                </a:lnTo>
                <a:lnTo>
                  <a:pt x="59" y="2710"/>
                </a:lnTo>
                <a:lnTo>
                  <a:pt x="15" y="2666"/>
                </a:lnTo>
                <a:lnTo>
                  <a:pt x="14" y="2658"/>
                </a:lnTo>
                <a:lnTo>
                  <a:pt x="5" y="2657"/>
                </a:lnTo>
                <a:lnTo>
                  <a:pt x="1" y="2651"/>
                </a:lnTo>
                <a:lnTo>
                  <a:pt x="0" y="2648"/>
                </a:lnTo>
                <a:lnTo>
                  <a:pt x="3" y="2642"/>
                </a:lnTo>
                <a:lnTo>
                  <a:pt x="3" y="2636"/>
                </a:lnTo>
                <a:lnTo>
                  <a:pt x="5" y="2634"/>
                </a:lnTo>
                <a:lnTo>
                  <a:pt x="15" y="2633"/>
                </a:lnTo>
                <a:lnTo>
                  <a:pt x="18" y="2630"/>
                </a:lnTo>
                <a:lnTo>
                  <a:pt x="22" y="2629"/>
                </a:lnTo>
                <a:lnTo>
                  <a:pt x="22" y="2625"/>
                </a:lnTo>
                <a:lnTo>
                  <a:pt x="26" y="2621"/>
                </a:lnTo>
                <a:lnTo>
                  <a:pt x="29" y="2617"/>
                </a:lnTo>
                <a:lnTo>
                  <a:pt x="32" y="2616"/>
                </a:lnTo>
                <a:lnTo>
                  <a:pt x="34" y="2616"/>
                </a:lnTo>
                <a:lnTo>
                  <a:pt x="39" y="2613"/>
                </a:lnTo>
                <a:lnTo>
                  <a:pt x="43" y="2613"/>
                </a:lnTo>
                <a:lnTo>
                  <a:pt x="47" y="2612"/>
                </a:lnTo>
                <a:lnTo>
                  <a:pt x="50" y="2613"/>
                </a:lnTo>
                <a:lnTo>
                  <a:pt x="53" y="2613"/>
                </a:lnTo>
                <a:lnTo>
                  <a:pt x="57" y="2613"/>
                </a:lnTo>
                <a:lnTo>
                  <a:pt x="56" y="2611"/>
                </a:lnTo>
                <a:lnTo>
                  <a:pt x="64" y="2605"/>
                </a:lnTo>
                <a:lnTo>
                  <a:pt x="65" y="2601"/>
                </a:lnTo>
                <a:lnTo>
                  <a:pt x="65" y="2595"/>
                </a:lnTo>
                <a:lnTo>
                  <a:pt x="68" y="2591"/>
                </a:lnTo>
                <a:lnTo>
                  <a:pt x="68" y="2583"/>
                </a:lnTo>
                <a:lnTo>
                  <a:pt x="71" y="2581"/>
                </a:lnTo>
                <a:lnTo>
                  <a:pt x="71" y="2576"/>
                </a:lnTo>
                <a:lnTo>
                  <a:pt x="75" y="2573"/>
                </a:lnTo>
                <a:lnTo>
                  <a:pt x="78" y="2573"/>
                </a:lnTo>
                <a:lnTo>
                  <a:pt x="82" y="2571"/>
                </a:lnTo>
                <a:lnTo>
                  <a:pt x="89" y="2568"/>
                </a:lnTo>
                <a:lnTo>
                  <a:pt x="92" y="2573"/>
                </a:lnTo>
                <a:lnTo>
                  <a:pt x="93" y="2576"/>
                </a:lnTo>
                <a:lnTo>
                  <a:pt x="101" y="2576"/>
                </a:lnTo>
                <a:lnTo>
                  <a:pt x="103" y="2573"/>
                </a:lnTo>
                <a:lnTo>
                  <a:pt x="103" y="2568"/>
                </a:lnTo>
                <a:lnTo>
                  <a:pt x="103" y="2564"/>
                </a:lnTo>
                <a:lnTo>
                  <a:pt x="108" y="2564"/>
                </a:lnTo>
                <a:lnTo>
                  <a:pt x="111" y="2563"/>
                </a:lnTo>
                <a:lnTo>
                  <a:pt x="112" y="2567"/>
                </a:lnTo>
                <a:lnTo>
                  <a:pt x="122" y="2564"/>
                </a:lnTo>
                <a:lnTo>
                  <a:pt x="123" y="2561"/>
                </a:lnTo>
                <a:lnTo>
                  <a:pt x="126" y="2558"/>
                </a:lnTo>
                <a:lnTo>
                  <a:pt x="125" y="2554"/>
                </a:lnTo>
                <a:lnTo>
                  <a:pt x="131" y="2550"/>
                </a:lnTo>
                <a:lnTo>
                  <a:pt x="131" y="2549"/>
                </a:lnTo>
                <a:lnTo>
                  <a:pt x="133" y="2546"/>
                </a:lnTo>
                <a:lnTo>
                  <a:pt x="133" y="2542"/>
                </a:lnTo>
                <a:lnTo>
                  <a:pt x="134" y="2542"/>
                </a:lnTo>
                <a:lnTo>
                  <a:pt x="134" y="2545"/>
                </a:lnTo>
                <a:lnTo>
                  <a:pt x="137" y="2542"/>
                </a:lnTo>
                <a:lnTo>
                  <a:pt x="137" y="2539"/>
                </a:lnTo>
                <a:lnTo>
                  <a:pt x="139" y="2539"/>
                </a:lnTo>
                <a:lnTo>
                  <a:pt x="140" y="2541"/>
                </a:lnTo>
                <a:lnTo>
                  <a:pt x="144" y="2542"/>
                </a:lnTo>
                <a:lnTo>
                  <a:pt x="148" y="2542"/>
                </a:lnTo>
                <a:lnTo>
                  <a:pt x="159" y="2539"/>
                </a:lnTo>
                <a:lnTo>
                  <a:pt x="164" y="2536"/>
                </a:lnTo>
                <a:lnTo>
                  <a:pt x="168" y="2534"/>
                </a:lnTo>
                <a:lnTo>
                  <a:pt x="169" y="2531"/>
                </a:lnTo>
                <a:lnTo>
                  <a:pt x="171" y="2524"/>
                </a:lnTo>
                <a:lnTo>
                  <a:pt x="173" y="2520"/>
                </a:lnTo>
                <a:lnTo>
                  <a:pt x="172" y="2514"/>
                </a:lnTo>
                <a:lnTo>
                  <a:pt x="173" y="2512"/>
                </a:lnTo>
                <a:lnTo>
                  <a:pt x="176" y="2512"/>
                </a:lnTo>
                <a:lnTo>
                  <a:pt x="182" y="2524"/>
                </a:lnTo>
                <a:lnTo>
                  <a:pt x="186" y="2528"/>
                </a:lnTo>
                <a:lnTo>
                  <a:pt x="194" y="2531"/>
                </a:lnTo>
                <a:lnTo>
                  <a:pt x="198" y="2531"/>
                </a:lnTo>
                <a:lnTo>
                  <a:pt x="206" y="2530"/>
                </a:lnTo>
                <a:lnTo>
                  <a:pt x="208" y="2528"/>
                </a:lnTo>
                <a:lnTo>
                  <a:pt x="212" y="2520"/>
                </a:lnTo>
                <a:lnTo>
                  <a:pt x="214" y="2520"/>
                </a:lnTo>
                <a:lnTo>
                  <a:pt x="218" y="2520"/>
                </a:lnTo>
                <a:lnTo>
                  <a:pt x="219" y="2522"/>
                </a:lnTo>
                <a:lnTo>
                  <a:pt x="221" y="2524"/>
                </a:lnTo>
                <a:lnTo>
                  <a:pt x="229" y="2520"/>
                </a:lnTo>
                <a:lnTo>
                  <a:pt x="235" y="2522"/>
                </a:lnTo>
                <a:lnTo>
                  <a:pt x="246" y="2537"/>
                </a:lnTo>
                <a:lnTo>
                  <a:pt x="263" y="2549"/>
                </a:lnTo>
                <a:lnTo>
                  <a:pt x="268" y="2556"/>
                </a:lnTo>
                <a:lnTo>
                  <a:pt x="275" y="2559"/>
                </a:lnTo>
                <a:lnTo>
                  <a:pt x="285" y="2567"/>
                </a:lnTo>
                <a:lnTo>
                  <a:pt x="293" y="2568"/>
                </a:lnTo>
                <a:lnTo>
                  <a:pt x="302" y="2568"/>
                </a:lnTo>
                <a:lnTo>
                  <a:pt x="304" y="2567"/>
                </a:lnTo>
                <a:lnTo>
                  <a:pt x="307" y="2564"/>
                </a:lnTo>
                <a:lnTo>
                  <a:pt x="310" y="2558"/>
                </a:lnTo>
                <a:lnTo>
                  <a:pt x="310" y="2554"/>
                </a:lnTo>
                <a:lnTo>
                  <a:pt x="313" y="2546"/>
                </a:lnTo>
                <a:lnTo>
                  <a:pt x="322" y="2539"/>
                </a:lnTo>
                <a:lnTo>
                  <a:pt x="329" y="2530"/>
                </a:lnTo>
                <a:lnTo>
                  <a:pt x="333" y="2528"/>
                </a:lnTo>
                <a:lnTo>
                  <a:pt x="343" y="2526"/>
                </a:lnTo>
                <a:lnTo>
                  <a:pt x="349" y="2520"/>
                </a:lnTo>
                <a:lnTo>
                  <a:pt x="356" y="2518"/>
                </a:lnTo>
                <a:lnTo>
                  <a:pt x="357" y="2516"/>
                </a:lnTo>
                <a:lnTo>
                  <a:pt x="357" y="2508"/>
                </a:lnTo>
                <a:lnTo>
                  <a:pt x="354" y="2491"/>
                </a:lnTo>
                <a:lnTo>
                  <a:pt x="350" y="2477"/>
                </a:lnTo>
                <a:lnTo>
                  <a:pt x="352" y="2463"/>
                </a:lnTo>
                <a:lnTo>
                  <a:pt x="350" y="2452"/>
                </a:lnTo>
                <a:lnTo>
                  <a:pt x="357" y="2421"/>
                </a:lnTo>
                <a:lnTo>
                  <a:pt x="360" y="2416"/>
                </a:lnTo>
                <a:lnTo>
                  <a:pt x="361" y="2410"/>
                </a:lnTo>
                <a:lnTo>
                  <a:pt x="369" y="2399"/>
                </a:lnTo>
                <a:lnTo>
                  <a:pt x="371" y="2393"/>
                </a:lnTo>
                <a:lnTo>
                  <a:pt x="374" y="2389"/>
                </a:lnTo>
                <a:lnTo>
                  <a:pt x="360" y="2370"/>
                </a:lnTo>
                <a:lnTo>
                  <a:pt x="360" y="2367"/>
                </a:lnTo>
                <a:lnTo>
                  <a:pt x="360" y="2352"/>
                </a:lnTo>
                <a:lnTo>
                  <a:pt x="352" y="2343"/>
                </a:lnTo>
                <a:lnTo>
                  <a:pt x="347" y="2335"/>
                </a:lnTo>
                <a:lnTo>
                  <a:pt x="344" y="2326"/>
                </a:lnTo>
                <a:lnTo>
                  <a:pt x="342" y="2322"/>
                </a:lnTo>
                <a:lnTo>
                  <a:pt x="333" y="2318"/>
                </a:lnTo>
                <a:lnTo>
                  <a:pt x="329" y="2317"/>
                </a:lnTo>
                <a:lnTo>
                  <a:pt x="321" y="2314"/>
                </a:lnTo>
                <a:lnTo>
                  <a:pt x="310" y="2309"/>
                </a:lnTo>
                <a:lnTo>
                  <a:pt x="307" y="2303"/>
                </a:lnTo>
                <a:lnTo>
                  <a:pt x="310" y="2300"/>
                </a:lnTo>
                <a:lnTo>
                  <a:pt x="310" y="2296"/>
                </a:lnTo>
                <a:lnTo>
                  <a:pt x="304" y="2288"/>
                </a:lnTo>
                <a:lnTo>
                  <a:pt x="297" y="2283"/>
                </a:lnTo>
                <a:lnTo>
                  <a:pt x="294" y="2272"/>
                </a:lnTo>
                <a:lnTo>
                  <a:pt x="289" y="2272"/>
                </a:lnTo>
                <a:lnTo>
                  <a:pt x="288" y="2268"/>
                </a:lnTo>
                <a:lnTo>
                  <a:pt x="288" y="2265"/>
                </a:lnTo>
                <a:lnTo>
                  <a:pt x="292" y="2265"/>
                </a:lnTo>
                <a:lnTo>
                  <a:pt x="292" y="2264"/>
                </a:lnTo>
                <a:lnTo>
                  <a:pt x="286" y="2264"/>
                </a:lnTo>
                <a:lnTo>
                  <a:pt x="283" y="2261"/>
                </a:lnTo>
                <a:lnTo>
                  <a:pt x="288" y="2259"/>
                </a:lnTo>
                <a:lnTo>
                  <a:pt x="288" y="2253"/>
                </a:lnTo>
                <a:lnTo>
                  <a:pt x="291" y="2252"/>
                </a:lnTo>
                <a:lnTo>
                  <a:pt x="291" y="2253"/>
                </a:lnTo>
                <a:lnTo>
                  <a:pt x="293" y="2253"/>
                </a:lnTo>
                <a:lnTo>
                  <a:pt x="293" y="2250"/>
                </a:lnTo>
                <a:lnTo>
                  <a:pt x="416" y="2251"/>
                </a:lnTo>
                <a:lnTo>
                  <a:pt x="443" y="2251"/>
                </a:lnTo>
                <a:lnTo>
                  <a:pt x="443" y="2086"/>
                </a:lnTo>
                <a:lnTo>
                  <a:pt x="449" y="2060"/>
                </a:lnTo>
                <a:lnTo>
                  <a:pt x="445" y="2059"/>
                </a:lnTo>
                <a:lnTo>
                  <a:pt x="445" y="1974"/>
                </a:lnTo>
                <a:lnTo>
                  <a:pt x="486" y="1861"/>
                </a:lnTo>
                <a:lnTo>
                  <a:pt x="532" y="1731"/>
                </a:lnTo>
                <a:lnTo>
                  <a:pt x="536" y="1726"/>
                </a:lnTo>
                <a:lnTo>
                  <a:pt x="542" y="1726"/>
                </a:lnTo>
                <a:lnTo>
                  <a:pt x="538" y="1723"/>
                </a:lnTo>
                <a:lnTo>
                  <a:pt x="536" y="1719"/>
                </a:lnTo>
                <a:lnTo>
                  <a:pt x="534" y="1716"/>
                </a:lnTo>
                <a:lnTo>
                  <a:pt x="521" y="1707"/>
                </a:lnTo>
                <a:lnTo>
                  <a:pt x="518" y="1712"/>
                </a:lnTo>
                <a:lnTo>
                  <a:pt x="516" y="1708"/>
                </a:lnTo>
                <a:lnTo>
                  <a:pt x="514" y="1707"/>
                </a:lnTo>
                <a:lnTo>
                  <a:pt x="509" y="1707"/>
                </a:lnTo>
                <a:lnTo>
                  <a:pt x="507" y="1708"/>
                </a:lnTo>
                <a:lnTo>
                  <a:pt x="507" y="1712"/>
                </a:lnTo>
                <a:lnTo>
                  <a:pt x="504" y="1714"/>
                </a:lnTo>
                <a:lnTo>
                  <a:pt x="502" y="1712"/>
                </a:lnTo>
                <a:lnTo>
                  <a:pt x="499" y="1708"/>
                </a:lnTo>
                <a:lnTo>
                  <a:pt x="495" y="1703"/>
                </a:lnTo>
                <a:lnTo>
                  <a:pt x="486" y="1699"/>
                </a:lnTo>
                <a:lnTo>
                  <a:pt x="477" y="1689"/>
                </a:lnTo>
                <a:lnTo>
                  <a:pt x="474" y="1689"/>
                </a:lnTo>
                <a:lnTo>
                  <a:pt x="460" y="1680"/>
                </a:lnTo>
                <a:lnTo>
                  <a:pt x="453" y="1678"/>
                </a:lnTo>
                <a:lnTo>
                  <a:pt x="449" y="1672"/>
                </a:lnTo>
                <a:lnTo>
                  <a:pt x="449" y="1667"/>
                </a:lnTo>
                <a:lnTo>
                  <a:pt x="439" y="1663"/>
                </a:lnTo>
                <a:lnTo>
                  <a:pt x="438" y="1662"/>
                </a:lnTo>
                <a:lnTo>
                  <a:pt x="433" y="1650"/>
                </a:lnTo>
                <a:lnTo>
                  <a:pt x="433" y="1641"/>
                </a:lnTo>
                <a:lnTo>
                  <a:pt x="432" y="1636"/>
                </a:lnTo>
                <a:lnTo>
                  <a:pt x="425" y="1622"/>
                </a:lnTo>
                <a:lnTo>
                  <a:pt x="421" y="1621"/>
                </a:lnTo>
                <a:lnTo>
                  <a:pt x="418" y="1620"/>
                </a:lnTo>
                <a:lnTo>
                  <a:pt x="413" y="1602"/>
                </a:lnTo>
                <a:lnTo>
                  <a:pt x="407" y="1600"/>
                </a:lnTo>
                <a:lnTo>
                  <a:pt x="404" y="1596"/>
                </a:lnTo>
                <a:lnTo>
                  <a:pt x="403" y="1595"/>
                </a:lnTo>
                <a:lnTo>
                  <a:pt x="399" y="1599"/>
                </a:lnTo>
                <a:lnTo>
                  <a:pt x="396" y="1599"/>
                </a:lnTo>
                <a:lnTo>
                  <a:pt x="389" y="1597"/>
                </a:lnTo>
                <a:lnTo>
                  <a:pt x="381" y="1592"/>
                </a:lnTo>
                <a:lnTo>
                  <a:pt x="375" y="1599"/>
                </a:lnTo>
                <a:lnTo>
                  <a:pt x="367" y="1599"/>
                </a:lnTo>
                <a:lnTo>
                  <a:pt x="360" y="1588"/>
                </a:lnTo>
                <a:lnTo>
                  <a:pt x="349" y="1584"/>
                </a:lnTo>
                <a:lnTo>
                  <a:pt x="341" y="1576"/>
                </a:lnTo>
                <a:lnTo>
                  <a:pt x="339" y="1574"/>
                </a:lnTo>
                <a:lnTo>
                  <a:pt x="339" y="1568"/>
                </a:lnTo>
                <a:lnTo>
                  <a:pt x="341" y="1565"/>
                </a:lnTo>
                <a:lnTo>
                  <a:pt x="321" y="1554"/>
                </a:lnTo>
                <a:lnTo>
                  <a:pt x="318" y="1551"/>
                </a:lnTo>
                <a:lnTo>
                  <a:pt x="316" y="1550"/>
                </a:lnTo>
                <a:lnTo>
                  <a:pt x="302" y="1539"/>
                </a:lnTo>
                <a:lnTo>
                  <a:pt x="299" y="1539"/>
                </a:lnTo>
                <a:lnTo>
                  <a:pt x="297" y="1542"/>
                </a:lnTo>
                <a:lnTo>
                  <a:pt x="291" y="1539"/>
                </a:lnTo>
                <a:lnTo>
                  <a:pt x="286" y="1534"/>
                </a:lnTo>
                <a:lnTo>
                  <a:pt x="281" y="1532"/>
                </a:lnTo>
                <a:lnTo>
                  <a:pt x="272" y="1517"/>
                </a:lnTo>
                <a:lnTo>
                  <a:pt x="274" y="1512"/>
                </a:lnTo>
                <a:lnTo>
                  <a:pt x="281" y="1501"/>
                </a:lnTo>
                <a:lnTo>
                  <a:pt x="281" y="1497"/>
                </a:lnTo>
                <a:lnTo>
                  <a:pt x="285" y="1487"/>
                </a:lnTo>
                <a:lnTo>
                  <a:pt x="285" y="1483"/>
                </a:lnTo>
                <a:lnTo>
                  <a:pt x="282" y="1477"/>
                </a:lnTo>
                <a:lnTo>
                  <a:pt x="278" y="1456"/>
                </a:lnTo>
                <a:lnTo>
                  <a:pt x="282" y="1453"/>
                </a:lnTo>
                <a:lnTo>
                  <a:pt x="307" y="1450"/>
                </a:lnTo>
                <a:lnTo>
                  <a:pt x="313" y="1448"/>
                </a:lnTo>
                <a:lnTo>
                  <a:pt x="314" y="1446"/>
                </a:lnTo>
                <a:lnTo>
                  <a:pt x="316" y="1442"/>
                </a:lnTo>
                <a:lnTo>
                  <a:pt x="314" y="1411"/>
                </a:lnTo>
                <a:lnTo>
                  <a:pt x="316" y="1400"/>
                </a:lnTo>
                <a:lnTo>
                  <a:pt x="316" y="1384"/>
                </a:lnTo>
                <a:lnTo>
                  <a:pt x="318" y="1384"/>
                </a:lnTo>
                <a:lnTo>
                  <a:pt x="331" y="1389"/>
                </a:lnTo>
                <a:lnTo>
                  <a:pt x="344" y="1389"/>
                </a:lnTo>
                <a:lnTo>
                  <a:pt x="361" y="1385"/>
                </a:lnTo>
                <a:lnTo>
                  <a:pt x="374" y="1378"/>
                </a:lnTo>
                <a:lnTo>
                  <a:pt x="375" y="1378"/>
                </a:lnTo>
                <a:lnTo>
                  <a:pt x="382" y="1375"/>
                </a:lnTo>
                <a:lnTo>
                  <a:pt x="388" y="1383"/>
                </a:lnTo>
                <a:lnTo>
                  <a:pt x="392" y="1381"/>
                </a:lnTo>
                <a:lnTo>
                  <a:pt x="393" y="1385"/>
                </a:lnTo>
                <a:lnTo>
                  <a:pt x="394" y="1388"/>
                </a:lnTo>
                <a:lnTo>
                  <a:pt x="396" y="1386"/>
                </a:lnTo>
                <a:lnTo>
                  <a:pt x="397" y="1385"/>
                </a:lnTo>
                <a:lnTo>
                  <a:pt x="403" y="1383"/>
                </a:lnTo>
                <a:lnTo>
                  <a:pt x="402" y="1378"/>
                </a:lnTo>
                <a:lnTo>
                  <a:pt x="396" y="1375"/>
                </a:lnTo>
                <a:lnTo>
                  <a:pt x="393" y="1367"/>
                </a:lnTo>
                <a:lnTo>
                  <a:pt x="389" y="1365"/>
                </a:lnTo>
                <a:lnTo>
                  <a:pt x="391" y="1356"/>
                </a:lnTo>
                <a:lnTo>
                  <a:pt x="388" y="1352"/>
                </a:lnTo>
                <a:lnTo>
                  <a:pt x="389" y="1348"/>
                </a:lnTo>
                <a:lnTo>
                  <a:pt x="388" y="1343"/>
                </a:lnTo>
                <a:lnTo>
                  <a:pt x="392" y="1339"/>
                </a:lnTo>
                <a:lnTo>
                  <a:pt x="388" y="1336"/>
                </a:lnTo>
                <a:lnTo>
                  <a:pt x="386" y="1328"/>
                </a:lnTo>
                <a:lnTo>
                  <a:pt x="377" y="1326"/>
                </a:lnTo>
                <a:lnTo>
                  <a:pt x="381" y="1322"/>
                </a:lnTo>
                <a:lnTo>
                  <a:pt x="379" y="1311"/>
                </a:lnTo>
                <a:lnTo>
                  <a:pt x="383" y="1307"/>
                </a:lnTo>
                <a:lnTo>
                  <a:pt x="379" y="1303"/>
                </a:lnTo>
                <a:lnTo>
                  <a:pt x="385" y="1298"/>
                </a:lnTo>
                <a:lnTo>
                  <a:pt x="382" y="1293"/>
                </a:lnTo>
                <a:lnTo>
                  <a:pt x="379" y="1292"/>
                </a:lnTo>
                <a:lnTo>
                  <a:pt x="375" y="1294"/>
                </a:lnTo>
                <a:lnTo>
                  <a:pt x="374" y="1302"/>
                </a:lnTo>
                <a:lnTo>
                  <a:pt x="368" y="1303"/>
                </a:lnTo>
                <a:lnTo>
                  <a:pt x="364" y="1303"/>
                </a:lnTo>
                <a:lnTo>
                  <a:pt x="360" y="1298"/>
                </a:lnTo>
                <a:lnTo>
                  <a:pt x="360" y="1296"/>
                </a:lnTo>
                <a:lnTo>
                  <a:pt x="363" y="1294"/>
                </a:lnTo>
                <a:lnTo>
                  <a:pt x="364" y="1289"/>
                </a:lnTo>
                <a:lnTo>
                  <a:pt x="363" y="1277"/>
                </a:lnTo>
                <a:lnTo>
                  <a:pt x="371" y="1269"/>
                </a:lnTo>
                <a:lnTo>
                  <a:pt x="369" y="1268"/>
                </a:lnTo>
                <a:lnTo>
                  <a:pt x="363" y="1268"/>
                </a:lnTo>
                <a:lnTo>
                  <a:pt x="357" y="1261"/>
                </a:lnTo>
                <a:lnTo>
                  <a:pt x="357" y="1255"/>
                </a:lnTo>
                <a:lnTo>
                  <a:pt x="354" y="1251"/>
                </a:lnTo>
                <a:lnTo>
                  <a:pt x="356" y="1246"/>
                </a:lnTo>
                <a:lnTo>
                  <a:pt x="356" y="1236"/>
                </a:lnTo>
                <a:lnTo>
                  <a:pt x="352" y="1232"/>
                </a:lnTo>
                <a:lnTo>
                  <a:pt x="350" y="1231"/>
                </a:lnTo>
                <a:lnTo>
                  <a:pt x="354" y="1224"/>
                </a:lnTo>
                <a:lnTo>
                  <a:pt x="354" y="1220"/>
                </a:lnTo>
                <a:lnTo>
                  <a:pt x="357" y="1217"/>
                </a:lnTo>
                <a:lnTo>
                  <a:pt x="357" y="1210"/>
                </a:lnTo>
                <a:lnTo>
                  <a:pt x="356" y="1206"/>
                </a:lnTo>
                <a:lnTo>
                  <a:pt x="353" y="1202"/>
                </a:lnTo>
                <a:lnTo>
                  <a:pt x="352" y="1202"/>
                </a:lnTo>
                <a:lnTo>
                  <a:pt x="344" y="1205"/>
                </a:lnTo>
                <a:lnTo>
                  <a:pt x="339" y="1198"/>
                </a:lnTo>
                <a:lnTo>
                  <a:pt x="339" y="1195"/>
                </a:lnTo>
                <a:lnTo>
                  <a:pt x="344" y="1192"/>
                </a:lnTo>
                <a:lnTo>
                  <a:pt x="344" y="1187"/>
                </a:lnTo>
                <a:lnTo>
                  <a:pt x="349" y="1186"/>
                </a:lnTo>
                <a:lnTo>
                  <a:pt x="356" y="1184"/>
                </a:lnTo>
                <a:lnTo>
                  <a:pt x="361" y="1182"/>
                </a:lnTo>
                <a:lnTo>
                  <a:pt x="367" y="1173"/>
                </a:lnTo>
                <a:lnTo>
                  <a:pt x="369" y="1157"/>
                </a:lnTo>
                <a:lnTo>
                  <a:pt x="375" y="1153"/>
                </a:lnTo>
                <a:lnTo>
                  <a:pt x="385" y="1149"/>
                </a:lnTo>
                <a:lnTo>
                  <a:pt x="393" y="1143"/>
                </a:lnTo>
                <a:lnTo>
                  <a:pt x="411" y="1142"/>
                </a:lnTo>
                <a:lnTo>
                  <a:pt x="417" y="1137"/>
                </a:lnTo>
                <a:lnTo>
                  <a:pt x="432" y="1103"/>
                </a:lnTo>
                <a:lnTo>
                  <a:pt x="447" y="1081"/>
                </a:lnTo>
                <a:lnTo>
                  <a:pt x="454" y="1063"/>
                </a:lnTo>
                <a:lnTo>
                  <a:pt x="456" y="1068"/>
                </a:lnTo>
                <a:lnTo>
                  <a:pt x="478" y="1072"/>
                </a:lnTo>
                <a:lnTo>
                  <a:pt x="486" y="1072"/>
                </a:lnTo>
                <a:lnTo>
                  <a:pt x="495" y="1074"/>
                </a:lnTo>
                <a:lnTo>
                  <a:pt x="499" y="1068"/>
                </a:lnTo>
                <a:lnTo>
                  <a:pt x="502" y="1066"/>
                </a:lnTo>
                <a:lnTo>
                  <a:pt x="506" y="1066"/>
                </a:lnTo>
                <a:lnTo>
                  <a:pt x="517" y="1070"/>
                </a:lnTo>
                <a:lnTo>
                  <a:pt x="518" y="1074"/>
                </a:lnTo>
                <a:lnTo>
                  <a:pt x="516" y="1081"/>
                </a:lnTo>
                <a:lnTo>
                  <a:pt x="520" y="1082"/>
                </a:lnTo>
                <a:lnTo>
                  <a:pt x="521" y="1086"/>
                </a:lnTo>
                <a:lnTo>
                  <a:pt x="518" y="1093"/>
                </a:lnTo>
                <a:lnTo>
                  <a:pt x="518" y="1094"/>
                </a:lnTo>
                <a:lnTo>
                  <a:pt x="520" y="1097"/>
                </a:lnTo>
                <a:lnTo>
                  <a:pt x="534" y="1100"/>
                </a:lnTo>
                <a:lnTo>
                  <a:pt x="535" y="1108"/>
                </a:lnTo>
                <a:lnTo>
                  <a:pt x="531" y="1112"/>
                </a:lnTo>
                <a:lnTo>
                  <a:pt x="530" y="1116"/>
                </a:lnTo>
                <a:lnTo>
                  <a:pt x="530" y="1119"/>
                </a:lnTo>
                <a:lnTo>
                  <a:pt x="534" y="1119"/>
                </a:lnTo>
                <a:lnTo>
                  <a:pt x="535" y="1120"/>
                </a:lnTo>
                <a:lnTo>
                  <a:pt x="536" y="1128"/>
                </a:lnTo>
                <a:lnTo>
                  <a:pt x="538" y="1131"/>
                </a:lnTo>
                <a:lnTo>
                  <a:pt x="542" y="1135"/>
                </a:lnTo>
                <a:lnTo>
                  <a:pt x="542" y="1143"/>
                </a:lnTo>
                <a:lnTo>
                  <a:pt x="543" y="1145"/>
                </a:lnTo>
                <a:lnTo>
                  <a:pt x="546" y="1147"/>
                </a:lnTo>
                <a:lnTo>
                  <a:pt x="552" y="1142"/>
                </a:lnTo>
                <a:lnTo>
                  <a:pt x="556" y="1143"/>
                </a:lnTo>
                <a:lnTo>
                  <a:pt x="566" y="1157"/>
                </a:lnTo>
                <a:lnTo>
                  <a:pt x="574" y="1161"/>
                </a:lnTo>
                <a:lnTo>
                  <a:pt x="577" y="1168"/>
                </a:lnTo>
                <a:lnTo>
                  <a:pt x="588" y="1175"/>
                </a:lnTo>
                <a:lnTo>
                  <a:pt x="593" y="1178"/>
                </a:lnTo>
                <a:lnTo>
                  <a:pt x="602" y="1178"/>
                </a:lnTo>
                <a:lnTo>
                  <a:pt x="616" y="1173"/>
                </a:lnTo>
                <a:lnTo>
                  <a:pt x="638" y="1130"/>
                </a:lnTo>
                <a:lnTo>
                  <a:pt x="646" y="1120"/>
                </a:lnTo>
                <a:lnTo>
                  <a:pt x="652" y="1119"/>
                </a:lnTo>
                <a:lnTo>
                  <a:pt x="656" y="1120"/>
                </a:lnTo>
                <a:lnTo>
                  <a:pt x="660" y="1120"/>
                </a:lnTo>
                <a:lnTo>
                  <a:pt x="667" y="1124"/>
                </a:lnTo>
                <a:lnTo>
                  <a:pt x="667" y="1127"/>
                </a:lnTo>
                <a:lnTo>
                  <a:pt x="671" y="1131"/>
                </a:lnTo>
                <a:lnTo>
                  <a:pt x="674" y="1131"/>
                </a:lnTo>
                <a:lnTo>
                  <a:pt x="678" y="1131"/>
                </a:lnTo>
                <a:lnTo>
                  <a:pt x="681" y="1135"/>
                </a:lnTo>
                <a:lnTo>
                  <a:pt x="684" y="1135"/>
                </a:lnTo>
                <a:lnTo>
                  <a:pt x="685" y="1133"/>
                </a:lnTo>
                <a:lnTo>
                  <a:pt x="691" y="1133"/>
                </a:lnTo>
                <a:lnTo>
                  <a:pt x="695" y="1135"/>
                </a:lnTo>
                <a:lnTo>
                  <a:pt x="698" y="1142"/>
                </a:lnTo>
                <a:lnTo>
                  <a:pt x="699" y="1142"/>
                </a:lnTo>
                <a:lnTo>
                  <a:pt x="724" y="1032"/>
                </a:lnTo>
                <a:lnTo>
                  <a:pt x="728" y="1025"/>
                </a:lnTo>
                <a:lnTo>
                  <a:pt x="726" y="1011"/>
                </a:lnTo>
                <a:lnTo>
                  <a:pt x="723" y="993"/>
                </a:lnTo>
                <a:lnTo>
                  <a:pt x="720" y="978"/>
                </a:lnTo>
                <a:lnTo>
                  <a:pt x="721" y="970"/>
                </a:lnTo>
                <a:lnTo>
                  <a:pt x="712" y="951"/>
                </a:lnTo>
                <a:lnTo>
                  <a:pt x="706" y="948"/>
                </a:lnTo>
                <a:lnTo>
                  <a:pt x="730" y="917"/>
                </a:lnTo>
                <a:lnTo>
                  <a:pt x="727" y="917"/>
                </a:lnTo>
                <a:lnTo>
                  <a:pt x="726" y="914"/>
                </a:lnTo>
                <a:lnTo>
                  <a:pt x="723" y="913"/>
                </a:lnTo>
                <a:lnTo>
                  <a:pt x="717" y="907"/>
                </a:lnTo>
                <a:lnTo>
                  <a:pt x="717" y="899"/>
                </a:lnTo>
                <a:lnTo>
                  <a:pt x="716" y="899"/>
                </a:lnTo>
                <a:lnTo>
                  <a:pt x="718" y="899"/>
                </a:lnTo>
                <a:lnTo>
                  <a:pt x="718" y="898"/>
                </a:lnTo>
                <a:lnTo>
                  <a:pt x="713" y="895"/>
                </a:lnTo>
                <a:lnTo>
                  <a:pt x="712" y="895"/>
                </a:lnTo>
                <a:lnTo>
                  <a:pt x="707" y="895"/>
                </a:lnTo>
                <a:lnTo>
                  <a:pt x="705" y="888"/>
                </a:lnTo>
                <a:lnTo>
                  <a:pt x="699" y="884"/>
                </a:lnTo>
                <a:lnTo>
                  <a:pt x="695" y="884"/>
                </a:lnTo>
                <a:lnTo>
                  <a:pt x="690" y="876"/>
                </a:lnTo>
                <a:lnTo>
                  <a:pt x="688" y="876"/>
                </a:lnTo>
                <a:lnTo>
                  <a:pt x="688" y="875"/>
                </a:lnTo>
                <a:lnTo>
                  <a:pt x="690" y="872"/>
                </a:lnTo>
                <a:lnTo>
                  <a:pt x="688" y="870"/>
                </a:lnTo>
                <a:lnTo>
                  <a:pt x="680" y="869"/>
                </a:lnTo>
                <a:lnTo>
                  <a:pt x="673" y="871"/>
                </a:lnTo>
                <a:lnTo>
                  <a:pt x="670" y="867"/>
                </a:lnTo>
                <a:lnTo>
                  <a:pt x="666" y="866"/>
                </a:lnTo>
                <a:lnTo>
                  <a:pt x="666" y="862"/>
                </a:lnTo>
                <a:lnTo>
                  <a:pt x="663" y="862"/>
                </a:lnTo>
                <a:lnTo>
                  <a:pt x="653" y="864"/>
                </a:lnTo>
                <a:lnTo>
                  <a:pt x="643" y="862"/>
                </a:lnTo>
                <a:lnTo>
                  <a:pt x="652" y="836"/>
                </a:lnTo>
                <a:lnTo>
                  <a:pt x="653" y="822"/>
                </a:lnTo>
                <a:lnTo>
                  <a:pt x="657" y="808"/>
                </a:lnTo>
                <a:lnTo>
                  <a:pt x="659" y="795"/>
                </a:lnTo>
                <a:lnTo>
                  <a:pt x="662" y="785"/>
                </a:lnTo>
                <a:lnTo>
                  <a:pt x="660" y="775"/>
                </a:lnTo>
                <a:lnTo>
                  <a:pt x="663" y="763"/>
                </a:lnTo>
                <a:lnTo>
                  <a:pt x="659" y="753"/>
                </a:lnTo>
                <a:lnTo>
                  <a:pt x="659" y="746"/>
                </a:lnTo>
                <a:lnTo>
                  <a:pt x="657" y="742"/>
                </a:lnTo>
                <a:lnTo>
                  <a:pt x="627" y="724"/>
                </a:lnTo>
                <a:lnTo>
                  <a:pt x="624" y="722"/>
                </a:lnTo>
                <a:lnTo>
                  <a:pt x="624" y="718"/>
                </a:lnTo>
                <a:lnTo>
                  <a:pt x="627" y="678"/>
                </a:lnTo>
                <a:lnTo>
                  <a:pt x="626" y="671"/>
                </a:lnTo>
                <a:lnTo>
                  <a:pt x="606" y="641"/>
                </a:lnTo>
                <a:lnTo>
                  <a:pt x="635" y="581"/>
                </a:lnTo>
                <a:lnTo>
                  <a:pt x="643" y="559"/>
                </a:lnTo>
                <a:lnTo>
                  <a:pt x="656" y="510"/>
                </a:lnTo>
                <a:lnTo>
                  <a:pt x="657" y="497"/>
                </a:lnTo>
                <a:lnTo>
                  <a:pt x="651" y="486"/>
                </a:lnTo>
                <a:lnTo>
                  <a:pt x="645" y="472"/>
                </a:lnTo>
                <a:lnTo>
                  <a:pt x="645" y="469"/>
                </a:lnTo>
                <a:lnTo>
                  <a:pt x="649" y="457"/>
                </a:lnTo>
                <a:lnTo>
                  <a:pt x="659" y="417"/>
                </a:lnTo>
                <a:lnTo>
                  <a:pt x="660" y="401"/>
                </a:lnTo>
                <a:lnTo>
                  <a:pt x="674" y="386"/>
                </a:lnTo>
                <a:lnTo>
                  <a:pt x="681" y="376"/>
                </a:lnTo>
                <a:lnTo>
                  <a:pt x="680" y="372"/>
                </a:lnTo>
                <a:lnTo>
                  <a:pt x="678" y="368"/>
                </a:lnTo>
                <a:lnTo>
                  <a:pt x="673" y="364"/>
                </a:lnTo>
                <a:lnTo>
                  <a:pt x="668" y="364"/>
                </a:lnTo>
                <a:lnTo>
                  <a:pt x="667" y="364"/>
                </a:lnTo>
                <a:lnTo>
                  <a:pt x="666" y="360"/>
                </a:lnTo>
                <a:lnTo>
                  <a:pt x="665" y="356"/>
                </a:lnTo>
                <a:lnTo>
                  <a:pt x="652" y="352"/>
                </a:lnTo>
                <a:lnTo>
                  <a:pt x="635" y="344"/>
                </a:lnTo>
                <a:lnTo>
                  <a:pt x="709" y="210"/>
                </a:lnTo>
                <a:lnTo>
                  <a:pt x="745" y="185"/>
                </a:lnTo>
                <a:lnTo>
                  <a:pt x="773" y="181"/>
                </a:lnTo>
                <a:lnTo>
                  <a:pt x="798" y="175"/>
                </a:lnTo>
                <a:lnTo>
                  <a:pt x="820" y="169"/>
                </a:lnTo>
                <a:lnTo>
                  <a:pt x="873" y="153"/>
                </a:lnTo>
                <a:lnTo>
                  <a:pt x="901" y="102"/>
                </a:lnTo>
                <a:lnTo>
                  <a:pt x="906" y="94"/>
                </a:lnTo>
                <a:lnTo>
                  <a:pt x="909" y="87"/>
                </a:lnTo>
                <a:lnTo>
                  <a:pt x="913" y="78"/>
                </a:lnTo>
                <a:lnTo>
                  <a:pt x="925" y="59"/>
                </a:lnTo>
                <a:lnTo>
                  <a:pt x="926" y="57"/>
                </a:lnTo>
                <a:lnTo>
                  <a:pt x="911" y="57"/>
                </a:lnTo>
                <a:lnTo>
                  <a:pt x="903" y="56"/>
                </a:lnTo>
                <a:lnTo>
                  <a:pt x="902" y="42"/>
                </a:lnTo>
                <a:lnTo>
                  <a:pt x="905" y="34"/>
                </a:lnTo>
                <a:lnTo>
                  <a:pt x="911" y="33"/>
                </a:lnTo>
                <a:lnTo>
                  <a:pt x="913" y="31"/>
                </a:lnTo>
                <a:lnTo>
                  <a:pt x="923" y="19"/>
                </a:lnTo>
                <a:lnTo>
                  <a:pt x="925" y="12"/>
                </a:lnTo>
                <a:lnTo>
                  <a:pt x="930" y="0"/>
                </a:lnTo>
                <a:lnTo>
                  <a:pt x="931" y="4"/>
                </a:lnTo>
                <a:lnTo>
                  <a:pt x="936" y="8"/>
                </a:lnTo>
                <a:lnTo>
                  <a:pt x="950" y="7"/>
                </a:lnTo>
                <a:lnTo>
                  <a:pt x="972" y="20"/>
                </a:lnTo>
                <a:lnTo>
                  <a:pt x="976" y="27"/>
                </a:lnTo>
                <a:lnTo>
                  <a:pt x="977" y="33"/>
                </a:lnTo>
                <a:lnTo>
                  <a:pt x="981" y="39"/>
                </a:lnTo>
                <a:lnTo>
                  <a:pt x="990" y="42"/>
                </a:lnTo>
                <a:lnTo>
                  <a:pt x="997" y="57"/>
                </a:lnTo>
                <a:lnTo>
                  <a:pt x="1008" y="65"/>
                </a:lnTo>
                <a:lnTo>
                  <a:pt x="1036" y="78"/>
                </a:lnTo>
                <a:lnTo>
                  <a:pt x="1050" y="78"/>
                </a:lnTo>
                <a:lnTo>
                  <a:pt x="1068" y="82"/>
                </a:lnTo>
                <a:lnTo>
                  <a:pt x="1077" y="83"/>
                </a:lnTo>
                <a:lnTo>
                  <a:pt x="1090" y="91"/>
                </a:lnTo>
                <a:lnTo>
                  <a:pt x="1112" y="94"/>
                </a:lnTo>
                <a:lnTo>
                  <a:pt x="1121" y="102"/>
                </a:lnTo>
                <a:lnTo>
                  <a:pt x="1129" y="106"/>
                </a:lnTo>
                <a:lnTo>
                  <a:pt x="1135" y="112"/>
                </a:lnTo>
                <a:lnTo>
                  <a:pt x="1144" y="114"/>
                </a:lnTo>
                <a:lnTo>
                  <a:pt x="1146" y="119"/>
                </a:lnTo>
                <a:lnTo>
                  <a:pt x="1144" y="124"/>
                </a:lnTo>
                <a:lnTo>
                  <a:pt x="1146" y="128"/>
                </a:lnTo>
                <a:lnTo>
                  <a:pt x="1147" y="143"/>
                </a:lnTo>
                <a:lnTo>
                  <a:pt x="1150" y="146"/>
                </a:lnTo>
                <a:lnTo>
                  <a:pt x="1157" y="150"/>
                </a:lnTo>
                <a:lnTo>
                  <a:pt x="1160" y="153"/>
                </a:lnTo>
                <a:lnTo>
                  <a:pt x="1166" y="158"/>
                </a:lnTo>
                <a:lnTo>
                  <a:pt x="1173" y="171"/>
                </a:lnTo>
                <a:lnTo>
                  <a:pt x="1180" y="175"/>
                </a:lnTo>
                <a:lnTo>
                  <a:pt x="1182" y="181"/>
                </a:lnTo>
                <a:lnTo>
                  <a:pt x="1180" y="187"/>
                </a:lnTo>
                <a:lnTo>
                  <a:pt x="1182" y="190"/>
                </a:lnTo>
                <a:lnTo>
                  <a:pt x="1193" y="191"/>
                </a:lnTo>
                <a:lnTo>
                  <a:pt x="1210" y="202"/>
                </a:lnTo>
                <a:lnTo>
                  <a:pt x="1215" y="207"/>
                </a:lnTo>
                <a:lnTo>
                  <a:pt x="1216" y="211"/>
                </a:lnTo>
                <a:lnTo>
                  <a:pt x="1218" y="225"/>
                </a:lnTo>
                <a:lnTo>
                  <a:pt x="1212" y="239"/>
                </a:lnTo>
                <a:lnTo>
                  <a:pt x="1212" y="244"/>
                </a:lnTo>
                <a:lnTo>
                  <a:pt x="1214" y="248"/>
                </a:lnTo>
                <a:lnTo>
                  <a:pt x="1219" y="252"/>
                </a:lnTo>
                <a:lnTo>
                  <a:pt x="1222" y="258"/>
                </a:lnTo>
                <a:lnTo>
                  <a:pt x="1229" y="262"/>
                </a:lnTo>
                <a:lnTo>
                  <a:pt x="1232" y="266"/>
                </a:lnTo>
                <a:lnTo>
                  <a:pt x="1229" y="281"/>
                </a:lnTo>
                <a:lnTo>
                  <a:pt x="1230" y="287"/>
                </a:lnTo>
                <a:lnTo>
                  <a:pt x="1235" y="293"/>
                </a:lnTo>
                <a:lnTo>
                  <a:pt x="1243" y="300"/>
                </a:lnTo>
                <a:lnTo>
                  <a:pt x="1246" y="305"/>
                </a:lnTo>
                <a:lnTo>
                  <a:pt x="1246" y="310"/>
                </a:lnTo>
                <a:lnTo>
                  <a:pt x="1243" y="325"/>
                </a:lnTo>
                <a:lnTo>
                  <a:pt x="1243" y="332"/>
                </a:lnTo>
                <a:lnTo>
                  <a:pt x="1264" y="356"/>
                </a:lnTo>
                <a:lnTo>
                  <a:pt x="1269" y="372"/>
                </a:lnTo>
                <a:lnTo>
                  <a:pt x="1280" y="382"/>
                </a:lnTo>
                <a:lnTo>
                  <a:pt x="1282" y="386"/>
                </a:lnTo>
                <a:lnTo>
                  <a:pt x="1282" y="399"/>
                </a:lnTo>
                <a:lnTo>
                  <a:pt x="1286" y="423"/>
                </a:lnTo>
                <a:lnTo>
                  <a:pt x="1289" y="434"/>
                </a:lnTo>
                <a:lnTo>
                  <a:pt x="1297" y="447"/>
                </a:lnTo>
                <a:lnTo>
                  <a:pt x="1300" y="454"/>
                </a:lnTo>
                <a:lnTo>
                  <a:pt x="1302" y="461"/>
                </a:lnTo>
                <a:lnTo>
                  <a:pt x="1308" y="468"/>
                </a:lnTo>
                <a:lnTo>
                  <a:pt x="1312" y="469"/>
                </a:lnTo>
                <a:lnTo>
                  <a:pt x="1328" y="471"/>
                </a:lnTo>
                <a:lnTo>
                  <a:pt x="1333" y="476"/>
                </a:lnTo>
                <a:lnTo>
                  <a:pt x="1340" y="492"/>
                </a:lnTo>
                <a:lnTo>
                  <a:pt x="1346" y="501"/>
                </a:lnTo>
                <a:lnTo>
                  <a:pt x="1347" y="505"/>
                </a:lnTo>
                <a:lnTo>
                  <a:pt x="1349" y="529"/>
                </a:lnTo>
                <a:lnTo>
                  <a:pt x="1354" y="536"/>
                </a:lnTo>
                <a:lnTo>
                  <a:pt x="1357" y="541"/>
                </a:lnTo>
                <a:lnTo>
                  <a:pt x="1374" y="555"/>
                </a:lnTo>
                <a:lnTo>
                  <a:pt x="1378" y="563"/>
                </a:lnTo>
                <a:lnTo>
                  <a:pt x="1382" y="572"/>
                </a:lnTo>
                <a:lnTo>
                  <a:pt x="1381" y="578"/>
                </a:lnTo>
                <a:lnTo>
                  <a:pt x="1378" y="584"/>
                </a:lnTo>
                <a:lnTo>
                  <a:pt x="1381" y="592"/>
                </a:lnTo>
                <a:lnTo>
                  <a:pt x="1390" y="606"/>
                </a:lnTo>
                <a:lnTo>
                  <a:pt x="1395" y="609"/>
                </a:lnTo>
                <a:lnTo>
                  <a:pt x="1414" y="614"/>
                </a:lnTo>
                <a:lnTo>
                  <a:pt x="1417" y="618"/>
                </a:lnTo>
                <a:lnTo>
                  <a:pt x="1418" y="621"/>
                </a:lnTo>
                <a:lnTo>
                  <a:pt x="1424" y="639"/>
                </a:lnTo>
                <a:lnTo>
                  <a:pt x="1426" y="645"/>
                </a:lnTo>
                <a:lnTo>
                  <a:pt x="1431" y="648"/>
                </a:lnTo>
                <a:lnTo>
                  <a:pt x="1437" y="653"/>
                </a:lnTo>
                <a:lnTo>
                  <a:pt x="1445" y="658"/>
                </a:lnTo>
                <a:lnTo>
                  <a:pt x="1446" y="663"/>
                </a:lnTo>
                <a:lnTo>
                  <a:pt x="1446" y="667"/>
                </a:lnTo>
                <a:lnTo>
                  <a:pt x="1440" y="679"/>
                </a:lnTo>
                <a:lnTo>
                  <a:pt x="1442" y="689"/>
                </a:lnTo>
                <a:lnTo>
                  <a:pt x="1465" y="708"/>
                </a:lnTo>
                <a:lnTo>
                  <a:pt x="1475" y="712"/>
                </a:lnTo>
                <a:lnTo>
                  <a:pt x="1487" y="718"/>
                </a:lnTo>
                <a:lnTo>
                  <a:pt x="1492" y="718"/>
                </a:lnTo>
                <a:lnTo>
                  <a:pt x="1497" y="712"/>
                </a:lnTo>
                <a:lnTo>
                  <a:pt x="1504" y="710"/>
                </a:lnTo>
                <a:lnTo>
                  <a:pt x="1510" y="712"/>
                </a:lnTo>
                <a:lnTo>
                  <a:pt x="1515" y="714"/>
                </a:lnTo>
                <a:lnTo>
                  <a:pt x="1526" y="722"/>
                </a:lnTo>
                <a:lnTo>
                  <a:pt x="1534" y="724"/>
                </a:lnTo>
                <a:lnTo>
                  <a:pt x="1551" y="726"/>
                </a:lnTo>
                <a:lnTo>
                  <a:pt x="1557" y="722"/>
                </a:lnTo>
                <a:lnTo>
                  <a:pt x="1564" y="718"/>
                </a:lnTo>
                <a:lnTo>
                  <a:pt x="1571" y="718"/>
                </a:lnTo>
                <a:lnTo>
                  <a:pt x="1575" y="720"/>
                </a:lnTo>
                <a:lnTo>
                  <a:pt x="1578" y="722"/>
                </a:lnTo>
                <a:lnTo>
                  <a:pt x="1584" y="733"/>
                </a:lnTo>
                <a:lnTo>
                  <a:pt x="1593" y="753"/>
                </a:lnTo>
                <a:lnTo>
                  <a:pt x="1595" y="760"/>
                </a:lnTo>
                <a:lnTo>
                  <a:pt x="1595" y="767"/>
                </a:lnTo>
                <a:lnTo>
                  <a:pt x="1587" y="778"/>
                </a:lnTo>
                <a:lnTo>
                  <a:pt x="1589" y="787"/>
                </a:lnTo>
                <a:lnTo>
                  <a:pt x="1592" y="794"/>
                </a:lnTo>
                <a:lnTo>
                  <a:pt x="1599" y="799"/>
                </a:lnTo>
                <a:lnTo>
                  <a:pt x="1610" y="800"/>
                </a:lnTo>
                <a:lnTo>
                  <a:pt x="1614" y="801"/>
                </a:lnTo>
                <a:lnTo>
                  <a:pt x="1618" y="813"/>
                </a:lnTo>
                <a:lnTo>
                  <a:pt x="1621" y="813"/>
                </a:lnTo>
                <a:lnTo>
                  <a:pt x="1636" y="817"/>
                </a:lnTo>
                <a:lnTo>
                  <a:pt x="1641" y="821"/>
                </a:lnTo>
                <a:lnTo>
                  <a:pt x="1649" y="830"/>
                </a:lnTo>
                <a:lnTo>
                  <a:pt x="1657" y="836"/>
                </a:lnTo>
                <a:lnTo>
                  <a:pt x="1659" y="844"/>
                </a:lnTo>
                <a:lnTo>
                  <a:pt x="1657" y="850"/>
                </a:lnTo>
                <a:lnTo>
                  <a:pt x="1667" y="875"/>
                </a:lnTo>
                <a:lnTo>
                  <a:pt x="1669" y="883"/>
                </a:lnTo>
                <a:lnTo>
                  <a:pt x="1670" y="884"/>
                </a:lnTo>
                <a:lnTo>
                  <a:pt x="1666" y="894"/>
                </a:lnTo>
                <a:lnTo>
                  <a:pt x="1664" y="899"/>
                </a:lnTo>
                <a:lnTo>
                  <a:pt x="1663" y="903"/>
                </a:lnTo>
                <a:lnTo>
                  <a:pt x="1659" y="907"/>
                </a:lnTo>
                <a:lnTo>
                  <a:pt x="1659" y="911"/>
                </a:lnTo>
                <a:lnTo>
                  <a:pt x="1660" y="913"/>
                </a:lnTo>
                <a:lnTo>
                  <a:pt x="1674" y="921"/>
                </a:lnTo>
                <a:lnTo>
                  <a:pt x="1677" y="925"/>
                </a:lnTo>
                <a:lnTo>
                  <a:pt x="1677" y="932"/>
                </a:lnTo>
                <a:lnTo>
                  <a:pt x="1678" y="936"/>
                </a:lnTo>
                <a:lnTo>
                  <a:pt x="1689" y="938"/>
                </a:lnTo>
                <a:lnTo>
                  <a:pt x="1691" y="940"/>
                </a:lnTo>
                <a:lnTo>
                  <a:pt x="1692" y="948"/>
                </a:lnTo>
                <a:lnTo>
                  <a:pt x="1716" y="962"/>
                </a:lnTo>
                <a:lnTo>
                  <a:pt x="1739" y="970"/>
                </a:lnTo>
                <a:lnTo>
                  <a:pt x="1746" y="970"/>
                </a:lnTo>
                <a:lnTo>
                  <a:pt x="1755" y="969"/>
                </a:lnTo>
                <a:lnTo>
                  <a:pt x="1760" y="969"/>
                </a:lnTo>
                <a:lnTo>
                  <a:pt x="1764" y="974"/>
                </a:lnTo>
                <a:lnTo>
                  <a:pt x="1769" y="982"/>
                </a:lnTo>
                <a:lnTo>
                  <a:pt x="1773" y="986"/>
                </a:lnTo>
                <a:lnTo>
                  <a:pt x="1784" y="987"/>
                </a:lnTo>
                <a:lnTo>
                  <a:pt x="1803" y="987"/>
                </a:lnTo>
                <a:lnTo>
                  <a:pt x="1825" y="995"/>
                </a:lnTo>
                <a:lnTo>
                  <a:pt x="1846" y="996"/>
                </a:lnTo>
                <a:lnTo>
                  <a:pt x="1866" y="1000"/>
                </a:lnTo>
                <a:lnTo>
                  <a:pt x="1875" y="1007"/>
                </a:lnTo>
                <a:lnTo>
                  <a:pt x="1883" y="1013"/>
                </a:lnTo>
                <a:lnTo>
                  <a:pt x="1892" y="1018"/>
                </a:lnTo>
                <a:lnTo>
                  <a:pt x="1905" y="1027"/>
                </a:lnTo>
                <a:lnTo>
                  <a:pt x="1923" y="1031"/>
                </a:lnTo>
                <a:lnTo>
                  <a:pt x="1928" y="1035"/>
                </a:lnTo>
                <a:lnTo>
                  <a:pt x="1942" y="1048"/>
                </a:lnTo>
                <a:lnTo>
                  <a:pt x="1956" y="1049"/>
                </a:lnTo>
                <a:lnTo>
                  <a:pt x="1962" y="1053"/>
                </a:lnTo>
                <a:lnTo>
                  <a:pt x="1970" y="1060"/>
                </a:lnTo>
                <a:lnTo>
                  <a:pt x="1980" y="1070"/>
                </a:lnTo>
                <a:lnTo>
                  <a:pt x="1980" y="1075"/>
                </a:lnTo>
                <a:lnTo>
                  <a:pt x="1977" y="1086"/>
                </a:lnTo>
                <a:lnTo>
                  <a:pt x="1977" y="1093"/>
                </a:lnTo>
                <a:lnTo>
                  <a:pt x="1981" y="1107"/>
                </a:lnTo>
                <a:lnTo>
                  <a:pt x="1987" y="1115"/>
                </a:lnTo>
                <a:lnTo>
                  <a:pt x="2001" y="1124"/>
                </a:lnTo>
                <a:lnTo>
                  <a:pt x="2010" y="1135"/>
                </a:lnTo>
                <a:lnTo>
                  <a:pt x="2012" y="1139"/>
                </a:lnTo>
                <a:lnTo>
                  <a:pt x="2012" y="1153"/>
                </a:lnTo>
                <a:lnTo>
                  <a:pt x="2015" y="1161"/>
                </a:lnTo>
                <a:lnTo>
                  <a:pt x="2019" y="1165"/>
                </a:lnTo>
                <a:lnTo>
                  <a:pt x="2021" y="1169"/>
                </a:lnTo>
                <a:lnTo>
                  <a:pt x="2038" y="1169"/>
                </a:lnTo>
                <a:lnTo>
                  <a:pt x="2049" y="1175"/>
                </a:lnTo>
                <a:lnTo>
                  <a:pt x="2058" y="1182"/>
                </a:lnTo>
                <a:lnTo>
                  <a:pt x="2063" y="1187"/>
                </a:lnTo>
                <a:lnTo>
                  <a:pt x="2066" y="1198"/>
                </a:lnTo>
                <a:lnTo>
                  <a:pt x="2070" y="1199"/>
                </a:lnTo>
                <a:lnTo>
                  <a:pt x="2080" y="1201"/>
                </a:lnTo>
                <a:lnTo>
                  <a:pt x="2088" y="1206"/>
                </a:lnTo>
                <a:lnTo>
                  <a:pt x="2095" y="1209"/>
                </a:lnTo>
                <a:lnTo>
                  <a:pt x="2101" y="1214"/>
                </a:lnTo>
                <a:lnTo>
                  <a:pt x="2102" y="1219"/>
                </a:lnTo>
                <a:lnTo>
                  <a:pt x="2110" y="1224"/>
                </a:lnTo>
                <a:lnTo>
                  <a:pt x="2115" y="1231"/>
                </a:lnTo>
                <a:lnTo>
                  <a:pt x="2121" y="1244"/>
                </a:lnTo>
                <a:lnTo>
                  <a:pt x="2138" y="1247"/>
                </a:lnTo>
                <a:lnTo>
                  <a:pt x="2149" y="1259"/>
                </a:lnTo>
                <a:lnTo>
                  <a:pt x="2162" y="1262"/>
                </a:lnTo>
                <a:lnTo>
                  <a:pt x="2174" y="1299"/>
                </a:lnTo>
                <a:lnTo>
                  <a:pt x="2177" y="1303"/>
                </a:lnTo>
                <a:lnTo>
                  <a:pt x="2184" y="1315"/>
                </a:lnTo>
                <a:lnTo>
                  <a:pt x="2195" y="1340"/>
                </a:lnTo>
                <a:lnTo>
                  <a:pt x="2198" y="1355"/>
                </a:lnTo>
                <a:lnTo>
                  <a:pt x="2206" y="1373"/>
                </a:lnTo>
                <a:lnTo>
                  <a:pt x="2206" y="1377"/>
                </a:lnTo>
                <a:lnTo>
                  <a:pt x="2204" y="1381"/>
                </a:lnTo>
                <a:lnTo>
                  <a:pt x="2202" y="1388"/>
                </a:lnTo>
                <a:lnTo>
                  <a:pt x="2214" y="1401"/>
                </a:lnTo>
                <a:lnTo>
                  <a:pt x="2215" y="1405"/>
                </a:lnTo>
                <a:lnTo>
                  <a:pt x="2214" y="1411"/>
                </a:lnTo>
                <a:lnTo>
                  <a:pt x="2215" y="1418"/>
                </a:lnTo>
                <a:lnTo>
                  <a:pt x="2212" y="1422"/>
                </a:lnTo>
                <a:lnTo>
                  <a:pt x="2215" y="1431"/>
                </a:lnTo>
                <a:lnTo>
                  <a:pt x="2211" y="1438"/>
                </a:lnTo>
                <a:lnTo>
                  <a:pt x="2214" y="1440"/>
                </a:lnTo>
                <a:lnTo>
                  <a:pt x="2225" y="1438"/>
                </a:lnTo>
                <a:lnTo>
                  <a:pt x="2228" y="1442"/>
                </a:lnTo>
                <a:lnTo>
                  <a:pt x="2225" y="1446"/>
                </a:lnTo>
                <a:lnTo>
                  <a:pt x="2220" y="1448"/>
                </a:lnTo>
                <a:lnTo>
                  <a:pt x="2202" y="1448"/>
                </a:lnTo>
                <a:lnTo>
                  <a:pt x="2200" y="1453"/>
                </a:lnTo>
                <a:lnTo>
                  <a:pt x="2204" y="1459"/>
                </a:lnTo>
                <a:lnTo>
                  <a:pt x="2204" y="1460"/>
                </a:lnTo>
                <a:lnTo>
                  <a:pt x="2187" y="1464"/>
                </a:lnTo>
                <a:lnTo>
                  <a:pt x="2183" y="1468"/>
                </a:lnTo>
                <a:lnTo>
                  <a:pt x="2181" y="1471"/>
                </a:lnTo>
                <a:lnTo>
                  <a:pt x="2181" y="1476"/>
                </a:lnTo>
                <a:lnTo>
                  <a:pt x="2188" y="1483"/>
                </a:lnTo>
                <a:lnTo>
                  <a:pt x="2191" y="1495"/>
                </a:lnTo>
                <a:lnTo>
                  <a:pt x="2190" y="1501"/>
                </a:lnTo>
                <a:lnTo>
                  <a:pt x="2184" y="1509"/>
                </a:lnTo>
                <a:lnTo>
                  <a:pt x="2184" y="1517"/>
                </a:lnTo>
                <a:lnTo>
                  <a:pt x="2187" y="1520"/>
                </a:lnTo>
                <a:lnTo>
                  <a:pt x="2194" y="1525"/>
                </a:lnTo>
                <a:lnTo>
                  <a:pt x="2195" y="1529"/>
                </a:lnTo>
                <a:lnTo>
                  <a:pt x="2194" y="1532"/>
                </a:lnTo>
                <a:lnTo>
                  <a:pt x="2193" y="1532"/>
                </a:lnTo>
                <a:lnTo>
                  <a:pt x="2177" y="1532"/>
                </a:lnTo>
                <a:lnTo>
                  <a:pt x="2176" y="1539"/>
                </a:lnTo>
                <a:lnTo>
                  <a:pt x="2176" y="1543"/>
                </a:lnTo>
                <a:lnTo>
                  <a:pt x="2184" y="1546"/>
                </a:lnTo>
                <a:lnTo>
                  <a:pt x="2188" y="1551"/>
                </a:lnTo>
                <a:lnTo>
                  <a:pt x="2191" y="1551"/>
                </a:lnTo>
                <a:lnTo>
                  <a:pt x="2202" y="1543"/>
                </a:lnTo>
                <a:lnTo>
                  <a:pt x="2209" y="1542"/>
                </a:lnTo>
                <a:lnTo>
                  <a:pt x="2219" y="1543"/>
                </a:lnTo>
                <a:lnTo>
                  <a:pt x="2220" y="1546"/>
                </a:lnTo>
                <a:lnTo>
                  <a:pt x="2222" y="1554"/>
                </a:lnTo>
                <a:lnTo>
                  <a:pt x="2225" y="1558"/>
                </a:lnTo>
                <a:lnTo>
                  <a:pt x="2228" y="1558"/>
                </a:lnTo>
                <a:lnTo>
                  <a:pt x="2231" y="1552"/>
                </a:lnTo>
                <a:lnTo>
                  <a:pt x="2234" y="1552"/>
                </a:lnTo>
                <a:lnTo>
                  <a:pt x="2239" y="1564"/>
                </a:lnTo>
                <a:lnTo>
                  <a:pt x="2243" y="1570"/>
                </a:lnTo>
                <a:lnTo>
                  <a:pt x="2251" y="1576"/>
                </a:lnTo>
                <a:lnTo>
                  <a:pt x="2254" y="1583"/>
                </a:lnTo>
                <a:lnTo>
                  <a:pt x="2253" y="1584"/>
                </a:lnTo>
                <a:lnTo>
                  <a:pt x="2250" y="1587"/>
                </a:lnTo>
                <a:close/>
                <a:moveTo>
                  <a:pt x="1271" y="3107"/>
                </a:moveTo>
                <a:lnTo>
                  <a:pt x="1271" y="3111"/>
                </a:lnTo>
                <a:lnTo>
                  <a:pt x="1265" y="3111"/>
                </a:lnTo>
                <a:lnTo>
                  <a:pt x="1264" y="3110"/>
                </a:lnTo>
                <a:lnTo>
                  <a:pt x="1264" y="3107"/>
                </a:lnTo>
                <a:lnTo>
                  <a:pt x="1261" y="3110"/>
                </a:lnTo>
                <a:lnTo>
                  <a:pt x="1250" y="3111"/>
                </a:lnTo>
                <a:lnTo>
                  <a:pt x="1233" y="3118"/>
                </a:lnTo>
                <a:lnTo>
                  <a:pt x="1227" y="3115"/>
                </a:lnTo>
                <a:lnTo>
                  <a:pt x="1226" y="3115"/>
                </a:lnTo>
                <a:lnTo>
                  <a:pt x="1226" y="3114"/>
                </a:lnTo>
                <a:lnTo>
                  <a:pt x="1230" y="3105"/>
                </a:lnTo>
                <a:lnTo>
                  <a:pt x="1229" y="3097"/>
                </a:lnTo>
                <a:lnTo>
                  <a:pt x="1222" y="3089"/>
                </a:lnTo>
                <a:lnTo>
                  <a:pt x="1212" y="3085"/>
                </a:lnTo>
                <a:lnTo>
                  <a:pt x="1208" y="3075"/>
                </a:lnTo>
                <a:lnTo>
                  <a:pt x="1208" y="3070"/>
                </a:lnTo>
                <a:lnTo>
                  <a:pt x="1210" y="3069"/>
                </a:lnTo>
                <a:lnTo>
                  <a:pt x="1211" y="3069"/>
                </a:lnTo>
                <a:lnTo>
                  <a:pt x="1227" y="3080"/>
                </a:lnTo>
                <a:lnTo>
                  <a:pt x="1232" y="3080"/>
                </a:lnTo>
                <a:lnTo>
                  <a:pt x="1239" y="3078"/>
                </a:lnTo>
                <a:lnTo>
                  <a:pt x="1241" y="3080"/>
                </a:lnTo>
                <a:lnTo>
                  <a:pt x="1247" y="3085"/>
                </a:lnTo>
                <a:lnTo>
                  <a:pt x="1249" y="3085"/>
                </a:lnTo>
                <a:lnTo>
                  <a:pt x="1257" y="3092"/>
                </a:lnTo>
                <a:lnTo>
                  <a:pt x="1255" y="3095"/>
                </a:lnTo>
                <a:lnTo>
                  <a:pt x="1258" y="3098"/>
                </a:lnTo>
                <a:lnTo>
                  <a:pt x="1258" y="3101"/>
                </a:lnTo>
                <a:lnTo>
                  <a:pt x="1254" y="3103"/>
                </a:lnTo>
                <a:lnTo>
                  <a:pt x="1258" y="3103"/>
                </a:lnTo>
                <a:lnTo>
                  <a:pt x="1262" y="3098"/>
                </a:lnTo>
                <a:lnTo>
                  <a:pt x="1271" y="3107"/>
                </a:lnTo>
                <a:close/>
                <a:moveTo>
                  <a:pt x="1105" y="2375"/>
                </a:moveTo>
                <a:lnTo>
                  <a:pt x="1102" y="2375"/>
                </a:lnTo>
                <a:lnTo>
                  <a:pt x="1098" y="2374"/>
                </a:lnTo>
                <a:lnTo>
                  <a:pt x="1100" y="2375"/>
                </a:lnTo>
                <a:lnTo>
                  <a:pt x="1077" y="2371"/>
                </a:lnTo>
                <a:lnTo>
                  <a:pt x="1069" y="2367"/>
                </a:lnTo>
                <a:lnTo>
                  <a:pt x="1066" y="2367"/>
                </a:lnTo>
                <a:lnTo>
                  <a:pt x="1066" y="2363"/>
                </a:lnTo>
                <a:lnTo>
                  <a:pt x="1076" y="2359"/>
                </a:lnTo>
                <a:lnTo>
                  <a:pt x="1082" y="2359"/>
                </a:lnTo>
                <a:lnTo>
                  <a:pt x="1087" y="2363"/>
                </a:lnTo>
                <a:lnTo>
                  <a:pt x="1098" y="2367"/>
                </a:lnTo>
                <a:lnTo>
                  <a:pt x="1105" y="2375"/>
                </a:lnTo>
                <a:close/>
                <a:moveTo>
                  <a:pt x="1040" y="2363"/>
                </a:moveTo>
                <a:lnTo>
                  <a:pt x="1030" y="2355"/>
                </a:lnTo>
                <a:lnTo>
                  <a:pt x="1027" y="2351"/>
                </a:lnTo>
                <a:lnTo>
                  <a:pt x="1027" y="2345"/>
                </a:lnTo>
                <a:lnTo>
                  <a:pt x="1036" y="2345"/>
                </a:lnTo>
                <a:lnTo>
                  <a:pt x="1034" y="2354"/>
                </a:lnTo>
                <a:lnTo>
                  <a:pt x="1036" y="2358"/>
                </a:lnTo>
                <a:lnTo>
                  <a:pt x="1041" y="2363"/>
                </a:lnTo>
                <a:lnTo>
                  <a:pt x="1040" y="2363"/>
                </a:lnTo>
                <a:close/>
                <a:moveTo>
                  <a:pt x="1063" y="2719"/>
                </a:moveTo>
                <a:lnTo>
                  <a:pt x="1063" y="2723"/>
                </a:lnTo>
                <a:lnTo>
                  <a:pt x="1061" y="2723"/>
                </a:lnTo>
                <a:lnTo>
                  <a:pt x="1055" y="2719"/>
                </a:lnTo>
                <a:lnTo>
                  <a:pt x="1048" y="2721"/>
                </a:lnTo>
                <a:lnTo>
                  <a:pt x="1045" y="2719"/>
                </a:lnTo>
                <a:lnTo>
                  <a:pt x="1052" y="2711"/>
                </a:lnTo>
                <a:lnTo>
                  <a:pt x="1055" y="2711"/>
                </a:lnTo>
                <a:lnTo>
                  <a:pt x="1063" y="2719"/>
                </a:lnTo>
                <a:close/>
                <a:moveTo>
                  <a:pt x="1113" y="2400"/>
                </a:moveTo>
                <a:lnTo>
                  <a:pt x="1112" y="2400"/>
                </a:lnTo>
                <a:lnTo>
                  <a:pt x="1102" y="2388"/>
                </a:lnTo>
                <a:lnTo>
                  <a:pt x="1101" y="2384"/>
                </a:lnTo>
                <a:lnTo>
                  <a:pt x="1102" y="2381"/>
                </a:lnTo>
                <a:lnTo>
                  <a:pt x="1104" y="2384"/>
                </a:lnTo>
                <a:lnTo>
                  <a:pt x="1105" y="2384"/>
                </a:lnTo>
                <a:lnTo>
                  <a:pt x="1108" y="2384"/>
                </a:lnTo>
                <a:lnTo>
                  <a:pt x="1111" y="2388"/>
                </a:lnTo>
                <a:lnTo>
                  <a:pt x="1112" y="2396"/>
                </a:lnTo>
                <a:lnTo>
                  <a:pt x="1113" y="2400"/>
                </a:lnTo>
                <a:close/>
                <a:moveTo>
                  <a:pt x="1129" y="2395"/>
                </a:moveTo>
                <a:lnTo>
                  <a:pt x="1130" y="2397"/>
                </a:lnTo>
                <a:lnTo>
                  <a:pt x="1127" y="2399"/>
                </a:lnTo>
                <a:lnTo>
                  <a:pt x="1129" y="2400"/>
                </a:lnTo>
                <a:lnTo>
                  <a:pt x="1127" y="2400"/>
                </a:lnTo>
                <a:lnTo>
                  <a:pt x="1125" y="2400"/>
                </a:lnTo>
                <a:lnTo>
                  <a:pt x="1122" y="2396"/>
                </a:lnTo>
                <a:lnTo>
                  <a:pt x="1121" y="2396"/>
                </a:lnTo>
                <a:lnTo>
                  <a:pt x="1121" y="2392"/>
                </a:lnTo>
                <a:lnTo>
                  <a:pt x="1118" y="2389"/>
                </a:lnTo>
                <a:lnTo>
                  <a:pt x="1116" y="2389"/>
                </a:lnTo>
                <a:lnTo>
                  <a:pt x="1115" y="2389"/>
                </a:lnTo>
                <a:lnTo>
                  <a:pt x="1118" y="2396"/>
                </a:lnTo>
                <a:lnTo>
                  <a:pt x="1116" y="2397"/>
                </a:lnTo>
                <a:lnTo>
                  <a:pt x="1118" y="2400"/>
                </a:lnTo>
                <a:lnTo>
                  <a:pt x="1116" y="2400"/>
                </a:lnTo>
                <a:lnTo>
                  <a:pt x="1115" y="2389"/>
                </a:lnTo>
                <a:lnTo>
                  <a:pt x="1116" y="2388"/>
                </a:lnTo>
                <a:lnTo>
                  <a:pt x="1118" y="2388"/>
                </a:lnTo>
                <a:lnTo>
                  <a:pt x="1125" y="2392"/>
                </a:lnTo>
                <a:lnTo>
                  <a:pt x="1129" y="2395"/>
                </a:lnTo>
                <a:close/>
                <a:moveTo>
                  <a:pt x="1042" y="2347"/>
                </a:moveTo>
                <a:lnTo>
                  <a:pt x="1041" y="2358"/>
                </a:lnTo>
                <a:lnTo>
                  <a:pt x="1037" y="2355"/>
                </a:lnTo>
                <a:lnTo>
                  <a:pt x="1037" y="2350"/>
                </a:lnTo>
                <a:lnTo>
                  <a:pt x="1041" y="2340"/>
                </a:lnTo>
                <a:lnTo>
                  <a:pt x="1042" y="2347"/>
                </a:lnTo>
                <a:close/>
                <a:moveTo>
                  <a:pt x="1108" y="2475"/>
                </a:moveTo>
                <a:lnTo>
                  <a:pt x="1105" y="2479"/>
                </a:lnTo>
                <a:lnTo>
                  <a:pt x="1097" y="2477"/>
                </a:lnTo>
                <a:lnTo>
                  <a:pt x="1096" y="2475"/>
                </a:lnTo>
                <a:lnTo>
                  <a:pt x="1098" y="2474"/>
                </a:lnTo>
                <a:lnTo>
                  <a:pt x="1102" y="2471"/>
                </a:lnTo>
                <a:lnTo>
                  <a:pt x="1104" y="2470"/>
                </a:lnTo>
                <a:lnTo>
                  <a:pt x="1105" y="2470"/>
                </a:lnTo>
                <a:lnTo>
                  <a:pt x="1105" y="2471"/>
                </a:lnTo>
                <a:lnTo>
                  <a:pt x="1108" y="2475"/>
                </a:lnTo>
                <a:close/>
                <a:moveTo>
                  <a:pt x="1058" y="2377"/>
                </a:moveTo>
                <a:lnTo>
                  <a:pt x="1054" y="2377"/>
                </a:lnTo>
                <a:lnTo>
                  <a:pt x="1050" y="2376"/>
                </a:lnTo>
                <a:lnTo>
                  <a:pt x="1048" y="2375"/>
                </a:lnTo>
                <a:lnTo>
                  <a:pt x="1040" y="2365"/>
                </a:lnTo>
                <a:lnTo>
                  <a:pt x="1042" y="2363"/>
                </a:lnTo>
                <a:lnTo>
                  <a:pt x="1051" y="2372"/>
                </a:lnTo>
                <a:lnTo>
                  <a:pt x="1058" y="2377"/>
                </a:lnTo>
                <a:close/>
                <a:moveTo>
                  <a:pt x="1040" y="3009"/>
                </a:moveTo>
                <a:lnTo>
                  <a:pt x="1040" y="3011"/>
                </a:lnTo>
                <a:lnTo>
                  <a:pt x="1036" y="3018"/>
                </a:lnTo>
                <a:lnTo>
                  <a:pt x="1034" y="3022"/>
                </a:lnTo>
                <a:lnTo>
                  <a:pt x="1033" y="3022"/>
                </a:lnTo>
                <a:lnTo>
                  <a:pt x="1031" y="3022"/>
                </a:lnTo>
                <a:lnTo>
                  <a:pt x="1033" y="3018"/>
                </a:lnTo>
                <a:lnTo>
                  <a:pt x="1037" y="3009"/>
                </a:lnTo>
                <a:lnTo>
                  <a:pt x="1038" y="3007"/>
                </a:lnTo>
                <a:lnTo>
                  <a:pt x="1040" y="3009"/>
                </a:lnTo>
                <a:close/>
                <a:moveTo>
                  <a:pt x="1255" y="3118"/>
                </a:moveTo>
                <a:lnTo>
                  <a:pt x="1257" y="3120"/>
                </a:lnTo>
                <a:lnTo>
                  <a:pt x="1255" y="3122"/>
                </a:lnTo>
                <a:lnTo>
                  <a:pt x="1244" y="3123"/>
                </a:lnTo>
                <a:lnTo>
                  <a:pt x="1244" y="3122"/>
                </a:lnTo>
                <a:lnTo>
                  <a:pt x="1246" y="3122"/>
                </a:lnTo>
                <a:lnTo>
                  <a:pt x="1251" y="3118"/>
                </a:lnTo>
                <a:lnTo>
                  <a:pt x="1255" y="3118"/>
                </a:lnTo>
                <a:close/>
                <a:moveTo>
                  <a:pt x="1144" y="2399"/>
                </a:moveTo>
                <a:lnTo>
                  <a:pt x="1144" y="2400"/>
                </a:lnTo>
                <a:lnTo>
                  <a:pt x="1143" y="2400"/>
                </a:lnTo>
                <a:lnTo>
                  <a:pt x="1140" y="2400"/>
                </a:lnTo>
                <a:lnTo>
                  <a:pt x="1137" y="2395"/>
                </a:lnTo>
                <a:lnTo>
                  <a:pt x="1144" y="2399"/>
                </a:lnTo>
                <a:close/>
                <a:moveTo>
                  <a:pt x="1038" y="2848"/>
                </a:moveTo>
                <a:lnTo>
                  <a:pt x="1038" y="2849"/>
                </a:lnTo>
                <a:lnTo>
                  <a:pt x="1037" y="2848"/>
                </a:lnTo>
                <a:lnTo>
                  <a:pt x="1037" y="2847"/>
                </a:lnTo>
                <a:lnTo>
                  <a:pt x="1038" y="2848"/>
                </a:lnTo>
                <a:close/>
                <a:moveTo>
                  <a:pt x="1026" y="2887"/>
                </a:moveTo>
                <a:lnTo>
                  <a:pt x="1026" y="2890"/>
                </a:lnTo>
                <a:lnTo>
                  <a:pt x="1025" y="2891"/>
                </a:lnTo>
                <a:lnTo>
                  <a:pt x="1025" y="2890"/>
                </a:lnTo>
                <a:lnTo>
                  <a:pt x="1026" y="2887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</a:endParaRPr>
          </a:p>
        </p:txBody>
      </p:sp>
      <p:sp>
        <p:nvSpPr>
          <p:cNvPr id="61" name="Rectangle 60"/>
          <p:cNvSpPr>
            <a:spLocks noChangeArrowheads="1"/>
          </p:cNvSpPr>
          <p:nvPr/>
        </p:nvSpPr>
        <p:spPr bwMode="auto">
          <a:xfrm>
            <a:off x="1571776" y="2985074"/>
            <a:ext cx="26436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 err="1">
                <a:solidFill>
                  <a:srgbClr val="FFFFFF"/>
                </a:solidFill>
                <a:latin typeface="Calibri" pitchFamily="34" charset="0"/>
                <a:cs typeface="Times New Roman" pitchFamily="18" charset="0"/>
              </a:rPr>
              <a:t>Tete</a:t>
            </a:r>
            <a:endParaRPr lang="en-US" sz="1200" dirty="0">
              <a:solidFill>
                <a:srgbClr val="FFFFFF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62" name="Rectangle 61"/>
          <p:cNvSpPr>
            <a:spLocks noChangeArrowheads="1"/>
          </p:cNvSpPr>
          <p:nvPr/>
        </p:nvSpPr>
        <p:spPr bwMode="auto">
          <a:xfrm>
            <a:off x="2588302" y="3375773"/>
            <a:ext cx="59407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 err="1">
                <a:solidFill>
                  <a:srgbClr val="FFFFFF"/>
                </a:solidFill>
                <a:latin typeface="Calibri" pitchFamily="34" charset="0"/>
                <a:cs typeface="Times New Roman" pitchFamily="18" charset="0"/>
              </a:rPr>
              <a:t>Zambezia</a:t>
            </a:r>
            <a:endParaRPr lang="en-US" sz="1200" dirty="0">
              <a:solidFill>
                <a:srgbClr val="FFFFFF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63" name="Freeform 62"/>
          <p:cNvSpPr>
            <a:spLocks/>
          </p:cNvSpPr>
          <p:nvPr/>
        </p:nvSpPr>
        <p:spPr bwMode="auto">
          <a:xfrm>
            <a:off x="1255152" y="2812826"/>
            <a:ext cx="1237589" cy="956684"/>
          </a:xfrm>
          <a:custGeom>
            <a:avLst/>
            <a:gdLst>
              <a:gd name="T0" fmla="*/ 4106 w 4119"/>
              <a:gd name="T1" fmla="*/ 2864 h 2977"/>
              <a:gd name="T2" fmla="*/ 4019 w 4119"/>
              <a:gd name="T3" fmla="*/ 2963 h 2977"/>
              <a:gd name="T4" fmla="*/ 3846 w 4119"/>
              <a:gd name="T5" fmla="*/ 2712 h 2977"/>
              <a:gd name="T6" fmla="*/ 3726 w 4119"/>
              <a:gd name="T7" fmla="*/ 2432 h 2977"/>
              <a:gd name="T8" fmla="*/ 3471 w 4119"/>
              <a:gd name="T9" fmla="*/ 2248 h 2977"/>
              <a:gd name="T10" fmla="*/ 3107 w 4119"/>
              <a:gd name="T11" fmla="*/ 2106 h 2977"/>
              <a:gd name="T12" fmla="*/ 2838 w 4119"/>
              <a:gd name="T13" fmla="*/ 1932 h 2977"/>
              <a:gd name="T14" fmla="*/ 2638 w 4119"/>
              <a:gd name="T15" fmla="*/ 1993 h 2977"/>
              <a:gd name="T16" fmla="*/ 2535 w 4119"/>
              <a:gd name="T17" fmla="*/ 2164 h 2977"/>
              <a:gd name="T18" fmla="*/ 2443 w 4119"/>
              <a:gd name="T19" fmla="*/ 2315 h 2977"/>
              <a:gd name="T20" fmla="*/ 2341 w 4119"/>
              <a:gd name="T21" fmla="*/ 2472 h 2977"/>
              <a:gd name="T22" fmla="*/ 2292 w 4119"/>
              <a:gd name="T23" fmla="*/ 2621 h 2977"/>
              <a:gd name="T24" fmla="*/ 2213 w 4119"/>
              <a:gd name="T25" fmla="*/ 2218 h 2977"/>
              <a:gd name="T26" fmla="*/ 1482 w 4119"/>
              <a:gd name="T27" fmla="*/ 1964 h 2977"/>
              <a:gd name="T28" fmla="*/ 1125 w 4119"/>
              <a:gd name="T29" fmla="*/ 1764 h 2977"/>
              <a:gd name="T30" fmla="*/ 686 w 4119"/>
              <a:gd name="T31" fmla="*/ 1622 h 2977"/>
              <a:gd name="T32" fmla="*/ 141 w 4119"/>
              <a:gd name="T33" fmla="*/ 1273 h 2977"/>
              <a:gd name="T34" fmla="*/ 135 w 4119"/>
              <a:gd name="T35" fmla="*/ 1210 h 2977"/>
              <a:gd name="T36" fmla="*/ 131 w 4119"/>
              <a:gd name="T37" fmla="*/ 1143 h 2977"/>
              <a:gd name="T38" fmla="*/ 120 w 4119"/>
              <a:gd name="T39" fmla="*/ 1072 h 2977"/>
              <a:gd name="T40" fmla="*/ 73 w 4119"/>
              <a:gd name="T41" fmla="*/ 1024 h 2977"/>
              <a:gd name="T42" fmla="*/ 30 w 4119"/>
              <a:gd name="T43" fmla="*/ 980 h 2977"/>
              <a:gd name="T44" fmla="*/ 10 w 4119"/>
              <a:gd name="T45" fmla="*/ 918 h 2977"/>
              <a:gd name="T46" fmla="*/ 5 w 4119"/>
              <a:gd name="T47" fmla="*/ 850 h 2977"/>
              <a:gd name="T48" fmla="*/ 18 w 4119"/>
              <a:gd name="T49" fmla="*/ 798 h 2977"/>
              <a:gd name="T50" fmla="*/ 80 w 4119"/>
              <a:gd name="T51" fmla="*/ 783 h 2977"/>
              <a:gd name="T52" fmla="*/ 146 w 4119"/>
              <a:gd name="T53" fmla="*/ 762 h 2977"/>
              <a:gd name="T54" fmla="*/ 205 w 4119"/>
              <a:gd name="T55" fmla="*/ 734 h 2977"/>
              <a:gd name="T56" fmla="*/ 266 w 4119"/>
              <a:gd name="T57" fmla="*/ 708 h 2977"/>
              <a:gd name="T58" fmla="*/ 330 w 4119"/>
              <a:gd name="T59" fmla="*/ 684 h 2977"/>
              <a:gd name="T60" fmla="*/ 394 w 4119"/>
              <a:gd name="T61" fmla="*/ 662 h 2977"/>
              <a:gd name="T62" fmla="*/ 454 w 4119"/>
              <a:gd name="T63" fmla="*/ 637 h 2977"/>
              <a:gd name="T64" fmla="*/ 520 w 4119"/>
              <a:gd name="T65" fmla="*/ 620 h 2977"/>
              <a:gd name="T66" fmla="*/ 591 w 4119"/>
              <a:gd name="T67" fmla="*/ 604 h 2977"/>
              <a:gd name="T68" fmla="*/ 660 w 4119"/>
              <a:gd name="T69" fmla="*/ 587 h 2977"/>
              <a:gd name="T70" fmla="*/ 722 w 4119"/>
              <a:gd name="T71" fmla="*/ 570 h 2977"/>
              <a:gd name="T72" fmla="*/ 789 w 4119"/>
              <a:gd name="T73" fmla="*/ 547 h 2977"/>
              <a:gd name="T74" fmla="*/ 860 w 4119"/>
              <a:gd name="T75" fmla="*/ 530 h 2977"/>
              <a:gd name="T76" fmla="*/ 921 w 4119"/>
              <a:gd name="T77" fmla="*/ 517 h 2977"/>
              <a:gd name="T78" fmla="*/ 975 w 4119"/>
              <a:gd name="T79" fmla="*/ 506 h 2977"/>
              <a:gd name="T80" fmla="*/ 1034 w 4119"/>
              <a:gd name="T81" fmla="*/ 488 h 2977"/>
              <a:gd name="T82" fmla="*/ 1093 w 4119"/>
              <a:gd name="T83" fmla="*/ 455 h 2977"/>
              <a:gd name="T84" fmla="*/ 1159 w 4119"/>
              <a:gd name="T85" fmla="*/ 419 h 2977"/>
              <a:gd name="T86" fmla="*/ 1230 w 4119"/>
              <a:gd name="T87" fmla="*/ 401 h 2977"/>
              <a:gd name="T88" fmla="*/ 1292 w 4119"/>
              <a:gd name="T89" fmla="*/ 382 h 2977"/>
              <a:gd name="T90" fmla="*/ 1355 w 4119"/>
              <a:gd name="T91" fmla="*/ 351 h 2977"/>
              <a:gd name="T92" fmla="*/ 1413 w 4119"/>
              <a:gd name="T93" fmla="*/ 329 h 2977"/>
              <a:gd name="T94" fmla="*/ 1482 w 4119"/>
              <a:gd name="T95" fmla="*/ 312 h 2977"/>
              <a:gd name="T96" fmla="*/ 1540 w 4119"/>
              <a:gd name="T97" fmla="*/ 290 h 2977"/>
              <a:gd name="T98" fmla="*/ 1608 w 4119"/>
              <a:gd name="T99" fmla="*/ 268 h 2977"/>
              <a:gd name="T100" fmla="*/ 2463 w 4119"/>
              <a:gd name="T101" fmla="*/ 22 h 2977"/>
              <a:gd name="T102" fmla="*/ 2659 w 4119"/>
              <a:gd name="T103" fmla="*/ 339 h 2977"/>
              <a:gd name="T104" fmla="*/ 2925 w 4119"/>
              <a:gd name="T105" fmla="*/ 413 h 2977"/>
              <a:gd name="T106" fmla="*/ 3354 w 4119"/>
              <a:gd name="T107" fmla="*/ 327 h 2977"/>
              <a:gd name="T108" fmla="*/ 3502 w 4119"/>
              <a:gd name="T109" fmla="*/ 707 h 2977"/>
              <a:gd name="T110" fmla="*/ 3524 w 4119"/>
              <a:gd name="T111" fmla="*/ 998 h 2977"/>
              <a:gd name="T112" fmla="*/ 3378 w 4119"/>
              <a:gd name="T113" fmla="*/ 1344 h 2977"/>
              <a:gd name="T114" fmla="*/ 3343 w 4119"/>
              <a:gd name="T115" fmla="*/ 1621 h 2977"/>
              <a:gd name="T116" fmla="*/ 3539 w 4119"/>
              <a:gd name="T117" fmla="*/ 1951 h 2977"/>
              <a:gd name="T118" fmla="*/ 3862 w 4119"/>
              <a:gd name="T119" fmla="*/ 2259 h 2977"/>
              <a:gd name="T120" fmla="*/ 3926 w 4119"/>
              <a:gd name="T121" fmla="*/ 2484 h 2977"/>
              <a:gd name="T122" fmla="*/ 4093 w 4119"/>
              <a:gd name="T123" fmla="*/ 2583 h 297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119"/>
              <a:gd name="T187" fmla="*/ 0 h 2977"/>
              <a:gd name="T188" fmla="*/ 4119 w 4119"/>
              <a:gd name="T189" fmla="*/ 2977 h 297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119" h="2977">
                <a:moveTo>
                  <a:pt x="4115" y="2711"/>
                </a:moveTo>
                <a:lnTo>
                  <a:pt x="4108" y="2712"/>
                </a:lnTo>
                <a:lnTo>
                  <a:pt x="4101" y="2716"/>
                </a:lnTo>
                <a:lnTo>
                  <a:pt x="4098" y="2727"/>
                </a:lnTo>
                <a:lnTo>
                  <a:pt x="4094" y="2731"/>
                </a:lnTo>
                <a:lnTo>
                  <a:pt x="4095" y="2731"/>
                </a:lnTo>
                <a:lnTo>
                  <a:pt x="4098" y="2731"/>
                </a:lnTo>
                <a:lnTo>
                  <a:pt x="4100" y="2733"/>
                </a:lnTo>
                <a:lnTo>
                  <a:pt x="4097" y="2745"/>
                </a:lnTo>
                <a:lnTo>
                  <a:pt x="4098" y="2749"/>
                </a:lnTo>
                <a:lnTo>
                  <a:pt x="4101" y="2752"/>
                </a:lnTo>
                <a:lnTo>
                  <a:pt x="4108" y="2752"/>
                </a:lnTo>
                <a:lnTo>
                  <a:pt x="4112" y="2760"/>
                </a:lnTo>
                <a:lnTo>
                  <a:pt x="4115" y="2760"/>
                </a:lnTo>
                <a:lnTo>
                  <a:pt x="4118" y="2757"/>
                </a:lnTo>
                <a:lnTo>
                  <a:pt x="4119" y="2760"/>
                </a:lnTo>
                <a:lnTo>
                  <a:pt x="4115" y="2772"/>
                </a:lnTo>
                <a:lnTo>
                  <a:pt x="4109" y="2775"/>
                </a:lnTo>
                <a:lnTo>
                  <a:pt x="4114" y="2780"/>
                </a:lnTo>
                <a:lnTo>
                  <a:pt x="4114" y="2784"/>
                </a:lnTo>
                <a:lnTo>
                  <a:pt x="4109" y="2794"/>
                </a:lnTo>
                <a:lnTo>
                  <a:pt x="4109" y="2802"/>
                </a:lnTo>
                <a:lnTo>
                  <a:pt x="4112" y="2805"/>
                </a:lnTo>
                <a:lnTo>
                  <a:pt x="4119" y="2810"/>
                </a:lnTo>
                <a:lnTo>
                  <a:pt x="4119" y="2817"/>
                </a:lnTo>
                <a:lnTo>
                  <a:pt x="4112" y="2829"/>
                </a:lnTo>
                <a:lnTo>
                  <a:pt x="4111" y="2837"/>
                </a:lnTo>
                <a:lnTo>
                  <a:pt x="4108" y="2843"/>
                </a:lnTo>
                <a:lnTo>
                  <a:pt x="4106" y="2851"/>
                </a:lnTo>
                <a:lnTo>
                  <a:pt x="4104" y="2857"/>
                </a:lnTo>
                <a:lnTo>
                  <a:pt x="4104" y="2861"/>
                </a:lnTo>
                <a:lnTo>
                  <a:pt x="4106" y="2864"/>
                </a:lnTo>
                <a:lnTo>
                  <a:pt x="4109" y="2869"/>
                </a:lnTo>
                <a:lnTo>
                  <a:pt x="4106" y="2873"/>
                </a:lnTo>
                <a:lnTo>
                  <a:pt x="4098" y="2886"/>
                </a:lnTo>
                <a:lnTo>
                  <a:pt x="4098" y="2892"/>
                </a:lnTo>
                <a:lnTo>
                  <a:pt x="4101" y="2896"/>
                </a:lnTo>
                <a:lnTo>
                  <a:pt x="4105" y="2899"/>
                </a:lnTo>
                <a:lnTo>
                  <a:pt x="4105" y="2902"/>
                </a:lnTo>
                <a:lnTo>
                  <a:pt x="4104" y="2906"/>
                </a:lnTo>
                <a:lnTo>
                  <a:pt x="4098" y="2910"/>
                </a:lnTo>
                <a:lnTo>
                  <a:pt x="4098" y="2914"/>
                </a:lnTo>
                <a:lnTo>
                  <a:pt x="4105" y="2931"/>
                </a:lnTo>
                <a:lnTo>
                  <a:pt x="4108" y="2940"/>
                </a:lnTo>
                <a:lnTo>
                  <a:pt x="4112" y="2947"/>
                </a:lnTo>
                <a:lnTo>
                  <a:pt x="4114" y="2956"/>
                </a:lnTo>
                <a:lnTo>
                  <a:pt x="4112" y="2959"/>
                </a:lnTo>
                <a:lnTo>
                  <a:pt x="4108" y="2963"/>
                </a:lnTo>
                <a:lnTo>
                  <a:pt x="4104" y="2963"/>
                </a:lnTo>
                <a:lnTo>
                  <a:pt x="4097" y="2961"/>
                </a:lnTo>
                <a:lnTo>
                  <a:pt x="4094" y="2963"/>
                </a:lnTo>
                <a:lnTo>
                  <a:pt x="4094" y="2969"/>
                </a:lnTo>
                <a:lnTo>
                  <a:pt x="4097" y="2971"/>
                </a:lnTo>
                <a:lnTo>
                  <a:pt x="4101" y="2973"/>
                </a:lnTo>
                <a:lnTo>
                  <a:pt x="4095" y="2977"/>
                </a:lnTo>
                <a:lnTo>
                  <a:pt x="4078" y="2975"/>
                </a:lnTo>
                <a:lnTo>
                  <a:pt x="4070" y="2973"/>
                </a:lnTo>
                <a:lnTo>
                  <a:pt x="4059" y="2965"/>
                </a:lnTo>
                <a:lnTo>
                  <a:pt x="4054" y="2963"/>
                </a:lnTo>
                <a:lnTo>
                  <a:pt x="4048" y="2961"/>
                </a:lnTo>
                <a:lnTo>
                  <a:pt x="4041" y="2963"/>
                </a:lnTo>
                <a:lnTo>
                  <a:pt x="4036" y="2969"/>
                </a:lnTo>
                <a:lnTo>
                  <a:pt x="4031" y="2969"/>
                </a:lnTo>
                <a:lnTo>
                  <a:pt x="4019" y="2963"/>
                </a:lnTo>
                <a:lnTo>
                  <a:pt x="4009" y="2959"/>
                </a:lnTo>
                <a:lnTo>
                  <a:pt x="3986" y="2940"/>
                </a:lnTo>
                <a:lnTo>
                  <a:pt x="3984" y="2930"/>
                </a:lnTo>
                <a:lnTo>
                  <a:pt x="3990" y="2918"/>
                </a:lnTo>
                <a:lnTo>
                  <a:pt x="3990" y="2914"/>
                </a:lnTo>
                <a:lnTo>
                  <a:pt x="3989" y="2909"/>
                </a:lnTo>
                <a:lnTo>
                  <a:pt x="3981" y="2904"/>
                </a:lnTo>
                <a:lnTo>
                  <a:pt x="3975" y="2899"/>
                </a:lnTo>
                <a:lnTo>
                  <a:pt x="3970" y="2896"/>
                </a:lnTo>
                <a:lnTo>
                  <a:pt x="3968" y="2890"/>
                </a:lnTo>
                <a:lnTo>
                  <a:pt x="3962" y="2872"/>
                </a:lnTo>
                <a:lnTo>
                  <a:pt x="3961" y="2869"/>
                </a:lnTo>
                <a:lnTo>
                  <a:pt x="3958" y="2865"/>
                </a:lnTo>
                <a:lnTo>
                  <a:pt x="3939" y="2860"/>
                </a:lnTo>
                <a:lnTo>
                  <a:pt x="3934" y="2857"/>
                </a:lnTo>
                <a:lnTo>
                  <a:pt x="3925" y="2843"/>
                </a:lnTo>
                <a:lnTo>
                  <a:pt x="3922" y="2835"/>
                </a:lnTo>
                <a:lnTo>
                  <a:pt x="3925" y="2829"/>
                </a:lnTo>
                <a:lnTo>
                  <a:pt x="3926" y="2823"/>
                </a:lnTo>
                <a:lnTo>
                  <a:pt x="3922" y="2814"/>
                </a:lnTo>
                <a:lnTo>
                  <a:pt x="3918" y="2806"/>
                </a:lnTo>
                <a:lnTo>
                  <a:pt x="3901" y="2792"/>
                </a:lnTo>
                <a:lnTo>
                  <a:pt x="3898" y="2787"/>
                </a:lnTo>
                <a:lnTo>
                  <a:pt x="3893" y="2780"/>
                </a:lnTo>
                <a:lnTo>
                  <a:pt x="3891" y="2756"/>
                </a:lnTo>
                <a:lnTo>
                  <a:pt x="3890" y="2752"/>
                </a:lnTo>
                <a:lnTo>
                  <a:pt x="3884" y="2743"/>
                </a:lnTo>
                <a:lnTo>
                  <a:pt x="3877" y="2727"/>
                </a:lnTo>
                <a:lnTo>
                  <a:pt x="3872" y="2722"/>
                </a:lnTo>
                <a:lnTo>
                  <a:pt x="3856" y="2720"/>
                </a:lnTo>
                <a:lnTo>
                  <a:pt x="3852" y="2719"/>
                </a:lnTo>
                <a:lnTo>
                  <a:pt x="3846" y="2712"/>
                </a:lnTo>
                <a:lnTo>
                  <a:pt x="3844" y="2705"/>
                </a:lnTo>
                <a:lnTo>
                  <a:pt x="3841" y="2698"/>
                </a:lnTo>
                <a:lnTo>
                  <a:pt x="3833" y="2685"/>
                </a:lnTo>
                <a:lnTo>
                  <a:pt x="3830" y="2674"/>
                </a:lnTo>
                <a:lnTo>
                  <a:pt x="3826" y="2650"/>
                </a:lnTo>
                <a:lnTo>
                  <a:pt x="3826" y="2637"/>
                </a:lnTo>
                <a:lnTo>
                  <a:pt x="3824" y="2633"/>
                </a:lnTo>
                <a:lnTo>
                  <a:pt x="3813" y="2623"/>
                </a:lnTo>
                <a:lnTo>
                  <a:pt x="3808" y="2607"/>
                </a:lnTo>
                <a:lnTo>
                  <a:pt x="3787" y="2583"/>
                </a:lnTo>
                <a:lnTo>
                  <a:pt x="3787" y="2576"/>
                </a:lnTo>
                <a:lnTo>
                  <a:pt x="3790" y="2561"/>
                </a:lnTo>
                <a:lnTo>
                  <a:pt x="3790" y="2556"/>
                </a:lnTo>
                <a:lnTo>
                  <a:pt x="3787" y="2551"/>
                </a:lnTo>
                <a:lnTo>
                  <a:pt x="3779" y="2544"/>
                </a:lnTo>
                <a:lnTo>
                  <a:pt x="3774" y="2538"/>
                </a:lnTo>
                <a:lnTo>
                  <a:pt x="3773" y="2532"/>
                </a:lnTo>
                <a:lnTo>
                  <a:pt x="3776" y="2517"/>
                </a:lnTo>
                <a:lnTo>
                  <a:pt x="3773" y="2513"/>
                </a:lnTo>
                <a:lnTo>
                  <a:pt x="3766" y="2509"/>
                </a:lnTo>
                <a:lnTo>
                  <a:pt x="3763" y="2503"/>
                </a:lnTo>
                <a:lnTo>
                  <a:pt x="3758" y="2499"/>
                </a:lnTo>
                <a:lnTo>
                  <a:pt x="3756" y="2495"/>
                </a:lnTo>
                <a:lnTo>
                  <a:pt x="3756" y="2490"/>
                </a:lnTo>
                <a:lnTo>
                  <a:pt x="3762" y="2476"/>
                </a:lnTo>
                <a:lnTo>
                  <a:pt x="3760" y="2462"/>
                </a:lnTo>
                <a:lnTo>
                  <a:pt x="3759" y="2458"/>
                </a:lnTo>
                <a:lnTo>
                  <a:pt x="3754" y="2453"/>
                </a:lnTo>
                <a:lnTo>
                  <a:pt x="3737" y="2442"/>
                </a:lnTo>
                <a:lnTo>
                  <a:pt x="3726" y="2441"/>
                </a:lnTo>
                <a:lnTo>
                  <a:pt x="3724" y="2438"/>
                </a:lnTo>
                <a:lnTo>
                  <a:pt x="3726" y="2432"/>
                </a:lnTo>
                <a:lnTo>
                  <a:pt x="3724" y="2426"/>
                </a:lnTo>
                <a:lnTo>
                  <a:pt x="3717" y="2422"/>
                </a:lnTo>
                <a:lnTo>
                  <a:pt x="3710" y="2409"/>
                </a:lnTo>
                <a:lnTo>
                  <a:pt x="3704" y="2404"/>
                </a:lnTo>
                <a:lnTo>
                  <a:pt x="3701" y="2401"/>
                </a:lnTo>
                <a:lnTo>
                  <a:pt x="3694" y="2397"/>
                </a:lnTo>
                <a:lnTo>
                  <a:pt x="3691" y="2394"/>
                </a:lnTo>
                <a:lnTo>
                  <a:pt x="3690" y="2379"/>
                </a:lnTo>
                <a:lnTo>
                  <a:pt x="3688" y="2375"/>
                </a:lnTo>
                <a:lnTo>
                  <a:pt x="3690" y="2370"/>
                </a:lnTo>
                <a:lnTo>
                  <a:pt x="3688" y="2365"/>
                </a:lnTo>
                <a:lnTo>
                  <a:pt x="3679" y="2363"/>
                </a:lnTo>
                <a:lnTo>
                  <a:pt x="3673" y="2357"/>
                </a:lnTo>
                <a:lnTo>
                  <a:pt x="3665" y="2353"/>
                </a:lnTo>
                <a:lnTo>
                  <a:pt x="3656" y="2345"/>
                </a:lnTo>
                <a:lnTo>
                  <a:pt x="3634" y="2342"/>
                </a:lnTo>
                <a:lnTo>
                  <a:pt x="3621" y="2334"/>
                </a:lnTo>
                <a:lnTo>
                  <a:pt x="3612" y="2333"/>
                </a:lnTo>
                <a:lnTo>
                  <a:pt x="3594" y="2329"/>
                </a:lnTo>
                <a:lnTo>
                  <a:pt x="3580" y="2329"/>
                </a:lnTo>
                <a:lnTo>
                  <a:pt x="3552" y="2316"/>
                </a:lnTo>
                <a:lnTo>
                  <a:pt x="3541" y="2308"/>
                </a:lnTo>
                <a:lnTo>
                  <a:pt x="3534" y="2293"/>
                </a:lnTo>
                <a:lnTo>
                  <a:pt x="3525" y="2290"/>
                </a:lnTo>
                <a:lnTo>
                  <a:pt x="3521" y="2284"/>
                </a:lnTo>
                <a:lnTo>
                  <a:pt x="3520" y="2278"/>
                </a:lnTo>
                <a:lnTo>
                  <a:pt x="3516" y="2271"/>
                </a:lnTo>
                <a:lnTo>
                  <a:pt x="3494" y="2258"/>
                </a:lnTo>
                <a:lnTo>
                  <a:pt x="3480" y="2259"/>
                </a:lnTo>
                <a:lnTo>
                  <a:pt x="3475" y="2255"/>
                </a:lnTo>
                <a:lnTo>
                  <a:pt x="3474" y="2251"/>
                </a:lnTo>
                <a:lnTo>
                  <a:pt x="3471" y="2248"/>
                </a:lnTo>
                <a:lnTo>
                  <a:pt x="3456" y="2235"/>
                </a:lnTo>
                <a:lnTo>
                  <a:pt x="3447" y="2235"/>
                </a:lnTo>
                <a:lnTo>
                  <a:pt x="3439" y="2237"/>
                </a:lnTo>
                <a:lnTo>
                  <a:pt x="3435" y="2235"/>
                </a:lnTo>
                <a:lnTo>
                  <a:pt x="3432" y="2229"/>
                </a:lnTo>
                <a:lnTo>
                  <a:pt x="3434" y="2221"/>
                </a:lnTo>
                <a:lnTo>
                  <a:pt x="3432" y="2210"/>
                </a:lnTo>
                <a:lnTo>
                  <a:pt x="3424" y="2206"/>
                </a:lnTo>
                <a:lnTo>
                  <a:pt x="3416" y="2198"/>
                </a:lnTo>
                <a:lnTo>
                  <a:pt x="3409" y="2192"/>
                </a:lnTo>
                <a:lnTo>
                  <a:pt x="3403" y="2192"/>
                </a:lnTo>
                <a:lnTo>
                  <a:pt x="3397" y="2192"/>
                </a:lnTo>
                <a:lnTo>
                  <a:pt x="3343" y="2203"/>
                </a:lnTo>
                <a:lnTo>
                  <a:pt x="3328" y="2203"/>
                </a:lnTo>
                <a:lnTo>
                  <a:pt x="3320" y="2200"/>
                </a:lnTo>
                <a:lnTo>
                  <a:pt x="3299" y="2183"/>
                </a:lnTo>
                <a:lnTo>
                  <a:pt x="3278" y="2180"/>
                </a:lnTo>
                <a:lnTo>
                  <a:pt x="3270" y="2173"/>
                </a:lnTo>
                <a:lnTo>
                  <a:pt x="3264" y="2172"/>
                </a:lnTo>
                <a:lnTo>
                  <a:pt x="3249" y="2176"/>
                </a:lnTo>
                <a:lnTo>
                  <a:pt x="3246" y="2183"/>
                </a:lnTo>
                <a:lnTo>
                  <a:pt x="3242" y="2184"/>
                </a:lnTo>
                <a:lnTo>
                  <a:pt x="3209" y="2184"/>
                </a:lnTo>
                <a:lnTo>
                  <a:pt x="3203" y="2180"/>
                </a:lnTo>
                <a:lnTo>
                  <a:pt x="3189" y="2173"/>
                </a:lnTo>
                <a:lnTo>
                  <a:pt x="3178" y="2161"/>
                </a:lnTo>
                <a:lnTo>
                  <a:pt x="3162" y="2138"/>
                </a:lnTo>
                <a:lnTo>
                  <a:pt x="3150" y="2124"/>
                </a:lnTo>
                <a:lnTo>
                  <a:pt x="3143" y="2113"/>
                </a:lnTo>
                <a:lnTo>
                  <a:pt x="3132" y="2109"/>
                </a:lnTo>
                <a:lnTo>
                  <a:pt x="3111" y="2109"/>
                </a:lnTo>
                <a:lnTo>
                  <a:pt x="3107" y="2106"/>
                </a:lnTo>
                <a:lnTo>
                  <a:pt x="3094" y="2097"/>
                </a:lnTo>
                <a:lnTo>
                  <a:pt x="3090" y="2098"/>
                </a:lnTo>
                <a:lnTo>
                  <a:pt x="3078" y="2106"/>
                </a:lnTo>
                <a:lnTo>
                  <a:pt x="3054" y="2106"/>
                </a:lnTo>
                <a:lnTo>
                  <a:pt x="3047" y="2105"/>
                </a:lnTo>
                <a:lnTo>
                  <a:pt x="3041" y="2101"/>
                </a:lnTo>
                <a:lnTo>
                  <a:pt x="3036" y="2094"/>
                </a:lnTo>
                <a:lnTo>
                  <a:pt x="3036" y="2091"/>
                </a:lnTo>
                <a:lnTo>
                  <a:pt x="3039" y="2076"/>
                </a:lnTo>
                <a:lnTo>
                  <a:pt x="3037" y="2072"/>
                </a:lnTo>
                <a:lnTo>
                  <a:pt x="3029" y="2071"/>
                </a:lnTo>
                <a:lnTo>
                  <a:pt x="3011" y="2072"/>
                </a:lnTo>
                <a:lnTo>
                  <a:pt x="3004" y="2072"/>
                </a:lnTo>
                <a:lnTo>
                  <a:pt x="2997" y="2067"/>
                </a:lnTo>
                <a:lnTo>
                  <a:pt x="2989" y="2056"/>
                </a:lnTo>
                <a:lnTo>
                  <a:pt x="2972" y="2044"/>
                </a:lnTo>
                <a:lnTo>
                  <a:pt x="2968" y="2040"/>
                </a:lnTo>
                <a:lnTo>
                  <a:pt x="2966" y="2035"/>
                </a:lnTo>
                <a:lnTo>
                  <a:pt x="2960" y="2030"/>
                </a:lnTo>
                <a:lnTo>
                  <a:pt x="2955" y="2019"/>
                </a:lnTo>
                <a:lnTo>
                  <a:pt x="2946" y="2007"/>
                </a:lnTo>
                <a:lnTo>
                  <a:pt x="2936" y="1999"/>
                </a:lnTo>
                <a:lnTo>
                  <a:pt x="2923" y="1992"/>
                </a:lnTo>
                <a:lnTo>
                  <a:pt x="2916" y="1982"/>
                </a:lnTo>
                <a:lnTo>
                  <a:pt x="2910" y="1968"/>
                </a:lnTo>
                <a:lnTo>
                  <a:pt x="2890" y="1936"/>
                </a:lnTo>
                <a:lnTo>
                  <a:pt x="2882" y="1930"/>
                </a:lnTo>
                <a:lnTo>
                  <a:pt x="2872" y="1922"/>
                </a:lnTo>
                <a:lnTo>
                  <a:pt x="2861" y="1928"/>
                </a:lnTo>
                <a:lnTo>
                  <a:pt x="2855" y="1928"/>
                </a:lnTo>
                <a:lnTo>
                  <a:pt x="2851" y="1928"/>
                </a:lnTo>
                <a:lnTo>
                  <a:pt x="2838" y="1932"/>
                </a:lnTo>
                <a:lnTo>
                  <a:pt x="2835" y="1930"/>
                </a:lnTo>
                <a:lnTo>
                  <a:pt x="2829" y="1932"/>
                </a:lnTo>
                <a:lnTo>
                  <a:pt x="2819" y="1937"/>
                </a:lnTo>
                <a:lnTo>
                  <a:pt x="2818" y="1948"/>
                </a:lnTo>
                <a:lnTo>
                  <a:pt x="2815" y="1951"/>
                </a:lnTo>
                <a:lnTo>
                  <a:pt x="2813" y="1955"/>
                </a:lnTo>
                <a:lnTo>
                  <a:pt x="2809" y="1959"/>
                </a:lnTo>
                <a:lnTo>
                  <a:pt x="2804" y="1956"/>
                </a:lnTo>
                <a:lnTo>
                  <a:pt x="2800" y="1951"/>
                </a:lnTo>
                <a:lnTo>
                  <a:pt x="2795" y="1948"/>
                </a:lnTo>
                <a:lnTo>
                  <a:pt x="2787" y="1952"/>
                </a:lnTo>
                <a:lnTo>
                  <a:pt x="2779" y="1948"/>
                </a:lnTo>
                <a:lnTo>
                  <a:pt x="2766" y="1951"/>
                </a:lnTo>
                <a:lnTo>
                  <a:pt x="2756" y="1952"/>
                </a:lnTo>
                <a:lnTo>
                  <a:pt x="2753" y="1956"/>
                </a:lnTo>
                <a:lnTo>
                  <a:pt x="2747" y="1956"/>
                </a:lnTo>
                <a:lnTo>
                  <a:pt x="2744" y="1956"/>
                </a:lnTo>
                <a:lnTo>
                  <a:pt x="2738" y="1959"/>
                </a:lnTo>
                <a:lnTo>
                  <a:pt x="2730" y="1956"/>
                </a:lnTo>
                <a:lnTo>
                  <a:pt x="2720" y="1956"/>
                </a:lnTo>
                <a:lnTo>
                  <a:pt x="2717" y="1955"/>
                </a:lnTo>
                <a:lnTo>
                  <a:pt x="2708" y="1951"/>
                </a:lnTo>
                <a:lnTo>
                  <a:pt x="2700" y="1952"/>
                </a:lnTo>
                <a:lnTo>
                  <a:pt x="2694" y="1956"/>
                </a:lnTo>
                <a:lnTo>
                  <a:pt x="2687" y="1952"/>
                </a:lnTo>
                <a:lnTo>
                  <a:pt x="2683" y="1952"/>
                </a:lnTo>
                <a:lnTo>
                  <a:pt x="2678" y="1956"/>
                </a:lnTo>
                <a:lnTo>
                  <a:pt x="2670" y="1964"/>
                </a:lnTo>
                <a:lnTo>
                  <a:pt x="2656" y="1968"/>
                </a:lnTo>
                <a:lnTo>
                  <a:pt x="2651" y="1970"/>
                </a:lnTo>
                <a:lnTo>
                  <a:pt x="2645" y="1978"/>
                </a:lnTo>
                <a:lnTo>
                  <a:pt x="2638" y="1993"/>
                </a:lnTo>
                <a:lnTo>
                  <a:pt x="2627" y="1997"/>
                </a:lnTo>
                <a:lnTo>
                  <a:pt x="2619" y="1995"/>
                </a:lnTo>
                <a:lnTo>
                  <a:pt x="2613" y="1999"/>
                </a:lnTo>
                <a:lnTo>
                  <a:pt x="2612" y="2001"/>
                </a:lnTo>
                <a:lnTo>
                  <a:pt x="2611" y="2012"/>
                </a:lnTo>
                <a:lnTo>
                  <a:pt x="2603" y="2023"/>
                </a:lnTo>
                <a:lnTo>
                  <a:pt x="2602" y="2027"/>
                </a:lnTo>
                <a:lnTo>
                  <a:pt x="2594" y="2034"/>
                </a:lnTo>
                <a:lnTo>
                  <a:pt x="2586" y="2034"/>
                </a:lnTo>
                <a:lnTo>
                  <a:pt x="2584" y="2035"/>
                </a:lnTo>
                <a:lnTo>
                  <a:pt x="2584" y="2042"/>
                </a:lnTo>
                <a:lnTo>
                  <a:pt x="2588" y="2048"/>
                </a:lnTo>
                <a:lnTo>
                  <a:pt x="2590" y="2054"/>
                </a:lnTo>
                <a:lnTo>
                  <a:pt x="2587" y="2068"/>
                </a:lnTo>
                <a:lnTo>
                  <a:pt x="2592" y="2074"/>
                </a:lnTo>
                <a:lnTo>
                  <a:pt x="2595" y="2079"/>
                </a:lnTo>
                <a:lnTo>
                  <a:pt x="2594" y="2082"/>
                </a:lnTo>
                <a:lnTo>
                  <a:pt x="2586" y="2084"/>
                </a:lnTo>
                <a:lnTo>
                  <a:pt x="2583" y="2093"/>
                </a:lnTo>
                <a:lnTo>
                  <a:pt x="2581" y="2094"/>
                </a:lnTo>
                <a:lnTo>
                  <a:pt x="2577" y="2097"/>
                </a:lnTo>
                <a:lnTo>
                  <a:pt x="2574" y="2106"/>
                </a:lnTo>
                <a:lnTo>
                  <a:pt x="2565" y="2111"/>
                </a:lnTo>
                <a:lnTo>
                  <a:pt x="2559" y="2117"/>
                </a:lnTo>
                <a:lnTo>
                  <a:pt x="2551" y="2123"/>
                </a:lnTo>
                <a:lnTo>
                  <a:pt x="2551" y="2129"/>
                </a:lnTo>
                <a:lnTo>
                  <a:pt x="2553" y="2134"/>
                </a:lnTo>
                <a:lnTo>
                  <a:pt x="2553" y="2139"/>
                </a:lnTo>
                <a:lnTo>
                  <a:pt x="2552" y="2143"/>
                </a:lnTo>
                <a:lnTo>
                  <a:pt x="2544" y="2146"/>
                </a:lnTo>
                <a:lnTo>
                  <a:pt x="2538" y="2150"/>
                </a:lnTo>
                <a:lnTo>
                  <a:pt x="2535" y="2164"/>
                </a:lnTo>
                <a:lnTo>
                  <a:pt x="2527" y="2169"/>
                </a:lnTo>
                <a:lnTo>
                  <a:pt x="2521" y="2169"/>
                </a:lnTo>
                <a:lnTo>
                  <a:pt x="2519" y="2169"/>
                </a:lnTo>
                <a:lnTo>
                  <a:pt x="2512" y="2169"/>
                </a:lnTo>
                <a:lnTo>
                  <a:pt x="2507" y="2169"/>
                </a:lnTo>
                <a:lnTo>
                  <a:pt x="2506" y="2172"/>
                </a:lnTo>
                <a:lnTo>
                  <a:pt x="2506" y="2176"/>
                </a:lnTo>
                <a:lnTo>
                  <a:pt x="2506" y="2173"/>
                </a:lnTo>
                <a:lnTo>
                  <a:pt x="2498" y="2180"/>
                </a:lnTo>
                <a:lnTo>
                  <a:pt x="2493" y="2188"/>
                </a:lnTo>
                <a:lnTo>
                  <a:pt x="2495" y="2192"/>
                </a:lnTo>
                <a:lnTo>
                  <a:pt x="2495" y="2196"/>
                </a:lnTo>
                <a:lnTo>
                  <a:pt x="2493" y="2196"/>
                </a:lnTo>
                <a:lnTo>
                  <a:pt x="2489" y="2198"/>
                </a:lnTo>
                <a:lnTo>
                  <a:pt x="2485" y="2205"/>
                </a:lnTo>
                <a:lnTo>
                  <a:pt x="2487" y="2210"/>
                </a:lnTo>
                <a:lnTo>
                  <a:pt x="2478" y="2217"/>
                </a:lnTo>
                <a:lnTo>
                  <a:pt x="2478" y="2225"/>
                </a:lnTo>
                <a:lnTo>
                  <a:pt x="2474" y="2229"/>
                </a:lnTo>
                <a:lnTo>
                  <a:pt x="2473" y="2237"/>
                </a:lnTo>
                <a:lnTo>
                  <a:pt x="2473" y="2243"/>
                </a:lnTo>
                <a:lnTo>
                  <a:pt x="2468" y="2254"/>
                </a:lnTo>
                <a:lnTo>
                  <a:pt x="2467" y="2255"/>
                </a:lnTo>
                <a:lnTo>
                  <a:pt x="2468" y="2263"/>
                </a:lnTo>
                <a:lnTo>
                  <a:pt x="2467" y="2270"/>
                </a:lnTo>
                <a:lnTo>
                  <a:pt x="2463" y="2278"/>
                </a:lnTo>
                <a:lnTo>
                  <a:pt x="2467" y="2284"/>
                </a:lnTo>
                <a:lnTo>
                  <a:pt x="2464" y="2297"/>
                </a:lnTo>
                <a:lnTo>
                  <a:pt x="2462" y="2300"/>
                </a:lnTo>
                <a:lnTo>
                  <a:pt x="2457" y="2304"/>
                </a:lnTo>
                <a:lnTo>
                  <a:pt x="2453" y="2310"/>
                </a:lnTo>
                <a:lnTo>
                  <a:pt x="2443" y="2315"/>
                </a:lnTo>
                <a:lnTo>
                  <a:pt x="2438" y="2321"/>
                </a:lnTo>
                <a:lnTo>
                  <a:pt x="2432" y="2330"/>
                </a:lnTo>
                <a:lnTo>
                  <a:pt x="2430" y="2334"/>
                </a:lnTo>
                <a:lnTo>
                  <a:pt x="2426" y="2345"/>
                </a:lnTo>
                <a:lnTo>
                  <a:pt x="2426" y="2349"/>
                </a:lnTo>
                <a:lnTo>
                  <a:pt x="2418" y="2360"/>
                </a:lnTo>
                <a:lnTo>
                  <a:pt x="2417" y="2371"/>
                </a:lnTo>
                <a:lnTo>
                  <a:pt x="2409" y="2383"/>
                </a:lnTo>
                <a:lnTo>
                  <a:pt x="2407" y="2387"/>
                </a:lnTo>
                <a:lnTo>
                  <a:pt x="2412" y="2394"/>
                </a:lnTo>
                <a:lnTo>
                  <a:pt x="2413" y="2397"/>
                </a:lnTo>
                <a:lnTo>
                  <a:pt x="2410" y="2401"/>
                </a:lnTo>
                <a:lnTo>
                  <a:pt x="2406" y="2405"/>
                </a:lnTo>
                <a:lnTo>
                  <a:pt x="2405" y="2405"/>
                </a:lnTo>
                <a:lnTo>
                  <a:pt x="2399" y="2408"/>
                </a:lnTo>
                <a:lnTo>
                  <a:pt x="2401" y="2409"/>
                </a:lnTo>
                <a:lnTo>
                  <a:pt x="2398" y="2409"/>
                </a:lnTo>
                <a:lnTo>
                  <a:pt x="2392" y="2415"/>
                </a:lnTo>
                <a:lnTo>
                  <a:pt x="2388" y="2419"/>
                </a:lnTo>
                <a:lnTo>
                  <a:pt x="2373" y="2428"/>
                </a:lnTo>
                <a:lnTo>
                  <a:pt x="2371" y="2432"/>
                </a:lnTo>
                <a:lnTo>
                  <a:pt x="2364" y="2432"/>
                </a:lnTo>
                <a:lnTo>
                  <a:pt x="2363" y="2436"/>
                </a:lnTo>
                <a:lnTo>
                  <a:pt x="2359" y="2436"/>
                </a:lnTo>
                <a:lnTo>
                  <a:pt x="2359" y="2438"/>
                </a:lnTo>
                <a:lnTo>
                  <a:pt x="2352" y="2442"/>
                </a:lnTo>
                <a:lnTo>
                  <a:pt x="2351" y="2446"/>
                </a:lnTo>
                <a:lnTo>
                  <a:pt x="2352" y="2454"/>
                </a:lnTo>
                <a:lnTo>
                  <a:pt x="2351" y="2462"/>
                </a:lnTo>
                <a:lnTo>
                  <a:pt x="2352" y="2465"/>
                </a:lnTo>
                <a:lnTo>
                  <a:pt x="2351" y="2471"/>
                </a:lnTo>
                <a:lnTo>
                  <a:pt x="2341" y="2472"/>
                </a:lnTo>
                <a:lnTo>
                  <a:pt x="2339" y="2476"/>
                </a:lnTo>
                <a:lnTo>
                  <a:pt x="2339" y="2486"/>
                </a:lnTo>
                <a:lnTo>
                  <a:pt x="2332" y="2487"/>
                </a:lnTo>
                <a:lnTo>
                  <a:pt x="2331" y="2494"/>
                </a:lnTo>
                <a:lnTo>
                  <a:pt x="2320" y="2498"/>
                </a:lnTo>
                <a:lnTo>
                  <a:pt x="2318" y="2499"/>
                </a:lnTo>
                <a:lnTo>
                  <a:pt x="2320" y="2503"/>
                </a:lnTo>
                <a:lnTo>
                  <a:pt x="2326" y="2507"/>
                </a:lnTo>
                <a:lnTo>
                  <a:pt x="2327" y="2517"/>
                </a:lnTo>
                <a:lnTo>
                  <a:pt x="2328" y="2517"/>
                </a:lnTo>
                <a:lnTo>
                  <a:pt x="2337" y="2520"/>
                </a:lnTo>
                <a:lnTo>
                  <a:pt x="2338" y="2521"/>
                </a:lnTo>
                <a:lnTo>
                  <a:pt x="2338" y="2524"/>
                </a:lnTo>
                <a:lnTo>
                  <a:pt x="2323" y="2536"/>
                </a:lnTo>
                <a:lnTo>
                  <a:pt x="2321" y="2540"/>
                </a:lnTo>
                <a:lnTo>
                  <a:pt x="2321" y="2546"/>
                </a:lnTo>
                <a:lnTo>
                  <a:pt x="2320" y="2548"/>
                </a:lnTo>
                <a:lnTo>
                  <a:pt x="2312" y="2556"/>
                </a:lnTo>
                <a:lnTo>
                  <a:pt x="2309" y="2558"/>
                </a:lnTo>
                <a:lnTo>
                  <a:pt x="2309" y="2562"/>
                </a:lnTo>
                <a:lnTo>
                  <a:pt x="2307" y="2566"/>
                </a:lnTo>
                <a:lnTo>
                  <a:pt x="2309" y="2570"/>
                </a:lnTo>
                <a:lnTo>
                  <a:pt x="2307" y="2574"/>
                </a:lnTo>
                <a:lnTo>
                  <a:pt x="2310" y="2578"/>
                </a:lnTo>
                <a:lnTo>
                  <a:pt x="2310" y="2583"/>
                </a:lnTo>
                <a:lnTo>
                  <a:pt x="2309" y="2591"/>
                </a:lnTo>
                <a:lnTo>
                  <a:pt x="2309" y="2606"/>
                </a:lnTo>
                <a:lnTo>
                  <a:pt x="2307" y="2606"/>
                </a:lnTo>
                <a:lnTo>
                  <a:pt x="2299" y="2610"/>
                </a:lnTo>
                <a:lnTo>
                  <a:pt x="2295" y="2613"/>
                </a:lnTo>
                <a:lnTo>
                  <a:pt x="2295" y="2618"/>
                </a:lnTo>
                <a:lnTo>
                  <a:pt x="2292" y="2621"/>
                </a:lnTo>
                <a:lnTo>
                  <a:pt x="2291" y="2629"/>
                </a:lnTo>
                <a:lnTo>
                  <a:pt x="2288" y="2633"/>
                </a:lnTo>
                <a:lnTo>
                  <a:pt x="2288" y="2641"/>
                </a:lnTo>
                <a:lnTo>
                  <a:pt x="2281" y="2648"/>
                </a:lnTo>
                <a:lnTo>
                  <a:pt x="2275" y="2656"/>
                </a:lnTo>
                <a:lnTo>
                  <a:pt x="2274" y="2660"/>
                </a:lnTo>
                <a:lnTo>
                  <a:pt x="2275" y="2663"/>
                </a:lnTo>
                <a:lnTo>
                  <a:pt x="2277" y="2672"/>
                </a:lnTo>
                <a:lnTo>
                  <a:pt x="2279" y="2674"/>
                </a:lnTo>
                <a:lnTo>
                  <a:pt x="2278" y="2678"/>
                </a:lnTo>
                <a:lnTo>
                  <a:pt x="2275" y="2685"/>
                </a:lnTo>
                <a:lnTo>
                  <a:pt x="2271" y="2693"/>
                </a:lnTo>
                <a:lnTo>
                  <a:pt x="2262" y="2685"/>
                </a:lnTo>
                <a:lnTo>
                  <a:pt x="2242" y="2668"/>
                </a:lnTo>
                <a:lnTo>
                  <a:pt x="2235" y="2666"/>
                </a:lnTo>
                <a:lnTo>
                  <a:pt x="2232" y="2652"/>
                </a:lnTo>
                <a:lnTo>
                  <a:pt x="2232" y="2628"/>
                </a:lnTo>
                <a:lnTo>
                  <a:pt x="2229" y="2610"/>
                </a:lnTo>
                <a:lnTo>
                  <a:pt x="2224" y="2558"/>
                </a:lnTo>
                <a:lnTo>
                  <a:pt x="2208" y="2520"/>
                </a:lnTo>
                <a:lnTo>
                  <a:pt x="2185" y="2469"/>
                </a:lnTo>
                <a:lnTo>
                  <a:pt x="2136" y="2401"/>
                </a:lnTo>
                <a:lnTo>
                  <a:pt x="2133" y="2397"/>
                </a:lnTo>
                <a:lnTo>
                  <a:pt x="2124" y="2383"/>
                </a:lnTo>
                <a:lnTo>
                  <a:pt x="2117" y="2375"/>
                </a:lnTo>
                <a:lnTo>
                  <a:pt x="2106" y="2359"/>
                </a:lnTo>
                <a:lnTo>
                  <a:pt x="2103" y="2349"/>
                </a:lnTo>
                <a:lnTo>
                  <a:pt x="2150" y="2337"/>
                </a:lnTo>
                <a:lnTo>
                  <a:pt x="2166" y="2329"/>
                </a:lnTo>
                <a:lnTo>
                  <a:pt x="2181" y="2292"/>
                </a:lnTo>
                <a:lnTo>
                  <a:pt x="2199" y="2255"/>
                </a:lnTo>
                <a:lnTo>
                  <a:pt x="2213" y="2218"/>
                </a:lnTo>
                <a:lnTo>
                  <a:pt x="2218" y="2178"/>
                </a:lnTo>
                <a:lnTo>
                  <a:pt x="2211" y="2178"/>
                </a:lnTo>
                <a:lnTo>
                  <a:pt x="2196" y="2176"/>
                </a:lnTo>
                <a:lnTo>
                  <a:pt x="2171" y="2173"/>
                </a:lnTo>
                <a:lnTo>
                  <a:pt x="2156" y="2186"/>
                </a:lnTo>
                <a:lnTo>
                  <a:pt x="2144" y="2188"/>
                </a:lnTo>
                <a:lnTo>
                  <a:pt x="2132" y="2180"/>
                </a:lnTo>
                <a:lnTo>
                  <a:pt x="2117" y="2180"/>
                </a:lnTo>
                <a:lnTo>
                  <a:pt x="2108" y="2172"/>
                </a:lnTo>
                <a:lnTo>
                  <a:pt x="2100" y="2173"/>
                </a:lnTo>
                <a:lnTo>
                  <a:pt x="2094" y="2180"/>
                </a:lnTo>
                <a:lnTo>
                  <a:pt x="2082" y="2178"/>
                </a:lnTo>
                <a:lnTo>
                  <a:pt x="2049" y="2180"/>
                </a:lnTo>
                <a:lnTo>
                  <a:pt x="2041" y="2176"/>
                </a:lnTo>
                <a:lnTo>
                  <a:pt x="2035" y="2173"/>
                </a:lnTo>
                <a:lnTo>
                  <a:pt x="2002" y="2161"/>
                </a:lnTo>
                <a:lnTo>
                  <a:pt x="1996" y="2151"/>
                </a:lnTo>
                <a:lnTo>
                  <a:pt x="1999" y="2138"/>
                </a:lnTo>
                <a:lnTo>
                  <a:pt x="2003" y="2101"/>
                </a:lnTo>
                <a:lnTo>
                  <a:pt x="2004" y="2094"/>
                </a:lnTo>
                <a:lnTo>
                  <a:pt x="1994" y="2091"/>
                </a:lnTo>
                <a:lnTo>
                  <a:pt x="1909" y="2049"/>
                </a:lnTo>
                <a:lnTo>
                  <a:pt x="1897" y="2042"/>
                </a:lnTo>
                <a:lnTo>
                  <a:pt x="1807" y="2005"/>
                </a:lnTo>
                <a:lnTo>
                  <a:pt x="1790" y="1997"/>
                </a:lnTo>
                <a:lnTo>
                  <a:pt x="1762" y="1986"/>
                </a:lnTo>
                <a:lnTo>
                  <a:pt x="1687" y="1968"/>
                </a:lnTo>
                <a:lnTo>
                  <a:pt x="1663" y="1960"/>
                </a:lnTo>
                <a:lnTo>
                  <a:pt x="1659" y="1960"/>
                </a:lnTo>
                <a:lnTo>
                  <a:pt x="1623" y="1960"/>
                </a:lnTo>
                <a:lnTo>
                  <a:pt x="1495" y="1964"/>
                </a:lnTo>
                <a:lnTo>
                  <a:pt x="1482" y="1964"/>
                </a:lnTo>
                <a:lnTo>
                  <a:pt x="1462" y="1967"/>
                </a:lnTo>
                <a:lnTo>
                  <a:pt x="1459" y="1964"/>
                </a:lnTo>
                <a:lnTo>
                  <a:pt x="1449" y="1962"/>
                </a:lnTo>
                <a:lnTo>
                  <a:pt x="1447" y="1962"/>
                </a:lnTo>
                <a:lnTo>
                  <a:pt x="1437" y="1960"/>
                </a:lnTo>
                <a:lnTo>
                  <a:pt x="1435" y="1960"/>
                </a:lnTo>
                <a:lnTo>
                  <a:pt x="1422" y="1956"/>
                </a:lnTo>
                <a:lnTo>
                  <a:pt x="1397" y="1951"/>
                </a:lnTo>
                <a:lnTo>
                  <a:pt x="1362" y="1942"/>
                </a:lnTo>
                <a:lnTo>
                  <a:pt x="1358" y="1930"/>
                </a:lnTo>
                <a:lnTo>
                  <a:pt x="1360" y="1910"/>
                </a:lnTo>
                <a:lnTo>
                  <a:pt x="1356" y="1906"/>
                </a:lnTo>
                <a:lnTo>
                  <a:pt x="1353" y="1889"/>
                </a:lnTo>
                <a:lnTo>
                  <a:pt x="1347" y="1881"/>
                </a:lnTo>
                <a:lnTo>
                  <a:pt x="1313" y="1866"/>
                </a:lnTo>
                <a:lnTo>
                  <a:pt x="1310" y="1858"/>
                </a:lnTo>
                <a:lnTo>
                  <a:pt x="1303" y="1857"/>
                </a:lnTo>
                <a:lnTo>
                  <a:pt x="1299" y="1861"/>
                </a:lnTo>
                <a:lnTo>
                  <a:pt x="1291" y="1847"/>
                </a:lnTo>
                <a:lnTo>
                  <a:pt x="1283" y="1848"/>
                </a:lnTo>
                <a:lnTo>
                  <a:pt x="1284" y="1835"/>
                </a:lnTo>
                <a:lnTo>
                  <a:pt x="1278" y="1828"/>
                </a:lnTo>
                <a:lnTo>
                  <a:pt x="1273" y="1828"/>
                </a:lnTo>
                <a:lnTo>
                  <a:pt x="1269" y="1818"/>
                </a:lnTo>
                <a:lnTo>
                  <a:pt x="1259" y="1816"/>
                </a:lnTo>
                <a:lnTo>
                  <a:pt x="1248" y="1799"/>
                </a:lnTo>
                <a:lnTo>
                  <a:pt x="1237" y="1799"/>
                </a:lnTo>
                <a:lnTo>
                  <a:pt x="1217" y="1794"/>
                </a:lnTo>
                <a:lnTo>
                  <a:pt x="1192" y="1777"/>
                </a:lnTo>
                <a:lnTo>
                  <a:pt x="1178" y="1771"/>
                </a:lnTo>
                <a:lnTo>
                  <a:pt x="1138" y="1769"/>
                </a:lnTo>
                <a:lnTo>
                  <a:pt x="1125" y="1764"/>
                </a:lnTo>
                <a:lnTo>
                  <a:pt x="1100" y="1764"/>
                </a:lnTo>
                <a:lnTo>
                  <a:pt x="1065" y="1757"/>
                </a:lnTo>
                <a:lnTo>
                  <a:pt x="1029" y="1746"/>
                </a:lnTo>
                <a:lnTo>
                  <a:pt x="1015" y="1737"/>
                </a:lnTo>
                <a:lnTo>
                  <a:pt x="1003" y="1739"/>
                </a:lnTo>
                <a:lnTo>
                  <a:pt x="986" y="1733"/>
                </a:lnTo>
                <a:lnTo>
                  <a:pt x="981" y="1734"/>
                </a:lnTo>
                <a:lnTo>
                  <a:pt x="974" y="1734"/>
                </a:lnTo>
                <a:lnTo>
                  <a:pt x="973" y="1732"/>
                </a:lnTo>
                <a:lnTo>
                  <a:pt x="974" y="1724"/>
                </a:lnTo>
                <a:lnTo>
                  <a:pt x="971" y="1719"/>
                </a:lnTo>
                <a:lnTo>
                  <a:pt x="965" y="1716"/>
                </a:lnTo>
                <a:lnTo>
                  <a:pt x="953" y="1720"/>
                </a:lnTo>
                <a:lnTo>
                  <a:pt x="921" y="1683"/>
                </a:lnTo>
                <a:lnTo>
                  <a:pt x="909" y="1675"/>
                </a:lnTo>
                <a:lnTo>
                  <a:pt x="903" y="1666"/>
                </a:lnTo>
                <a:lnTo>
                  <a:pt x="900" y="1653"/>
                </a:lnTo>
                <a:lnTo>
                  <a:pt x="872" y="1631"/>
                </a:lnTo>
                <a:lnTo>
                  <a:pt x="864" y="1629"/>
                </a:lnTo>
                <a:lnTo>
                  <a:pt x="843" y="1619"/>
                </a:lnTo>
                <a:lnTo>
                  <a:pt x="826" y="1617"/>
                </a:lnTo>
                <a:lnTo>
                  <a:pt x="826" y="1612"/>
                </a:lnTo>
                <a:lnTo>
                  <a:pt x="822" y="1611"/>
                </a:lnTo>
                <a:lnTo>
                  <a:pt x="807" y="1615"/>
                </a:lnTo>
                <a:lnTo>
                  <a:pt x="780" y="1612"/>
                </a:lnTo>
                <a:lnTo>
                  <a:pt x="776" y="1611"/>
                </a:lnTo>
                <a:lnTo>
                  <a:pt x="771" y="1603"/>
                </a:lnTo>
                <a:lnTo>
                  <a:pt x="750" y="1602"/>
                </a:lnTo>
                <a:lnTo>
                  <a:pt x="741" y="1596"/>
                </a:lnTo>
                <a:lnTo>
                  <a:pt x="710" y="1607"/>
                </a:lnTo>
                <a:lnTo>
                  <a:pt x="711" y="1611"/>
                </a:lnTo>
                <a:lnTo>
                  <a:pt x="686" y="1622"/>
                </a:lnTo>
                <a:lnTo>
                  <a:pt x="680" y="1611"/>
                </a:lnTo>
                <a:lnTo>
                  <a:pt x="671" y="1621"/>
                </a:lnTo>
                <a:lnTo>
                  <a:pt x="652" y="1625"/>
                </a:lnTo>
                <a:lnTo>
                  <a:pt x="643" y="1647"/>
                </a:lnTo>
                <a:lnTo>
                  <a:pt x="629" y="1656"/>
                </a:lnTo>
                <a:lnTo>
                  <a:pt x="614" y="1657"/>
                </a:lnTo>
                <a:lnTo>
                  <a:pt x="602" y="1652"/>
                </a:lnTo>
                <a:lnTo>
                  <a:pt x="594" y="1641"/>
                </a:lnTo>
                <a:lnTo>
                  <a:pt x="587" y="1622"/>
                </a:lnTo>
                <a:lnTo>
                  <a:pt x="566" y="1611"/>
                </a:lnTo>
                <a:lnTo>
                  <a:pt x="237" y="1611"/>
                </a:lnTo>
                <a:lnTo>
                  <a:pt x="166" y="1611"/>
                </a:lnTo>
                <a:lnTo>
                  <a:pt x="166" y="1331"/>
                </a:lnTo>
                <a:lnTo>
                  <a:pt x="166" y="1312"/>
                </a:lnTo>
                <a:lnTo>
                  <a:pt x="160" y="1304"/>
                </a:lnTo>
                <a:lnTo>
                  <a:pt x="156" y="1308"/>
                </a:lnTo>
                <a:lnTo>
                  <a:pt x="160" y="1302"/>
                </a:lnTo>
                <a:lnTo>
                  <a:pt x="157" y="1300"/>
                </a:lnTo>
                <a:lnTo>
                  <a:pt x="156" y="1298"/>
                </a:lnTo>
                <a:lnTo>
                  <a:pt x="155" y="1296"/>
                </a:lnTo>
                <a:lnTo>
                  <a:pt x="153" y="1296"/>
                </a:lnTo>
                <a:lnTo>
                  <a:pt x="152" y="1292"/>
                </a:lnTo>
                <a:lnTo>
                  <a:pt x="151" y="1289"/>
                </a:lnTo>
                <a:lnTo>
                  <a:pt x="149" y="1287"/>
                </a:lnTo>
                <a:lnTo>
                  <a:pt x="149" y="1285"/>
                </a:lnTo>
                <a:lnTo>
                  <a:pt x="148" y="1283"/>
                </a:lnTo>
                <a:lnTo>
                  <a:pt x="146" y="1283"/>
                </a:lnTo>
                <a:lnTo>
                  <a:pt x="146" y="1281"/>
                </a:lnTo>
                <a:lnTo>
                  <a:pt x="145" y="1280"/>
                </a:lnTo>
                <a:lnTo>
                  <a:pt x="144" y="1277"/>
                </a:lnTo>
                <a:lnTo>
                  <a:pt x="142" y="1276"/>
                </a:lnTo>
                <a:lnTo>
                  <a:pt x="141" y="1273"/>
                </a:lnTo>
                <a:lnTo>
                  <a:pt x="140" y="1269"/>
                </a:lnTo>
                <a:lnTo>
                  <a:pt x="138" y="1269"/>
                </a:lnTo>
                <a:lnTo>
                  <a:pt x="135" y="1267"/>
                </a:lnTo>
                <a:lnTo>
                  <a:pt x="132" y="1264"/>
                </a:lnTo>
                <a:lnTo>
                  <a:pt x="131" y="1263"/>
                </a:lnTo>
                <a:lnTo>
                  <a:pt x="130" y="1260"/>
                </a:lnTo>
                <a:lnTo>
                  <a:pt x="128" y="1260"/>
                </a:lnTo>
                <a:lnTo>
                  <a:pt x="127" y="1259"/>
                </a:lnTo>
                <a:lnTo>
                  <a:pt x="124" y="1256"/>
                </a:lnTo>
                <a:lnTo>
                  <a:pt x="123" y="1256"/>
                </a:lnTo>
                <a:lnTo>
                  <a:pt x="121" y="1255"/>
                </a:lnTo>
                <a:lnTo>
                  <a:pt x="120" y="1252"/>
                </a:lnTo>
                <a:lnTo>
                  <a:pt x="119" y="1250"/>
                </a:lnTo>
                <a:lnTo>
                  <a:pt x="119" y="1247"/>
                </a:lnTo>
                <a:lnTo>
                  <a:pt x="119" y="1244"/>
                </a:lnTo>
                <a:lnTo>
                  <a:pt x="120" y="1242"/>
                </a:lnTo>
                <a:lnTo>
                  <a:pt x="120" y="1240"/>
                </a:lnTo>
                <a:lnTo>
                  <a:pt x="121" y="1238"/>
                </a:lnTo>
                <a:lnTo>
                  <a:pt x="121" y="1237"/>
                </a:lnTo>
                <a:lnTo>
                  <a:pt x="123" y="1234"/>
                </a:lnTo>
                <a:lnTo>
                  <a:pt x="124" y="1232"/>
                </a:lnTo>
                <a:lnTo>
                  <a:pt x="124" y="1230"/>
                </a:lnTo>
                <a:lnTo>
                  <a:pt x="126" y="1227"/>
                </a:lnTo>
                <a:lnTo>
                  <a:pt x="127" y="1227"/>
                </a:lnTo>
                <a:lnTo>
                  <a:pt x="128" y="1225"/>
                </a:lnTo>
                <a:lnTo>
                  <a:pt x="128" y="1223"/>
                </a:lnTo>
                <a:lnTo>
                  <a:pt x="130" y="1221"/>
                </a:lnTo>
                <a:lnTo>
                  <a:pt x="131" y="1219"/>
                </a:lnTo>
                <a:lnTo>
                  <a:pt x="132" y="1215"/>
                </a:lnTo>
                <a:lnTo>
                  <a:pt x="134" y="1214"/>
                </a:lnTo>
                <a:lnTo>
                  <a:pt x="134" y="1212"/>
                </a:lnTo>
                <a:lnTo>
                  <a:pt x="135" y="1210"/>
                </a:lnTo>
                <a:lnTo>
                  <a:pt x="137" y="1207"/>
                </a:lnTo>
                <a:lnTo>
                  <a:pt x="138" y="1205"/>
                </a:lnTo>
                <a:lnTo>
                  <a:pt x="140" y="1202"/>
                </a:lnTo>
                <a:lnTo>
                  <a:pt x="141" y="1201"/>
                </a:lnTo>
                <a:lnTo>
                  <a:pt x="142" y="1198"/>
                </a:lnTo>
                <a:lnTo>
                  <a:pt x="144" y="1197"/>
                </a:lnTo>
                <a:lnTo>
                  <a:pt x="145" y="1194"/>
                </a:lnTo>
                <a:lnTo>
                  <a:pt x="146" y="1193"/>
                </a:lnTo>
                <a:lnTo>
                  <a:pt x="146" y="1192"/>
                </a:lnTo>
                <a:lnTo>
                  <a:pt x="146" y="1189"/>
                </a:lnTo>
                <a:lnTo>
                  <a:pt x="148" y="1187"/>
                </a:lnTo>
                <a:lnTo>
                  <a:pt x="146" y="1185"/>
                </a:lnTo>
                <a:lnTo>
                  <a:pt x="145" y="1182"/>
                </a:lnTo>
                <a:lnTo>
                  <a:pt x="145" y="1180"/>
                </a:lnTo>
                <a:lnTo>
                  <a:pt x="144" y="1179"/>
                </a:lnTo>
                <a:lnTo>
                  <a:pt x="142" y="1176"/>
                </a:lnTo>
                <a:lnTo>
                  <a:pt x="142" y="1175"/>
                </a:lnTo>
                <a:lnTo>
                  <a:pt x="141" y="1172"/>
                </a:lnTo>
                <a:lnTo>
                  <a:pt x="140" y="1170"/>
                </a:lnTo>
                <a:lnTo>
                  <a:pt x="140" y="1169"/>
                </a:lnTo>
                <a:lnTo>
                  <a:pt x="138" y="1167"/>
                </a:lnTo>
                <a:lnTo>
                  <a:pt x="138" y="1165"/>
                </a:lnTo>
                <a:lnTo>
                  <a:pt x="137" y="1163"/>
                </a:lnTo>
                <a:lnTo>
                  <a:pt x="137" y="1162"/>
                </a:lnTo>
                <a:lnTo>
                  <a:pt x="135" y="1159"/>
                </a:lnTo>
                <a:lnTo>
                  <a:pt x="135" y="1156"/>
                </a:lnTo>
                <a:lnTo>
                  <a:pt x="134" y="1154"/>
                </a:lnTo>
                <a:lnTo>
                  <a:pt x="132" y="1151"/>
                </a:lnTo>
                <a:lnTo>
                  <a:pt x="132" y="1150"/>
                </a:lnTo>
                <a:lnTo>
                  <a:pt x="132" y="1147"/>
                </a:lnTo>
                <a:lnTo>
                  <a:pt x="131" y="1144"/>
                </a:lnTo>
                <a:lnTo>
                  <a:pt x="131" y="1143"/>
                </a:lnTo>
                <a:lnTo>
                  <a:pt x="132" y="1140"/>
                </a:lnTo>
                <a:lnTo>
                  <a:pt x="132" y="1138"/>
                </a:lnTo>
                <a:lnTo>
                  <a:pt x="132" y="1135"/>
                </a:lnTo>
                <a:lnTo>
                  <a:pt x="132" y="1134"/>
                </a:lnTo>
                <a:lnTo>
                  <a:pt x="132" y="1131"/>
                </a:lnTo>
                <a:lnTo>
                  <a:pt x="132" y="1130"/>
                </a:lnTo>
                <a:lnTo>
                  <a:pt x="132" y="1127"/>
                </a:lnTo>
                <a:lnTo>
                  <a:pt x="134" y="1126"/>
                </a:lnTo>
                <a:lnTo>
                  <a:pt x="134" y="1123"/>
                </a:lnTo>
                <a:lnTo>
                  <a:pt x="134" y="1122"/>
                </a:lnTo>
                <a:lnTo>
                  <a:pt x="134" y="1118"/>
                </a:lnTo>
                <a:lnTo>
                  <a:pt x="134" y="1117"/>
                </a:lnTo>
                <a:lnTo>
                  <a:pt x="134" y="1115"/>
                </a:lnTo>
                <a:lnTo>
                  <a:pt x="134" y="1113"/>
                </a:lnTo>
                <a:lnTo>
                  <a:pt x="134" y="1111"/>
                </a:lnTo>
                <a:lnTo>
                  <a:pt x="132" y="1109"/>
                </a:lnTo>
                <a:lnTo>
                  <a:pt x="132" y="1107"/>
                </a:lnTo>
                <a:lnTo>
                  <a:pt x="131" y="1105"/>
                </a:lnTo>
                <a:lnTo>
                  <a:pt x="131" y="1103"/>
                </a:lnTo>
                <a:lnTo>
                  <a:pt x="130" y="1102"/>
                </a:lnTo>
                <a:lnTo>
                  <a:pt x="130" y="1100"/>
                </a:lnTo>
                <a:lnTo>
                  <a:pt x="128" y="1095"/>
                </a:lnTo>
                <a:lnTo>
                  <a:pt x="128" y="1092"/>
                </a:lnTo>
                <a:lnTo>
                  <a:pt x="127" y="1089"/>
                </a:lnTo>
                <a:lnTo>
                  <a:pt x="127" y="1086"/>
                </a:lnTo>
                <a:lnTo>
                  <a:pt x="127" y="1082"/>
                </a:lnTo>
                <a:lnTo>
                  <a:pt x="126" y="1080"/>
                </a:lnTo>
                <a:lnTo>
                  <a:pt x="124" y="1078"/>
                </a:lnTo>
                <a:lnTo>
                  <a:pt x="124" y="1077"/>
                </a:lnTo>
                <a:lnTo>
                  <a:pt x="123" y="1073"/>
                </a:lnTo>
                <a:lnTo>
                  <a:pt x="121" y="1073"/>
                </a:lnTo>
                <a:lnTo>
                  <a:pt x="120" y="1072"/>
                </a:lnTo>
                <a:lnTo>
                  <a:pt x="119" y="1069"/>
                </a:lnTo>
                <a:lnTo>
                  <a:pt x="117" y="1069"/>
                </a:lnTo>
                <a:lnTo>
                  <a:pt x="116" y="1067"/>
                </a:lnTo>
                <a:lnTo>
                  <a:pt x="115" y="1065"/>
                </a:lnTo>
                <a:lnTo>
                  <a:pt x="113" y="1063"/>
                </a:lnTo>
                <a:lnTo>
                  <a:pt x="112" y="1060"/>
                </a:lnTo>
                <a:lnTo>
                  <a:pt x="109" y="1060"/>
                </a:lnTo>
                <a:lnTo>
                  <a:pt x="107" y="1058"/>
                </a:lnTo>
                <a:lnTo>
                  <a:pt x="106" y="1056"/>
                </a:lnTo>
                <a:lnTo>
                  <a:pt x="103" y="1056"/>
                </a:lnTo>
                <a:lnTo>
                  <a:pt x="102" y="1055"/>
                </a:lnTo>
                <a:lnTo>
                  <a:pt x="101" y="1053"/>
                </a:lnTo>
                <a:lnTo>
                  <a:pt x="98" y="1051"/>
                </a:lnTo>
                <a:lnTo>
                  <a:pt x="96" y="1051"/>
                </a:lnTo>
                <a:lnTo>
                  <a:pt x="95" y="1050"/>
                </a:lnTo>
                <a:lnTo>
                  <a:pt x="94" y="1047"/>
                </a:lnTo>
                <a:lnTo>
                  <a:pt x="92" y="1047"/>
                </a:lnTo>
                <a:lnTo>
                  <a:pt x="91" y="1044"/>
                </a:lnTo>
                <a:lnTo>
                  <a:pt x="90" y="1044"/>
                </a:lnTo>
                <a:lnTo>
                  <a:pt x="88" y="1043"/>
                </a:lnTo>
                <a:lnTo>
                  <a:pt x="87" y="1040"/>
                </a:lnTo>
                <a:lnTo>
                  <a:pt x="85" y="1038"/>
                </a:lnTo>
                <a:lnTo>
                  <a:pt x="84" y="1036"/>
                </a:lnTo>
                <a:lnTo>
                  <a:pt x="84" y="1033"/>
                </a:lnTo>
                <a:lnTo>
                  <a:pt x="82" y="1033"/>
                </a:lnTo>
                <a:lnTo>
                  <a:pt x="81" y="1032"/>
                </a:lnTo>
                <a:lnTo>
                  <a:pt x="80" y="1031"/>
                </a:lnTo>
                <a:lnTo>
                  <a:pt x="78" y="1030"/>
                </a:lnTo>
                <a:lnTo>
                  <a:pt x="77" y="1028"/>
                </a:lnTo>
                <a:lnTo>
                  <a:pt x="74" y="1027"/>
                </a:lnTo>
                <a:lnTo>
                  <a:pt x="74" y="1024"/>
                </a:lnTo>
                <a:lnTo>
                  <a:pt x="73" y="1024"/>
                </a:lnTo>
                <a:lnTo>
                  <a:pt x="71" y="1024"/>
                </a:lnTo>
                <a:lnTo>
                  <a:pt x="70" y="1022"/>
                </a:lnTo>
                <a:lnTo>
                  <a:pt x="68" y="1022"/>
                </a:lnTo>
                <a:lnTo>
                  <a:pt x="66" y="1020"/>
                </a:lnTo>
                <a:lnTo>
                  <a:pt x="64" y="1019"/>
                </a:lnTo>
                <a:lnTo>
                  <a:pt x="63" y="1018"/>
                </a:lnTo>
                <a:lnTo>
                  <a:pt x="62" y="1018"/>
                </a:lnTo>
                <a:lnTo>
                  <a:pt x="59" y="1015"/>
                </a:lnTo>
                <a:lnTo>
                  <a:pt x="57" y="1015"/>
                </a:lnTo>
                <a:lnTo>
                  <a:pt x="56" y="1014"/>
                </a:lnTo>
                <a:lnTo>
                  <a:pt x="55" y="1011"/>
                </a:lnTo>
                <a:lnTo>
                  <a:pt x="53" y="1011"/>
                </a:lnTo>
                <a:lnTo>
                  <a:pt x="52" y="1010"/>
                </a:lnTo>
                <a:lnTo>
                  <a:pt x="49" y="1008"/>
                </a:lnTo>
                <a:lnTo>
                  <a:pt x="49" y="1007"/>
                </a:lnTo>
                <a:lnTo>
                  <a:pt x="48" y="1005"/>
                </a:lnTo>
                <a:lnTo>
                  <a:pt x="46" y="1002"/>
                </a:lnTo>
                <a:lnTo>
                  <a:pt x="45" y="1002"/>
                </a:lnTo>
                <a:lnTo>
                  <a:pt x="45" y="998"/>
                </a:lnTo>
                <a:lnTo>
                  <a:pt x="43" y="996"/>
                </a:lnTo>
                <a:lnTo>
                  <a:pt x="42" y="995"/>
                </a:lnTo>
                <a:lnTo>
                  <a:pt x="41" y="993"/>
                </a:lnTo>
                <a:lnTo>
                  <a:pt x="41" y="991"/>
                </a:lnTo>
                <a:lnTo>
                  <a:pt x="39" y="989"/>
                </a:lnTo>
                <a:lnTo>
                  <a:pt x="38" y="988"/>
                </a:lnTo>
                <a:lnTo>
                  <a:pt x="37" y="986"/>
                </a:lnTo>
                <a:lnTo>
                  <a:pt x="37" y="985"/>
                </a:lnTo>
                <a:lnTo>
                  <a:pt x="35" y="983"/>
                </a:lnTo>
                <a:lnTo>
                  <a:pt x="34" y="982"/>
                </a:lnTo>
                <a:lnTo>
                  <a:pt x="32" y="980"/>
                </a:lnTo>
                <a:lnTo>
                  <a:pt x="31" y="980"/>
                </a:lnTo>
                <a:lnTo>
                  <a:pt x="30" y="980"/>
                </a:lnTo>
                <a:lnTo>
                  <a:pt x="31" y="976"/>
                </a:lnTo>
                <a:lnTo>
                  <a:pt x="31" y="973"/>
                </a:lnTo>
                <a:lnTo>
                  <a:pt x="31" y="971"/>
                </a:lnTo>
                <a:lnTo>
                  <a:pt x="31" y="970"/>
                </a:lnTo>
                <a:lnTo>
                  <a:pt x="32" y="966"/>
                </a:lnTo>
                <a:lnTo>
                  <a:pt x="32" y="965"/>
                </a:lnTo>
                <a:lnTo>
                  <a:pt x="34" y="963"/>
                </a:lnTo>
                <a:lnTo>
                  <a:pt x="32" y="961"/>
                </a:lnTo>
                <a:lnTo>
                  <a:pt x="32" y="957"/>
                </a:lnTo>
                <a:lnTo>
                  <a:pt x="32" y="956"/>
                </a:lnTo>
                <a:lnTo>
                  <a:pt x="32" y="953"/>
                </a:lnTo>
                <a:lnTo>
                  <a:pt x="31" y="952"/>
                </a:lnTo>
                <a:lnTo>
                  <a:pt x="30" y="951"/>
                </a:lnTo>
                <a:lnTo>
                  <a:pt x="30" y="948"/>
                </a:lnTo>
                <a:lnTo>
                  <a:pt x="28" y="946"/>
                </a:lnTo>
                <a:lnTo>
                  <a:pt x="27" y="944"/>
                </a:lnTo>
                <a:lnTo>
                  <a:pt x="25" y="944"/>
                </a:lnTo>
                <a:lnTo>
                  <a:pt x="25" y="943"/>
                </a:lnTo>
                <a:lnTo>
                  <a:pt x="24" y="940"/>
                </a:lnTo>
                <a:lnTo>
                  <a:pt x="24" y="939"/>
                </a:lnTo>
                <a:lnTo>
                  <a:pt x="23" y="937"/>
                </a:lnTo>
                <a:lnTo>
                  <a:pt x="23" y="936"/>
                </a:lnTo>
                <a:lnTo>
                  <a:pt x="23" y="933"/>
                </a:lnTo>
                <a:lnTo>
                  <a:pt x="21" y="931"/>
                </a:lnTo>
                <a:lnTo>
                  <a:pt x="20" y="929"/>
                </a:lnTo>
                <a:lnTo>
                  <a:pt x="20" y="927"/>
                </a:lnTo>
                <a:lnTo>
                  <a:pt x="18" y="927"/>
                </a:lnTo>
                <a:lnTo>
                  <a:pt x="16" y="924"/>
                </a:lnTo>
                <a:lnTo>
                  <a:pt x="14" y="921"/>
                </a:lnTo>
                <a:lnTo>
                  <a:pt x="13" y="921"/>
                </a:lnTo>
                <a:lnTo>
                  <a:pt x="10" y="920"/>
                </a:lnTo>
                <a:lnTo>
                  <a:pt x="10" y="918"/>
                </a:lnTo>
                <a:lnTo>
                  <a:pt x="9" y="918"/>
                </a:lnTo>
                <a:lnTo>
                  <a:pt x="9" y="915"/>
                </a:lnTo>
                <a:lnTo>
                  <a:pt x="10" y="912"/>
                </a:lnTo>
                <a:lnTo>
                  <a:pt x="10" y="911"/>
                </a:lnTo>
                <a:lnTo>
                  <a:pt x="10" y="908"/>
                </a:lnTo>
                <a:lnTo>
                  <a:pt x="11" y="904"/>
                </a:lnTo>
                <a:lnTo>
                  <a:pt x="11" y="903"/>
                </a:lnTo>
                <a:lnTo>
                  <a:pt x="11" y="901"/>
                </a:lnTo>
                <a:lnTo>
                  <a:pt x="11" y="899"/>
                </a:lnTo>
                <a:lnTo>
                  <a:pt x="11" y="895"/>
                </a:lnTo>
                <a:lnTo>
                  <a:pt x="10" y="895"/>
                </a:lnTo>
                <a:lnTo>
                  <a:pt x="9" y="894"/>
                </a:lnTo>
                <a:lnTo>
                  <a:pt x="7" y="891"/>
                </a:lnTo>
                <a:lnTo>
                  <a:pt x="6" y="889"/>
                </a:lnTo>
                <a:lnTo>
                  <a:pt x="5" y="886"/>
                </a:lnTo>
                <a:lnTo>
                  <a:pt x="3" y="882"/>
                </a:lnTo>
                <a:lnTo>
                  <a:pt x="2" y="882"/>
                </a:lnTo>
                <a:lnTo>
                  <a:pt x="2" y="881"/>
                </a:lnTo>
                <a:lnTo>
                  <a:pt x="2" y="878"/>
                </a:lnTo>
                <a:lnTo>
                  <a:pt x="3" y="876"/>
                </a:lnTo>
                <a:lnTo>
                  <a:pt x="3" y="873"/>
                </a:lnTo>
                <a:lnTo>
                  <a:pt x="3" y="871"/>
                </a:lnTo>
                <a:lnTo>
                  <a:pt x="5" y="869"/>
                </a:lnTo>
                <a:lnTo>
                  <a:pt x="5" y="867"/>
                </a:lnTo>
                <a:lnTo>
                  <a:pt x="5" y="866"/>
                </a:lnTo>
                <a:lnTo>
                  <a:pt x="5" y="864"/>
                </a:lnTo>
                <a:lnTo>
                  <a:pt x="3" y="859"/>
                </a:lnTo>
                <a:lnTo>
                  <a:pt x="2" y="858"/>
                </a:lnTo>
                <a:lnTo>
                  <a:pt x="2" y="856"/>
                </a:lnTo>
                <a:lnTo>
                  <a:pt x="3" y="854"/>
                </a:lnTo>
                <a:lnTo>
                  <a:pt x="3" y="853"/>
                </a:lnTo>
                <a:lnTo>
                  <a:pt x="5" y="850"/>
                </a:lnTo>
                <a:lnTo>
                  <a:pt x="5" y="849"/>
                </a:lnTo>
                <a:lnTo>
                  <a:pt x="6" y="846"/>
                </a:lnTo>
                <a:lnTo>
                  <a:pt x="7" y="845"/>
                </a:lnTo>
                <a:lnTo>
                  <a:pt x="10" y="844"/>
                </a:lnTo>
                <a:lnTo>
                  <a:pt x="11" y="842"/>
                </a:lnTo>
                <a:lnTo>
                  <a:pt x="11" y="841"/>
                </a:lnTo>
                <a:lnTo>
                  <a:pt x="13" y="837"/>
                </a:lnTo>
                <a:lnTo>
                  <a:pt x="13" y="836"/>
                </a:lnTo>
                <a:lnTo>
                  <a:pt x="11" y="833"/>
                </a:lnTo>
                <a:lnTo>
                  <a:pt x="10" y="831"/>
                </a:lnTo>
                <a:lnTo>
                  <a:pt x="10" y="828"/>
                </a:lnTo>
                <a:lnTo>
                  <a:pt x="9" y="827"/>
                </a:lnTo>
                <a:lnTo>
                  <a:pt x="9" y="824"/>
                </a:lnTo>
                <a:lnTo>
                  <a:pt x="7" y="821"/>
                </a:lnTo>
                <a:lnTo>
                  <a:pt x="6" y="820"/>
                </a:lnTo>
                <a:lnTo>
                  <a:pt x="5" y="817"/>
                </a:lnTo>
                <a:lnTo>
                  <a:pt x="3" y="815"/>
                </a:lnTo>
                <a:lnTo>
                  <a:pt x="2" y="814"/>
                </a:lnTo>
                <a:lnTo>
                  <a:pt x="2" y="811"/>
                </a:lnTo>
                <a:lnTo>
                  <a:pt x="0" y="808"/>
                </a:lnTo>
                <a:lnTo>
                  <a:pt x="0" y="807"/>
                </a:lnTo>
                <a:lnTo>
                  <a:pt x="0" y="804"/>
                </a:lnTo>
                <a:lnTo>
                  <a:pt x="2" y="804"/>
                </a:lnTo>
                <a:lnTo>
                  <a:pt x="5" y="802"/>
                </a:lnTo>
                <a:lnTo>
                  <a:pt x="6" y="802"/>
                </a:lnTo>
                <a:lnTo>
                  <a:pt x="7" y="802"/>
                </a:lnTo>
                <a:lnTo>
                  <a:pt x="9" y="802"/>
                </a:lnTo>
                <a:lnTo>
                  <a:pt x="11" y="800"/>
                </a:lnTo>
                <a:lnTo>
                  <a:pt x="13" y="800"/>
                </a:lnTo>
                <a:lnTo>
                  <a:pt x="14" y="798"/>
                </a:lnTo>
                <a:lnTo>
                  <a:pt x="16" y="798"/>
                </a:lnTo>
                <a:lnTo>
                  <a:pt x="18" y="798"/>
                </a:lnTo>
                <a:lnTo>
                  <a:pt x="20" y="798"/>
                </a:lnTo>
                <a:lnTo>
                  <a:pt x="21" y="798"/>
                </a:lnTo>
                <a:lnTo>
                  <a:pt x="24" y="798"/>
                </a:lnTo>
                <a:lnTo>
                  <a:pt x="25" y="796"/>
                </a:lnTo>
                <a:lnTo>
                  <a:pt x="27" y="796"/>
                </a:lnTo>
                <a:lnTo>
                  <a:pt x="30" y="796"/>
                </a:lnTo>
                <a:lnTo>
                  <a:pt x="31" y="795"/>
                </a:lnTo>
                <a:lnTo>
                  <a:pt x="32" y="795"/>
                </a:lnTo>
                <a:lnTo>
                  <a:pt x="35" y="795"/>
                </a:lnTo>
                <a:lnTo>
                  <a:pt x="37" y="792"/>
                </a:lnTo>
                <a:lnTo>
                  <a:pt x="39" y="792"/>
                </a:lnTo>
                <a:lnTo>
                  <a:pt x="41" y="792"/>
                </a:lnTo>
                <a:lnTo>
                  <a:pt x="42" y="792"/>
                </a:lnTo>
                <a:lnTo>
                  <a:pt x="45" y="792"/>
                </a:lnTo>
                <a:lnTo>
                  <a:pt x="46" y="791"/>
                </a:lnTo>
                <a:lnTo>
                  <a:pt x="48" y="791"/>
                </a:lnTo>
                <a:lnTo>
                  <a:pt x="51" y="791"/>
                </a:lnTo>
                <a:lnTo>
                  <a:pt x="52" y="789"/>
                </a:lnTo>
                <a:lnTo>
                  <a:pt x="53" y="789"/>
                </a:lnTo>
                <a:lnTo>
                  <a:pt x="55" y="789"/>
                </a:lnTo>
                <a:lnTo>
                  <a:pt x="57" y="789"/>
                </a:lnTo>
                <a:lnTo>
                  <a:pt x="59" y="789"/>
                </a:lnTo>
                <a:lnTo>
                  <a:pt x="60" y="789"/>
                </a:lnTo>
                <a:lnTo>
                  <a:pt x="63" y="787"/>
                </a:lnTo>
                <a:lnTo>
                  <a:pt x="66" y="787"/>
                </a:lnTo>
                <a:lnTo>
                  <a:pt x="67" y="786"/>
                </a:lnTo>
                <a:lnTo>
                  <a:pt x="68" y="786"/>
                </a:lnTo>
                <a:lnTo>
                  <a:pt x="71" y="784"/>
                </a:lnTo>
                <a:lnTo>
                  <a:pt x="73" y="784"/>
                </a:lnTo>
                <a:lnTo>
                  <a:pt x="76" y="784"/>
                </a:lnTo>
                <a:lnTo>
                  <a:pt x="77" y="784"/>
                </a:lnTo>
                <a:lnTo>
                  <a:pt x="80" y="783"/>
                </a:lnTo>
                <a:lnTo>
                  <a:pt x="81" y="783"/>
                </a:lnTo>
                <a:lnTo>
                  <a:pt x="84" y="783"/>
                </a:lnTo>
                <a:lnTo>
                  <a:pt x="85" y="782"/>
                </a:lnTo>
                <a:lnTo>
                  <a:pt x="87" y="782"/>
                </a:lnTo>
                <a:lnTo>
                  <a:pt x="90" y="779"/>
                </a:lnTo>
                <a:lnTo>
                  <a:pt x="92" y="779"/>
                </a:lnTo>
                <a:lnTo>
                  <a:pt x="94" y="779"/>
                </a:lnTo>
                <a:lnTo>
                  <a:pt x="96" y="778"/>
                </a:lnTo>
                <a:lnTo>
                  <a:pt x="98" y="778"/>
                </a:lnTo>
                <a:lnTo>
                  <a:pt x="99" y="778"/>
                </a:lnTo>
                <a:lnTo>
                  <a:pt x="102" y="778"/>
                </a:lnTo>
                <a:lnTo>
                  <a:pt x="105" y="778"/>
                </a:lnTo>
                <a:lnTo>
                  <a:pt x="106" y="778"/>
                </a:lnTo>
                <a:lnTo>
                  <a:pt x="107" y="775"/>
                </a:lnTo>
                <a:lnTo>
                  <a:pt x="110" y="775"/>
                </a:lnTo>
                <a:lnTo>
                  <a:pt x="112" y="775"/>
                </a:lnTo>
                <a:lnTo>
                  <a:pt x="113" y="775"/>
                </a:lnTo>
                <a:lnTo>
                  <a:pt x="116" y="775"/>
                </a:lnTo>
                <a:lnTo>
                  <a:pt x="119" y="774"/>
                </a:lnTo>
                <a:lnTo>
                  <a:pt x="120" y="774"/>
                </a:lnTo>
                <a:lnTo>
                  <a:pt x="123" y="773"/>
                </a:lnTo>
                <a:lnTo>
                  <a:pt x="124" y="771"/>
                </a:lnTo>
                <a:lnTo>
                  <a:pt x="127" y="771"/>
                </a:lnTo>
                <a:lnTo>
                  <a:pt x="130" y="770"/>
                </a:lnTo>
                <a:lnTo>
                  <a:pt x="131" y="769"/>
                </a:lnTo>
                <a:lnTo>
                  <a:pt x="134" y="766"/>
                </a:lnTo>
                <a:lnTo>
                  <a:pt x="135" y="766"/>
                </a:lnTo>
                <a:lnTo>
                  <a:pt x="138" y="766"/>
                </a:lnTo>
                <a:lnTo>
                  <a:pt x="140" y="766"/>
                </a:lnTo>
                <a:lnTo>
                  <a:pt x="142" y="765"/>
                </a:lnTo>
                <a:lnTo>
                  <a:pt x="144" y="762"/>
                </a:lnTo>
                <a:lnTo>
                  <a:pt x="146" y="762"/>
                </a:lnTo>
                <a:lnTo>
                  <a:pt x="148" y="762"/>
                </a:lnTo>
                <a:lnTo>
                  <a:pt x="149" y="761"/>
                </a:lnTo>
                <a:lnTo>
                  <a:pt x="152" y="759"/>
                </a:lnTo>
                <a:lnTo>
                  <a:pt x="155" y="759"/>
                </a:lnTo>
                <a:lnTo>
                  <a:pt x="156" y="757"/>
                </a:lnTo>
                <a:lnTo>
                  <a:pt x="157" y="757"/>
                </a:lnTo>
                <a:lnTo>
                  <a:pt x="160" y="755"/>
                </a:lnTo>
                <a:lnTo>
                  <a:pt x="162" y="755"/>
                </a:lnTo>
                <a:lnTo>
                  <a:pt x="163" y="753"/>
                </a:lnTo>
                <a:lnTo>
                  <a:pt x="166" y="753"/>
                </a:lnTo>
                <a:lnTo>
                  <a:pt x="167" y="753"/>
                </a:lnTo>
                <a:lnTo>
                  <a:pt x="170" y="752"/>
                </a:lnTo>
                <a:lnTo>
                  <a:pt x="171" y="750"/>
                </a:lnTo>
                <a:lnTo>
                  <a:pt x="173" y="750"/>
                </a:lnTo>
                <a:lnTo>
                  <a:pt x="176" y="749"/>
                </a:lnTo>
                <a:lnTo>
                  <a:pt x="177" y="748"/>
                </a:lnTo>
                <a:lnTo>
                  <a:pt x="179" y="748"/>
                </a:lnTo>
                <a:lnTo>
                  <a:pt x="181" y="746"/>
                </a:lnTo>
                <a:lnTo>
                  <a:pt x="182" y="746"/>
                </a:lnTo>
                <a:lnTo>
                  <a:pt x="184" y="744"/>
                </a:lnTo>
                <a:lnTo>
                  <a:pt x="185" y="744"/>
                </a:lnTo>
                <a:lnTo>
                  <a:pt x="187" y="744"/>
                </a:lnTo>
                <a:lnTo>
                  <a:pt x="188" y="742"/>
                </a:lnTo>
                <a:lnTo>
                  <a:pt x="191" y="740"/>
                </a:lnTo>
                <a:lnTo>
                  <a:pt x="192" y="740"/>
                </a:lnTo>
                <a:lnTo>
                  <a:pt x="194" y="738"/>
                </a:lnTo>
                <a:lnTo>
                  <a:pt x="195" y="738"/>
                </a:lnTo>
                <a:lnTo>
                  <a:pt x="198" y="737"/>
                </a:lnTo>
                <a:lnTo>
                  <a:pt x="199" y="734"/>
                </a:lnTo>
                <a:lnTo>
                  <a:pt x="202" y="734"/>
                </a:lnTo>
                <a:lnTo>
                  <a:pt x="204" y="734"/>
                </a:lnTo>
                <a:lnTo>
                  <a:pt x="205" y="734"/>
                </a:lnTo>
                <a:lnTo>
                  <a:pt x="206" y="733"/>
                </a:lnTo>
                <a:lnTo>
                  <a:pt x="209" y="730"/>
                </a:lnTo>
                <a:lnTo>
                  <a:pt x="210" y="730"/>
                </a:lnTo>
                <a:lnTo>
                  <a:pt x="212" y="730"/>
                </a:lnTo>
                <a:lnTo>
                  <a:pt x="213" y="730"/>
                </a:lnTo>
                <a:lnTo>
                  <a:pt x="215" y="729"/>
                </a:lnTo>
                <a:lnTo>
                  <a:pt x="217" y="729"/>
                </a:lnTo>
                <a:lnTo>
                  <a:pt x="219" y="727"/>
                </a:lnTo>
                <a:lnTo>
                  <a:pt x="220" y="727"/>
                </a:lnTo>
                <a:lnTo>
                  <a:pt x="223" y="727"/>
                </a:lnTo>
                <a:lnTo>
                  <a:pt x="224" y="725"/>
                </a:lnTo>
                <a:lnTo>
                  <a:pt x="226" y="725"/>
                </a:lnTo>
                <a:lnTo>
                  <a:pt x="227" y="721"/>
                </a:lnTo>
                <a:lnTo>
                  <a:pt x="229" y="721"/>
                </a:lnTo>
                <a:lnTo>
                  <a:pt x="231" y="721"/>
                </a:lnTo>
                <a:lnTo>
                  <a:pt x="232" y="721"/>
                </a:lnTo>
                <a:lnTo>
                  <a:pt x="235" y="720"/>
                </a:lnTo>
                <a:lnTo>
                  <a:pt x="237" y="717"/>
                </a:lnTo>
                <a:lnTo>
                  <a:pt x="238" y="717"/>
                </a:lnTo>
                <a:lnTo>
                  <a:pt x="241" y="717"/>
                </a:lnTo>
                <a:lnTo>
                  <a:pt x="242" y="716"/>
                </a:lnTo>
                <a:lnTo>
                  <a:pt x="245" y="716"/>
                </a:lnTo>
                <a:lnTo>
                  <a:pt x="246" y="715"/>
                </a:lnTo>
                <a:lnTo>
                  <a:pt x="248" y="715"/>
                </a:lnTo>
                <a:lnTo>
                  <a:pt x="251" y="713"/>
                </a:lnTo>
                <a:lnTo>
                  <a:pt x="254" y="713"/>
                </a:lnTo>
                <a:lnTo>
                  <a:pt x="255" y="713"/>
                </a:lnTo>
                <a:lnTo>
                  <a:pt x="256" y="712"/>
                </a:lnTo>
                <a:lnTo>
                  <a:pt x="259" y="712"/>
                </a:lnTo>
                <a:lnTo>
                  <a:pt x="260" y="711"/>
                </a:lnTo>
                <a:lnTo>
                  <a:pt x="263" y="711"/>
                </a:lnTo>
                <a:lnTo>
                  <a:pt x="266" y="708"/>
                </a:lnTo>
                <a:lnTo>
                  <a:pt x="267" y="708"/>
                </a:lnTo>
                <a:lnTo>
                  <a:pt x="269" y="708"/>
                </a:lnTo>
                <a:lnTo>
                  <a:pt x="271" y="708"/>
                </a:lnTo>
                <a:lnTo>
                  <a:pt x="273" y="707"/>
                </a:lnTo>
                <a:lnTo>
                  <a:pt x="276" y="704"/>
                </a:lnTo>
                <a:lnTo>
                  <a:pt x="279" y="704"/>
                </a:lnTo>
                <a:lnTo>
                  <a:pt x="280" y="704"/>
                </a:lnTo>
                <a:lnTo>
                  <a:pt x="283" y="703"/>
                </a:lnTo>
                <a:lnTo>
                  <a:pt x="285" y="703"/>
                </a:lnTo>
                <a:lnTo>
                  <a:pt x="287" y="699"/>
                </a:lnTo>
                <a:lnTo>
                  <a:pt x="288" y="699"/>
                </a:lnTo>
                <a:lnTo>
                  <a:pt x="290" y="699"/>
                </a:lnTo>
                <a:lnTo>
                  <a:pt x="292" y="699"/>
                </a:lnTo>
                <a:lnTo>
                  <a:pt x="294" y="699"/>
                </a:lnTo>
                <a:lnTo>
                  <a:pt x="296" y="698"/>
                </a:lnTo>
                <a:lnTo>
                  <a:pt x="298" y="695"/>
                </a:lnTo>
                <a:lnTo>
                  <a:pt x="301" y="695"/>
                </a:lnTo>
                <a:lnTo>
                  <a:pt x="302" y="695"/>
                </a:lnTo>
                <a:lnTo>
                  <a:pt x="304" y="693"/>
                </a:lnTo>
                <a:lnTo>
                  <a:pt x="305" y="693"/>
                </a:lnTo>
                <a:lnTo>
                  <a:pt x="306" y="693"/>
                </a:lnTo>
                <a:lnTo>
                  <a:pt x="309" y="692"/>
                </a:lnTo>
                <a:lnTo>
                  <a:pt x="310" y="692"/>
                </a:lnTo>
                <a:lnTo>
                  <a:pt x="313" y="691"/>
                </a:lnTo>
                <a:lnTo>
                  <a:pt x="316" y="691"/>
                </a:lnTo>
                <a:lnTo>
                  <a:pt x="317" y="690"/>
                </a:lnTo>
                <a:lnTo>
                  <a:pt x="319" y="688"/>
                </a:lnTo>
                <a:lnTo>
                  <a:pt x="322" y="688"/>
                </a:lnTo>
                <a:lnTo>
                  <a:pt x="323" y="686"/>
                </a:lnTo>
                <a:lnTo>
                  <a:pt x="324" y="686"/>
                </a:lnTo>
                <a:lnTo>
                  <a:pt x="327" y="686"/>
                </a:lnTo>
                <a:lnTo>
                  <a:pt x="330" y="684"/>
                </a:lnTo>
                <a:lnTo>
                  <a:pt x="331" y="682"/>
                </a:lnTo>
                <a:lnTo>
                  <a:pt x="333" y="682"/>
                </a:lnTo>
                <a:lnTo>
                  <a:pt x="336" y="682"/>
                </a:lnTo>
                <a:lnTo>
                  <a:pt x="338" y="682"/>
                </a:lnTo>
                <a:lnTo>
                  <a:pt x="340" y="682"/>
                </a:lnTo>
                <a:lnTo>
                  <a:pt x="341" y="680"/>
                </a:lnTo>
                <a:lnTo>
                  <a:pt x="344" y="680"/>
                </a:lnTo>
                <a:lnTo>
                  <a:pt x="345" y="678"/>
                </a:lnTo>
                <a:lnTo>
                  <a:pt x="348" y="678"/>
                </a:lnTo>
                <a:lnTo>
                  <a:pt x="350" y="678"/>
                </a:lnTo>
                <a:lnTo>
                  <a:pt x="352" y="678"/>
                </a:lnTo>
                <a:lnTo>
                  <a:pt x="354" y="676"/>
                </a:lnTo>
                <a:lnTo>
                  <a:pt x="356" y="676"/>
                </a:lnTo>
                <a:lnTo>
                  <a:pt x="358" y="675"/>
                </a:lnTo>
                <a:lnTo>
                  <a:pt x="361" y="675"/>
                </a:lnTo>
                <a:lnTo>
                  <a:pt x="361" y="673"/>
                </a:lnTo>
                <a:lnTo>
                  <a:pt x="364" y="673"/>
                </a:lnTo>
                <a:lnTo>
                  <a:pt x="365" y="671"/>
                </a:lnTo>
                <a:lnTo>
                  <a:pt x="367" y="671"/>
                </a:lnTo>
                <a:lnTo>
                  <a:pt x="369" y="668"/>
                </a:lnTo>
                <a:lnTo>
                  <a:pt x="372" y="668"/>
                </a:lnTo>
                <a:lnTo>
                  <a:pt x="373" y="668"/>
                </a:lnTo>
                <a:lnTo>
                  <a:pt x="376" y="667"/>
                </a:lnTo>
                <a:lnTo>
                  <a:pt x="377" y="667"/>
                </a:lnTo>
                <a:lnTo>
                  <a:pt x="379" y="666"/>
                </a:lnTo>
                <a:lnTo>
                  <a:pt x="381" y="666"/>
                </a:lnTo>
                <a:lnTo>
                  <a:pt x="384" y="663"/>
                </a:lnTo>
                <a:lnTo>
                  <a:pt x="386" y="663"/>
                </a:lnTo>
                <a:lnTo>
                  <a:pt x="387" y="663"/>
                </a:lnTo>
                <a:lnTo>
                  <a:pt x="390" y="663"/>
                </a:lnTo>
                <a:lnTo>
                  <a:pt x="391" y="662"/>
                </a:lnTo>
                <a:lnTo>
                  <a:pt x="394" y="662"/>
                </a:lnTo>
                <a:lnTo>
                  <a:pt x="395" y="659"/>
                </a:lnTo>
                <a:lnTo>
                  <a:pt x="397" y="659"/>
                </a:lnTo>
                <a:lnTo>
                  <a:pt x="400" y="659"/>
                </a:lnTo>
                <a:lnTo>
                  <a:pt x="402" y="658"/>
                </a:lnTo>
                <a:lnTo>
                  <a:pt x="404" y="658"/>
                </a:lnTo>
                <a:lnTo>
                  <a:pt x="405" y="657"/>
                </a:lnTo>
                <a:lnTo>
                  <a:pt x="408" y="657"/>
                </a:lnTo>
                <a:lnTo>
                  <a:pt x="409" y="655"/>
                </a:lnTo>
                <a:lnTo>
                  <a:pt x="411" y="655"/>
                </a:lnTo>
                <a:lnTo>
                  <a:pt x="412" y="654"/>
                </a:lnTo>
                <a:lnTo>
                  <a:pt x="415" y="654"/>
                </a:lnTo>
                <a:lnTo>
                  <a:pt x="416" y="653"/>
                </a:lnTo>
                <a:lnTo>
                  <a:pt x="419" y="653"/>
                </a:lnTo>
                <a:lnTo>
                  <a:pt x="420" y="650"/>
                </a:lnTo>
                <a:lnTo>
                  <a:pt x="422" y="650"/>
                </a:lnTo>
                <a:lnTo>
                  <a:pt x="423" y="650"/>
                </a:lnTo>
                <a:lnTo>
                  <a:pt x="426" y="649"/>
                </a:lnTo>
                <a:lnTo>
                  <a:pt x="427" y="649"/>
                </a:lnTo>
                <a:lnTo>
                  <a:pt x="430" y="646"/>
                </a:lnTo>
                <a:lnTo>
                  <a:pt x="431" y="646"/>
                </a:lnTo>
                <a:lnTo>
                  <a:pt x="433" y="646"/>
                </a:lnTo>
                <a:lnTo>
                  <a:pt x="434" y="646"/>
                </a:lnTo>
                <a:lnTo>
                  <a:pt x="436" y="645"/>
                </a:lnTo>
                <a:lnTo>
                  <a:pt x="439" y="645"/>
                </a:lnTo>
                <a:lnTo>
                  <a:pt x="440" y="643"/>
                </a:lnTo>
                <a:lnTo>
                  <a:pt x="442" y="642"/>
                </a:lnTo>
                <a:lnTo>
                  <a:pt x="444" y="642"/>
                </a:lnTo>
                <a:lnTo>
                  <a:pt x="445" y="641"/>
                </a:lnTo>
                <a:lnTo>
                  <a:pt x="447" y="641"/>
                </a:lnTo>
                <a:lnTo>
                  <a:pt x="450" y="640"/>
                </a:lnTo>
                <a:lnTo>
                  <a:pt x="451" y="640"/>
                </a:lnTo>
                <a:lnTo>
                  <a:pt x="454" y="637"/>
                </a:lnTo>
                <a:lnTo>
                  <a:pt x="455" y="637"/>
                </a:lnTo>
                <a:lnTo>
                  <a:pt x="456" y="637"/>
                </a:lnTo>
                <a:lnTo>
                  <a:pt x="458" y="636"/>
                </a:lnTo>
                <a:lnTo>
                  <a:pt x="461" y="636"/>
                </a:lnTo>
                <a:lnTo>
                  <a:pt x="462" y="633"/>
                </a:lnTo>
                <a:lnTo>
                  <a:pt x="465" y="633"/>
                </a:lnTo>
                <a:lnTo>
                  <a:pt x="466" y="633"/>
                </a:lnTo>
                <a:lnTo>
                  <a:pt x="469" y="633"/>
                </a:lnTo>
                <a:lnTo>
                  <a:pt x="472" y="632"/>
                </a:lnTo>
                <a:lnTo>
                  <a:pt x="473" y="632"/>
                </a:lnTo>
                <a:lnTo>
                  <a:pt x="476" y="630"/>
                </a:lnTo>
                <a:lnTo>
                  <a:pt x="477" y="630"/>
                </a:lnTo>
                <a:lnTo>
                  <a:pt x="479" y="630"/>
                </a:lnTo>
                <a:lnTo>
                  <a:pt x="481" y="628"/>
                </a:lnTo>
                <a:lnTo>
                  <a:pt x="484" y="628"/>
                </a:lnTo>
                <a:lnTo>
                  <a:pt x="486" y="628"/>
                </a:lnTo>
                <a:lnTo>
                  <a:pt x="489" y="628"/>
                </a:lnTo>
                <a:lnTo>
                  <a:pt x="490" y="628"/>
                </a:lnTo>
                <a:lnTo>
                  <a:pt x="491" y="628"/>
                </a:lnTo>
                <a:lnTo>
                  <a:pt x="494" y="626"/>
                </a:lnTo>
                <a:lnTo>
                  <a:pt x="497" y="626"/>
                </a:lnTo>
                <a:lnTo>
                  <a:pt x="498" y="624"/>
                </a:lnTo>
                <a:lnTo>
                  <a:pt x="501" y="624"/>
                </a:lnTo>
                <a:lnTo>
                  <a:pt x="502" y="624"/>
                </a:lnTo>
                <a:lnTo>
                  <a:pt x="505" y="624"/>
                </a:lnTo>
                <a:lnTo>
                  <a:pt x="506" y="624"/>
                </a:lnTo>
                <a:lnTo>
                  <a:pt x="509" y="623"/>
                </a:lnTo>
                <a:lnTo>
                  <a:pt x="511" y="623"/>
                </a:lnTo>
                <a:lnTo>
                  <a:pt x="514" y="623"/>
                </a:lnTo>
                <a:lnTo>
                  <a:pt x="515" y="621"/>
                </a:lnTo>
                <a:lnTo>
                  <a:pt x="517" y="621"/>
                </a:lnTo>
                <a:lnTo>
                  <a:pt x="520" y="620"/>
                </a:lnTo>
                <a:lnTo>
                  <a:pt x="522" y="620"/>
                </a:lnTo>
                <a:lnTo>
                  <a:pt x="525" y="620"/>
                </a:lnTo>
                <a:lnTo>
                  <a:pt x="527" y="618"/>
                </a:lnTo>
                <a:lnTo>
                  <a:pt x="529" y="618"/>
                </a:lnTo>
                <a:lnTo>
                  <a:pt x="531" y="617"/>
                </a:lnTo>
                <a:lnTo>
                  <a:pt x="534" y="617"/>
                </a:lnTo>
                <a:lnTo>
                  <a:pt x="536" y="617"/>
                </a:lnTo>
                <a:lnTo>
                  <a:pt x="539" y="615"/>
                </a:lnTo>
                <a:lnTo>
                  <a:pt x="541" y="615"/>
                </a:lnTo>
                <a:lnTo>
                  <a:pt x="544" y="615"/>
                </a:lnTo>
                <a:lnTo>
                  <a:pt x="545" y="615"/>
                </a:lnTo>
                <a:lnTo>
                  <a:pt x="548" y="613"/>
                </a:lnTo>
                <a:lnTo>
                  <a:pt x="551" y="613"/>
                </a:lnTo>
                <a:lnTo>
                  <a:pt x="552" y="613"/>
                </a:lnTo>
                <a:lnTo>
                  <a:pt x="555" y="611"/>
                </a:lnTo>
                <a:lnTo>
                  <a:pt x="556" y="611"/>
                </a:lnTo>
                <a:lnTo>
                  <a:pt x="559" y="611"/>
                </a:lnTo>
                <a:lnTo>
                  <a:pt x="561" y="611"/>
                </a:lnTo>
                <a:lnTo>
                  <a:pt x="564" y="611"/>
                </a:lnTo>
                <a:lnTo>
                  <a:pt x="566" y="609"/>
                </a:lnTo>
                <a:lnTo>
                  <a:pt x="569" y="609"/>
                </a:lnTo>
                <a:lnTo>
                  <a:pt x="570" y="608"/>
                </a:lnTo>
                <a:lnTo>
                  <a:pt x="573" y="608"/>
                </a:lnTo>
                <a:lnTo>
                  <a:pt x="576" y="608"/>
                </a:lnTo>
                <a:lnTo>
                  <a:pt x="576" y="605"/>
                </a:lnTo>
                <a:lnTo>
                  <a:pt x="577" y="605"/>
                </a:lnTo>
                <a:lnTo>
                  <a:pt x="580" y="605"/>
                </a:lnTo>
                <a:lnTo>
                  <a:pt x="583" y="605"/>
                </a:lnTo>
                <a:lnTo>
                  <a:pt x="584" y="605"/>
                </a:lnTo>
                <a:lnTo>
                  <a:pt x="586" y="605"/>
                </a:lnTo>
                <a:lnTo>
                  <a:pt x="589" y="604"/>
                </a:lnTo>
                <a:lnTo>
                  <a:pt x="591" y="604"/>
                </a:lnTo>
                <a:lnTo>
                  <a:pt x="593" y="601"/>
                </a:lnTo>
                <a:lnTo>
                  <a:pt x="596" y="601"/>
                </a:lnTo>
                <a:lnTo>
                  <a:pt x="597" y="601"/>
                </a:lnTo>
                <a:lnTo>
                  <a:pt x="600" y="601"/>
                </a:lnTo>
                <a:lnTo>
                  <a:pt x="602" y="600"/>
                </a:lnTo>
                <a:lnTo>
                  <a:pt x="604" y="600"/>
                </a:lnTo>
                <a:lnTo>
                  <a:pt x="605" y="600"/>
                </a:lnTo>
                <a:lnTo>
                  <a:pt x="608" y="598"/>
                </a:lnTo>
                <a:lnTo>
                  <a:pt x="611" y="598"/>
                </a:lnTo>
                <a:lnTo>
                  <a:pt x="612" y="598"/>
                </a:lnTo>
                <a:lnTo>
                  <a:pt x="615" y="598"/>
                </a:lnTo>
                <a:lnTo>
                  <a:pt x="616" y="596"/>
                </a:lnTo>
                <a:lnTo>
                  <a:pt x="619" y="596"/>
                </a:lnTo>
                <a:lnTo>
                  <a:pt x="622" y="596"/>
                </a:lnTo>
                <a:lnTo>
                  <a:pt x="624" y="595"/>
                </a:lnTo>
                <a:lnTo>
                  <a:pt x="626" y="595"/>
                </a:lnTo>
                <a:lnTo>
                  <a:pt x="629" y="592"/>
                </a:lnTo>
                <a:lnTo>
                  <a:pt x="630" y="592"/>
                </a:lnTo>
                <a:lnTo>
                  <a:pt x="632" y="592"/>
                </a:lnTo>
                <a:lnTo>
                  <a:pt x="635" y="592"/>
                </a:lnTo>
                <a:lnTo>
                  <a:pt x="637" y="591"/>
                </a:lnTo>
                <a:lnTo>
                  <a:pt x="639" y="591"/>
                </a:lnTo>
                <a:lnTo>
                  <a:pt x="641" y="588"/>
                </a:lnTo>
                <a:lnTo>
                  <a:pt x="644" y="588"/>
                </a:lnTo>
                <a:lnTo>
                  <a:pt x="646" y="588"/>
                </a:lnTo>
                <a:lnTo>
                  <a:pt x="649" y="588"/>
                </a:lnTo>
                <a:lnTo>
                  <a:pt x="650" y="588"/>
                </a:lnTo>
                <a:lnTo>
                  <a:pt x="651" y="588"/>
                </a:lnTo>
                <a:lnTo>
                  <a:pt x="654" y="588"/>
                </a:lnTo>
                <a:lnTo>
                  <a:pt x="655" y="588"/>
                </a:lnTo>
                <a:lnTo>
                  <a:pt x="657" y="588"/>
                </a:lnTo>
                <a:lnTo>
                  <a:pt x="660" y="587"/>
                </a:lnTo>
                <a:lnTo>
                  <a:pt x="662" y="587"/>
                </a:lnTo>
                <a:lnTo>
                  <a:pt x="664" y="586"/>
                </a:lnTo>
                <a:lnTo>
                  <a:pt x="665" y="586"/>
                </a:lnTo>
                <a:lnTo>
                  <a:pt x="666" y="584"/>
                </a:lnTo>
                <a:lnTo>
                  <a:pt x="669" y="584"/>
                </a:lnTo>
                <a:lnTo>
                  <a:pt x="672" y="584"/>
                </a:lnTo>
                <a:lnTo>
                  <a:pt x="674" y="584"/>
                </a:lnTo>
                <a:lnTo>
                  <a:pt x="676" y="583"/>
                </a:lnTo>
                <a:lnTo>
                  <a:pt x="678" y="583"/>
                </a:lnTo>
                <a:lnTo>
                  <a:pt x="679" y="581"/>
                </a:lnTo>
                <a:lnTo>
                  <a:pt x="680" y="581"/>
                </a:lnTo>
                <a:lnTo>
                  <a:pt x="682" y="579"/>
                </a:lnTo>
                <a:lnTo>
                  <a:pt x="683" y="579"/>
                </a:lnTo>
                <a:lnTo>
                  <a:pt x="685" y="579"/>
                </a:lnTo>
                <a:lnTo>
                  <a:pt x="687" y="579"/>
                </a:lnTo>
                <a:lnTo>
                  <a:pt x="689" y="579"/>
                </a:lnTo>
                <a:lnTo>
                  <a:pt x="691" y="579"/>
                </a:lnTo>
                <a:lnTo>
                  <a:pt x="694" y="579"/>
                </a:lnTo>
                <a:lnTo>
                  <a:pt x="696" y="579"/>
                </a:lnTo>
                <a:lnTo>
                  <a:pt x="697" y="578"/>
                </a:lnTo>
                <a:lnTo>
                  <a:pt x="700" y="578"/>
                </a:lnTo>
                <a:lnTo>
                  <a:pt x="701" y="575"/>
                </a:lnTo>
                <a:lnTo>
                  <a:pt x="703" y="575"/>
                </a:lnTo>
                <a:lnTo>
                  <a:pt x="704" y="575"/>
                </a:lnTo>
                <a:lnTo>
                  <a:pt x="707" y="575"/>
                </a:lnTo>
                <a:lnTo>
                  <a:pt x="710" y="574"/>
                </a:lnTo>
                <a:lnTo>
                  <a:pt x="711" y="574"/>
                </a:lnTo>
                <a:lnTo>
                  <a:pt x="714" y="573"/>
                </a:lnTo>
                <a:lnTo>
                  <a:pt x="715" y="573"/>
                </a:lnTo>
                <a:lnTo>
                  <a:pt x="718" y="570"/>
                </a:lnTo>
                <a:lnTo>
                  <a:pt x="719" y="570"/>
                </a:lnTo>
                <a:lnTo>
                  <a:pt x="722" y="570"/>
                </a:lnTo>
                <a:lnTo>
                  <a:pt x="724" y="568"/>
                </a:lnTo>
                <a:lnTo>
                  <a:pt x="726" y="568"/>
                </a:lnTo>
                <a:lnTo>
                  <a:pt x="728" y="566"/>
                </a:lnTo>
                <a:lnTo>
                  <a:pt x="729" y="566"/>
                </a:lnTo>
                <a:lnTo>
                  <a:pt x="732" y="566"/>
                </a:lnTo>
                <a:lnTo>
                  <a:pt x="733" y="566"/>
                </a:lnTo>
                <a:lnTo>
                  <a:pt x="735" y="566"/>
                </a:lnTo>
                <a:lnTo>
                  <a:pt x="737" y="564"/>
                </a:lnTo>
                <a:lnTo>
                  <a:pt x="740" y="562"/>
                </a:lnTo>
                <a:lnTo>
                  <a:pt x="741" y="562"/>
                </a:lnTo>
                <a:lnTo>
                  <a:pt x="743" y="562"/>
                </a:lnTo>
                <a:lnTo>
                  <a:pt x="746" y="562"/>
                </a:lnTo>
                <a:lnTo>
                  <a:pt x="749" y="561"/>
                </a:lnTo>
                <a:lnTo>
                  <a:pt x="750" y="561"/>
                </a:lnTo>
                <a:lnTo>
                  <a:pt x="751" y="559"/>
                </a:lnTo>
                <a:lnTo>
                  <a:pt x="755" y="556"/>
                </a:lnTo>
                <a:lnTo>
                  <a:pt x="757" y="556"/>
                </a:lnTo>
                <a:lnTo>
                  <a:pt x="760" y="556"/>
                </a:lnTo>
                <a:lnTo>
                  <a:pt x="761" y="556"/>
                </a:lnTo>
                <a:lnTo>
                  <a:pt x="764" y="555"/>
                </a:lnTo>
                <a:lnTo>
                  <a:pt x="765" y="555"/>
                </a:lnTo>
                <a:lnTo>
                  <a:pt x="768" y="555"/>
                </a:lnTo>
                <a:lnTo>
                  <a:pt x="771" y="553"/>
                </a:lnTo>
                <a:lnTo>
                  <a:pt x="772" y="553"/>
                </a:lnTo>
                <a:lnTo>
                  <a:pt x="775" y="553"/>
                </a:lnTo>
                <a:lnTo>
                  <a:pt x="776" y="551"/>
                </a:lnTo>
                <a:lnTo>
                  <a:pt x="779" y="550"/>
                </a:lnTo>
                <a:lnTo>
                  <a:pt x="780" y="550"/>
                </a:lnTo>
                <a:lnTo>
                  <a:pt x="783" y="549"/>
                </a:lnTo>
                <a:lnTo>
                  <a:pt x="786" y="549"/>
                </a:lnTo>
                <a:lnTo>
                  <a:pt x="788" y="547"/>
                </a:lnTo>
                <a:lnTo>
                  <a:pt x="789" y="547"/>
                </a:lnTo>
                <a:lnTo>
                  <a:pt x="791" y="546"/>
                </a:lnTo>
                <a:lnTo>
                  <a:pt x="794" y="546"/>
                </a:lnTo>
                <a:lnTo>
                  <a:pt x="796" y="543"/>
                </a:lnTo>
                <a:lnTo>
                  <a:pt x="799" y="543"/>
                </a:lnTo>
                <a:lnTo>
                  <a:pt x="801" y="543"/>
                </a:lnTo>
                <a:lnTo>
                  <a:pt x="803" y="543"/>
                </a:lnTo>
                <a:lnTo>
                  <a:pt x="805" y="542"/>
                </a:lnTo>
                <a:lnTo>
                  <a:pt x="808" y="542"/>
                </a:lnTo>
                <a:lnTo>
                  <a:pt x="810" y="539"/>
                </a:lnTo>
                <a:lnTo>
                  <a:pt x="813" y="539"/>
                </a:lnTo>
                <a:lnTo>
                  <a:pt x="814" y="539"/>
                </a:lnTo>
                <a:lnTo>
                  <a:pt x="816" y="539"/>
                </a:lnTo>
                <a:lnTo>
                  <a:pt x="819" y="539"/>
                </a:lnTo>
                <a:lnTo>
                  <a:pt x="821" y="538"/>
                </a:lnTo>
                <a:lnTo>
                  <a:pt x="824" y="538"/>
                </a:lnTo>
                <a:lnTo>
                  <a:pt x="826" y="537"/>
                </a:lnTo>
                <a:lnTo>
                  <a:pt x="828" y="537"/>
                </a:lnTo>
                <a:lnTo>
                  <a:pt x="830" y="534"/>
                </a:lnTo>
                <a:lnTo>
                  <a:pt x="833" y="534"/>
                </a:lnTo>
                <a:lnTo>
                  <a:pt x="835" y="534"/>
                </a:lnTo>
                <a:lnTo>
                  <a:pt x="836" y="534"/>
                </a:lnTo>
                <a:lnTo>
                  <a:pt x="839" y="534"/>
                </a:lnTo>
                <a:lnTo>
                  <a:pt x="842" y="533"/>
                </a:lnTo>
                <a:lnTo>
                  <a:pt x="843" y="533"/>
                </a:lnTo>
                <a:lnTo>
                  <a:pt x="846" y="533"/>
                </a:lnTo>
                <a:lnTo>
                  <a:pt x="847" y="530"/>
                </a:lnTo>
                <a:lnTo>
                  <a:pt x="849" y="530"/>
                </a:lnTo>
                <a:lnTo>
                  <a:pt x="851" y="530"/>
                </a:lnTo>
                <a:lnTo>
                  <a:pt x="854" y="530"/>
                </a:lnTo>
                <a:lnTo>
                  <a:pt x="856" y="530"/>
                </a:lnTo>
                <a:lnTo>
                  <a:pt x="858" y="530"/>
                </a:lnTo>
                <a:lnTo>
                  <a:pt x="860" y="530"/>
                </a:lnTo>
                <a:lnTo>
                  <a:pt x="863" y="530"/>
                </a:lnTo>
                <a:lnTo>
                  <a:pt x="864" y="529"/>
                </a:lnTo>
                <a:lnTo>
                  <a:pt x="865" y="529"/>
                </a:lnTo>
                <a:lnTo>
                  <a:pt x="868" y="529"/>
                </a:lnTo>
                <a:lnTo>
                  <a:pt x="870" y="529"/>
                </a:lnTo>
                <a:lnTo>
                  <a:pt x="872" y="528"/>
                </a:lnTo>
                <a:lnTo>
                  <a:pt x="875" y="528"/>
                </a:lnTo>
                <a:lnTo>
                  <a:pt x="876" y="528"/>
                </a:lnTo>
                <a:lnTo>
                  <a:pt x="879" y="528"/>
                </a:lnTo>
                <a:lnTo>
                  <a:pt x="881" y="526"/>
                </a:lnTo>
                <a:lnTo>
                  <a:pt x="882" y="526"/>
                </a:lnTo>
                <a:lnTo>
                  <a:pt x="885" y="526"/>
                </a:lnTo>
                <a:lnTo>
                  <a:pt x="886" y="526"/>
                </a:lnTo>
                <a:lnTo>
                  <a:pt x="888" y="526"/>
                </a:lnTo>
                <a:lnTo>
                  <a:pt x="890" y="525"/>
                </a:lnTo>
                <a:lnTo>
                  <a:pt x="892" y="525"/>
                </a:lnTo>
                <a:lnTo>
                  <a:pt x="893" y="525"/>
                </a:lnTo>
                <a:lnTo>
                  <a:pt x="896" y="524"/>
                </a:lnTo>
                <a:lnTo>
                  <a:pt x="897" y="524"/>
                </a:lnTo>
                <a:lnTo>
                  <a:pt x="899" y="524"/>
                </a:lnTo>
                <a:lnTo>
                  <a:pt x="901" y="524"/>
                </a:lnTo>
                <a:lnTo>
                  <a:pt x="903" y="521"/>
                </a:lnTo>
                <a:lnTo>
                  <a:pt x="904" y="521"/>
                </a:lnTo>
                <a:lnTo>
                  <a:pt x="906" y="521"/>
                </a:lnTo>
                <a:lnTo>
                  <a:pt x="909" y="521"/>
                </a:lnTo>
                <a:lnTo>
                  <a:pt x="910" y="521"/>
                </a:lnTo>
                <a:lnTo>
                  <a:pt x="911" y="521"/>
                </a:lnTo>
                <a:lnTo>
                  <a:pt x="913" y="521"/>
                </a:lnTo>
                <a:lnTo>
                  <a:pt x="915" y="519"/>
                </a:lnTo>
                <a:lnTo>
                  <a:pt x="917" y="519"/>
                </a:lnTo>
                <a:lnTo>
                  <a:pt x="918" y="519"/>
                </a:lnTo>
                <a:lnTo>
                  <a:pt x="921" y="517"/>
                </a:lnTo>
                <a:lnTo>
                  <a:pt x="923" y="517"/>
                </a:lnTo>
                <a:lnTo>
                  <a:pt x="924" y="517"/>
                </a:lnTo>
                <a:lnTo>
                  <a:pt x="925" y="517"/>
                </a:lnTo>
                <a:lnTo>
                  <a:pt x="926" y="517"/>
                </a:lnTo>
                <a:lnTo>
                  <a:pt x="928" y="517"/>
                </a:lnTo>
                <a:lnTo>
                  <a:pt x="929" y="517"/>
                </a:lnTo>
                <a:lnTo>
                  <a:pt x="931" y="517"/>
                </a:lnTo>
                <a:lnTo>
                  <a:pt x="932" y="516"/>
                </a:lnTo>
                <a:lnTo>
                  <a:pt x="935" y="516"/>
                </a:lnTo>
                <a:lnTo>
                  <a:pt x="936" y="516"/>
                </a:lnTo>
                <a:lnTo>
                  <a:pt x="938" y="514"/>
                </a:lnTo>
                <a:lnTo>
                  <a:pt x="940" y="514"/>
                </a:lnTo>
                <a:lnTo>
                  <a:pt x="942" y="514"/>
                </a:lnTo>
                <a:lnTo>
                  <a:pt x="943" y="513"/>
                </a:lnTo>
                <a:lnTo>
                  <a:pt x="945" y="513"/>
                </a:lnTo>
                <a:lnTo>
                  <a:pt x="948" y="513"/>
                </a:lnTo>
                <a:lnTo>
                  <a:pt x="949" y="513"/>
                </a:lnTo>
                <a:lnTo>
                  <a:pt x="950" y="512"/>
                </a:lnTo>
                <a:lnTo>
                  <a:pt x="951" y="512"/>
                </a:lnTo>
                <a:lnTo>
                  <a:pt x="954" y="512"/>
                </a:lnTo>
                <a:lnTo>
                  <a:pt x="956" y="511"/>
                </a:lnTo>
                <a:lnTo>
                  <a:pt x="957" y="511"/>
                </a:lnTo>
                <a:lnTo>
                  <a:pt x="960" y="511"/>
                </a:lnTo>
                <a:lnTo>
                  <a:pt x="961" y="508"/>
                </a:lnTo>
                <a:lnTo>
                  <a:pt x="963" y="508"/>
                </a:lnTo>
                <a:lnTo>
                  <a:pt x="964" y="508"/>
                </a:lnTo>
                <a:lnTo>
                  <a:pt x="967" y="508"/>
                </a:lnTo>
                <a:lnTo>
                  <a:pt x="968" y="508"/>
                </a:lnTo>
                <a:lnTo>
                  <a:pt x="970" y="508"/>
                </a:lnTo>
                <a:lnTo>
                  <a:pt x="971" y="508"/>
                </a:lnTo>
                <a:lnTo>
                  <a:pt x="973" y="506"/>
                </a:lnTo>
                <a:lnTo>
                  <a:pt x="975" y="506"/>
                </a:lnTo>
                <a:lnTo>
                  <a:pt x="976" y="506"/>
                </a:lnTo>
                <a:lnTo>
                  <a:pt x="978" y="506"/>
                </a:lnTo>
                <a:lnTo>
                  <a:pt x="981" y="504"/>
                </a:lnTo>
                <a:lnTo>
                  <a:pt x="982" y="504"/>
                </a:lnTo>
                <a:lnTo>
                  <a:pt x="984" y="504"/>
                </a:lnTo>
                <a:lnTo>
                  <a:pt x="985" y="504"/>
                </a:lnTo>
                <a:lnTo>
                  <a:pt x="986" y="504"/>
                </a:lnTo>
                <a:lnTo>
                  <a:pt x="988" y="504"/>
                </a:lnTo>
                <a:lnTo>
                  <a:pt x="989" y="504"/>
                </a:lnTo>
                <a:lnTo>
                  <a:pt x="990" y="504"/>
                </a:lnTo>
                <a:lnTo>
                  <a:pt x="993" y="504"/>
                </a:lnTo>
                <a:lnTo>
                  <a:pt x="995" y="503"/>
                </a:lnTo>
                <a:lnTo>
                  <a:pt x="996" y="503"/>
                </a:lnTo>
                <a:lnTo>
                  <a:pt x="999" y="503"/>
                </a:lnTo>
                <a:lnTo>
                  <a:pt x="1000" y="503"/>
                </a:lnTo>
                <a:lnTo>
                  <a:pt x="1001" y="501"/>
                </a:lnTo>
                <a:lnTo>
                  <a:pt x="1004" y="501"/>
                </a:lnTo>
                <a:lnTo>
                  <a:pt x="1006" y="501"/>
                </a:lnTo>
                <a:lnTo>
                  <a:pt x="1007" y="501"/>
                </a:lnTo>
                <a:lnTo>
                  <a:pt x="1010" y="501"/>
                </a:lnTo>
                <a:lnTo>
                  <a:pt x="1011" y="499"/>
                </a:lnTo>
                <a:lnTo>
                  <a:pt x="1014" y="499"/>
                </a:lnTo>
                <a:lnTo>
                  <a:pt x="1015" y="497"/>
                </a:lnTo>
                <a:lnTo>
                  <a:pt x="1018" y="497"/>
                </a:lnTo>
                <a:lnTo>
                  <a:pt x="1020" y="494"/>
                </a:lnTo>
                <a:lnTo>
                  <a:pt x="1023" y="494"/>
                </a:lnTo>
                <a:lnTo>
                  <a:pt x="1024" y="493"/>
                </a:lnTo>
                <a:lnTo>
                  <a:pt x="1026" y="492"/>
                </a:lnTo>
                <a:lnTo>
                  <a:pt x="1029" y="492"/>
                </a:lnTo>
                <a:lnTo>
                  <a:pt x="1031" y="491"/>
                </a:lnTo>
                <a:lnTo>
                  <a:pt x="1032" y="489"/>
                </a:lnTo>
                <a:lnTo>
                  <a:pt x="1034" y="488"/>
                </a:lnTo>
                <a:lnTo>
                  <a:pt x="1036" y="488"/>
                </a:lnTo>
                <a:lnTo>
                  <a:pt x="1038" y="486"/>
                </a:lnTo>
                <a:lnTo>
                  <a:pt x="1039" y="486"/>
                </a:lnTo>
                <a:lnTo>
                  <a:pt x="1040" y="486"/>
                </a:lnTo>
                <a:lnTo>
                  <a:pt x="1042" y="484"/>
                </a:lnTo>
                <a:lnTo>
                  <a:pt x="1043" y="481"/>
                </a:lnTo>
                <a:lnTo>
                  <a:pt x="1045" y="481"/>
                </a:lnTo>
                <a:lnTo>
                  <a:pt x="1048" y="481"/>
                </a:lnTo>
                <a:lnTo>
                  <a:pt x="1049" y="480"/>
                </a:lnTo>
                <a:lnTo>
                  <a:pt x="1050" y="479"/>
                </a:lnTo>
                <a:lnTo>
                  <a:pt x="1051" y="479"/>
                </a:lnTo>
                <a:lnTo>
                  <a:pt x="1054" y="476"/>
                </a:lnTo>
                <a:lnTo>
                  <a:pt x="1056" y="476"/>
                </a:lnTo>
                <a:lnTo>
                  <a:pt x="1059" y="476"/>
                </a:lnTo>
                <a:lnTo>
                  <a:pt x="1060" y="475"/>
                </a:lnTo>
                <a:lnTo>
                  <a:pt x="1061" y="472"/>
                </a:lnTo>
                <a:lnTo>
                  <a:pt x="1064" y="472"/>
                </a:lnTo>
                <a:lnTo>
                  <a:pt x="1065" y="471"/>
                </a:lnTo>
                <a:lnTo>
                  <a:pt x="1067" y="471"/>
                </a:lnTo>
                <a:lnTo>
                  <a:pt x="1068" y="469"/>
                </a:lnTo>
                <a:lnTo>
                  <a:pt x="1071" y="468"/>
                </a:lnTo>
                <a:lnTo>
                  <a:pt x="1073" y="467"/>
                </a:lnTo>
                <a:lnTo>
                  <a:pt x="1075" y="466"/>
                </a:lnTo>
                <a:lnTo>
                  <a:pt x="1076" y="463"/>
                </a:lnTo>
                <a:lnTo>
                  <a:pt x="1079" y="463"/>
                </a:lnTo>
                <a:lnTo>
                  <a:pt x="1081" y="463"/>
                </a:lnTo>
                <a:lnTo>
                  <a:pt x="1084" y="462"/>
                </a:lnTo>
                <a:lnTo>
                  <a:pt x="1085" y="459"/>
                </a:lnTo>
                <a:lnTo>
                  <a:pt x="1088" y="459"/>
                </a:lnTo>
                <a:lnTo>
                  <a:pt x="1089" y="458"/>
                </a:lnTo>
                <a:lnTo>
                  <a:pt x="1092" y="456"/>
                </a:lnTo>
                <a:lnTo>
                  <a:pt x="1093" y="455"/>
                </a:lnTo>
                <a:lnTo>
                  <a:pt x="1096" y="454"/>
                </a:lnTo>
                <a:lnTo>
                  <a:pt x="1098" y="454"/>
                </a:lnTo>
                <a:lnTo>
                  <a:pt x="1100" y="452"/>
                </a:lnTo>
                <a:lnTo>
                  <a:pt x="1103" y="450"/>
                </a:lnTo>
                <a:lnTo>
                  <a:pt x="1104" y="450"/>
                </a:lnTo>
                <a:lnTo>
                  <a:pt x="1107" y="449"/>
                </a:lnTo>
                <a:lnTo>
                  <a:pt x="1109" y="447"/>
                </a:lnTo>
                <a:lnTo>
                  <a:pt x="1110" y="447"/>
                </a:lnTo>
                <a:lnTo>
                  <a:pt x="1111" y="446"/>
                </a:lnTo>
                <a:lnTo>
                  <a:pt x="1113" y="446"/>
                </a:lnTo>
                <a:lnTo>
                  <a:pt x="1115" y="444"/>
                </a:lnTo>
                <a:lnTo>
                  <a:pt x="1117" y="443"/>
                </a:lnTo>
                <a:lnTo>
                  <a:pt x="1120" y="441"/>
                </a:lnTo>
                <a:lnTo>
                  <a:pt x="1121" y="441"/>
                </a:lnTo>
                <a:lnTo>
                  <a:pt x="1124" y="439"/>
                </a:lnTo>
                <a:lnTo>
                  <a:pt x="1125" y="437"/>
                </a:lnTo>
                <a:lnTo>
                  <a:pt x="1128" y="437"/>
                </a:lnTo>
                <a:lnTo>
                  <a:pt x="1129" y="435"/>
                </a:lnTo>
                <a:lnTo>
                  <a:pt x="1132" y="432"/>
                </a:lnTo>
                <a:lnTo>
                  <a:pt x="1134" y="432"/>
                </a:lnTo>
                <a:lnTo>
                  <a:pt x="1136" y="431"/>
                </a:lnTo>
                <a:lnTo>
                  <a:pt x="1138" y="430"/>
                </a:lnTo>
                <a:lnTo>
                  <a:pt x="1139" y="427"/>
                </a:lnTo>
                <a:lnTo>
                  <a:pt x="1142" y="427"/>
                </a:lnTo>
                <a:lnTo>
                  <a:pt x="1145" y="427"/>
                </a:lnTo>
                <a:lnTo>
                  <a:pt x="1146" y="426"/>
                </a:lnTo>
                <a:lnTo>
                  <a:pt x="1149" y="425"/>
                </a:lnTo>
                <a:lnTo>
                  <a:pt x="1150" y="424"/>
                </a:lnTo>
                <a:lnTo>
                  <a:pt x="1153" y="422"/>
                </a:lnTo>
                <a:lnTo>
                  <a:pt x="1155" y="422"/>
                </a:lnTo>
                <a:lnTo>
                  <a:pt x="1156" y="421"/>
                </a:lnTo>
                <a:lnTo>
                  <a:pt x="1159" y="419"/>
                </a:lnTo>
                <a:lnTo>
                  <a:pt x="1160" y="418"/>
                </a:lnTo>
                <a:lnTo>
                  <a:pt x="1163" y="417"/>
                </a:lnTo>
                <a:lnTo>
                  <a:pt x="1164" y="417"/>
                </a:lnTo>
                <a:lnTo>
                  <a:pt x="1167" y="414"/>
                </a:lnTo>
                <a:lnTo>
                  <a:pt x="1170" y="414"/>
                </a:lnTo>
                <a:lnTo>
                  <a:pt x="1171" y="413"/>
                </a:lnTo>
                <a:lnTo>
                  <a:pt x="1174" y="410"/>
                </a:lnTo>
                <a:lnTo>
                  <a:pt x="1175" y="410"/>
                </a:lnTo>
                <a:lnTo>
                  <a:pt x="1177" y="410"/>
                </a:lnTo>
                <a:lnTo>
                  <a:pt x="1180" y="410"/>
                </a:lnTo>
                <a:lnTo>
                  <a:pt x="1183" y="409"/>
                </a:lnTo>
                <a:lnTo>
                  <a:pt x="1184" y="409"/>
                </a:lnTo>
                <a:lnTo>
                  <a:pt x="1186" y="407"/>
                </a:lnTo>
                <a:lnTo>
                  <a:pt x="1189" y="407"/>
                </a:lnTo>
                <a:lnTo>
                  <a:pt x="1191" y="405"/>
                </a:lnTo>
                <a:lnTo>
                  <a:pt x="1194" y="405"/>
                </a:lnTo>
                <a:lnTo>
                  <a:pt x="1196" y="405"/>
                </a:lnTo>
                <a:lnTo>
                  <a:pt x="1198" y="405"/>
                </a:lnTo>
                <a:lnTo>
                  <a:pt x="1200" y="405"/>
                </a:lnTo>
                <a:lnTo>
                  <a:pt x="1203" y="404"/>
                </a:lnTo>
                <a:lnTo>
                  <a:pt x="1205" y="404"/>
                </a:lnTo>
                <a:lnTo>
                  <a:pt x="1208" y="404"/>
                </a:lnTo>
                <a:lnTo>
                  <a:pt x="1210" y="401"/>
                </a:lnTo>
                <a:lnTo>
                  <a:pt x="1213" y="401"/>
                </a:lnTo>
                <a:lnTo>
                  <a:pt x="1214" y="401"/>
                </a:lnTo>
                <a:lnTo>
                  <a:pt x="1216" y="401"/>
                </a:lnTo>
                <a:lnTo>
                  <a:pt x="1219" y="401"/>
                </a:lnTo>
                <a:lnTo>
                  <a:pt x="1221" y="400"/>
                </a:lnTo>
                <a:lnTo>
                  <a:pt x="1223" y="401"/>
                </a:lnTo>
                <a:lnTo>
                  <a:pt x="1225" y="401"/>
                </a:lnTo>
                <a:lnTo>
                  <a:pt x="1227" y="401"/>
                </a:lnTo>
                <a:lnTo>
                  <a:pt x="1230" y="401"/>
                </a:lnTo>
                <a:lnTo>
                  <a:pt x="1231" y="400"/>
                </a:lnTo>
                <a:lnTo>
                  <a:pt x="1233" y="397"/>
                </a:lnTo>
                <a:lnTo>
                  <a:pt x="1234" y="397"/>
                </a:lnTo>
                <a:lnTo>
                  <a:pt x="1237" y="397"/>
                </a:lnTo>
                <a:lnTo>
                  <a:pt x="1238" y="397"/>
                </a:lnTo>
                <a:lnTo>
                  <a:pt x="1241" y="396"/>
                </a:lnTo>
                <a:lnTo>
                  <a:pt x="1242" y="396"/>
                </a:lnTo>
                <a:lnTo>
                  <a:pt x="1245" y="396"/>
                </a:lnTo>
                <a:lnTo>
                  <a:pt x="1246" y="394"/>
                </a:lnTo>
                <a:lnTo>
                  <a:pt x="1249" y="394"/>
                </a:lnTo>
                <a:lnTo>
                  <a:pt x="1250" y="394"/>
                </a:lnTo>
                <a:lnTo>
                  <a:pt x="1252" y="392"/>
                </a:lnTo>
                <a:lnTo>
                  <a:pt x="1255" y="392"/>
                </a:lnTo>
                <a:lnTo>
                  <a:pt x="1256" y="392"/>
                </a:lnTo>
                <a:lnTo>
                  <a:pt x="1259" y="392"/>
                </a:lnTo>
                <a:lnTo>
                  <a:pt x="1260" y="392"/>
                </a:lnTo>
                <a:lnTo>
                  <a:pt x="1263" y="392"/>
                </a:lnTo>
                <a:lnTo>
                  <a:pt x="1264" y="390"/>
                </a:lnTo>
                <a:lnTo>
                  <a:pt x="1267" y="390"/>
                </a:lnTo>
                <a:lnTo>
                  <a:pt x="1269" y="390"/>
                </a:lnTo>
                <a:lnTo>
                  <a:pt x="1270" y="388"/>
                </a:lnTo>
                <a:lnTo>
                  <a:pt x="1271" y="388"/>
                </a:lnTo>
                <a:lnTo>
                  <a:pt x="1274" y="388"/>
                </a:lnTo>
                <a:lnTo>
                  <a:pt x="1275" y="388"/>
                </a:lnTo>
                <a:lnTo>
                  <a:pt x="1278" y="388"/>
                </a:lnTo>
                <a:lnTo>
                  <a:pt x="1281" y="388"/>
                </a:lnTo>
                <a:lnTo>
                  <a:pt x="1283" y="387"/>
                </a:lnTo>
                <a:lnTo>
                  <a:pt x="1284" y="387"/>
                </a:lnTo>
                <a:lnTo>
                  <a:pt x="1285" y="385"/>
                </a:lnTo>
                <a:lnTo>
                  <a:pt x="1288" y="384"/>
                </a:lnTo>
                <a:lnTo>
                  <a:pt x="1291" y="384"/>
                </a:lnTo>
                <a:lnTo>
                  <a:pt x="1292" y="382"/>
                </a:lnTo>
                <a:lnTo>
                  <a:pt x="1294" y="382"/>
                </a:lnTo>
                <a:lnTo>
                  <a:pt x="1295" y="381"/>
                </a:lnTo>
                <a:lnTo>
                  <a:pt x="1298" y="379"/>
                </a:lnTo>
                <a:lnTo>
                  <a:pt x="1299" y="379"/>
                </a:lnTo>
                <a:lnTo>
                  <a:pt x="1302" y="379"/>
                </a:lnTo>
                <a:lnTo>
                  <a:pt x="1303" y="377"/>
                </a:lnTo>
                <a:lnTo>
                  <a:pt x="1305" y="375"/>
                </a:lnTo>
                <a:lnTo>
                  <a:pt x="1308" y="375"/>
                </a:lnTo>
                <a:lnTo>
                  <a:pt x="1309" y="375"/>
                </a:lnTo>
                <a:lnTo>
                  <a:pt x="1310" y="373"/>
                </a:lnTo>
                <a:lnTo>
                  <a:pt x="1313" y="372"/>
                </a:lnTo>
                <a:lnTo>
                  <a:pt x="1314" y="372"/>
                </a:lnTo>
                <a:lnTo>
                  <a:pt x="1316" y="369"/>
                </a:lnTo>
                <a:lnTo>
                  <a:pt x="1319" y="369"/>
                </a:lnTo>
                <a:lnTo>
                  <a:pt x="1320" y="369"/>
                </a:lnTo>
                <a:lnTo>
                  <a:pt x="1321" y="368"/>
                </a:lnTo>
                <a:lnTo>
                  <a:pt x="1324" y="365"/>
                </a:lnTo>
                <a:lnTo>
                  <a:pt x="1325" y="365"/>
                </a:lnTo>
                <a:lnTo>
                  <a:pt x="1328" y="365"/>
                </a:lnTo>
                <a:lnTo>
                  <a:pt x="1330" y="364"/>
                </a:lnTo>
                <a:lnTo>
                  <a:pt x="1331" y="363"/>
                </a:lnTo>
                <a:lnTo>
                  <a:pt x="1335" y="362"/>
                </a:lnTo>
                <a:lnTo>
                  <a:pt x="1337" y="360"/>
                </a:lnTo>
                <a:lnTo>
                  <a:pt x="1339" y="359"/>
                </a:lnTo>
                <a:lnTo>
                  <a:pt x="1341" y="356"/>
                </a:lnTo>
                <a:lnTo>
                  <a:pt x="1342" y="356"/>
                </a:lnTo>
                <a:lnTo>
                  <a:pt x="1345" y="356"/>
                </a:lnTo>
                <a:lnTo>
                  <a:pt x="1347" y="355"/>
                </a:lnTo>
                <a:lnTo>
                  <a:pt x="1348" y="355"/>
                </a:lnTo>
                <a:lnTo>
                  <a:pt x="1350" y="352"/>
                </a:lnTo>
                <a:lnTo>
                  <a:pt x="1353" y="352"/>
                </a:lnTo>
                <a:lnTo>
                  <a:pt x="1355" y="351"/>
                </a:lnTo>
                <a:lnTo>
                  <a:pt x="1356" y="350"/>
                </a:lnTo>
                <a:lnTo>
                  <a:pt x="1359" y="350"/>
                </a:lnTo>
                <a:lnTo>
                  <a:pt x="1360" y="347"/>
                </a:lnTo>
                <a:lnTo>
                  <a:pt x="1362" y="347"/>
                </a:lnTo>
                <a:lnTo>
                  <a:pt x="1363" y="347"/>
                </a:lnTo>
                <a:lnTo>
                  <a:pt x="1366" y="345"/>
                </a:lnTo>
                <a:lnTo>
                  <a:pt x="1367" y="343"/>
                </a:lnTo>
                <a:lnTo>
                  <a:pt x="1369" y="343"/>
                </a:lnTo>
                <a:lnTo>
                  <a:pt x="1372" y="343"/>
                </a:lnTo>
                <a:lnTo>
                  <a:pt x="1373" y="342"/>
                </a:lnTo>
                <a:lnTo>
                  <a:pt x="1374" y="339"/>
                </a:lnTo>
                <a:lnTo>
                  <a:pt x="1377" y="339"/>
                </a:lnTo>
                <a:lnTo>
                  <a:pt x="1378" y="339"/>
                </a:lnTo>
                <a:lnTo>
                  <a:pt x="1381" y="338"/>
                </a:lnTo>
                <a:lnTo>
                  <a:pt x="1383" y="338"/>
                </a:lnTo>
                <a:lnTo>
                  <a:pt x="1384" y="337"/>
                </a:lnTo>
                <a:lnTo>
                  <a:pt x="1387" y="337"/>
                </a:lnTo>
                <a:lnTo>
                  <a:pt x="1388" y="334"/>
                </a:lnTo>
                <a:lnTo>
                  <a:pt x="1391" y="334"/>
                </a:lnTo>
                <a:lnTo>
                  <a:pt x="1392" y="334"/>
                </a:lnTo>
                <a:lnTo>
                  <a:pt x="1395" y="334"/>
                </a:lnTo>
                <a:lnTo>
                  <a:pt x="1397" y="332"/>
                </a:lnTo>
                <a:lnTo>
                  <a:pt x="1398" y="332"/>
                </a:lnTo>
                <a:lnTo>
                  <a:pt x="1399" y="332"/>
                </a:lnTo>
                <a:lnTo>
                  <a:pt x="1401" y="330"/>
                </a:lnTo>
                <a:lnTo>
                  <a:pt x="1403" y="330"/>
                </a:lnTo>
                <a:lnTo>
                  <a:pt x="1405" y="330"/>
                </a:lnTo>
                <a:lnTo>
                  <a:pt x="1406" y="330"/>
                </a:lnTo>
                <a:lnTo>
                  <a:pt x="1408" y="330"/>
                </a:lnTo>
                <a:lnTo>
                  <a:pt x="1409" y="329"/>
                </a:lnTo>
                <a:lnTo>
                  <a:pt x="1410" y="329"/>
                </a:lnTo>
                <a:lnTo>
                  <a:pt x="1413" y="329"/>
                </a:lnTo>
                <a:lnTo>
                  <a:pt x="1416" y="327"/>
                </a:lnTo>
                <a:lnTo>
                  <a:pt x="1417" y="327"/>
                </a:lnTo>
                <a:lnTo>
                  <a:pt x="1420" y="326"/>
                </a:lnTo>
                <a:lnTo>
                  <a:pt x="1423" y="326"/>
                </a:lnTo>
                <a:lnTo>
                  <a:pt x="1424" y="326"/>
                </a:lnTo>
                <a:lnTo>
                  <a:pt x="1426" y="325"/>
                </a:lnTo>
                <a:lnTo>
                  <a:pt x="1429" y="325"/>
                </a:lnTo>
                <a:lnTo>
                  <a:pt x="1431" y="325"/>
                </a:lnTo>
                <a:lnTo>
                  <a:pt x="1433" y="323"/>
                </a:lnTo>
                <a:lnTo>
                  <a:pt x="1434" y="323"/>
                </a:lnTo>
                <a:lnTo>
                  <a:pt x="1437" y="323"/>
                </a:lnTo>
                <a:lnTo>
                  <a:pt x="1438" y="320"/>
                </a:lnTo>
                <a:lnTo>
                  <a:pt x="1441" y="320"/>
                </a:lnTo>
                <a:lnTo>
                  <a:pt x="1444" y="320"/>
                </a:lnTo>
                <a:lnTo>
                  <a:pt x="1447" y="320"/>
                </a:lnTo>
                <a:lnTo>
                  <a:pt x="1448" y="320"/>
                </a:lnTo>
                <a:lnTo>
                  <a:pt x="1451" y="319"/>
                </a:lnTo>
                <a:lnTo>
                  <a:pt x="1454" y="319"/>
                </a:lnTo>
                <a:lnTo>
                  <a:pt x="1455" y="319"/>
                </a:lnTo>
                <a:lnTo>
                  <a:pt x="1456" y="319"/>
                </a:lnTo>
                <a:lnTo>
                  <a:pt x="1459" y="317"/>
                </a:lnTo>
                <a:lnTo>
                  <a:pt x="1460" y="317"/>
                </a:lnTo>
                <a:lnTo>
                  <a:pt x="1463" y="317"/>
                </a:lnTo>
                <a:lnTo>
                  <a:pt x="1466" y="317"/>
                </a:lnTo>
                <a:lnTo>
                  <a:pt x="1468" y="317"/>
                </a:lnTo>
                <a:lnTo>
                  <a:pt x="1470" y="317"/>
                </a:lnTo>
                <a:lnTo>
                  <a:pt x="1473" y="317"/>
                </a:lnTo>
                <a:lnTo>
                  <a:pt x="1474" y="315"/>
                </a:lnTo>
                <a:lnTo>
                  <a:pt x="1477" y="315"/>
                </a:lnTo>
                <a:lnTo>
                  <a:pt x="1479" y="314"/>
                </a:lnTo>
                <a:lnTo>
                  <a:pt x="1480" y="314"/>
                </a:lnTo>
                <a:lnTo>
                  <a:pt x="1482" y="312"/>
                </a:lnTo>
                <a:lnTo>
                  <a:pt x="1484" y="312"/>
                </a:lnTo>
                <a:lnTo>
                  <a:pt x="1485" y="312"/>
                </a:lnTo>
                <a:lnTo>
                  <a:pt x="1487" y="312"/>
                </a:lnTo>
                <a:lnTo>
                  <a:pt x="1488" y="310"/>
                </a:lnTo>
                <a:lnTo>
                  <a:pt x="1490" y="310"/>
                </a:lnTo>
                <a:lnTo>
                  <a:pt x="1491" y="309"/>
                </a:lnTo>
                <a:lnTo>
                  <a:pt x="1493" y="309"/>
                </a:lnTo>
                <a:lnTo>
                  <a:pt x="1494" y="307"/>
                </a:lnTo>
                <a:lnTo>
                  <a:pt x="1495" y="307"/>
                </a:lnTo>
                <a:lnTo>
                  <a:pt x="1498" y="306"/>
                </a:lnTo>
                <a:lnTo>
                  <a:pt x="1499" y="306"/>
                </a:lnTo>
                <a:lnTo>
                  <a:pt x="1501" y="303"/>
                </a:lnTo>
                <a:lnTo>
                  <a:pt x="1502" y="303"/>
                </a:lnTo>
                <a:lnTo>
                  <a:pt x="1504" y="303"/>
                </a:lnTo>
                <a:lnTo>
                  <a:pt x="1505" y="302"/>
                </a:lnTo>
                <a:lnTo>
                  <a:pt x="1507" y="302"/>
                </a:lnTo>
                <a:lnTo>
                  <a:pt x="1508" y="301"/>
                </a:lnTo>
                <a:lnTo>
                  <a:pt x="1510" y="301"/>
                </a:lnTo>
                <a:lnTo>
                  <a:pt x="1512" y="298"/>
                </a:lnTo>
                <a:lnTo>
                  <a:pt x="1515" y="298"/>
                </a:lnTo>
                <a:lnTo>
                  <a:pt x="1516" y="298"/>
                </a:lnTo>
                <a:lnTo>
                  <a:pt x="1519" y="298"/>
                </a:lnTo>
                <a:lnTo>
                  <a:pt x="1522" y="297"/>
                </a:lnTo>
                <a:lnTo>
                  <a:pt x="1523" y="294"/>
                </a:lnTo>
                <a:lnTo>
                  <a:pt x="1526" y="294"/>
                </a:lnTo>
                <a:lnTo>
                  <a:pt x="1529" y="294"/>
                </a:lnTo>
                <a:lnTo>
                  <a:pt x="1530" y="294"/>
                </a:lnTo>
                <a:lnTo>
                  <a:pt x="1532" y="293"/>
                </a:lnTo>
                <a:lnTo>
                  <a:pt x="1533" y="293"/>
                </a:lnTo>
                <a:lnTo>
                  <a:pt x="1535" y="292"/>
                </a:lnTo>
                <a:lnTo>
                  <a:pt x="1538" y="292"/>
                </a:lnTo>
                <a:lnTo>
                  <a:pt x="1540" y="290"/>
                </a:lnTo>
                <a:lnTo>
                  <a:pt x="1543" y="290"/>
                </a:lnTo>
                <a:lnTo>
                  <a:pt x="1545" y="289"/>
                </a:lnTo>
                <a:lnTo>
                  <a:pt x="1547" y="288"/>
                </a:lnTo>
                <a:lnTo>
                  <a:pt x="1548" y="288"/>
                </a:lnTo>
                <a:lnTo>
                  <a:pt x="1551" y="286"/>
                </a:lnTo>
                <a:lnTo>
                  <a:pt x="1554" y="286"/>
                </a:lnTo>
                <a:lnTo>
                  <a:pt x="1555" y="285"/>
                </a:lnTo>
                <a:lnTo>
                  <a:pt x="1558" y="285"/>
                </a:lnTo>
                <a:lnTo>
                  <a:pt x="1559" y="284"/>
                </a:lnTo>
                <a:lnTo>
                  <a:pt x="1560" y="284"/>
                </a:lnTo>
                <a:lnTo>
                  <a:pt x="1562" y="284"/>
                </a:lnTo>
                <a:lnTo>
                  <a:pt x="1563" y="284"/>
                </a:lnTo>
                <a:lnTo>
                  <a:pt x="1566" y="284"/>
                </a:lnTo>
                <a:lnTo>
                  <a:pt x="1568" y="281"/>
                </a:lnTo>
                <a:lnTo>
                  <a:pt x="1570" y="281"/>
                </a:lnTo>
                <a:lnTo>
                  <a:pt x="1572" y="281"/>
                </a:lnTo>
                <a:lnTo>
                  <a:pt x="1574" y="280"/>
                </a:lnTo>
                <a:lnTo>
                  <a:pt x="1576" y="278"/>
                </a:lnTo>
                <a:lnTo>
                  <a:pt x="1579" y="276"/>
                </a:lnTo>
                <a:lnTo>
                  <a:pt x="1582" y="276"/>
                </a:lnTo>
                <a:lnTo>
                  <a:pt x="1583" y="276"/>
                </a:lnTo>
                <a:lnTo>
                  <a:pt x="1585" y="276"/>
                </a:lnTo>
                <a:lnTo>
                  <a:pt x="1588" y="276"/>
                </a:lnTo>
                <a:lnTo>
                  <a:pt x="1590" y="275"/>
                </a:lnTo>
                <a:lnTo>
                  <a:pt x="1593" y="275"/>
                </a:lnTo>
                <a:lnTo>
                  <a:pt x="1595" y="272"/>
                </a:lnTo>
                <a:lnTo>
                  <a:pt x="1597" y="272"/>
                </a:lnTo>
                <a:lnTo>
                  <a:pt x="1599" y="272"/>
                </a:lnTo>
                <a:lnTo>
                  <a:pt x="1602" y="272"/>
                </a:lnTo>
                <a:lnTo>
                  <a:pt x="1604" y="270"/>
                </a:lnTo>
                <a:lnTo>
                  <a:pt x="1605" y="270"/>
                </a:lnTo>
                <a:lnTo>
                  <a:pt x="1608" y="268"/>
                </a:lnTo>
                <a:lnTo>
                  <a:pt x="1609" y="268"/>
                </a:lnTo>
                <a:lnTo>
                  <a:pt x="1610" y="268"/>
                </a:lnTo>
                <a:lnTo>
                  <a:pt x="1613" y="267"/>
                </a:lnTo>
                <a:lnTo>
                  <a:pt x="1616" y="267"/>
                </a:lnTo>
                <a:lnTo>
                  <a:pt x="1618" y="265"/>
                </a:lnTo>
                <a:lnTo>
                  <a:pt x="1619" y="265"/>
                </a:lnTo>
                <a:lnTo>
                  <a:pt x="1620" y="264"/>
                </a:lnTo>
                <a:lnTo>
                  <a:pt x="1622" y="264"/>
                </a:lnTo>
                <a:lnTo>
                  <a:pt x="1624" y="264"/>
                </a:lnTo>
                <a:lnTo>
                  <a:pt x="1626" y="263"/>
                </a:lnTo>
                <a:lnTo>
                  <a:pt x="1627" y="263"/>
                </a:lnTo>
                <a:lnTo>
                  <a:pt x="1630" y="261"/>
                </a:lnTo>
                <a:lnTo>
                  <a:pt x="1633" y="261"/>
                </a:lnTo>
                <a:lnTo>
                  <a:pt x="1634" y="261"/>
                </a:lnTo>
                <a:lnTo>
                  <a:pt x="1637" y="259"/>
                </a:lnTo>
                <a:lnTo>
                  <a:pt x="1638" y="259"/>
                </a:lnTo>
                <a:lnTo>
                  <a:pt x="1641" y="259"/>
                </a:lnTo>
                <a:lnTo>
                  <a:pt x="1644" y="259"/>
                </a:lnTo>
                <a:lnTo>
                  <a:pt x="1647" y="259"/>
                </a:lnTo>
                <a:lnTo>
                  <a:pt x="1648" y="259"/>
                </a:lnTo>
                <a:lnTo>
                  <a:pt x="1649" y="257"/>
                </a:lnTo>
                <a:lnTo>
                  <a:pt x="1649" y="259"/>
                </a:lnTo>
                <a:lnTo>
                  <a:pt x="1654" y="259"/>
                </a:lnTo>
                <a:lnTo>
                  <a:pt x="1793" y="232"/>
                </a:lnTo>
                <a:lnTo>
                  <a:pt x="1947" y="165"/>
                </a:lnTo>
                <a:lnTo>
                  <a:pt x="1961" y="161"/>
                </a:lnTo>
                <a:lnTo>
                  <a:pt x="2235" y="66"/>
                </a:lnTo>
                <a:lnTo>
                  <a:pt x="2407" y="9"/>
                </a:lnTo>
                <a:lnTo>
                  <a:pt x="2432" y="0"/>
                </a:lnTo>
                <a:lnTo>
                  <a:pt x="2441" y="9"/>
                </a:lnTo>
                <a:lnTo>
                  <a:pt x="2446" y="22"/>
                </a:lnTo>
                <a:lnTo>
                  <a:pt x="2463" y="22"/>
                </a:lnTo>
                <a:lnTo>
                  <a:pt x="2468" y="27"/>
                </a:lnTo>
                <a:lnTo>
                  <a:pt x="2476" y="29"/>
                </a:lnTo>
                <a:lnTo>
                  <a:pt x="2480" y="40"/>
                </a:lnTo>
                <a:lnTo>
                  <a:pt x="2478" y="45"/>
                </a:lnTo>
                <a:lnTo>
                  <a:pt x="2491" y="65"/>
                </a:lnTo>
                <a:lnTo>
                  <a:pt x="2491" y="72"/>
                </a:lnTo>
                <a:lnTo>
                  <a:pt x="2481" y="89"/>
                </a:lnTo>
                <a:lnTo>
                  <a:pt x="2485" y="98"/>
                </a:lnTo>
                <a:lnTo>
                  <a:pt x="2476" y="110"/>
                </a:lnTo>
                <a:lnTo>
                  <a:pt x="2473" y="114"/>
                </a:lnTo>
                <a:lnTo>
                  <a:pt x="2477" y="120"/>
                </a:lnTo>
                <a:lnTo>
                  <a:pt x="2484" y="126"/>
                </a:lnTo>
                <a:lnTo>
                  <a:pt x="2484" y="132"/>
                </a:lnTo>
                <a:lnTo>
                  <a:pt x="2491" y="134"/>
                </a:lnTo>
                <a:lnTo>
                  <a:pt x="2503" y="147"/>
                </a:lnTo>
                <a:lnTo>
                  <a:pt x="2509" y="174"/>
                </a:lnTo>
                <a:lnTo>
                  <a:pt x="2521" y="178"/>
                </a:lnTo>
                <a:lnTo>
                  <a:pt x="2533" y="169"/>
                </a:lnTo>
                <a:lnTo>
                  <a:pt x="2542" y="174"/>
                </a:lnTo>
                <a:lnTo>
                  <a:pt x="2545" y="194"/>
                </a:lnTo>
                <a:lnTo>
                  <a:pt x="2556" y="205"/>
                </a:lnTo>
                <a:lnTo>
                  <a:pt x="2562" y="222"/>
                </a:lnTo>
                <a:lnTo>
                  <a:pt x="2573" y="235"/>
                </a:lnTo>
                <a:lnTo>
                  <a:pt x="2581" y="255"/>
                </a:lnTo>
                <a:lnTo>
                  <a:pt x="2592" y="265"/>
                </a:lnTo>
                <a:lnTo>
                  <a:pt x="2598" y="281"/>
                </a:lnTo>
                <a:lnTo>
                  <a:pt x="2595" y="293"/>
                </a:lnTo>
                <a:lnTo>
                  <a:pt x="2613" y="312"/>
                </a:lnTo>
                <a:lnTo>
                  <a:pt x="2617" y="326"/>
                </a:lnTo>
                <a:lnTo>
                  <a:pt x="2633" y="330"/>
                </a:lnTo>
                <a:lnTo>
                  <a:pt x="2644" y="342"/>
                </a:lnTo>
                <a:lnTo>
                  <a:pt x="2659" y="339"/>
                </a:lnTo>
                <a:lnTo>
                  <a:pt x="2667" y="347"/>
                </a:lnTo>
                <a:lnTo>
                  <a:pt x="2686" y="375"/>
                </a:lnTo>
                <a:lnTo>
                  <a:pt x="2688" y="388"/>
                </a:lnTo>
                <a:lnTo>
                  <a:pt x="2702" y="388"/>
                </a:lnTo>
                <a:lnTo>
                  <a:pt x="2716" y="392"/>
                </a:lnTo>
                <a:lnTo>
                  <a:pt x="2740" y="427"/>
                </a:lnTo>
                <a:lnTo>
                  <a:pt x="2734" y="446"/>
                </a:lnTo>
                <a:lnTo>
                  <a:pt x="2750" y="481"/>
                </a:lnTo>
                <a:lnTo>
                  <a:pt x="2759" y="481"/>
                </a:lnTo>
                <a:lnTo>
                  <a:pt x="2761" y="486"/>
                </a:lnTo>
                <a:lnTo>
                  <a:pt x="2767" y="486"/>
                </a:lnTo>
                <a:lnTo>
                  <a:pt x="2773" y="497"/>
                </a:lnTo>
                <a:lnTo>
                  <a:pt x="2786" y="494"/>
                </a:lnTo>
                <a:lnTo>
                  <a:pt x="2790" y="486"/>
                </a:lnTo>
                <a:lnTo>
                  <a:pt x="2791" y="479"/>
                </a:lnTo>
                <a:lnTo>
                  <a:pt x="2812" y="463"/>
                </a:lnTo>
                <a:lnTo>
                  <a:pt x="2800" y="435"/>
                </a:lnTo>
                <a:lnTo>
                  <a:pt x="2807" y="422"/>
                </a:lnTo>
                <a:lnTo>
                  <a:pt x="2807" y="410"/>
                </a:lnTo>
                <a:lnTo>
                  <a:pt x="2811" y="405"/>
                </a:lnTo>
                <a:lnTo>
                  <a:pt x="2815" y="404"/>
                </a:lnTo>
                <a:lnTo>
                  <a:pt x="2826" y="404"/>
                </a:lnTo>
                <a:lnTo>
                  <a:pt x="2829" y="404"/>
                </a:lnTo>
                <a:lnTo>
                  <a:pt x="2843" y="419"/>
                </a:lnTo>
                <a:lnTo>
                  <a:pt x="2848" y="419"/>
                </a:lnTo>
                <a:lnTo>
                  <a:pt x="2855" y="430"/>
                </a:lnTo>
                <a:lnTo>
                  <a:pt x="2862" y="427"/>
                </a:lnTo>
                <a:lnTo>
                  <a:pt x="2873" y="435"/>
                </a:lnTo>
                <a:lnTo>
                  <a:pt x="2877" y="446"/>
                </a:lnTo>
                <a:lnTo>
                  <a:pt x="2898" y="439"/>
                </a:lnTo>
                <a:lnTo>
                  <a:pt x="2911" y="424"/>
                </a:lnTo>
                <a:lnTo>
                  <a:pt x="2925" y="413"/>
                </a:lnTo>
                <a:lnTo>
                  <a:pt x="2932" y="414"/>
                </a:lnTo>
                <a:lnTo>
                  <a:pt x="2938" y="421"/>
                </a:lnTo>
                <a:lnTo>
                  <a:pt x="2946" y="417"/>
                </a:lnTo>
                <a:lnTo>
                  <a:pt x="2944" y="404"/>
                </a:lnTo>
                <a:lnTo>
                  <a:pt x="2960" y="392"/>
                </a:lnTo>
                <a:lnTo>
                  <a:pt x="2963" y="392"/>
                </a:lnTo>
                <a:lnTo>
                  <a:pt x="2969" y="382"/>
                </a:lnTo>
                <a:lnTo>
                  <a:pt x="2976" y="388"/>
                </a:lnTo>
                <a:lnTo>
                  <a:pt x="2987" y="379"/>
                </a:lnTo>
                <a:lnTo>
                  <a:pt x="2991" y="388"/>
                </a:lnTo>
                <a:lnTo>
                  <a:pt x="3108" y="396"/>
                </a:lnTo>
                <a:lnTo>
                  <a:pt x="3107" y="369"/>
                </a:lnTo>
                <a:lnTo>
                  <a:pt x="3189" y="352"/>
                </a:lnTo>
                <a:lnTo>
                  <a:pt x="3210" y="356"/>
                </a:lnTo>
                <a:lnTo>
                  <a:pt x="3217" y="352"/>
                </a:lnTo>
                <a:lnTo>
                  <a:pt x="3218" y="347"/>
                </a:lnTo>
                <a:lnTo>
                  <a:pt x="3222" y="347"/>
                </a:lnTo>
                <a:lnTo>
                  <a:pt x="3226" y="343"/>
                </a:lnTo>
                <a:lnTo>
                  <a:pt x="3250" y="347"/>
                </a:lnTo>
                <a:lnTo>
                  <a:pt x="3257" y="343"/>
                </a:lnTo>
                <a:lnTo>
                  <a:pt x="3262" y="332"/>
                </a:lnTo>
                <a:lnTo>
                  <a:pt x="3279" y="320"/>
                </a:lnTo>
                <a:lnTo>
                  <a:pt x="3290" y="327"/>
                </a:lnTo>
                <a:lnTo>
                  <a:pt x="3300" y="320"/>
                </a:lnTo>
                <a:lnTo>
                  <a:pt x="3311" y="320"/>
                </a:lnTo>
                <a:lnTo>
                  <a:pt x="3317" y="320"/>
                </a:lnTo>
                <a:lnTo>
                  <a:pt x="3321" y="317"/>
                </a:lnTo>
                <a:lnTo>
                  <a:pt x="3324" y="312"/>
                </a:lnTo>
                <a:lnTo>
                  <a:pt x="3334" y="312"/>
                </a:lnTo>
                <a:lnTo>
                  <a:pt x="3342" y="320"/>
                </a:lnTo>
                <a:lnTo>
                  <a:pt x="3354" y="319"/>
                </a:lnTo>
                <a:lnTo>
                  <a:pt x="3354" y="327"/>
                </a:lnTo>
                <a:lnTo>
                  <a:pt x="3361" y="338"/>
                </a:lnTo>
                <a:lnTo>
                  <a:pt x="3377" y="347"/>
                </a:lnTo>
                <a:lnTo>
                  <a:pt x="3375" y="356"/>
                </a:lnTo>
                <a:lnTo>
                  <a:pt x="3384" y="372"/>
                </a:lnTo>
                <a:lnTo>
                  <a:pt x="3397" y="385"/>
                </a:lnTo>
                <a:lnTo>
                  <a:pt x="3402" y="404"/>
                </a:lnTo>
                <a:lnTo>
                  <a:pt x="3411" y="418"/>
                </a:lnTo>
                <a:lnTo>
                  <a:pt x="3421" y="431"/>
                </a:lnTo>
                <a:lnTo>
                  <a:pt x="3435" y="435"/>
                </a:lnTo>
                <a:lnTo>
                  <a:pt x="3438" y="446"/>
                </a:lnTo>
                <a:lnTo>
                  <a:pt x="3453" y="447"/>
                </a:lnTo>
                <a:lnTo>
                  <a:pt x="3460" y="458"/>
                </a:lnTo>
                <a:lnTo>
                  <a:pt x="3464" y="471"/>
                </a:lnTo>
                <a:lnTo>
                  <a:pt x="3471" y="476"/>
                </a:lnTo>
                <a:lnTo>
                  <a:pt x="3475" y="486"/>
                </a:lnTo>
                <a:lnTo>
                  <a:pt x="3474" y="511"/>
                </a:lnTo>
                <a:lnTo>
                  <a:pt x="3481" y="519"/>
                </a:lnTo>
                <a:lnTo>
                  <a:pt x="3472" y="530"/>
                </a:lnTo>
                <a:lnTo>
                  <a:pt x="3471" y="542"/>
                </a:lnTo>
                <a:lnTo>
                  <a:pt x="3463" y="547"/>
                </a:lnTo>
                <a:lnTo>
                  <a:pt x="3456" y="553"/>
                </a:lnTo>
                <a:lnTo>
                  <a:pt x="3464" y="566"/>
                </a:lnTo>
                <a:lnTo>
                  <a:pt x="3464" y="573"/>
                </a:lnTo>
                <a:lnTo>
                  <a:pt x="3475" y="588"/>
                </a:lnTo>
                <a:lnTo>
                  <a:pt x="3478" y="605"/>
                </a:lnTo>
                <a:lnTo>
                  <a:pt x="3495" y="624"/>
                </a:lnTo>
                <a:lnTo>
                  <a:pt x="3494" y="630"/>
                </a:lnTo>
                <a:lnTo>
                  <a:pt x="3500" y="637"/>
                </a:lnTo>
                <a:lnTo>
                  <a:pt x="3509" y="653"/>
                </a:lnTo>
                <a:lnTo>
                  <a:pt x="3507" y="657"/>
                </a:lnTo>
                <a:lnTo>
                  <a:pt x="3499" y="663"/>
                </a:lnTo>
                <a:lnTo>
                  <a:pt x="3502" y="707"/>
                </a:lnTo>
                <a:lnTo>
                  <a:pt x="3495" y="715"/>
                </a:lnTo>
                <a:lnTo>
                  <a:pt x="3494" y="725"/>
                </a:lnTo>
                <a:lnTo>
                  <a:pt x="3503" y="733"/>
                </a:lnTo>
                <a:lnTo>
                  <a:pt x="3513" y="755"/>
                </a:lnTo>
                <a:lnTo>
                  <a:pt x="3514" y="774"/>
                </a:lnTo>
                <a:lnTo>
                  <a:pt x="3520" y="778"/>
                </a:lnTo>
                <a:lnTo>
                  <a:pt x="3520" y="784"/>
                </a:lnTo>
                <a:lnTo>
                  <a:pt x="3534" y="789"/>
                </a:lnTo>
                <a:lnTo>
                  <a:pt x="3531" y="798"/>
                </a:lnTo>
                <a:lnTo>
                  <a:pt x="3539" y="808"/>
                </a:lnTo>
                <a:lnTo>
                  <a:pt x="3536" y="815"/>
                </a:lnTo>
                <a:lnTo>
                  <a:pt x="3525" y="824"/>
                </a:lnTo>
                <a:lnTo>
                  <a:pt x="3524" y="837"/>
                </a:lnTo>
                <a:lnTo>
                  <a:pt x="3514" y="844"/>
                </a:lnTo>
                <a:lnTo>
                  <a:pt x="3500" y="859"/>
                </a:lnTo>
                <a:lnTo>
                  <a:pt x="3499" y="871"/>
                </a:lnTo>
                <a:lnTo>
                  <a:pt x="3500" y="876"/>
                </a:lnTo>
                <a:lnTo>
                  <a:pt x="3509" y="877"/>
                </a:lnTo>
                <a:lnTo>
                  <a:pt x="3511" y="879"/>
                </a:lnTo>
                <a:lnTo>
                  <a:pt x="3513" y="882"/>
                </a:lnTo>
                <a:lnTo>
                  <a:pt x="3509" y="895"/>
                </a:lnTo>
                <a:lnTo>
                  <a:pt x="3497" y="901"/>
                </a:lnTo>
                <a:lnTo>
                  <a:pt x="3496" y="911"/>
                </a:lnTo>
                <a:lnTo>
                  <a:pt x="3507" y="937"/>
                </a:lnTo>
                <a:lnTo>
                  <a:pt x="3503" y="940"/>
                </a:lnTo>
                <a:lnTo>
                  <a:pt x="3505" y="944"/>
                </a:lnTo>
                <a:lnTo>
                  <a:pt x="3509" y="952"/>
                </a:lnTo>
                <a:lnTo>
                  <a:pt x="3505" y="966"/>
                </a:lnTo>
                <a:lnTo>
                  <a:pt x="3507" y="976"/>
                </a:lnTo>
                <a:lnTo>
                  <a:pt x="3514" y="976"/>
                </a:lnTo>
                <a:lnTo>
                  <a:pt x="3514" y="986"/>
                </a:lnTo>
                <a:lnTo>
                  <a:pt x="3524" y="998"/>
                </a:lnTo>
                <a:lnTo>
                  <a:pt x="3520" y="1010"/>
                </a:lnTo>
                <a:lnTo>
                  <a:pt x="3522" y="1028"/>
                </a:lnTo>
                <a:lnTo>
                  <a:pt x="3519" y="1038"/>
                </a:lnTo>
                <a:lnTo>
                  <a:pt x="3500" y="1056"/>
                </a:lnTo>
                <a:lnTo>
                  <a:pt x="3502" y="1067"/>
                </a:lnTo>
                <a:lnTo>
                  <a:pt x="3492" y="1072"/>
                </a:lnTo>
                <a:lnTo>
                  <a:pt x="3486" y="1080"/>
                </a:lnTo>
                <a:lnTo>
                  <a:pt x="3482" y="1080"/>
                </a:lnTo>
                <a:lnTo>
                  <a:pt x="3477" y="1073"/>
                </a:lnTo>
                <a:lnTo>
                  <a:pt x="3471" y="1073"/>
                </a:lnTo>
                <a:lnTo>
                  <a:pt x="3467" y="1082"/>
                </a:lnTo>
                <a:lnTo>
                  <a:pt x="3459" y="1090"/>
                </a:lnTo>
                <a:lnTo>
                  <a:pt x="3455" y="1107"/>
                </a:lnTo>
                <a:lnTo>
                  <a:pt x="3457" y="1117"/>
                </a:lnTo>
                <a:lnTo>
                  <a:pt x="3455" y="1137"/>
                </a:lnTo>
                <a:lnTo>
                  <a:pt x="3436" y="1139"/>
                </a:lnTo>
                <a:lnTo>
                  <a:pt x="3416" y="1154"/>
                </a:lnTo>
                <a:lnTo>
                  <a:pt x="3402" y="1151"/>
                </a:lnTo>
                <a:lnTo>
                  <a:pt x="3394" y="1148"/>
                </a:lnTo>
                <a:lnTo>
                  <a:pt x="3396" y="1172"/>
                </a:lnTo>
                <a:lnTo>
                  <a:pt x="3394" y="1176"/>
                </a:lnTo>
                <a:lnTo>
                  <a:pt x="3382" y="1192"/>
                </a:lnTo>
                <a:lnTo>
                  <a:pt x="3382" y="1207"/>
                </a:lnTo>
                <a:lnTo>
                  <a:pt x="3391" y="1223"/>
                </a:lnTo>
                <a:lnTo>
                  <a:pt x="3395" y="1240"/>
                </a:lnTo>
                <a:lnTo>
                  <a:pt x="3394" y="1256"/>
                </a:lnTo>
                <a:lnTo>
                  <a:pt x="3397" y="1266"/>
                </a:lnTo>
                <a:lnTo>
                  <a:pt x="3394" y="1273"/>
                </a:lnTo>
                <a:lnTo>
                  <a:pt x="3409" y="1298"/>
                </a:lnTo>
                <a:lnTo>
                  <a:pt x="3391" y="1301"/>
                </a:lnTo>
                <a:lnTo>
                  <a:pt x="3384" y="1337"/>
                </a:lnTo>
                <a:lnTo>
                  <a:pt x="3378" y="1344"/>
                </a:lnTo>
                <a:lnTo>
                  <a:pt x="3366" y="1351"/>
                </a:lnTo>
                <a:lnTo>
                  <a:pt x="3363" y="1358"/>
                </a:lnTo>
                <a:lnTo>
                  <a:pt x="3353" y="1362"/>
                </a:lnTo>
                <a:lnTo>
                  <a:pt x="3350" y="1379"/>
                </a:lnTo>
                <a:lnTo>
                  <a:pt x="3332" y="1403"/>
                </a:lnTo>
                <a:lnTo>
                  <a:pt x="3324" y="1408"/>
                </a:lnTo>
                <a:lnTo>
                  <a:pt x="3314" y="1403"/>
                </a:lnTo>
                <a:lnTo>
                  <a:pt x="3301" y="1405"/>
                </a:lnTo>
                <a:lnTo>
                  <a:pt x="3289" y="1414"/>
                </a:lnTo>
                <a:lnTo>
                  <a:pt x="3281" y="1417"/>
                </a:lnTo>
                <a:lnTo>
                  <a:pt x="3278" y="1425"/>
                </a:lnTo>
                <a:lnTo>
                  <a:pt x="3270" y="1438"/>
                </a:lnTo>
                <a:lnTo>
                  <a:pt x="3264" y="1438"/>
                </a:lnTo>
                <a:lnTo>
                  <a:pt x="3257" y="1446"/>
                </a:lnTo>
                <a:lnTo>
                  <a:pt x="3257" y="1460"/>
                </a:lnTo>
                <a:lnTo>
                  <a:pt x="3246" y="1467"/>
                </a:lnTo>
                <a:lnTo>
                  <a:pt x="3243" y="1472"/>
                </a:lnTo>
                <a:lnTo>
                  <a:pt x="3242" y="1483"/>
                </a:lnTo>
                <a:lnTo>
                  <a:pt x="3240" y="1491"/>
                </a:lnTo>
                <a:lnTo>
                  <a:pt x="3245" y="1500"/>
                </a:lnTo>
                <a:lnTo>
                  <a:pt x="3239" y="1513"/>
                </a:lnTo>
                <a:lnTo>
                  <a:pt x="3247" y="1518"/>
                </a:lnTo>
                <a:lnTo>
                  <a:pt x="3240" y="1527"/>
                </a:lnTo>
                <a:lnTo>
                  <a:pt x="3245" y="1544"/>
                </a:lnTo>
                <a:lnTo>
                  <a:pt x="3265" y="1554"/>
                </a:lnTo>
                <a:lnTo>
                  <a:pt x="3281" y="1554"/>
                </a:lnTo>
                <a:lnTo>
                  <a:pt x="3287" y="1554"/>
                </a:lnTo>
                <a:lnTo>
                  <a:pt x="3300" y="1574"/>
                </a:lnTo>
                <a:lnTo>
                  <a:pt x="3320" y="1584"/>
                </a:lnTo>
                <a:lnTo>
                  <a:pt x="3320" y="1596"/>
                </a:lnTo>
                <a:lnTo>
                  <a:pt x="3339" y="1609"/>
                </a:lnTo>
                <a:lnTo>
                  <a:pt x="3343" y="1621"/>
                </a:lnTo>
                <a:lnTo>
                  <a:pt x="3349" y="1627"/>
                </a:lnTo>
                <a:lnTo>
                  <a:pt x="3349" y="1634"/>
                </a:lnTo>
                <a:lnTo>
                  <a:pt x="3367" y="1634"/>
                </a:lnTo>
                <a:lnTo>
                  <a:pt x="3380" y="1644"/>
                </a:lnTo>
                <a:lnTo>
                  <a:pt x="3388" y="1664"/>
                </a:lnTo>
                <a:lnTo>
                  <a:pt x="3380" y="1671"/>
                </a:lnTo>
                <a:lnTo>
                  <a:pt x="3367" y="1704"/>
                </a:lnTo>
                <a:lnTo>
                  <a:pt x="3361" y="1712"/>
                </a:lnTo>
                <a:lnTo>
                  <a:pt x="3360" y="1724"/>
                </a:lnTo>
                <a:lnTo>
                  <a:pt x="3363" y="1741"/>
                </a:lnTo>
                <a:lnTo>
                  <a:pt x="3359" y="1764"/>
                </a:lnTo>
                <a:lnTo>
                  <a:pt x="3361" y="1773"/>
                </a:lnTo>
                <a:lnTo>
                  <a:pt x="3366" y="1777"/>
                </a:lnTo>
                <a:lnTo>
                  <a:pt x="3371" y="1779"/>
                </a:lnTo>
                <a:lnTo>
                  <a:pt x="3374" y="1802"/>
                </a:lnTo>
                <a:lnTo>
                  <a:pt x="3381" y="1818"/>
                </a:lnTo>
                <a:lnTo>
                  <a:pt x="3389" y="1826"/>
                </a:lnTo>
                <a:lnTo>
                  <a:pt x="3407" y="1832"/>
                </a:lnTo>
                <a:lnTo>
                  <a:pt x="3425" y="1836"/>
                </a:lnTo>
                <a:lnTo>
                  <a:pt x="3431" y="1847"/>
                </a:lnTo>
                <a:lnTo>
                  <a:pt x="3441" y="1844"/>
                </a:lnTo>
                <a:lnTo>
                  <a:pt x="3460" y="1835"/>
                </a:lnTo>
                <a:lnTo>
                  <a:pt x="3474" y="1848"/>
                </a:lnTo>
                <a:lnTo>
                  <a:pt x="3477" y="1855"/>
                </a:lnTo>
                <a:lnTo>
                  <a:pt x="3496" y="1862"/>
                </a:lnTo>
                <a:lnTo>
                  <a:pt x="3500" y="1870"/>
                </a:lnTo>
                <a:lnTo>
                  <a:pt x="3497" y="1885"/>
                </a:lnTo>
                <a:lnTo>
                  <a:pt x="3511" y="1903"/>
                </a:lnTo>
                <a:lnTo>
                  <a:pt x="3509" y="1924"/>
                </a:lnTo>
                <a:lnTo>
                  <a:pt x="3514" y="1942"/>
                </a:lnTo>
                <a:lnTo>
                  <a:pt x="3522" y="1948"/>
                </a:lnTo>
                <a:lnTo>
                  <a:pt x="3539" y="1951"/>
                </a:lnTo>
                <a:lnTo>
                  <a:pt x="3559" y="1970"/>
                </a:lnTo>
                <a:lnTo>
                  <a:pt x="3566" y="1970"/>
                </a:lnTo>
                <a:lnTo>
                  <a:pt x="3577" y="1962"/>
                </a:lnTo>
                <a:lnTo>
                  <a:pt x="3581" y="1964"/>
                </a:lnTo>
                <a:lnTo>
                  <a:pt x="3586" y="1977"/>
                </a:lnTo>
                <a:lnTo>
                  <a:pt x="3585" y="1997"/>
                </a:lnTo>
                <a:lnTo>
                  <a:pt x="3589" y="2012"/>
                </a:lnTo>
                <a:lnTo>
                  <a:pt x="3599" y="2015"/>
                </a:lnTo>
                <a:lnTo>
                  <a:pt x="3613" y="2007"/>
                </a:lnTo>
                <a:lnTo>
                  <a:pt x="3644" y="2026"/>
                </a:lnTo>
                <a:lnTo>
                  <a:pt x="3665" y="2057"/>
                </a:lnTo>
                <a:lnTo>
                  <a:pt x="3660" y="2072"/>
                </a:lnTo>
                <a:lnTo>
                  <a:pt x="3663" y="2080"/>
                </a:lnTo>
                <a:lnTo>
                  <a:pt x="3670" y="2084"/>
                </a:lnTo>
                <a:lnTo>
                  <a:pt x="3685" y="2086"/>
                </a:lnTo>
                <a:lnTo>
                  <a:pt x="3695" y="2094"/>
                </a:lnTo>
                <a:lnTo>
                  <a:pt x="3713" y="2097"/>
                </a:lnTo>
                <a:lnTo>
                  <a:pt x="3720" y="2106"/>
                </a:lnTo>
                <a:lnTo>
                  <a:pt x="3729" y="2151"/>
                </a:lnTo>
                <a:lnTo>
                  <a:pt x="3742" y="2161"/>
                </a:lnTo>
                <a:lnTo>
                  <a:pt x="3770" y="2168"/>
                </a:lnTo>
                <a:lnTo>
                  <a:pt x="3773" y="2200"/>
                </a:lnTo>
                <a:lnTo>
                  <a:pt x="3777" y="2210"/>
                </a:lnTo>
                <a:lnTo>
                  <a:pt x="3788" y="2210"/>
                </a:lnTo>
                <a:lnTo>
                  <a:pt x="3816" y="2203"/>
                </a:lnTo>
                <a:lnTo>
                  <a:pt x="3819" y="2210"/>
                </a:lnTo>
                <a:lnTo>
                  <a:pt x="3826" y="2213"/>
                </a:lnTo>
                <a:lnTo>
                  <a:pt x="3829" y="2217"/>
                </a:lnTo>
                <a:lnTo>
                  <a:pt x="3831" y="2218"/>
                </a:lnTo>
                <a:lnTo>
                  <a:pt x="3835" y="2245"/>
                </a:lnTo>
                <a:lnTo>
                  <a:pt x="3840" y="2254"/>
                </a:lnTo>
                <a:lnTo>
                  <a:pt x="3862" y="2259"/>
                </a:lnTo>
                <a:lnTo>
                  <a:pt x="3870" y="2271"/>
                </a:lnTo>
                <a:lnTo>
                  <a:pt x="3877" y="2276"/>
                </a:lnTo>
                <a:lnTo>
                  <a:pt x="3897" y="2280"/>
                </a:lnTo>
                <a:lnTo>
                  <a:pt x="3902" y="2267"/>
                </a:lnTo>
                <a:lnTo>
                  <a:pt x="3919" y="2271"/>
                </a:lnTo>
                <a:lnTo>
                  <a:pt x="3948" y="2267"/>
                </a:lnTo>
                <a:lnTo>
                  <a:pt x="3966" y="2282"/>
                </a:lnTo>
                <a:lnTo>
                  <a:pt x="3972" y="2300"/>
                </a:lnTo>
                <a:lnTo>
                  <a:pt x="3962" y="2308"/>
                </a:lnTo>
                <a:lnTo>
                  <a:pt x="3961" y="2315"/>
                </a:lnTo>
                <a:lnTo>
                  <a:pt x="3976" y="2349"/>
                </a:lnTo>
                <a:lnTo>
                  <a:pt x="3976" y="2365"/>
                </a:lnTo>
                <a:lnTo>
                  <a:pt x="3973" y="2365"/>
                </a:lnTo>
                <a:lnTo>
                  <a:pt x="3966" y="2363"/>
                </a:lnTo>
                <a:lnTo>
                  <a:pt x="3962" y="2365"/>
                </a:lnTo>
                <a:lnTo>
                  <a:pt x="3954" y="2378"/>
                </a:lnTo>
                <a:lnTo>
                  <a:pt x="3955" y="2383"/>
                </a:lnTo>
                <a:lnTo>
                  <a:pt x="3953" y="2390"/>
                </a:lnTo>
                <a:lnTo>
                  <a:pt x="3933" y="2394"/>
                </a:lnTo>
                <a:lnTo>
                  <a:pt x="3915" y="2401"/>
                </a:lnTo>
                <a:lnTo>
                  <a:pt x="3908" y="2401"/>
                </a:lnTo>
                <a:lnTo>
                  <a:pt x="3891" y="2409"/>
                </a:lnTo>
                <a:lnTo>
                  <a:pt x="3885" y="2420"/>
                </a:lnTo>
                <a:lnTo>
                  <a:pt x="3890" y="2424"/>
                </a:lnTo>
                <a:lnTo>
                  <a:pt x="3888" y="2428"/>
                </a:lnTo>
                <a:lnTo>
                  <a:pt x="3894" y="2432"/>
                </a:lnTo>
                <a:lnTo>
                  <a:pt x="3887" y="2450"/>
                </a:lnTo>
                <a:lnTo>
                  <a:pt x="3902" y="2465"/>
                </a:lnTo>
                <a:lnTo>
                  <a:pt x="3905" y="2465"/>
                </a:lnTo>
                <a:lnTo>
                  <a:pt x="3909" y="2471"/>
                </a:lnTo>
                <a:lnTo>
                  <a:pt x="3929" y="2481"/>
                </a:lnTo>
                <a:lnTo>
                  <a:pt x="3926" y="2484"/>
                </a:lnTo>
                <a:lnTo>
                  <a:pt x="3915" y="2487"/>
                </a:lnTo>
                <a:lnTo>
                  <a:pt x="3906" y="2499"/>
                </a:lnTo>
                <a:lnTo>
                  <a:pt x="3908" y="2503"/>
                </a:lnTo>
                <a:lnTo>
                  <a:pt x="3913" y="2506"/>
                </a:lnTo>
                <a:lnTo>
                  <a:pt x="3916" y="2516"/>
                </a:lnTo>
                <a:lnTo>
                  <a:pt x="3922" y="2517"/>
                </a:lnTo>
                <a:lnTo>
                  <a:pt x="4073" y="2517"/>
                </a:lnTo>
                <a:lnTo>
                  <a:pt x="4080" y="2517"/>
                </a:lnTo>
                <a:lnTo>
                  <a:pt x="4080" y="2520"/>
                </a:lnTo>
                <a:lnTo>
                  <a:pt x="4075" y="2525"/>
                </a:lnTo>
                <a:lnTo>
                  <a:pt x="4078" y="2528"/>
                </a:lnTo>
                <a:lnTo>
                  <a:pt x="4080" y="2528"/>
                </a:lnTo>
                <a:lnTo>
                  <a:pt x="4086" y="2525"/>
                </a:lnTo>
                <a:lnTo>
                  <a:pt x="4087" y="2525"/>
                </a:lnTo>
                <a:lnTo>
                  <a:pt x="4089" y="2529"/>
                </a:lnTo>
                <a:lnTo>
                  <a:pt x="4084" y="2536"/>
                </a:lnTo>
                <a:lnTo>
                  <a:pt x="4087" y="2544"/>
                </a:lnTo>
                <a:lnTo>
                  <a:pt x="4084" y="2548"/>
                </a:lnTo>
                <a:lnTo>
                  <a:pt x="4076" y="2550"/>
                </a:lnTo>
                <a:lnTo>
                  <a:pt x="4076" y="2551"/>
                </a:lnTo>
                <a:lnTo>
                  <a:pt x="4078" y="2554"/>
                </a:lnTo>
                <a:lnTo>
                  <a:pt x="4081" y="2554"/>
                </a:lnTo>
                <a:lnTo>
                  <a:pt x="4083" y="2556"/>
                </a:lnTo>
                <a:lnTo>
                  <a:pt x="4084" y="2566"/>
                </a:lnTo>
                <a:lnTo>
                  <a:pt x="4091" y="2570"/>
                </a:lnTo>
                <a:lnTo>
                  <a:pt x="4091" y="2573"/>
                </a:lnTo>
                <a:lnTo>
                  <a:pt x="4087" y="2576"/>
                </a:lnTo>
                <a:lnTo>
                  <a:pt x="4087" y="2578"/>
                </a:lnTo>
                <a:lnTo>
                  <a:pt x="4089" y="2579"/>
                </a:lnTo>
                <a:lnTo>
                  <a:pt x="4093" y="2579"/>
                </a:lnTo>
                <a:lnTo>
                  <a:pt x="4094" y="2581"/>
                </a:lnTo>
                <a:lnTo>
                  <a:pt x="4093" y="2583"/>
                </a:lnTo>
                <a:lnTo>
                  <a:pt x="4087" y="2587"/>
                </a:lnTo>
                <a:lnTo>
                  <a:pt x="4087" y="2593"/>
                </a:lnTo>
                <a:lnTo>
                  <a:pt x="4083" y="2595"/>
                </a:lnTo>
                <a:lnTo>
                  <a:pt x="4084" y="2599"/>
                </a:lnTo>
                <a:lnTo>
                  <a:pt x="4079" y="2600"/>
                </a:lnTo>
                <a:lnTo>
                  <a:pt x="4080" y="2603"/>
                </a:lnTo>
                <a:lnTo>
                  <a:pt x="4086" y="2603"/>
                </a:lnTo>
                <a:lnTo>
                  <a:pt x="4087" y="2606"/>
                </a:lnTo>
                <a:lnTo>
                  <a:pt x="4087" y="2607"/>
                </a:lnTo>
                <a:lnTo>
                  <a:pt x="4080" y="2607"/>
                </a:lnTo>
                <a:lnTo>
                  <a:pt x="4084" y="2615"/>
                </a:lnTo>
                <a:lnTo>
                  <a:pt x="4078" y="2618"/>
                </a:lnTo>
                <a:lnTo>
                  <a:pt x="4081" y="2623"/>
                </a:lnTo>
                <a:lnTo>
                  <a:pt x="4079" y="2632"/>
                </a:lnTo>
                <a:lnTo>
                  <a:pt x="4079" y="2633"/>
                </a:lnTo>
                <a:lnTo>
                  <a:pt x="4086" y="2632"/>
                </a:lnTo>
                <a:lnTo>
                  <a:pt x="4095" y="2637"/>
                </a:lnTo>
                <a:lnTo>
                  <a:pt x="4095" y="2648"/>
                </a:lnTo>
                <a:lnTo>
                  <a:pt x="4101" y="2655"/>
                </a:lnTo>
                <a:lnTo>
                  <a:pt x="4101" y="2660"/>
                </a:lnTo>
                <a:lnTo>
                  <a:pt x="4105" y="2663"/>
                </a:lnTo>
                <a:lnTo>
                  <a:pt x="4104" y="2670"/>
                </a:lnTo>
                <a:lnTo>
                  <a:pt x="4104" y="2673"/>
                </a:lnTo>
                <a:lnTo>
                  <a:pt x="4108" y="2678"/>
                </a:lnTo>
                <a:lnTo>
                  <a:pt x="4112" y="2678"/>
                </a:lnTo>
                <a:lnTo>
                  <a:pt x="4114" y="2682"/>
                </a:lnTo>
                <a:lnTo>
                  <a:pt x="4115" y="2686"/>
                </a:lnTo>
                <a:lnTo>
                  <a:pt x="4116" y="2690"/>
                </a:lnTo>
                <a:lnTo>
                  <a:pt x="4119" y="2700"/>
                </a:lnTo>
                <a:lnTo>
                  <a:pt x="4119" y="2705"/>
                </a:lnTo>
                <a:lnTo>
                  <a:pt x="4115" y="2711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</a:endParaRPr>
          </a:p>
        </p:txBody>
      </p:sp>
      <p:sp>
        <p:nvSpPr>
          <p:cNvPr id="64" name="Freeform 63"/>
          <p:cNvSpPr>
            <a:spLocks noEditPoints="1"/>
          </p:cNvSpPr>
          <p:nvPr/>
        </p:nvSpPr>
        <p:spPr bwMode="auto">
          <a:xfrm>
            <a:off x="2431611" y="3022802"/>
            <a:ext cx="963872" cy="1007780"/>
          </a:xfrm>
          <a:custGeom>
            <a:avLst/>
            <a:gdLst>
              <a:gd name="T0" fmla="*/ 3171 w 3208"/>
              <a:gd name="T1" fmla="*/ 1568 h 3136"/>
              <a:gd name="T2" fmla="*/ 2844 w 3208"/>
              <a:gd name="T3" fmla="*/ 1629 h 3136"/>
              <a:gd name="T4" fmla="*/ 2772 w 3208"/>
              <a:gd name="T5" fmla="*/ 1694 h 3136"/>
              <a:gd name="T6" fmla="*/ 2698 w 3208"/>
              <a:gd name="T7" fmla="*/ 1688 h 3136"/>
              <a:gd name="T8" fmla="*/ 2492 w 3208"/>
              <a:gd name="T9" fmla="*/ 1796 h 3136"/>
              <a:gd name="T10" fmla="*/ 2389 w 3208"/>
              <a:gd name="T11" fmla="*/ 1747 h 3136"/>
              <a:gd name="T12" fmla="*/ 2349 w 3208"/>
              <a:gd name="T13" fmla="*/ 1834 h 3136"/>
              <a:gd name="T14" fmla="*/ 2331 w 3208"/>
              <a:gd name="T15" fmla="*/ 1871 h 3136"/>
              <a:gd name="T16" fmla="*/ 2040 w 3208"/>
              <a:gd name="T17" fmla="*/ 1998 h 3136"/>
              <a:gd name="T18" fmla="*/ 1829 w 3208"/>
              <a:gd name="T19" fmla="*/ 2111 h 3136"/>
              <a:gd name="T20" fmla="*/ 1626 w 3208"/>
              <a:gd name="T21" fmla="*/ 2170 h 3136"/>
              <a:gd name="T22" fmla="*/ 1460 w 3208"/>
              <a:gd name="T23" fmla="*/ 2413 h 3136"/>
              <a:gd name="T24" fmla="*/ 1412 w 3208"/>
              <a:gd name="T25" fmla="*/ 2395 h 3136"/>
              <a:gd name="T26" fmla="*/ 1337 w 3208"/>
              <a:gd name="T27" fmla="*/ 2560 h 3136"/>
              <a:gd name="T28" fmla="*/ 1271 w 3208"/>
              <a:gd name="T29" fmla="*/ 2668 h 3136"/>
              <a:gd name="T30" fmla="*/ 1084 w 3208"/>
              <a:gd name="T31" fmla="*/ 2836 h 3136"/>
              <a:gd name="T32" fmla="*/ 1021 w 3208"/>
              <a:gd name="T33" fmla="*/ 2945 h 3136"/>
              <a:gd name="T34" fmla="*/ 908 w 3208"/>
              <a:gd name="T35" fmla="*/ 3036 h 3136"/>
              <a:gd name="T36" fmla="*/ 910 w 3208"/>
              <a:gd name="T37" fmla="*/ 3111 h 3136"/>
              <a:gd name="T38" fmla="*/ 807 w 3208"/>
              <a:gd name="T39" fmla="*/ 2998 h 3136"/>
              <a:gd name="T40" fmla="*/ 799 w 3208"/>
              <a:gd name="T41" fmla="*/ 2884 h 3136"/>
              <a:gd name="T42" fmla="*/ 623 w 3208"/>
              <a:gd name="T43" fmla="*/ 2613 h 3136"/>
              <a:gd name="T44" fmla="*/ 340 w 3208"/>
              <a:gd name="T45" fmla="*/ 2413 h 3136"/>
              <a:gd name="T46" fmla="*/ 172 w 3208"/>
              <a:gd name="T47" fmla="*/ 2222 h 3136"/>
              <a:gd name="T48" fmla="*/ 145 w 3208"/>
              <a:gd name="T49" fmla="*/ 2050 h 3136"/>
              <a:gd name="T50" fmla="*/ 156 w 3208"/>
              <a:gd name="T51" fmla="*/ 1879 h 3136"/>
              <a:gd name="T52" fmla="*/ 132 w 3208"/>
              <a:gd name="T53" fmla="*/ 1766 h 3136"/>
              <a:gd name="T54" fmla="*/ 127 w 3208"/>
              <a:gd name="T55" fmla="*/ 1605 h 3136"/>
              <a:gd name="T56" fmla="*/ 71 w 3208"/>
              <a:gd name="T57" fmla="*/ 1332 h 3136"/>
              <a:gd name="T58" fmla="*/ 122 w 3208"/>
              <a:gd name="T59" fmla="*/ 1091 h 3136"/>
              <a:gd name="T60" fmla="*/ 317 w 3208"/>
              <a:gd name="T61" fmla="*/ 932 h 3136"/>
              <a:gd name="T62" fmla="*/ 566 w 3208"/>
              <a:gd name="T63" fmla="*/ 368 h 3136"/>
              <a:gd name="T64" fmla="*/ 797 w 3208"/>
              <a:gd name="T65" fmla="*/ 355 h 3136"/>
              <a:gd name="T66" fmla="*/ 829 w 3208"/>
              <a:gd name="T67" fmla="*/ 366 h 3136"/>
              <a:gd name="T68" fmla="*/ 907 w 3208"/>
              <a:gd name="T69" fmla="*/ 352 h 3136"/>
              <a:gd name="T70" fmla="*/ 905 w 3208"/>
              <a:gd name="T71" fmla="*/ 315 h 3136"/>
              <a:gd name="T72" fmla="*/ 928 w 3208"/>
              <a:gd name="T73" fmla="*/ 295 h 3136"/>
              <a:gd name="T74" fmla="*/ 946 w 3208"/>
              <a:gd name="T75" fmla="*/ 275 h 3136"/>
              <a:gd name="T76" fmla="*/ 963 w 3208"/>
              <a:gd name="T77" fmla="*/ 251 h 3136"/>
              <a:gd name="T78" fmla="*/ 974 w 3208"/>
              <a:gd name="T79" fmla="*/ 233 h 3136"/>
              <a:gd name="T80" fmla="*/ 1010 w 3208"/>
              <a:gd name="T81" fmla="*/ 224 h 3136"/>
              <a:gd name="T82" fmla="*/ 1065 w 3208"/>
              <a:gd name="T83" fmla="*/ 201 h 3136"/>
              <a:gd name="T84" fmla="*/ 1181 w 3208"/>
              <a:gd name="T85" fmla="*/ 124 h 3136"/>
              <a:gd name="T86" fmla="*/ 1248 w 3208"/>
              <a:gd name="T87" fmla="*/ 14 h 3136"/>
              <a:gd name="T88" fmla="*/ 1722 w 3208"/>
              <a:gd name="T89" fmla="*/ 88 h 3136"/>
              <a:gd name="T90" fmla="*/ 1859 w 3208"/>
              <a:gd name="T91" fmla="*/ 142 h 3136"/>
              <a:gd name="T92" fmla="*/ 1961 w 3208"/>
              <a:gd name="T93" fmla="*/ 150 h 3136"/>
              <a:gd name="T94" fmla="*/ 2029 w 3208"/>
              <a:gd name="T95" fmla="*/ 195 h 3136"/>
              <a:gd name="T96" fmla="*/ 2186 w 3208"/>
              <a:gd name="T97" fmla="*/ 184 h 3136"/>
              <a:gd name="T98" fmla="*/ 2336 w 3208"/>
              <a:gd name="T99" fmla="*/ 253 h 3136"/>
              <a:gd name="T100" fmla="*/ 2435 w 3208"/>
              <a:gd name="T101" fmla="*/ 337 h 3136"/>
              <a:gd name="T102" fmla="*/ 2640 w 3208"/>
              <a:gd name="T103" fmla="*/ 412 h 3136"/>
              <a:gd name="T104" fmla="*/ 2776 w 3208"/>
              <a:gd name="T105" fmla="*/ 543 h 3136"/>
              <a:gd name="T106" fmla="*/ 2942 w 3208"/>
              <a:gd name="T107" fmla="*/ 640 h 3136"/>
              <a:gd name="T108" fmla="*/ 2994 w 3208"/>
              <a:gd name="T109" fmla="*/ 804 h 3136"/>
              <a:gd name="T110" fmla="*/ 3033 w 3208"/>
              <a:gd name="T111" fmla="*/ 970 h 3136"/>
              <a:gd name="T112" fmla="*/ 3130 w 3208"/>
              <a:gd name="T113" fmla="*/ 1175 h 3136"/>
              <a:gd name="T114" fmla="*/ 3096 w 3208"/>
              <a:gd name="T115" fmla="*/ 1326 h 3136"/>
              <a:gd name="T116" fmla="*/ 3174 w 3208"/>
              <a:gd name="T117" fmla="*/ 1436 h 3136"/>
              <a:gd name="T118" fmla="*/ 1416 w 3208"/>
              <a:gd name="T119" fmla="*/ 2392 h 3136"/>
              <a:gd name="T120" fmla="*/ 1388 w 3208"/>
              <a:gd name="T121" fmla="*/ 2319 h 3136"/>
              <a:gd name="T122" fmla="*/ 1848 w 3208"/>
              <a:gd name="T123" fmla="*/ 2102 h 31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208"/>
              <a:gd name="T187" fmla="*/ 0 h 3136"/>
              <a:gd name="T188" fmla="*/ 3208 w 3208"/>
              <a:gd name="T189" fmla="*/ 3136 h 31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208" h="3136">
                <a:moveTo>
                  <a:pt x="3208" y="1522"/>
                </a:moveTo>
                <a:lnTo>
                  <a:pt x="3208" y="1526"/>
                </a:lnTo>
                <a:lnTo>
                  <a:pt x="3204" y="1531"/>
                </a:lnTo>
                <a:lnTo>
                  <a:pt x="3200" y="1535"/>
                </a:lnTo>
                <a:lnTo>
                  <a:pt x="3199" y="1534"/>
                </a:lnTo>
                <a:lnTo>
                  <a:pt x="3201" y="1527"/>
                </a:lnTo>
                <a:lnTo>
                  <a:pt x="3201" y="1526"/>
                </a:lnTo>
                <a:lnTo>
                  <a:pt x="3197" y="1527"/>
                </a:lnTo>
                <a:lnTo>
                  <a:pt x="3194" y="1534"/>
                </a:lnTo>
                <a:lnTo>
                  <a:pt x="3191" y="1534"/>
                </a:lnTo>
                <a:lnTo>
                  <a:pt x="3193" y="1535"/>
                </a:lnTo>
                <a:lnTo>
                  <a:pt x="3187" y="1538"/>
                </a:lnTo>
                <a:lnTo>
                  <a:pt x="3183" y="1538"/>
                </a:lnTo>
                <a:lnTo>
                  <a:pt x="3176" y="1542"/>
                </a:lnTo>
                <a:lnTo>
                  <a:pt x="3171" y="1542"/>
                </a:lnTo>
                <a:lnTo>
                  <a:pt x="3166" y="1548"/>
                </a:lnTo>
                <a:lnTo>
                  <a:pt x="3162" y="1550"/>
                </a:lnTo>
                <a:lnTo>
                  <a:pt x="3155" y="1548"/>
                </a:lnTo>
                <a:lnTo>
                  <a:pt x="3157" y="1552"/>
                </a:lnTo>
                <a:lnTo>
                  <a:pt x="3149" y="1553"/>
                </a:lnTo>
                <a:lnTo>
                  <a:pt x="3147" y="1558"/>
                </a:lnTo>
                <a:lnTo>
                  <a:pt x="3149" y="1561"/>
                </a:lnTo>
                <a:lnTo>
                  <a:pt x="3146" y="1564"/>
                </a:lnTo>
                <a:lnTo>
                  <a:pt x="3144" y="1567"/>
                </a:lnTo>
                <a:lnTo>
                  <a:pt x="3137" y="1568"/>
                </a:lnTo>
                <a:lnTo>
                  <a:pt x="3133" y="1568"/>
                </a:lnTo>
                <a:lnTo>
                  <a:pt x="3126" y="1571"/>
                </a:lnTo>
                <a:lnTo>
                  <a:pt x="3130" y="1572"/>
                </a:lnTo>
                <a:lnTo>
                  <a:pt x="3141" y="1571"/>
                </a:lnTo>
                <a:lnTo>
                  <a:pt x="3151" y="1572"/>
                </a:lnTo>
                <a:lnTo>
                  <a:pt x="3164" y="1575"/>
                </a:lnTo>
                <a:lnTo>
                  <a:pt x="3166" y="1572"/>
                </a:lnTo>
                <a:lnTo>
                  <a:pt x="3171" y="1568"/>
                </a:lnTo>
                <a:lnTo>
                  <a:pt x="3171" y="1556"/>
                </a:lnTo>
                <a:lnTo>
                  <a:pt x="3175" y="1550"/>
                </a:lnTo>
                <a:lnTo>
                  <a:pt x="3177" y="1550"/>
                </a:lnTo>
                <a:lnTo>
                  <a:pt x="3186" y="1550"/>
                </a:lnTo>
                <a:lnTo>
                  <a:pt x="3191" y="1553"/>
                </a:lnTo>
                <a:lnTo>
                  <a:pt x="3197" y="1553"/>
                </a:lnTo>
                <a:lnTo>
                  <a:pt x="3196" y="1563"/>
                </a:lnTo>
                <a:lnTo>
                  <a:pt x="3186" y="1575"/>
                </a:lnTo>
                <a:lnTo>
                  <a:pt x="3161" y="1612"/>
                </a:lnTo>
                <a:lnTo>
                  <a:pt x="3157" y="1615"/>
                </a:lnTo>
                <a:lnTo>
                  <a:pt x="3152" y="1617"/>
                </a:lnTo>
                <a:lnTo>
                  <a:pt x="3149" y="1617"/>
                </a:lnTo>
                <a:lnTo>
                  <a:pt x="3121" y="1613"/>
                </a:lnTo>
                <a:lnTo>
                  <a:pt x="3083" y="1617"/>
                </a:lnTo>
                <a:lnTo>
                  <a:pt x="3057" y="1623"/>
                </a:lnTo>
                <a:lnTo>
                  <a:pt x="3001" y="1646"/>
                </a:lnTo>
                <a:lnTo>
                  <a:pt x="2968" y="1655"/>
                </a:lnTo>
                <a:lnTo>
                  <a:pt x="2956" y="1656"/>
                </a:lnTo>
                <a:lnTo>
                  <a:pt x="2950" y="1658"/>
                </a:lnTo>
                <a:lnTo>
                  <a:pt x="2933" y="1662"/>
                </a:lnTo>
                <a:lnTo>
                  <a:pt x="2911" y="1664"/>
                </a:lnTo>
                <a:lnTo>
                  <a:pt x="2886" y="1665"/>
                </a:lnTo>
                <a:lnTo>
                  <a:pt x="2866" y="1674"/>
                </a:lnTo>
                <a:lnTo>
                  <a:pt x="2856" y="1672"/>
                </a:lnTo>
                <a:lnTo>
                  <a:pt x="2847" y="1665"/>
                </a:lnTo>
                <a:lnTo>
                  <a:pt x="2842" y="1656"/>
                </a:lnTo>
                <a:lnTo>
                  <a:pt x="2841" y="1646"/>
                </a:lnTo>
                <a:lnTo>
                  <a:pt x="2837" y="1646"/>
                </a:lnTo>
                <a:lnTo>
                  <a:pt x="2833" y="1642"/>
                </a:lnTo>
                <a:lnTo>
                  <a:pt x="2833" y="1638"/>
                </a:lnTo>
                <a:lnTo>
                  <a:pt x="2834" y="1635"/>
                </a:lnTo>
                <a:lnTo>
                  <a:pt x="2845" y="1631"/>
                </a:lnTo>
                <a:lnTo>
                  <a:pt x="2844" y="1629"/>
                </a:lnTo>
                <a:lnTo>
                  <a:pt x="2839" y="1625"/>
                </a:lnTo>
                <a:lnTo>
                  <a:pt x="2840" y="1629"/>
                </a:lnTo>
                <a:lnTo>
                  <a:pt x="2840" y="1631"/>
                </a:lnTo>
                <a:lnTo>
                  <a:pt x="2833" y="1631"/>
                </a:lnTo>
                <a:lnTo>
                  <a:pt x="2830" y="1634"/>
                </a:lnTo>
                <a:lnTo>
                  <a:pt x="2826" y="1643"/>
                </a:lnTo>
                <a:lnTo>
                  <a:pt x="2823" y="1639"/>
                </a:lnTo>
                <a:lnTo>
                  <a:pt x="2822" y="1643"/>
                </a:lnTo>
                <a:lnTo>
                  <a:pt x="2823" y="1647"/>
                </a:lnTo>
                <a:lnTo>
                  <a:pt x="2829" y="1647"/>
                </a:lnTo>
                <a:lnTo>
                  <a:pt x="2833" y="1651"/>
                </a:lnTo>
                <a:lnTo>
                  <a:pt x="2834" y="1656"/>
                </a:lnTo>
                <a:lnTo>
                  <a:pt x="2833" y="1660"/>
                </a:lnTo>
                <a:lnTo>
                  <a:pt x="2829" y="1665"/>
                </a:lnTo>
                <a:lnTo>
                  <a:pt x="2826" y="1665"/>
                </a:lnTo>
                <a:lnTo>
                  <a:pt x="2826" y="1664"/>
                </a:lnTo>
                <a:lnTo>
                  <a:pt x="2823" y="1665"/>
                </a:lnTo>
                <a:lnTo>
                  <a:pt x="2819" y="1669"/>
                </a:lnTo>
                <a:lnTo>
                  <a:pt x="2816" y="1676"/>
                </a:lnTo>
                <a:lnTo>
                  <a:pt x="2812" y="1680"/>
                </a:lnTo>
                <a:lnTo>
                  <a:pt x="2817" y="1680"/>
                </a:lnTo>
                <a:lnTo>
                  <a:pt x="2825" y="1674"/>
                </a:lnTo>
                <a:lnTo>
                  <a:pt x="2833" y="1674"/>
                </a:lnTo>
                <a:lnTo>
                  <a:pt x="2836" y="1669"/>
                </a:lnTo>
                <a:lnTo>
                  <a:pt x="2839" y="1669"/>
                </a:lnTo>
                <a:lnTo>
                  <a:pt x="2842" y="1669"/>
                </a:lnTo>
                <a:lnTo>
                  <a:pt x="2844" y="1672"/>
                </a:lnTo>
                <a:lnTo>
                  <a:pt x="2842" y="1676"/>
                </a:lnTo>
                <a:lnTo>
                  <a:pt x="2840" y="1677"/>
                </a:lnTo>
                <a:lnTo>
                  <a:pt x="2809" y="1688"/>
                </a:lnTo>
                <a:lnTo>
                  <a:pt x="2763" y="1699"/>
                </a:lnTo>
                <a:lnTo>
                  <a:pt x="2765" y="1696"/>
                </a:lnTo>
                <a:lnTo>
                  <a:pt x="2772" y="1694"/>
                </a:lnTo>
                <a:lnTo>
                  <a:pt x="2775" y="1692"/>
                </a:lnTo>
                <a:lnTo>
                  <a:pt x="2777" y="1688"/>
                </a:lnTo>
                <a:lnTo>
                  <a:pt x="2777" y="1684"/>
                </a:lnTo>
                <a:lnTo>
                  <a:pt x="2775" y="1684"/>
                </a:lnTo>
                <a:lnTo>
                  <a:pt x="2775" y="1688"/>
                </a:lnTo>
                <a:lnTo>
                  <a:pt x="2773" y="1691"/>
                </a:lnTo>
                <a:lnTo>
                  <a:pt x="2770" y="1691"/>
                </a:lnTo>
                <a:lnTo>
                  <a:pt x="2770" y="1676"/>
                </a:lnTo>
                <a:lnTo>
                  <a:pt x="2769" y="1674"/>
                </a:lnTo>
                <a:lnTo>
                  <a:pt x="2767" y="1680"/>
                </a:lnTo>
                <a:lnTo>
                  <a:pt x="2765" y="1680"/>
                </a:lnTo>
                <a:lnTo>
                  <a:pt x="2756" y="1662"/>
                </a:lnTo>
                <a:lnTo>
                  <a:pt x="2754" y="1665"/>
                </a:lnTo>
                <a:lnTo>
                  <a:pt x="2759" y="1679"/>
                </a:lnTo>
                <a:lnTo>
                  <a:pt x="2759" y="1684"/>
                </a:lnTo>
                <a:lnTo>
                  <a:pt x="2762" y="1688"/>
                </a:lnTo>
                <a:lnTo>
                  <a:pt x="2762" y="1691"/>
                </a:lnTo>
                <a:lnTo>
                  <a:pt x="2761" y="1692"/>
                </a:lnTo>
                <a:lnTo>
                  <a:pt x="2744" y="1699"/>
                </a:lnTo>
                <a:lnTo>
                  <a:pt x="2742" y="1702"/>
                </a:lnTo>
                <a:lnTo>
                  <a:pt x="2745" y="1702"/>
                </a:lnTo>
                <a:lnTo>
                  <a:pt x="2747" y="1706"/>
                </a:lnTo>
                <a:lnTo>
                  <a:pt x="2744" y="1709"/>
                </a:lnTo>
                <a:lnTo>
                  <a:pt x="2720" y="1714"/>
                </a:lnTo>
                <a:lnTo>
                  <a:pt x="2716" y="1714"/>
                </a:lnTo>
                <a:lnTo>
                  <a:pt x="2715" y="1710"/>
                </a:lnTo>
                <a:lnTo>
                  <a:pt x="2716" y="1706"/>
                </a:lnTo>
                <a:lnTo>
                  <a:pt x="2715" y="1702"/>
                </a:lnTo>
                <a:lnTo>
                  <a:pt x="2710" y="1705"/>
                </a:lnTo>
                <a:lnTo>
                  <a:pt x="2702" y="1701"/>
                </a:lnTo>
                <a:lnTo>
                  <a:pt x="2701" y="1694"/>
                </a:lnTo>
                <a:lnTo>
                  <a:pt x="2697" y="1691"/>
                </a:lnTo>
                <a:lnTo>
                  <a:pt x="2698" y="1688"/>
                </a:lnTo>
                <a:lnTo>
                  <a:pt x="2701" y="1688"/>
                </a:lnTo>
                <a:lnTo>
                  <a:pt x="2701" y="1684"/>
                </a:lnTo>
                <a:lnTo>
                  <a:pt x="2697" y="1688"/>
                </a:lnTo>
                <a:lnTo>
                  <a:pt x="2697" y="1694"/>
                </a:lnTo>
                <a:lnTo>
                  <a:pt x="2695" y="1696"/>
                </a:lnTo>
                <a:lnTo>
                  <a:pt x="2694" y="1699"/>
                </a:lnTo>
                <a:lnTo>
                  <a:pt x="2688" y="1694"/>
                </a:lnTo>
                <a:lnTo>
                  <a:pt x="2687" y="1694"/>
                </a:lnTo>
                <a:lnTo>
                  <a:pt x="2687" y="1701"/>
                </a:lnTo>
                <a:lnTo>
                  <a:pt x="2690" y="1702"/>
                </a:lnTo>
                <a:lnTo>
                  <a:pt x="2690" y="1705"/>
                </a:lnTo>
                <a:lnTo>
                  <a:pt x="2678" y="1714"/>
                </a:lnTo>
                <a:lnTo>
                  <a:pt x="2673" y="1718"/>
                </a:lnTo>
                <a:lnTo>
                  <a:pt x="2665" y="1721"/>
                </a:lnTo>
                <a:lnTo>
                  <a:pt x="2656" y="1721"/>
                </a:lnTo>
                <a:lnTo>
                  <a:pt x="2656" y="1722"/>
                </a:lnTo>
                <a:lnTo>
                  <a:pt x="2653" y="1725"/>
                </a:lnTo>
                <a:lnTo>
                  <a:pt x="2653" y="1726"/>
                </a:lnTo>
                <a:lnTo>
                  <a:pt x="2663" y="1727"/>
                </a:lnTo>
                <a:lnTo>
                  <a:pt x="2673" y="1726"/>
                </a:lnTo>
                <a:lnTo>
                  <a:pt x="2677" y="1725"/>
                </a:lnTo>
                <a:lnTo>
                  <a:pt x="2684" y="1717"/>
                </a:lnTo>
                <a:lnTo>
                  <a:pt x="2695" y="1713"/>
                </a:lnTo>
                <a:lnTo>
                  <a:pt x="2701" y="1714"/>
                </a:lnTo>
                <a:lnTo>
                  <a:pt x="2699" y="1718"/>
                </a:lnTo>
                <a:lnTo>
                  <a:pt x="2697" y="1721"/>
                </a:lnTo>
                <a:lnTo>
                  <a:pt x="2670" y="1729"/>
                </a:lnTo>
                <a:lnTo>
                  <a:pt x="2652" y="1733"/>
                </a:lnTo>
                <a:lnTo>
                  <a:pt x="2623" y="1747"/>
                </a:lnTo>
                <a:lnTo>
                  <a:pt x="2605" y="1751"/>
                </a:lnTo>
                <a:lnTo>
                  <a:pt x="2541" y="1778"/>
                </a:lnTo>
                <a:lnTo>
                  <a:pt x="2495" y="1794"/>
                </a:lnTo>
                <a:lnTo>
                  <a:pt x="2492" y="1796"/>
                </a:lnTo>
                <a:lnTo>
                  <a:pt x="2470" y="1804"/>
                </a:lnTo>
                <a:lnTo>
                  <a:pt x="2448" y="1816"/>
                </a:lnTo>
                <a:lnTo>
                  <a:pt x="2446" y="1818"/>
                </a:lnTo>
                <a:lnTo>
                  <a:pt x="2443" y="1825"/>
                </a:lnTo>
                <a:lnTo>
                  <a:pt x="2443" y="1830"/>
                </a:lnTo>
                <a:lnTo>
                  <a:pt x="2441" y="1833"/>
                </a:lnTo>
                <a:lnTo>
                  <a:pt x="2432" y="1834"/>
                </a:lnTo>
                <a:lnTo>
                  <a:pt x="2421" y="1843"/>
                </a:lnTo>
                <a:lnTo>
                  <a:pt x="2407" y="1845"/>
                </a:lnTo>
                <a:lnTo>
                  <a:pt x="2405" y="1845"/>
                </a:lnTo>
                <a:lnTo>
                  <a:pt x="2403" y="1843"/>
                </a:lnTo>
                <a:lnTo>
                  <a:pt x="2399" y="1838"/>
                </a:lnTo>
                <a:lnTo>
                  <a:pt x="2397" y="1829"/>
                </a:lnTo>
                <a:lnTo>
                  <a:pt x="2396" y="1812"/>
                </a:lnTo>
                <a:lnTo>
                  <a:pt x="2393" y="1792"/>
                </a:lnTo>
                <a:lnTo>
                  <a:pt x="2395" y="1789"/>
                </a:lnTo>
                <a:lnTo>
                  <a:pt x="2405" y="1781"/>
                </a:lnTo>
                <a:lnTo>
                  <a:pt x="2403" y="1781"/>
                </a:lnTo>
                <a:lnTo>
                  <a:pt x="2393" y="1786"/>
                </a:lnTo>
                <a:lnTo>
                  <a:pt x="2389" y="1778"/>
                </a:lnTo>
                <a:lnTo>
                  <a:pt x="2389" y="1776"/>
                </a:lnTo>
                <a:lnTo>
                  <a:pt x="2395" y="1763"/>
                </a:lnTo>
                <a:lnTo>
                  <a:pt x="2396" y="1754"/>
                </a:lnTo>
                <a:lnTo>
                  <a:pt x="2395" y="1751"/>
                </a:lnTo>
                <a:lnTo>
                  <a:pt x="2392" y="1754"/>
                </a:lnTo>
                <a:lnTo>
                  <a:pt x="2391" y="1751"/>
                </a:lnTo>
                <a:lnTo>
                  <a:pt x="2393" y="1744"/>
                </a:lnTo>
                <a:lnTo>
                  <a:pt x="2392" y="1741"/>
                </a:lnTo>
                <a:lnTo>
                  <a:pt x="2389" y="1741"/>
                </a:lnTo>
                <a:lnTo>
                  <a:pt x="2385" y="1741"/>
                </a:lnTo>
                <a:lnTo>
                  <a:pt x="2386" y="1743"/>
                </a:lnTo>
                <a:lnTo>
                  <a:pt x="2389" y="1744"/>
                </a:lnTo>
                <a:lnTo>
                  <a:pt x="2389" y="1747"/>
                </a:lnTo>
                <a:lnTo>
                  <a:pt x="2386" y="1749"/>
                </a:lnTo>
                <a:lnTo>
                  <a:pt x="2386" y="1750"/>
                </a:lnTo>
                <a:lnTo>
                  <a:pt x="2392" y="1759"/>
                </a:lnTo>
                <a:lnTo>
                  <a:pt x="2391" y="1767"/>
                </a:lnTo>
                <a:lnTo>
                  <a:pt x="2386" y="1769"/>
                </a:lnTo>
                <a:lnTo>
                  <a:pt x="2386" y="1776"/>
                </a:lnTo>
                <a:lnTo>
                  <a:pt x="2382" y="1778"/>
                </a:lnTo>
                <a:lnTo>
                  <a:pt x="2378" y="1780"/>
                </a:lnTo>
                <a:lnTo>
                  <a:pt x="2375" y="1778"/>
                </a:lnTo>
                <a:lnTo>
                  <a:pt x="2370" y="1772"/>
                </a:lnTo>
                <a:lnTo>
                  <a:pt x="2363" y="1767"/>
                </a:lnTo>
                <a:lnTo>
                  <a:pt x="2356" y="1766"/>
                </a:lnTo>
                <a:lnTo>
                  <a:pt x="2352" y="1767"/>
                </a:lnTo>
                <a:lnTo>
                  <a:pt x="2349" y="1767"/>
                </a:lnTo>
                <a:lnTo>
                  <a:pt x="2349" y="1771"/>
                </a:lnTo>
                <a:lnTo>
                  <a:pt x="2347" y="1772"/>
                </a:lnTo>
                <a:lnTo>
                  <a:pt x="2357" y="1784"/>
                </a:lnTo>
                <a:lnTo>
                  <a:pt x="2366" y="1792"/>
                </a:lnTo>
                <a:lnTo>
                  <a:pt x="2385" y="1803"/>
                </a:lnTo>
                <a:lnTo>
                  <a:pt x="2386" y="1808"/>
                </a:lnTo>
                <a:lnTo>
                  <a:pt x="2386" y="1820"/>
                </a:lnTo>
                <a:lnTo>
                  <a:pt x="2381" y="1822"/>
                </a:lnTo>
                <a:lnTo>
                  <a:pt x="2377" y="1834"/>
                </a:lnTo>
                <a:lnTo>
                  <a:pt x="2372" y="1834"/>
                </a:lnTo>
                <a:lnTo>
                  <a:pt x="2357" y="1826"/>
                </a:lnTo>
                <a:lnTo>
                  <a:pt x="2346" y="1826"/>
                </a:lnTo>
                <a:lnTo>
                  <a:pt x="2343" y="1826"/>
                </a:lnTo>
                <a:lnTo>
                  <a:pt x="2342" y="1816"/>
                </a:lnTo>
                <a:lnTo>
                  <a:pt x="2339" y="1816"/>
                </a:lnTo>
                <a:lnTo>
                  <a:pt x="2339" y="1822"/>
                </a:lnTo>
                <a:lnTo>
                  <a:pt x="2338" y="1825"/>
                </a:lnTo>
                <a:lnTo>
                  <a:pt x="2342" y="1830"/>
                </a:lnTo>
                <a:lnTo>
                  <a:pt x="2349" y="1834"/>
                </a:lnTo>
                <a:lnTo>
                  <a:pt x="2356" y="1833"/>
                </a:lnTo>
                <a:lnTo>
                  <a:pt x="2370" y="1838"/>
                </a:lnTo>
                <a:lnTo>
                  <a:pt x="2370" y="1842"/>
                </a:lnTo>
                <a:lnTo>
                  <a:pt x="2361" y="1841"/>
                </a:lnTo>
                <a:lnTo>
                  <a:pt x="2360" y="1841"/>
                </a:lnTo>
                <a:lnTo>
                  <a:pt x="2360" y="1842"/>
                </a:lnTo>
                <a:lnTo>
                  <a:pt x="2368" y="1845"/>
                </a:lnTo>
                <a:lnTo>
                  <a:pt x="2381" y="1843"/>
                </a:lnTo>
                <a:lnTo>
                  <a:pt x="2385" y="1845"/>
                </a:lnTo>
                <a:lnTo>
                  <a:pt x="2383" y="1848"/>
                </a:lnTo>
                <a:lnTo>
                  <a:pt x="2381" y="1849"/>
                </a:lnTo>
                <a:lnTo>
                  <a:pt x="2363" y="1856"/>
                </a:lnTo>
                <a:lnTo>
                  <a:pt x="2361" y="1865"/>
                </a:lnTo>
                <a:lnTo>
                  <a:pt x="2349" y="1866"/>
                </a:lnTo>
                <a:lnTo>
                  <a:pt x="2339" y="1867"/>
                </a:lnTo>
                <a:lnTo>
                  <a:pt x="2338" y="1867"/>
                </a:lnTo>
                <a:lnTo>
                  <a:pt x="2336" y="1866"/>
                </a:lnTo>
                <a:lnTo>
                  <a:pt x="2333" y="1867"/>
                </a:lnTo>
                <a:lnTo>
                  <a:pt x="2330" y="1856"/>
                </a:lnTo>
                <a:lnTo>
                  <a:pt x="2325" y="1853"/>
                </a:lnTo>
                <a:lnTo>
                  <a:pt x="2311" y="1845"/>
                </a:lnTo>
                <a:lnTo>
                  <a:pt x="2303" y="1830"/>
                </a:lnTo>
                <a:lnTo>
                  <a:pt x="2302" y="1830"/>
                </a:lnTo>
                <a:lnTo>
                  <a:pt x="2302" y="1833"/>
                </a:lnTo>
                <a:lnTo>
                  <a:pt x="2302" y="1838"/>
                </a:lnTo>
                <a:lnTo>
                  <a:pt x="2300" y="1838"/>
                </a:lnTo>
                <a:lnTo>
                  <a:pt x="2293" y="1834"/>
                </a:lnTo>
                <a:lnTo>
                  <a:pt x="2300" y="1842"/>
                </a:lnTo>
                <a:lnTo>
                  <a:pt x="2311" y="1851"/>
                </a:lnTo>
                <a:lnTo>
                  <a:pt x="2318" y="1853"/>
                </a:lnTo>
                <a:lnTo>
                  <a:pt x="2322" y="1856"/>
                </a:lnTo>
                <a:lnTo>
                  <a:pt x="2332" y="1871"/>
                </a:lnTo>
                <a:lnTo>
                  <a:pt x="2331" y="1871"/>
                </a:lnTo>
                <a:lnTo>
                  <a:pt x="2310" y="1878"/>
                </a:lnTo>
                <a:lnTo>
                  <a:pt x="2300" y="1881"/>
                </a:lnTo>
                <a:lnTo>
                  <a:pt x="2285" y="1883"/>
                </a:lnTo>
                <a:lnTo>
                  <a:pt x="2246" y="1898"/>
                </a:lnTo>
                <a:lnTo>
                  <a:pt x="2235" y="1904"/>
                </a:lnTo>
                <a:lnTo>
                  <a:pt x="2214" y="1913"/>
                </a:lnTo>
                <a:lnTo>
                  <a:pt x="2202" y="1920"/>
                </a:lnTo>
                <a:lnTo>
                  <a:pt x="2161" y="1937"/>
                </a:lnTo>
                <a:lnTo>
                  <a:pt x="2115" y="1961"/>
                </a:lnTo>
                <a:lnTo>
                  <a:pt x="2073" y="1986"/>
                </a:lnTo>
                <a:lnTo>
                  <a:pt x="2057" y="1991"/>
                </a:lnTo>
                <a:lnTo>
                  <a:pt x="2053" y="1991"/>
                </a:lnTo>
                <a:lnTo>
                  <a:pt x="2053" y="1987"/>
                </a:lnTo>
                <a:lnTo>
                  <a:pt x="2053" y="1986"/>
                </a:lnTo>
                <a:lnTo>
                  <a:pt x="2060" y="1983"/>
                </a:lnTo>
                <a:lnTo>
                  <a:pt x="2076" y="1968"/>
                </a:lnTo>
                <a:lnTo>
                  <a:pt x="2082" y="1968"/>
                </a:lnTo>
                <a:lnTo>
                  <a:pt x="2089" y="1968"/>
                </a:lnTo>
                <a:lnTo>
                  <a:pt x="2097" y="1968"/>
                </a:lnTo>
                <a:lnTo>
                  <a:pt x="2098" y="1968"/>
                </a:lnTo>
                <a:lnTo>
                  <a:pt x="2098" y="1965"/>
                </a:lnTo>
                <a:lnTo>
                  <a:pt x="2098" y="1968"/>
                </a:lnTo>
                <a:lnTo>
                  <a:pt x="2096" y="1968"/>
                </a:lnTo>
                <a:lnTo>
                  <a:pt x="2087" y="1967"/>
                </a:lnTo>
                <a:lnTo>
                  <a:pt x="2082" y="1965"/>
                </a:lnTo>
                <a:lnTo>
                  <a:pt x="2076" y="1965"/>
                </a:lnTo>
                <a:lnTo>
                  <a:pt x="2068" y="1968"/>
                </a:lnTo>
                <a:lnTo>
                  <a:pt x="2060" y="1977"/>
                </a:lnTo>
                <a:lnTo>
                  <a:pt x="2051" y="1980"/>
                </a:lnTo>
                <a:lnTo>
                  <a:pt x="2047" y="1983"/>
                </a:lnTo>
                <a:lnTo>
                  <a:pt x="2044" y="1983"/>
                </a:lnTo>
                <a:lnTo>
                  <a:pt x="2040" y="1987"/>
                </a:lnTo>
                <a:lnTo>
                  <a:pt x="2040" y="1998"/>
                </a:lnTo>
                <a:lnTo>
                  <a:pt x="2037" y="2003"/>
                </a:lnTo>
                <a:lnTo>
                  <a:pt x="2001" y="2022"/>
                </a:lnTo>
                <a:lnTo>
                  <a:pt x="1978" y="2036"/>
                </a:lnTo>
                <a:lnTo>
                  <a:pt x="1972" y="2036"/>
                </a:lnTo>
                <a:lnTo>
                  <a:pt x="1965" y="2032"/>
                </a:lnTo>
                <a:lnTo>
                  <a:pt x="1950" y="2032"/>
                </a:lnTo>
                <a:lnTo>
                  <a:pt x="1944" y="2028"/>
                </a:lnTo>
                <a:lnTo>
                  <a:pt x="1942" y="2028"/>
                </a:lnTo>
                <a:lnTo>
                  <a:pt x="1933" y="2030"/>
                </a:lnTo>
                <a:lnTo>
                  <a:pt x="1932" y="2036"/>
                </a:lnTo>
                <a:lnTo>
                  <a:pt x="1934" y="2042"/>
                </a:lnTo>
                <a:lnTo>
                  <a:pt x="1936" y="2036"/>
                </a:lnTo>
                <a:lnTo>
                  <a:pt x="1940" y="2032"/>
                </a:lnTo>
                <a:lnTo>
                  <a:pt x="1953" y="2036"/>
                </a:lnTo>
                <a:lnTo>
                  <a:pt x="1954" y="2039"/>
                </a:lnTo>
                <a:lnTo>
                  <a:pt x="1956" y="2042"/>
                </a:lnTo>
                <a:lnTo>
                  <a:pt x="1956" y="2044"/>
                </a:lnTo>
                <a:lnTo>
                  <a:pt x="1946" y="2052"/>
                </a:lnTo>
                <a:lnTo>
                  <a:pt x="1921" y="2065"/>
                </a:lnTo>
                <a:lnTo>
                  <a:pt x="1879" y="2083"/>
                </a:lnTo>
                <a:lnTo>
                  <a:pt x="1854" y="2097"/>
                </a:lnTo>
                <a:lnTo>
                  <a:pt x="1852" y="2097"/>
                </a:lnTo>
                <a:lnTo>
                  <a:pt x="1852" y="2091"/>
                </a:lnTo>
                <a:lnTo>
                  <a:pt x="1851" y="2089"/>
                </a:lnTo>
                <a:lnTo>
                  <a:pt x="1847" y="2085"/>
                </a:lnTo>
                <a:lnTo>
                  <a:pt x="1850" y="2091"/>
                </a:lnTo>
                <a:lnTo>
                  <a:pt x="1847" y="2097"/>
                </a:lnTo>
                <a:lnTo>
                  <a:pt x="1843" y="2097"/>
                </a:lnTo>
                <a:lnTo>
                  <a:pt x="1836" y="2097"/>
                </a:lnTo>
                <a:lnTo>
                  <a:pt x="1832" y="2097"/>
                </a:lnTo>
                <a:lnTo>
                  <a:pt x="1830" y="2100"/>
                </a:lnTo>
                <a:lnTo>
                  <a:pt x="1830" y="2107"/>
                </a:lnTo>
                <a:lnTo>
                  <a:pt x="1829" y="2111"/>
                </a:lnTo>
                <a:lnTo>
                  <a:pt x="1776" y="2141"/>
                </a:lnTo>
                <a:lnTo>
                  <a:pt x="1771" y="2145"/>
                </a:lnTo>
                <a:lnTo>
                  <a:pt x="1769" y="2145"/>
                </a:lnTo>
                <a:lnTo>
                  <a:pt x="1769" y="2144"/>
                </a:lnTo>
                <a:lnTo>
                  <a:pt x="1782" y="2137"/>
                </a:lnTo>
                <a:lnTo>
                  <a:pt x="1786" y="2133"/>
                </a:lnTo>
                <a:lnTo>
                  <a:pt x="1779" y="2136"/>
                </a:lnTo>
                <a:lnTo>
                  <a:pt x="1779" y="2128"/>
                </a:lnTo>
                <a:lnTo>
                  <a:pt x="1772" y="2136"/>
                </a:lnTo>
                <a:lnTo>
                  <a:pt x="1755" y="2145"/>
                </a:lnTo>
                <a:lnTo>
                  <a:pt x="1754" y="2154"/>
                </a:lnTo>
                <a:lnTo>
                  <a:pt x="1749" y="2160"/>
                </a:lnTo>
                <a:lnTo>
                  <a:pt x="1743" y="2160"/>
                </a:lnTo>
                <a:lnTo>
                  <a:pt x="1737" y="2160"/>
                </a:lnTo>
                <a:lnTo>
                  <a:pt x="1729" y="2158"/>
                </a:lnTo>
                <a:lnTo>
                  <a:pt x="1724" y="2160"/>
                </a:lnTo>
                <a:lnTo>
                  <a:pt x="1723" y="2162"/>
                </a:lnTo>
                <a:lnTo>
                  <a:pt x="1723" y="2166"/>
                </a:lnTo>
                <a:lnTo>
                  <a:pt x="1729" y="2164"/>
                </a:lnTo>
                <a:lnTo>
                  <a:pt x="1729" y="2166"/>
                </a:lnTo>
                <a:lnTo>
                  <a:pt x="1727" y="2168"/>
                </a:lnTo>
                <a:lnTo>
                  <a:pt x="1688" y="2195"/>
                </a:lnTo>
                <a:lnTo>
                  <a:pt x="1674" y="2208"/>
                </a:lnTo>
                <a:lnTo>
                  <a:pt x="1669" y="2215"/>
                </a:lnTo>
                <a:lnTo>
                  <a:pt x="1663" y="2219"/>
                </a:lnTo>
                <a:lnTo>
                  <a:pt x="1659" y="2219"/>
                </a:lnTo>
                <a:lnTo>
                  <a:pt x="1657" y="2216"/>
                </a:lnTo>
                <a:lnTo>
                  <a:pt x="1649" y="2201"/>
                </a:lnTo>
                <a:lnTo>
                  <a:pt x="1643" y="2189"/>
                </a:lnTo>
                <a:lnTo>
                  <a:pt x="1641" y="2181"/>
                </a:lnTo>
                <a:lnTo>
                  <a:pt x="1638" y="2174"/>
                </a:lnTo>
                <a:lnTo>
                  <a:pt x="1630" y="2170"/>
                </a:lnTo>
                <a:lnTo>
                  <a:pt x="1626" y="2170"/>
                </a:lnTo>
                <a:lnTo>
                  <a:pt x="1613" y="2177"/>
                </a:lnTo>
                <a:lnTo>
                  <a:pt x="1611" y="2177"/>
                </a:lnTo>
                <a:lnTo>
                  <a:pt x="1608" y="2174"/>
                </a:lnTo>
                <a:lnTo>
                  <a:pt x="1611" y="2178"/>
                </a:lnTo>
                <a:lnTo>
                  <a:pt x="1613" y="2181"/>
                </a:lnTo>
                <a:lnTo>
                  <a:pt x="1627" y="2174"/>
                </a:lnTo>
                <a:lnTo>
                  <a:pt x="1632" y="2178"/>
                </a:lnTo>
                <a:lnTo>
                  <a:pt x="1633" y="2182"/>
                </a:lnTo>
                <a:lnTo>
                  <a:pt x="1636" y="2194"/>
                </a:lnTo>
                <a:lnTo>
                  <a:pt x="1634" y="2201"/>
                </a:lnTo>
                <a:lnTo>
                  <a:pt x="1636" y="2204"/>
                </a:lnTo>
                <a:lnTo>
                  <a:pt x="1638" y="2201"/>
                </a:lnTo>
                <a:lnTo>
                  <a:pt x="1640" y="2201"/>
                </a:lnTo>
                <a:lnTo>
                  <a:pt x="1641" y="2208"/>
                </a:lnTo>
                <a:lnTo>
                  <a:pt x="1648" y="2216"/>
                </a:lnTo>
                <a:lnTo>
                  <a:pt x="1648" y="2219"/>
                </a:lnTo>
                <a:lnTo>
                  <a:pt x="1646" y="2226"/>
                </a:lnTo>
                <a:lnTo>
                  <a:pt x="1638" y="2235"/>
                </a:lnTo>
                <a:lnTo>
                  <a:pt x="1622" y="2245"/>
                </a:lnTo>
                <a:lnTo>
                  <a:pt x="1612" y="2257"/>
                </a:lnTo>
                <a:lnTo>
                  <a:pt x="1602" y="2265"/>
                </a:lnTo>
                <a:lnTo>
                  <a:pt x="1576" y="2294"/>
                </a:lnTo>
                <a:lnTo>
                  <a:pt x="1531" y="2355"/>
                </a:lnTo>
                <a:lnTo>
                  <a:pt x="1520" y="2365"/>
                </a:lnTo>
                <a:lnTo>
                  <a:pt x="1506" y="2388"/>
                </a:lnTo>
                <a:lnTo>
                  <a:pt x="1491" y="2407"/>
                </a:lnTo>
                <a:lnTo>
                  <a:pt x="1489" y="2410"/>
                </a:lnTo>
                <a:lnTo>
                  <a:pt x="1480" y="2425"/>
                </a:lnTo>
                <a:lnTo>
                  <a:pt x="1474" y="2429"/>
                </a:lnTo>
                <a:lnTo>
                  <a:pt x="1470" y="2429"/>
                </a:lnTo>
                <a:lnTo>
                  <a:pt x="1464" y="2420"/>
                </a:lnTo>
                <a:lnTo>
                  <a:pt x="1463" y="2417"/>
                </a:lnTo>
                <a:lnTo>
                  <a:pt x="1460" y="2413"/>
                </a:lnTo>
                <a:lnTo>
                  <a:pt x="1462" y="2410"/>
                </a:lnTo>
                <a:lnTo>
                  <a:pt x="1453" y="2395"/>
                </a:lnTo>
                <a:lnTo>
                  <a:pt x="1439" y="2385"/>
                </a:lnTo>
                <a:lnTo>
                  <a:pt x="1428" y="2380"/>
                </a:lnTo>
                <a:lnTo>
                  <a:pt x="1427" y="2377"/>
                </a:lnTo>
                <a:lnTo>
                  <a:pt x="1425" y="2373"/>
                </a:lnTo>
                <a:lnTo>
                  <a:pt x="1423" y="2368"/>
                </a:lnTo>
                <a:lnTo>
                  <a:pt x="1423" y="2369"/>
                </a:lnTo>
                <a:lnTo>
                  <a:pt x="1423" y="2372"/>
                </a:lnTo>
                <a:lnTo>
                  <a:pt x="1422" y="2372"/>
                </a:lnTo>
                <a:lnTo>
                  <a:pt x="1419" y="2361"/>
                </a:lnTo>
                <a:lnTo>
                  <a:pt x="1417" y="2357"/>
                </a:lnTo>
                <a:lnTo>
                  <a:pt x="1420" y="2350"/>
                </a:lnTo>
                <a:lnTo>
                  <a:pt x="1420" y="2339"/>
                </a:lnTo>
                <a:lnTo>
                  <a:pt x="1417" y="2328"/>
                </a:lnTo>
                <a:lnTo>
                  <a:pt x="1412" y="2320"/>
                </a:lnTo>
                <a:lnTo>
                  <a:pt x="1403" y="2320"/>
                </a:lnTo>
                <a:lnTo>
                  <a:pt x="1394" y="2314"/>
                </a:lnTo>
                <a:lnTo>
                  <a:pt x="1387" y="2313"/>
                </a:lnTo>
                <a:lnTo>
                  <a:pt x="1375" y="2315"/>
                </a:lnTo>
                <a:lnTo>
                  <a:pt x="1369" y="2323"/>
                </a:lnTo>
                <a:lnTo>
                  <a:pt x="1364" y="2325"/>
                </a:lnTo>
                <a:lnTo>
                  <a:pt x="1356" y="2327"/>
                </a:lnTo>
                <a:lnTo>
                  <a:pt x="1344" y="2332"/>
                </a:lnTo>
                <a:lnTo>
                  <a:pt x="1339" y="2338"/>
                </a:lnTo>
                <a:lnTo>
                  <a:pt x="1348" y="2338"/>
                </a:lnTo>
                <a:lnTo>
                  <a:pt x="1369" y="2331"/>
                </a:lnTo>
                <a:lnTo>
                  <a:pt x="1394" y="2325"/>
                </a:lnTo>
                <a:lnTo>
                  <a:pt x="1398" y="2325"/>
                </a:lnTo>
                <a:lnTo>
                  <a:pt x="1399" y="2336"/>
                </a:lnTo>
                <a:lnTo>
                  <a:pt x="1405" y="2360"/>
                </a:lnTo>
                <a:lnTo>
                  <a:pt x="1405" y="2373"/>
                </a:lnTo>
                <a:lnTo>
                  <a:pt x="1412" y="2395"/>
                </a:lnTo>
                <a:lnTo>
                  <a:pt x="1413" y="2410"/>
                </a:lnTo>
                <a:lnTo>
                  <a:pt x="1413" y="2417"/>
                </a:lnTo>
                <a:lnTo>
                  <a:pt x="1416" y="2426"/>
                </a:lnTo>
                <a:lnTo>
                  <a:pt x="1420" y="2431"/>
                </a:lnTo>
                <a:lnTo>
                  <a:pt x="1425" y="2435"/>
                </a:lnTo>
                <a:lnTo>
                  <a:pt x="1442" y="2435"/>
                </a:lnTo>
                <a:lnTo>
                  <a:pt x="1447" y="2440"/>
                </a:lnTo>
                <a:lnTo>
                  <a:pt x="1453" y="2440"/>
                </a:lnTo>
                <a:lnTo>
                  <a:pt x="1455" y="2444"/>
                </a:lnTo>
                <a:lnTo>
                  <a:pt x="1460" y="2440"/>
                </a:lnTo>
                <a:lnTo>
                  <a:pt x="1462" y="2443"/>
                </a:lnTo>
                <a:lnTo>
                  <a:pt x="1463" y="2444"/>
                </a:lnTo>
                <a:lnTo>
                  <a:pt x="1460" y="2452"/>
                </a:lnTo>
                <a:lnTo>
                  <a:pt x="1462" y="2459"/>
                </a:lnTo>
                <a:lnTo>
                  <a:pt x="1460" y="2463"/>
                </a:lnTo>
                <a:lnTo>
                  <a:pt x="1419" y="2506"/>
                </a:lnTo>
                <a:lnTo>
                  <a:pt x="1408" y="2519"/>
                </a:lnTo>
                <a:lnTo>
                  <a:pt x="1394" y="2538"/>
                </a:lnTo>
                <a:lnTo>
                  <a:pt x="1391" y="2549"/>
                </a:lnTo>
                <a:lnTo>
                  <a:pt x="1391" y="2560"/>
                </a:lnTo>
                <a:lnTo>
                  <a:pt x="1388" y="2563"/>
                </a:lnTo>
                <a:lnTo>
                  <a:pt x="1378" y="2559"/>
                </a:lnTo>
                <a:lnTo>
                  <a:pt x="1367" y="2556"/>
                </a:lnTo>
                <a:lnTo>
                  <a:pt x="1359" y="2552"/>
                </a:lnTo>
                <a:lnTo>
                  <a:pt x="1359" y="2551"/>
                </a:lnTo>
                <a:lnTo>
                  <a:pt x="1362" y="2550"/>
                </a:lnTo>
                <a:lnTo>
                  <a:pt x="1369" y="2550"/>
                </a:lnTo>
                <a:lnTo>
                  <a:pt x="1374" y="2547"/>
                </a:lnTo>
                <a:lnTo>
                  <a:pt x="1364" y="2544"/>
                </a:lnTo>
                <a:lnTo>
                  <a:pt x="1359" y="2546"/>
                </a:lnTo>
                <a:lnTo>
                  <a:pt x="1352" y="2552"/>
                </a:lnTo>
                <a:lnTo>
                  <a:pt x="1345" y="2552"/>
                </a:lnTo>
                <a:lnTo>
                  <a:pt x="1337" y="2560"/>
                </a:lnTo>
                <a:lnTo>
                  <a:pt x="1321" y="2568"/>
                </a:lnTo>
                <a:lnTo>
                  <a:pt x="1316" y="2577"/>
                </a:lnTo>
                <a:lnTo>
                  <a:pt x="1309" y="2579"/>
                </a:lnTo>
                <a:lnTo>
                  <a:pt x="1310" y="2581"/>
                </a:lnTo>
                <a:lnTo>
                  <a:pt x="1316" y="2581"/>
                </a:lnTo>
                <a:lnTo>
                  <a:pt x="1317" y="2583"/>
                </a:lnTo>
                <a:lnTo>
                  <a:pt x="1306" y="2591"/>
                </a:lnTo>
                <a:lnTo>
                  <a:pt x="1298" y="2605"/>
                </a:lnTo>
                <a:lnTo>
                  <a:pt x="1292" y="2609"/>
                </a:lnTo>
                <a:lnTo>
                  <a:pt x="1289" y="2605"/>
                </a:lnTo>
                <a:lnTo>
                  <a:pt x="1279" y="2591"/>
                </a:lnTo>
                <a:lnTo>
                  <a:pt x="1264" y="2575"/>
                </a:lnTo>
                <a:lnTo>
                  <a:pt x="1264" y="2559"/>
                </a:lnTo>
                <a:lnTo>
                  <a:pt x="1262" y="2552"/>
                </a:lnTo>
                <a:lnTo>
                  <a:pt x="1260" y="2549"/>
                </a:lnTo>
                <a:lnTo>
                  <a:pt x="1260" y="2567"/>
                </a:lnTo>
                <a:lnTo>
                  <a:pt x="1263" y="2579"/>
                </a:lnTo>
                <a:lnTo>
                  <a:pt x="1270" y="2587"/>
                </a:lnTo>
                <a:lnTo>
                  <a:pt x="1278" y="2605"/>
                </a:lnTo>
                <a:lnTo>
                  <a:pt x="1288" y="2612"/>
                </a:lnTo>
                <a:lnTo>
                  <a:pt x="1296" y="2612"/>
                </a:lnTo>
                <a:lnTo>
                  <a:pt x="1305" y="2605"/>
                </a:lnTo>
                <a:lnTo>
                  <a:pt x="1325" y="2597"/>
                </a:lnTo>
                <a:lnTo>
                  <a:pt x="1339" y="2583"/>
                </a:lnTo>
                <a:lnTo>
                  <a:pt x="1345" y="2579"/>
                </a:lnTo>
                <a:lnTo>
                  <a:pt x="1353" y="2579"/>
                </a:lnTo>
                <a:lnTo>
                  <a:pt x="1353" y="2583"/>
                </a:lnTo>
                <a:lnTo>
                  <a:pt x="1350" y="2587"/>
                </a:lnTo>
                <a:lnTo>
                  <a:pt x="1331" y="2609"/>
                </a:lnTo>
                <a:lnTo>
                  <a:pt x="1307" y="2634"/>
                </a:lnTo>
                <a:lnTo>
                  <a:pt x="1298" y="2642"/>
                </a:lnTo>
                <a:lnTo>
                  <a:pt x="1293" y="2649"/>
                </a:lnTo>
                <a:lnTo>
                  <a:pt x="1271" y="2668"/>
                </a:lnTo>
                <a:lnTo>
                  <a:pt x="1262" y="2680"/>
                </a:lnTo>
                <a:lnTo>
                  <a:pt x="1239" y="2703"/>
                </a:lnTo>
                <a:lnTo>
                  <a:pt x="1237" y="2703"/>
                </a:lnTo>
                <a:lnTo>
                  <a:pt x="1232" y="2703"/>
                </a:lnTo>
                <a:lnTo>
                  <a:pt x="1232" y="2705"/>
                </a:lnTo>
                <a:lnTo>
                  <a:pt x="1234" y="2706"/>
                </a:lnTo>
                <a:lnTo>
                  <a:pt x="1232" y="2711"/>
                </a:lnTo>
                <a:lnTo>
                  <a:pt x="1220" y="2720"/>
                </a:lnTo>
                <a:lnTo>
                  <a:pt x="1217" y="2717"/>
                </a:lnTo>
                <a:lnTo>
                  <a:pt x="1214" y="2720"/>
                </a:lnTo>
                <a:lnTo>
                  <a:pt x="1210" y="2721"/>
                </a:lnTo>
                <a:lnTo>
                  <a:pt x="1212" y="2725"/>
                </a:lnTo>
                <a:lnTo>
                  <a:pt x="1210" y="2729"/>
                </a:lnTo>
                <a:lnTo>
                  <a:pt x="1193" y="2743"/>
                </a:lnTo>
                <a:lnTo>
                  <a:pt x="1189" y="2743"/>
                </a:lnTo>
                <a:lnTo>
                  <a:pt x="1185" y="2742"/>
                </a:lnTo>
                <a:lnTo>
                  <a:pt x="1184" y="2751"/>
                </a:lnTo>
                <a:lnTo>
                  <a:pt x="1168" y="2766"/>
                </a:lnTo>
                <a:lnTo>
                  <a:pt x="1128" y="2807"/>
                </a:lnTo>
                <a:lnTo>
                  <a:pt x="1123" y="2811"/>
                </a:lnTo>
                <a:lnTo>
                  <a:pt x="1118" y="2807"/>
                </a:lnTo>
                <a:lnTo>
                  <a:pt x="1117" y="2807"/>
                </a:lnTo>
                <a:lnTo>
                  <a:pt x="1115" y="2811"/>
                </a:lnTo>
                <a:lnTo>
                  <a:pt x="1117" y="2819"/>
                </a:lnTo>
                <a:lnTo>
                  <a:pt x="1117" y="2822"/>
                </a:lnTo>
                <a:lnTo>
                  <a:pt x="1106" y="2837"/>
                </a:lnTo>
                <a:lnTo>
                  <a:pt x="1103" y="2837"/>
                </a:lnTo>
                <a:lnTo>
                  <a:pt x="1096" y="2837"/>
                </a:lnTo>
                <a:lnTo>
                  <a:pt x="1093" y="2837"/>
                </a:lnTo>
                <a:lnTo>
                  <a:pt x="1093" y="2832"/>
                </a:lnTo>
                <a:lnTo>
                  <a:pt x="1096" y="2825"/>
                </a:lnTo>
                <a:lnTo>
                  <a:pt x="1088" y="2830"/>
                </a:lnTo>
                <a:lnTo>
                  <a:pt x="1084" y="2836"/>
                </a:lnTo>
                <a:lnTo>
                  <a:pt x="1082" y="2841"/>
                </a:lnTo>
                <a:lnTo>
                  <a:pt x="1085" y="2844"/>
                </a:lnTo>
                <a:lnTo>
                  <a:pt x="1090" y="2845"/>
                </a:lnTo>
                <a:lnTo>
                  <a:pt x="1092" y="2847"/>
                </a:lnTo>
                <a:lnTo>
                  <a:pt x="1084" y="2866"/>
                </a:lnTo>
                <a:lnTo>
                  <a:pt x="1081" y="2867"/>
                </a:lnTo>
                <a:lnTo>
                  <a:pt x="1074" y="2867"/>
                </a:lnTo>
                <a:lnTo>
                  <a:pt x="1061" y="2862"/>
                </a:lnTo>
                <a:lnTo>
                  <a:pt x="1056" y="2859"/>
                </a:lnTo>
                <a:lnTo>
                  <a:pt x="1043" y="2863"/>
                </a:lnTo>
                <a:lnTo>
                  <a:pt x="1029" y="2863"/>
                </a:lnTo>
                <a:lnTo>
                  <a:pt x="1028" y="2858"/>
                </a:lnTo>
                <a:lnTo>
                  <a:pt x="1029" y="2841"/>
                </a:lnTo>
                <a:lnTo>
                  <a:pt x="1027" y="2845"/>
                </a:lnTo>
                <a:lnTo>
                  <a:pt x="1024" y="2854"/>
                </a:lnTo>
                <a:lnTo>
                  <a:pt x="1025" y="2863"/>
                </a:lnTo>
                <a:lnTo>
                  <a:pt x="1018" y="2871"/>
                </a:lnTo>
                <a:lnTo>
                  <a:pt x="1022" y="2874"/>
                </a:lnTo>
                <a:lnTo>
                  <a:pt x="1028" y="2870"/>
                </a:lnTo>
                <a:lnTo>
                  <a:pt x="1035" y="2870"/>
                </a:lnTo>
                <a:lnTo>
                  <a:pt x="1056" y="2874"/>
                </a:lnTo>
                <a:lnTo>
                  <a:pt x="1063" y="2878"/>
                </a:lnTo>
                <a:lnTo>
                  <a:pt x="1063" y="2886"/>
                </a:lnTo>
                <a:lnTo>
                  <a:pt x="1067" y="2890"/>
                </a:lnTo>
                <a:lnTo>
                  <a:pt x="1064" y="2896"/>
                </a:lnTo>
                <a:lnTo>
                  <a:pt x="1056" y="2900"/>
                </a:lnTo>
                <a:lnTo>
                  <a:pt x="1050" y="2904"/>
                </a:lnTo>
                <a:lnTo>
                  <a:pt x="1043" y="2908"/>
                </a:lnTo>
                <a:lnTo>
                  <a:pt x="1031" y="2919"/>
                </a:lnTo>
                <a:lnTo>
                  <a:pt x="1028" y="2925"/>
                </a:lnTo>
                <a:lnTo>
                  <a:pt x="1019" y="2933"/>
                </a:lnTo>
                <a:lnTo>
                  <a:pt x="1022" y="2941"/>
                </a:lnTo>
                <a:lnTo>
                  <a:pt x="1021" y="2945"/>
                </a:lnTo>
                <a:lnTo>
                  <a:pt x="1018" y="2957"/>
                </a:lnTo>
                <a:lnTo>
                  <a:pt x="1014" y="2961"/>
                </a:lnTo>
                <a:lnTo>
                  <a:pt x="1008" y="2965"/>
                </a:lnTo>
                <a:lnTo>
                  <a:pt x="1000" y="2967"/>
                </a:lnTo>
                <a:lnTo>
                  <a:pt x="992" y="2959"/>
                </a:lnTo>
                <a:lnTo>
                  <a:pt x="990" y="2971"/>
                </a:lnTo>
                <a:lnTo>
                  <a:pt x="985" y="2979"/>
                </a:lnTo>
                <a:lnTo>
                  <a:pt x="982" y="2991"/>
                </a:lnTo>
                <a:lnTo>
                  <a:pt x="974" y="3009"/>
                </a:lnTo>
                <a:lnTo>
                  <a:pt x="982" y="3002"/>
                </a:lnTo>
                <a:lnTo>
                  <a:pt x="983" y="3004"/>
                </a:lnTo>
                <a:lnTo>
                  <a:pt x="986" y="3006"/>
                </a:lnTo>
                <a:lnTo>
                  <a:pt x="990" y="2998"/>
                </a:lnTo>
                <a:lnTo>
                  <a:pt x="993" y="2998"/>
                </a:lnTo>
                <a:lnTo>
                  <a:pt x="996" y="2998"/>
                </a:lnTo>
                <a:lnTo>
                  <a:pt x="1000" y="2994"/>
                </a:lnTo>
                <a:lnTo>
                  <a:pt x="1002" y="2994"/>
                </a:lnTo>
                <a:lnTo>
                  <a:pt x="996" y="3018"/>
                </a:lnTo>
                <a:lnTo>
                  <a:pt x="996" y="3028"/>
                </a:lnTo>
                <a:lnTo>
                  <a:pt x="997" y="3036"/>
                </a:lnTo>
                <a:lnTo>
                  <a:pt x="996" y="3043"/>
                </a:lnTo>
                <a:lnTo>
                  <a:pt x="992" y="3045"/>
                </a:lnTo>
                <a:lnTo>
                  <a:pt x="989" y="3041"/>
                </a:lnTo>
                <a:lnTo>
                  <a:pt x="985" y="3043"/>
                </a:lnTo>
                <a:lnTo>
                  <a:pt x="980" y="3045"/>
                </a:lnTo>
                <a:lnTo>
                  <a:pt x="977" y="3051"/>
                </a:lnTo>
                <a:lnTo>
                  <a:pt x="969" y="3054"/>
                </a:lnTo>
                <a:lnTo>
                  <a:pt x="963" y="3057"/>
                </a:lnTo>
                <a:lnTo>
                  <a:pt x="958" y="3057"/>
                </a:lnTo>
                <a:lnTo>
                  <a:pt x="949" y="3054"/>
                </a:lnTo>
                <a:lnTo>
                  <a:pt x="940" y="3051"/>
                </a:lnTo>
                <a:lnTo>
                  <a:pt x="922" y="3049"/>
                </a:lnTo>
                <a:lnTo>
                  <a:pt x="908" y="3036"/>
                </a:lnTo>
                <a:lnTo>
                  <a:pt x="899" y="3032"/>
                </a:lnTo>
                <a:lnTo>
                  <a:pt x="903" y="3043"/>
                </a:lnTo>
                <a:lnTo>
                  <a:pt x="914" y="3049"/>
                </a:lnTo>
                <a:lnTo>
                  <a:pt x="933" y="3054"/>
                </a:lnTo>
                <a:lnTo>
                  <a:pt x="947" y="3064"/>
                </a:lnTo>
                <a:lnTo>
                  <a:pt x="963" y="3068"/>
                </a:lnTo>
                <a:lnTo>
                  <a:pt x="972" y="3066"/>
                </a:lnTo>
                <a:lnTo>
                  <a:pt x="974" y="3068"/>
                </a:lnTo>
                <a:lnTo>
                  <a:pt x="974" y="3069"/>
                </a:lnTo>
                <a:lnTo>
                  <a:pt x="971" y="3073"/>
                </a:lnTo>
                <a:lnTo>
                  <a:pt x="936" y="3106"/>
                </a:lnTo>
                <a:lnTo>
                  <a:pt x="933" y="3107"/>
                </a:lnTo>
                <a:lnTo>
                  <a:pt x="930" y="3103"/>
                </a:lnTo>
                <a:lnTo>
                  <a:pt x="926" y="3085"/>
                </a:lnTo>
                <a:lnTo>
                  <a:pt x="922" y="3081"/>
                </a:lnTo>
                <a:lnTo>
                  <a:pt x="900" y="3064"/>
                </a:lnTo>
                <a:lnTo>
                  <a:pt x="885" y="3044"/>
                </a:lnTo>
                <a:lnTo>
                  <a:pt x="883" y="3041"/>
                </a:lnTo>
                <a:lnTo>
                  <a:pt x="883" y="3036"/>
                </a:lnTo>
                <a:lnTo>
                  <a:pt x="878" y="3036"/>
                </a:lnTo>
                <a:lnTo>
                  <a:pt x="871" y="3045"/>
                </a:lnTo>
                <a:lnTo>
                  <a:pt x="871" y="3049"/>
                </a:lnTo>
                <a:lnTo>
                  <a:pt x="883" y="3054"/>
                </a:lnTo>
                <a:lnTo>
                  <a:pt x="900" y="3083"/>
                </a:lnTo>
                <a:lnTo>
                  <a:pt x="907" y="3090"/>
                </a:lnTo>
                <a:lnTo>
                  <a:pt x="914" y="3099"/>
                </a:lnTo>
                <a:lnTo>
                  <a:pt x="919" y="3099"/>
                </a:lnTo>
                <a:lnTo>
                  <a:pt x="919" y="3102"/>
                </a:lnTo>
                <a:lnTo>
                  <a:pt x="921" y="3106"/>
                </a:lnTo>
                <a:lnTo>
                  <a:pt x="915" y="3113"/>
                </a:lnTo>
                <a:lnTo>
                  <a:pt x="914" y="3113"/>
                </a:lnTo>
                <a:lnTo>
                  <a:pt x="913" y="3111"/>
                </a:lnTo>
                <a:lnTo>
                  <a:pt x="910" y="3111"/>
                </a:lnTo>
                <a:lnTo>
                  <a:pt x="904" y="3114"/>
                </a:lnTo>
                <a:lnTo>
                  <a:pt x="905" y="3114"/>
                </a:lnTo>
                <a:lnTo>
                  <a:pt x="910" y="3118"/>
                </a:lnTo>
                <a:lnTo>
                  <a:pt x="911" y="3118"/>
                </a:lnTo>
                <a:lnTo>
                  <a:pt x="904" y="3122"/>
                </a:lnTo>
                <a:lnTo>
                  <a:pt x="854" y="3128"/>
                </a:lnTo>
                <a:lnTo>
                  <a:pt x="816" y="3136"/>
                </a:lnTo>
                <a:lnTo>
                  <a:pt x="804" y="3136"/>
                </a:lnTo>
                <a:lnTo>
                  <a:pt x="801" y="3132"/>
                </a:lnTo>
                <a:lnTo>
                  <a:pt x="810" y="3128"/>
                </a:lnTo>
                <a:lnTo>
                  <a:pt x="805" y="3124"/>
                </a:lnTo>
                <a:lnTo>
                  <a:pt x="797" y="3111"/>
                </a:lnTo>
                <a:lnTo>
                  <a:pt x="793" y="3095"/>
                </a:lnTo>
                <a:lnTo>
                  <a:pt x="787" y="3089"/>
                </a:lnTo>
                <a:lnTo>
                  <a:pt x="787" y="3085"/>
                </a:lnTo>
                <a:lnTo>
                  <a:pt x="790" y="3073"/>
                </a:lnTo>
                <a:lnTo>
                  <a:pt x="796" y="3063"/>
                </a:lnTo>
                <a:lnTo>
                  <a:pt x="813" y="3051"/>
                </a:lnTo>
                <a:lnTo>
                  <a:pt x="814" y="3049"/>
                </a:lnTo>
                <a:lnTo>
                  <a:pt x="813" y="3036"/>
                </a:lnTo>
                <a:lnTo>
                  <a:pt x="815" y="3032"/>
                </a:lnTo>
                <a:lnTo>
                  <a:pt x="818" y="3031"/>
                </a:lnTo>
                <a:lnTo>
                  <a:pt x="835" y="3031"/>
                </a:lnTo>
                <a:lnTo>
                  <a:pt x="838" y="3028"/>
                </a:lnTo>
                <a:lnTo>
                  <a:pt x="839" y="3027"/>
                </a:lnTo>
                <a:lnTo>
                  <a:pt x="836" y="3020"/>
                </a:lnTo>
                <a:lnTo>
                  <a:pt x="828" y="3014"/>
                </a:lnTo>
                <a:lnTo>
                  <a:pt x="824" y="3008"/>
                </a:lnTo>
                <a:lnTo>
                  <a:pt x="819" y="2996"/>
                </a:lnTo>
                <a:lnTo>
                  <a:pt x="816" y="2996"/>
                </a:lnTo>
                <a:lnTo>
                  <a:pt x="813" y="3002"/>
                </a:lnTo>
                <a:lnTo>
                  <a:pt x="810" y="3002"/>
                </a:lnTo>
                <a:lnTo>
                  <a:pt x="807" y="2998"/>
                </a:lnTo>
                <a:lnTo>
                  <a:pt x="805" y="2990"/>
                </a:lnTo>
                <a:lnTo>
                  <a:pt x="804" y="2987"/>
                </a:lnTo>
                <a:lnTo>
                  <a:pt x="794" y="2986"/>
                </a:lnTo>
                <a:lnTo>
                  <a:pt x="787" y="2987"/>
                </a:lnTo>
                <a:lnTo>
                  <a:pt x="776" y="2995"/>
                </a:lnTo>
                <a:lnTo>
                  <a:pt x="773" y="2995"/>
                </a:lnTo>
                <a:lnTo>
                  <a:pt x="769" y="2990"/>
                </a:lnTo>
                <a:lnTo>
                  <a:pt x="761" y="2987"/>
                </a:lnTo>
                <a:lnTo>
                  <a:pt x="761" y="2983"/>
                </a:lnTo>
                <a:lnTo>
                  <a:pt x="762" y="2976"/>
                </a:lnTo>
                <a:lnTo>
                  <a:pt x="778" y="2976"/>
                </a:lnTo>
                <a:lnTo>
                  <a:pt x="779" y="2976"/>
                </a:lnTo>
                <a:lnTo>
                  <a:pt x="780" y="2973"/>
                </a:lnTo>
                <a:lnTo>
                  <a:pt x="779" y="2969"/>
                </a:lnTo>
                <a:lnTo>
                  <a:pt x="772" y="2964"/>
                </a:lnTo>
                <a:lnTo>
                  <a:pt x="769" y="2961"/>
                </a:lnTo>
                <a:lnTo>
                  <a:pt x="769" y="2953"/>
                </a:lnTo>
                <a:lnTo>
                  <a:pt x="775" y="2945"/>
                </a:lnTo>
                <a:lnTo>
                  <a:pt x="776" y="2939"/>
                </a:lnTo>
                <a:lnTo>
                  <a:pt x="773" y="2927"/>
                </a:lnTo>
                <a:lnTo>
                  <a:pt x="766" y="2920"/>
                </a:lnTo>
                <a:lnTo>
                  <a:pt x="766" y="2915"/>
                </a:lnTo>
                <a:lnTo>
                  <a:pt x="768" y="2912"/>
                </a:lnTo>
                <a:lnTo>
                  <a:pt x="772" y="2908"/>
                </a:lnTo>
                <a:lnTo>
                  <a:pt x="789" y="2904"/>
                </a:lnTo>
                <a:lnTo>
                  <a:pt x="789" y="2903"/>
                </a:lnTo>
                <a:lnTo>
                  <a:pt x="785" y="2897"/>
                </a:lnTo>
                <a:lnTo>
                  <a:pt x="787" y="2892"/>
                </a:lnTo>
                <a:lnTo>
                  <a:pt x="805" y="2892"/>
                </a:lnTo>
                <a:lnTo>
                  <a:pt x="810" y="2890"/>
                </a:lnTo>
                <a:lnTo>
                  <a:pt x="813" y="2886"/>
                </a:lnTo>
                <a:lnTo>
                  <a:pt x="810" y="2882"/>
                </a:lnTo>
                <a:lnTo>
                  <a:pt x="799" y="2884"/>
                </a:lnTo>
                <a:lnTo>
                  <a:pt x="796" y="2882"/>
                </a:lnTo>
                <a:lnTo>
                  <a:pt x="800" y="2875"/>
                </a:lnTo>
                <a:lnTo>
                  <a:pt x="797" y="2866"/>
                </a:lnTo>
                <a:lnTo>
                  <a:pt x="800" y="2862"/>
                </a:lnTo>
                <a:lnTo>
                  <a:pt x="799" y="2855"/>
                </a:lnTo>
                <a:lnTo>
                  <a:pt x="800" y="2849"/>
                </a:lnTo>
                <a:lnTo>
                  <a:pt x="799" y="2845"/>
                </a:lnTo>
                <a:lnTo>
                  <a:pt x="787" y="2832"/>
                </a:lnTo>
                <a:lnTo>
                  <a:pt x="789" y="2825"/>
                </a:lnTo>
                <a:lnTo>
                  <a:pt x="791" y="2821"/>
                </a:lnTo>
                <a:lnTo>
                  <a:pt x="791" y="2817"/>
                </a:lnTo>
                <a:lnTo>
                  <a:pt x="783" y="2799"/>
                </a:lnTo>
                <a:lnTo>
                  <a:pt x="780" y="2784"/>
                </a:lnTo>
                <a:lnTo>
                  <a:pt x="769" y="2759"/>
                </a:lnTo>
                <a:lnTo>
                  <a:pt x="762" y="2747"/>
                </a:lnTo>
                <a:lnTo>
                  <a:pt x="759" y="2743"/>
                </a:lnTo>
                <a:lnTo>
                  <a:pt x="747" y="2706"/>
                </a:lnTo>
                <a:lnTo>
                  <a:pt x="734" y="2703"/>
                </a:lnTo>
                <a:lnTo>
                  <a:pt x="723" y="2691"/>
                </a:lnTo>
                <a:lnTo>
                  <a:pt x="706" y="2688"/>
                </a:lnTo>
                <a:lnTo>
                  <a:pt x="700" y="2675"/>
                </a:lnTo>
                <a:lnTo>
                  <a:pt x="695" y="2668"/>
                </a:lnTo>
                <a:lnTo>
                  <a:pt x="687" y="2663"/>
                </a:lnTo>
                <a:lnTo>
                  <a:pt x="686" y="2658"/>
                </a:lnTo>
                <a:lnTo>
                  <a:pt x="680" y="2653"/>
                </a:lnTo>
                <a:lnTo>
                  <a:pt x="673" y="2650"/>
                </a:lnTo>
                <a:lnTo>
                  <a:pt x="665" y="2645"/>
                </a:lnTo>
                <a:lnTo>
                  <a:pt x="655" y="2643"/>
                </a:lnTo>
                <a:lnTo>
                  <a:pt x="651" y="2642"/>
                </a:lnTo>
                <a:lnTo>
                  <a:pt x="648" y="2631"/>
                </a:lnTo>
                <a:lnTo>
                  <a:pt x="643" y="2626"/>
                </a:lnTo>
                <a:lnTo>
                  <a:pt x="634" y="2619"/>
                </a:lnTo>
                <a:lnTo>
                  <a:pt x="623" y="2613"/>
                </a:lnTo>
                <a:lnTo>
                  <a:pt x="606" y="2613"/>
                </a:lnTo>
                <a:lnTo>
                  <a:pt x="604" y="2609"/>
                </a:lnTo>
                <a:lnTo>
                  <a:pt x="600" y="2605"/>
                </a:lnTo>
                <a:lnTo>
                  <a:pt x="597" y="2597"/>
                </a:lnTo>
                <a:lnTo>
                  <a:pt x="597" y="2583"/>
                </a:lnTo>
                <a:lnTo>
                  <a:pt x="595" y="2579"/>
                </a:lnTo>
                <a:lnTo>
                  <a:pt x="586" y="2568"/>
                </a:lnTo>
                <a:lnTo>
                  <a:pt x="572" y="2559"/>
                </a:lnTo>
                <a:lnTo>
                  <a:pt x="566" y="2551"/>
                </a:lnTo>
                <a:lnTo>
                  <a:pt x="562" y="2537"/>
                </a:lnTo>
                <a:lnTo>
                  <a:pt x="562" y="2530"/>
                </a:lnTo>
                <a:lnTo>
                  <a:pt x="565" y="2519"/>
                </a:lnTo>
                <a:lnTo>
                  <a:pt x="565" y="2514"/>
                </a:lnTo>
                <a:lnTo>
                  <a:pt x="555" y="2504"/>
                </a:lnTo>
                <a:lnTo>
                  <a:pt x="547" y="2497"/>
                </a:lnTo>
                <a:lnTo>
                  <a:pt x="541" y="2493"/>
                </a:lnTo>
                <a:lnTo>
                  <a:pt x="527" y="2492"/>
                </a:lnTo>
                <a:lnTo>
                  <a:pt x="513" y="2479"/>
                </a:lnTo>
                <a:lnTo>
                  <a:pt x="508" y="2475"/>
                </a:lnTo>
                <a:lnTo>
                  <a:pt x="490" y="2471"/>
                </a:lnTo>
                <a:lnTo>
                  <a:pt x="477" y="2462"/>
                </a:lnTo>
                <a:lnTo>
                  <a:pt x="468" y="2457"/>
                </a:lnTo>
                <a:lnTo>
                  <a:pt x="460" y="2451"/>
                </a:lnTo>
                <a:lnTo>
                  <a:pt x="451" y="2444"/>
                </a:lnTo>
                <a:lnTo>
                  <a:pt x="431" y="2440"/>
                </a:lnTo>
                <a:lnTo>
                  <a:pt x="410" y="2439"/>
                </a:lnTo>
                <a:lnTo>
                  <a:pt x="388" y="2431"/>
                </a:lnTo>
                <a:lnTo>
                  <a:pt x="369" y="2431"/>
                </a:lnTo>
                <a:lnTo>
                  <a:pt x="358" y="2430"/>
                </a:lnTo>
                <a:lnTo>
                  <a:pt x="354" y="2426"/>
                </a:lnTo>
                <a:lnTo>
                  <a:pt x="349" y="2418"/>
                </a:lnTo>
                <a:lnTo>
                  <a:pt x="345" y="2413"/>
                </a:lnTo>
                <a:lnTo>
                  <a:pt x="340" y="2413"/>
                </a:lnTo>
                <a:lnTo>
                  <a:pt x="331" y="2414"/>
                </a:lnTo>
                <a:lnTo>
                  <a:pt x="324" y="2414"/>
                </a:lnTo>
                <a:lnTo>
                  <a:pt x="301" y="2406"/>
                </a:lnTo>
                <a:lnTo>
                  <a:pt x="277" y="2392"/>
                </a:lnTo>
                <a:lnTo>
                  <a:pt x="276" y="2384"/>
                </a:lnTo>
                <a:lnTo>
                  <a:pt x="274" y="2382"/>
                </a:lnTo>
                <a:lnTo>
                  <a:pt x="263" y="2380"/>
                </a:lnTo>
                <a:lnTo>
                  <a:pt x="262" y="2376"/>
                </a:lnTo>
                <a:lnTo>
                  <a:pt x="262" y="2369"/>
                </a:lnTo>
                <a:lnTo>
                  <a:pt x="259" y="2365"/>
                </a:lnTo>
                <a:lnTo>
                  <a:pt x="245" y="2357"/>
                </a:lnTo>
                <a:lnTo>
                  <a:pt x="244" y="2355"/>
                </a:lnTo>
                <a:lnTo>
                  <a:pt x="244" y="2351"/>
                </a:lnTo>
                <a:lnTo>
                  <a:pt x="248" y="2347"/>
                </a:lnTo>
                <a:lnTo>
                  <a:pt x="249" y="2343"/>
                </a:lnTo>
                <a:lnTo>
                  <a:pt x="251" y="2338"/>
                </a:lnTo>
                <a:lnTo>
                  <a:pt x="255" y="2328"/>
                </a:lnTo>
                <a:lnTo>
                  <a:pt x="254" y="2327"/>
                </a:lnTo>
                <a:lnTo>
                  <a:pt x="252" y="2319"/>
                </a:lnTo>
                <a:lnTo>
                  <a:pt x="242" y="2294"/>
                </a:lnTo>
                <a:lnTo>
                  <a:pt x="244" y="2288"/>
                </a:lnTo>
                <a:lnTo>
                  <a:pt x="242" y="2280"/>
                </a:lnTo>
                <a:lnTo>
                  <a:pt x="234" y="2274"/>
                </a:lnTo>
                <a:lnTo>
                  <a:pt x="226" y="2265"/>
                </a:lnTo>
                <a:lnTo>
                  <a:pt x="221" y="2261"/>
                </a:lnTo>
                <a:lnTo>
                  <a:pt x="206" y="2257"/>
                </a:lnTo>
                <a:lnTo>
                  <a:pt x="203" y="2257"/>
                </a:lnTo>
                <a:lnTo>
                  <a:pt x="199" y="2245"/>
                </a:lnTo>
                <a:lnTo>
                  <a:pt x="195" y="2244"/>
                </a:lnTo>
                <a:lnTo>
                  <a:pt x="184" y="2243"/>
                </a:lnTo>
                <a:lnTo>
                  <a:pt x="177" y="2238"/>
                </a:lnTo>
                <a:lnTo>
                  <a:pt x="174" y="2231"/>
                </a:lnTo>
                <a:lnTo>
                  <a:pt x="172" y="2222"/>
                </a:lnTo>
                <a:lnTo>
                  <a:pt x="180" y="2211"/>
                </a:lnTo>
                <a:lnTo>
                  <a:pt x="180" y="2204"/>
                </a:lnTo>
                <a:lnTo>
                  <a:pt x="178" y="2197"/>
                </a:lnTo>
                <a:lnTo>
                  <a:pt x="169" y="2177"/>
                </a:lnTo>
                <a:lnTo>
                  <a:pt x="163" y="2166"/>
                </a:lnTo>
                <a:lnTo>
                  <a:pt x="160" y="2164"/>
                </a:lnTo>
                <a:lnTo>
                  <a:pt x="156" y="2162"/>
                </a:lnTo>
                <a:lnTo>
                  <a:pt x="149" y="2162"/>
                </a:lnTo>
                <a:lnTo>
                  <a:pt x="142" y="2166"/>
                </a:lnTo>
                <a:lnTo>
                  <a:pt x="138" y="2164"/>
                </a:lnTo>
                <a:lnTo>
                  <a:pt x="135" y="2162"/>
                </a:lnTo>
                <a:lnTo>
                  <a:pt x="135" y="2156"/>
                </a:lnTo>
                <a:lnTo>
                  <a:pt x="138" y="2154"/>
                </a:lnTo>
                <a:lnTo>
                  <a:pt x="145" y="2156"/>
                </a:lnTo>
                <a:lnTo>
                  <a:pt x="149" y="2156"/>
                </a:lnTo>
                <a:lnTo>
                  <a:pt x="153" y="2152"/>
                </a:lnTo>
                <a:lnTo>
                  <a:pt x="155" y="2149"/>
                </a:lnTo>
                <a:lnTo>
                  <a:pt x="153" y="2140"/>
                </a:lnTo>
                <a:lnTo>
                  <a:pt x="149" y="2133"/>
                </a:lnTo>
                <a:lnTo>
                  <a:pt x="146" y="2124"/>
                </a:lnTo>
                <a:lnTo>
                  <a:pt x="139" y="2107"/>
                </a:lnTo>
                <a:lnTo>
                  <a:pt x="139" y="2103"/>
                </a:lnTo>
                <a:lnTo>
                  <a:pt x="145" y="2099"/>
                </a:lnTo>
                <a:lnTo>
                  <a:pt x="146" y="2095"/>
                </a:lnTo>
                <a:lnTo>
                  <a:pt x="146" y="2092"/>
                </a:lnTo>
                <a:lnTo>
                  <a:pt x="142" y="2089"/>
                </a:lnTo>
                <a:lnTo>
                  <a:pt x="139" y="2085"/>
                </a:lnTo>
                <a:lnTo>
                  <a:pt x="139" y="2079"/>
                </a:lnTo>
                <a:lnTo>
                  <a:pt x="147" y="2066"/>
                </a:lnTo>
                <a:lnTo>
                  <a:pt x="150" y="2062"/>
                </a:lnTo>
                <a:lnTo>
                  <a:pt x="147" y="2057"/>
                </a:lnTo>
                <a:lnTo>
                  <a:pt x="145" y="2054"/>
                </a:lnTo>
                <a:lnTo>
                  <a:pt x="145" y="2050"/>
                </a:lnTo>
                <a:lnTo>
                  <a:pt x="147" y="2044"/>
                </a:lnTo>
                <a:lnTo>
                  <a:pt x="149" y="2036"/>
                </a:lnTo>
                <a:lnTo>
                  <a:pt x="152" y="2030"/>
                </a:lnTo>
                <a:lnTo>
                  <a:pt x="153" y="2022"/>
                </a:lnTo>
                <a:lnTo>
                  <a:pt x="160" y="2010"/>
                </a:lnTo>
                <a:lnTo>
                  <a:pt x="160" y="2003"/>
                </a:lnTo>
                <a:lnTo>
                  <a:pt x="153" y="1998"/>
                </a:lnTo>
                <a:lnTo>
                  <a:pt x="150" y="1995"/>
                </a:lnTo>
                <a:lnTo>
                  <a:pt x="150" y="1987"/>
                </a:lnTo>
                <a:lnTo>
                  <a:pt x="155" y="1977"/>
                </a:lnTo>
                <a:lnTo>
                  <a:pt x="155" y="1973"/>
                </a:lnTo>
                <a:lnTo>
                  <a:pt x="150" y="1968"/>
                </a:lnTo>
                <a:lnTo>
                  <a:pt x="156" y="1965"/>
                </a:lnTo>
                <a:lnTo>
                  <a:pt x="160" y="1953"/>
                </a:lnTo>
                <a:lnTo>
                  <a:pt x="159" y="1950"/>
                </a:lnTo>
                <a:lnTo>
                  <a:pt x="156" y="1953"/>
                </a:lnTo>
                <a:lnTo>
                  <a:pt x="153" y="1953"/>
                </a:lnTo>
                <a:lnTo>
                  <a:pt x="149" y="1945"/>
                </a:lnTo>
                <a:lnTo>
                  <a:pt x="142" y="1945"/>
                </a:lnTo>
                <a:lnTo>
                  <a:pt x="139" y="1942"/>
                </a:lnTo>
                <a:lnTo>
                  <a:pt x="138" y="1938"/>
                </a:lnTo>
                <a:lnTo>
                  <a:pt x="141" y="1926"/>
                </a:lnTo>
                <a:lnTo>
                  <a:pt x="139" y="1924"/>
                </a:lnTo>
                <a:lnTo>
                  <a:pt x="136" y="1924"/>
                </a:lnTo>
                <a:lnTo>
                  <a:pt x="135" y="1924"/>
                </a:lnTo>
                <a:lnTo>
                  <a:pt x="139" y="1920"/>
                </a:lnTo>
                <a:lnTo>
                  <a:pt x="142" y="1909"/>
                </a:lnTo>
                <a:lnTo>
                  <a:pt x="149" y="1905"/>
                </a:lnTo>
                <a:lnTo>
                  <a:pt x="156" y="1904"/>
                </a:lnTo>
                <a:lnTo>
                  <a:pt x="160" y="1898"/>
                </a:lnTo>
                <a:lnTo>
                  <a:pt x="160" y="1893"/>
                </a:lnTo>
                <a:lnTo>
                  <a:pt x="157" y="1883"/>
                </a:lnTo>
                <a:lnTo>
                  <a:pt x="156" y="1879"/>
                </a:lnTo>
                <a:lnTo>
                  <a:pt x="155" y="1875"/>
                </a:lnTo>
                <a:lnTo>
                  <a:pt x="153" y="1871"/>
                </a:lnTo>
                <a:lnTo>
                  <a:pt x="149" y="1871"/>
                </a:lnTo>
                <a:lnTo>
                  <a:pt x="145" y="1866"/>
                </a:lnTo>
                <a:lnTo>
                  <a:pt x="145" y="1863"/>
                </a:lnTo>
                <a:lnTo>
                  <a:pt x="146" y="1856"/>
                </a:lnTo>
                <a:lnTo>
                  <a:pt x="142" y="1853"/>
                </a:lnTo>
                <a:lnTo>
                  <a:pt x="142" y="1848"/>
                </a:lnTo>
                <a:lnTo>
                  <a:pt x="136" y="1841"/>
                </a:lnTo>
                <a:lnTo>
                  <a:pt x="136" y="1830"/>
                </a:lnTo>
                <a:lnTo>
                  <a:pt x="127" y="1825"/>
                </a:lnTo>
                <a:lnTo>
                  <a:pt x="120" y="1826"/>
                </a:lnTo>
                <a:lnTo>
                  <a:pt x="120" y="1825"/>
                </a:lnTo>
                <a:lnTo>
                  <a:pt x="122" y="1816"/>
                </a:lnTo>
                <a:lnTo>
                  <a:pt x="119" y="1811"/>
                </a:lnTo>
                <a:lnTo>
                  <a:pt x="125" y="1808"/>
                </a:lnTo>
                <a:lnTo>
                  <a:pt x="121" y="1800"/>
                </a:lnTo>
                <a:lnTo>
                  <a:pt x="128" y="1800"/>
                </a:lnTo>
                <a:lnTo>
                  <a:pt x="128" y="1799"/>
                </a:lnTo>
                <a:lnTo>
                  <a:pt x="127" y="1796"/>
                </a:lnTo>
                <a:lnTo>
                  <a:pt x="121" y="1796"/>
                </a:lnTo>
                <a:lnTo>
                  <a:pt x="120" y="1793"/>
                </a:lnTo>
                <a:lnTo>
                  <a:pt x="125" y="1792"/>
                </a:lnTo>
                <a:lnTo>
                  <a:pt x="124" y="1788"/>
                </a:lnTo>
                <a:lnTo>
                  <a:pt x="128" y="1786"/>
                </a:lnTo>
                <a:lnTo>
                  <a:pt x="128" y="1780"/>
                </a:lnTo>
                <a:lnTo>
                  <a:pt x="134" y="1776"/>
                </a:lnTo>
                <a:lnTo>
                  <a:pt x="135" y="1774"/>
                </a:lnTo>
                <a:lnTo>
                  <a:pt x="134" y="1772"/>
                </a:lnTo>
                <a:lnTo>
                  <a:pt x="130" y="1772"/>
                </a:lnTo>
                <a:lnTo>
                  <a:pt x="128" y="1771"/>
                </a:lnTo>
                <a:lnTo>
                  <a:pt x="128" y="1769"/>
                </a:lnTo>
                <a:lnTo>
                  <a:pt x="132" y="1766"/>
                </a:lnTo>
                <a:lnTo>
                  <a:pt x="132" y="1763"/>
                </a:lnTo>
                <a:lnTo>
                  <a:pt x="125" y="1759"/>
                </a:lnTo>
                <a:lnTo>
                  <a:pt x="124" y="1749"/>
                </a:lnTo>
                <a:lnTo>
                  <a:pt x="122" y="1747"/>
                </a:lnTo>
                <a:lnTo>
                  <a:pt x="119" y="1747"/>
                </a:lnTo>
                <a:lnTo>
                  <a:pt x="117" y="1744"/>
                </a:lnTo>
                <a:lnTo>
                  <a:pt x="117" y="1743"/>
                </a:lnTo>
                <a:lnTo>
                  <a:pt x="125" y="1741"/>
                </a:lnTo>
                <a:lnTo>
                  <a:pt x="128" y="1737"/>
                </a:lnTo>
                <a:lnTo>
                  <a:pt x="125" y="1729"/>
                </a:lnTo>
                <a:lnTo>
                  <a:pt x="130" y="1722"/>
                </a:lnTo>
                <a:lnTo>
                  <a:pt x="128" y="1718"/>
                </a:lnTo>
                <a:lnTo>
                  <a:pt x="127" y="1718"/>
                </a:lnTo>
                <a:lnTo>
                  <a:pt x="121" y="1721"/>
                </a:lnTo>
                <a:lnTo>
                  <a:pt x="119" y="1721"/>
                </a:lnTo>
                <a:lnTo>
                  <a:pt x="116" y="1718"/>
                </a:lnTo>
                <a:lnTo>
                  <a:pt x="121" y="1713"/>
                </a:lnTo>
                <a:lnTo>
                  <a:pt x="121" y="1710"/>
                </a:lnTo>
                <a:lnTo>
                  <a:pt x="132" y="1706"/>
                </a:lnTo>
                <a:lnTo>
                  <a:pt x="128" y="1700"/>
                </a:lnTo>
                <a:lnTo>
                  <a:pt x="130" y="1692"/>
                </a:lnTo>
                <a:lnTo>
                  <a:pt x="125" y="1684"/>
                </a:lnTo>
                <a:lnTo>
                  <a:pt x="132" y="1669"/>
                </a:lnTo>
                <a:lnTo>
                  <a:pt x="131" y="1662"/>
                </a:lnTo>
                <a:lnTo>
                  <a:pt x="136" y="1658"/>
                </a:lnTo>
                <a:lnTo>
                  <a:pt x="134" y="1655"/>
                </a:lnTo>
                <a:lnTo>
                  <a:pt x="134" y="1654"/>
                </a:lnTo>
                <a:lnTo>
                  <a:pt x="122" y="1655"/>
                </a:lnTo>
                <a:lnTo>
                  <a:pt x="125" y="1643"/>
                </a:lnTo>
                <a:lnTo>
                  <a:pt x="119" y="1634"/>
                </a:lnTo>
                <a:lnTo>
                  <a:pt x="122" y="1621"/>
                </a:lnTo>
                <a:lnTo>
                  <a:pt x="119" y="1612"/>
                </a:lnTo>
                <a:lnTo>
                  <a:pt x="127" y="1605"/>
                </a:lnTo>
                <a:lnTo>
                  <a:pt x="128" y="1594"/>
                </a:lnTo>
                <a:lnTo>
                  <a:pt x="121" y="1587"/>
                </a:lnTo>
                <a:lnTo>
                  <a:pt x="122" y="1584"/>
                </a:lnTo>
                <a:lnTo>
                  <a:pt x="120" y="1576"/>
                </a:lnTo>
                <a:lnTo>
                  <a:pt x="110" y="1580"/>
                </a:lnTo>
                <a:lnTo>
                  <a:pt x="99" y="1575"/>
                </a:lnTo>
                <a:lnTo>
                  <a:pt x="102" y="1568"/>
                </a:lnTo>
                <a:lnTo>
                  <a:pt x="94" y="1558"/>
                </a:lnTo>
                <a:lnTo>
                  <a:pt x="100" y="1558"/>
                </a:lnTo>
                <a:lnTo>
                  <a:pt x="99" y="1550"/>
                </a:lnTo>
                <a:lnTo>
                  <a:pt x="111" y="1526"/>
                </a:lnTo>
                <a:lnTo>
                  <a:pt x="110" y="1523"/>
                </a:lnTo>
                <a:lnTo>
                  <a:pt x="103" y="1523"/>
                </a:lnTo>
                <a:lnTo>
                  <a:pt x="102" y="1519"/>
                </a:lnTo>
                <a:lnTo>
                  <a:pt x="110" y="1515"/>
                </a:lnTo>
                <a:lnTo>
                  <a:pt x="109" y="1505"/>
                </a:lnTo>
                <a:lnTo>
                  <a:pt x="125" y="1493"/>
                </a:lnTo>
                <a:lnTo>
                  <a:pt x="130" y="1481"/>
                </a:lnTo>
                <a:lnTo>
                  <a:pt x="135" y="1471"/>
                </a:lnTo>
                <a:lnTo>
                  <a:pt x="128" y="1452"/>
                </a:lnTo>
                <a:lnTo>
                  <a:pt x="116" y="1441"/>
                </a:lnTo>
                <a:lnTo>
                  <a:pt x="116" y="1426"/>
                </a:lnTo>
                <a:lnTo>
                  <a:pt x="122" y="1419"/>
                </a:lnTo>
                <a:lnTo>
                  <a:pt x="113" y="1403"/>
                </a:lnTo>
                <a:lnTo>
                  <a:pt x="119" y="1397"/>
                </a:lnTo>
                <a:lnTo>
                  <a:pt x="109" y="1391"/>
                </a:lnTo>
                <a:lnTo>
                  <a:pt x="116" y="1376"/>
                </a:lnTo>
                <a:lnTo>
                  <a:pt x="97" y="1361"/>
                </a:lnTo>
                <a:lnTo>
                  <a:pt x="92" y="1349"/>
                </a:lnTo>
                <a:lnTo>
                  <a:pt x="82" y="1349"/>
                </a:lnTo>
                <a:lnTo>
                  <a:pt x="74" y="1343"/>
                </a:lnTo>
                <a:lnTo>
                  <a:pt x="70" y="1336"/>
                </a:lnTo>
                <a:lnTo>
                  <a:pt x="71" y="1332"/>
                </a:lnTo>
                <a:lnTo>
                  <a:pt x="67" y="1322"/>
                </a:lnTo>
                <a:lnTo>
                  <a:pt x="57" y="1328"/>
                </a:lnTo>
                <a:lnTo>
                  <a:pt x="50" y="1316"/>
                </a:lnTo>
                <a:lnTo>
                  <a:pt x="44" y="1314"/>
                </a:lnTo>
                <a:lnTo>
                  <a:pt x="35" y="1309"/>
                </a:lnTo>
                <a:lnTo>
                  <a:pt x="20" y="1302"/>
                </a:lnTo>
                <a:lnTo>
                  <a:pt x="19" y="1299"/>
                </a:lnTo>
                <a:lnTo>
                  <a:pt x="22" y="1291"/>
                </a:lnTo>
                <a:lnTo>
                  <a:pt x="13" y="1291"/>
                </a:lnTo>
                <a:lnTo>
                  <a:pt x="9" y="1284"/>
                </a:lnTo>
                <a:lnTo>
                  <a:pt x="10" y="1277"/>
                </a:lnTo>
                <a:lnTo>
                  <a:pt x="2" y="1265"/>
                </a:lnTo>
                <a:lnTo>
                  <a:pt x="6" y="1261"/>
                </a:lnTo>
                <a:lnTo>
                  <a:pt x="0" y="1254"/>
                </a:lnTo>
                <a:lnTo>
                  <a:pt x="21" y="1239"/>
                </a:lnTo>
                <a:lnTo>
                  <a:pt x="30" y="1223"/>
                </a:lnTo>
                <a:lnTo>
                  <a:pt x="36" y="1219"/>
                </a:lnTo>
                <a:lnTo>
                  <a:pt x="52" y="1216"/>
                </a:lnTo>
                <a:lnTo>
                  <a:pt x="52" y="1212"/>
                </a:lnTo>
                <a:lnTo>
                  <a:pt x="49" y="1208"/>
                </a:lnTo>
                <a:lnTo>
                  <a:pt x="57" y="1200"/>
                </a:lnTo>
                <a:lnTo>
                  <a:pt x="78" y="1198"/>
                </a:lnTo>
                <a:lnTo>
                  <a:pt x="91" y="1190"/>
                </a:lnTo>
                <a:lnTo>
                  <a:pt x="96" y="1167"/>
                </a:lnTo>
                <a:lnTo>
                  <a:pt x="94" y="1162"/>
                </a:lnTo>
                <a:lnTo>
                  <a:pt x="99" y="1153"/>
                </a:lnTo>
                <a:lnTo>
                  <a:pt x="92" y="1144"/>
                </a:lnTo>
                <a:lnTo>
                  <a:pt x="91" y="1137"/>
                </a:lnTo>
                <a:lnTo>
                  <a:pt x="95" y="1130"/>
                </a:lnTo>
                <a:lnTo>
                  <a:pt x="94" y="1127"/>
                </a:lnTo>
                <a:lnTo>
                  <a:pt x="102" y="1108"/>
                </a:lnTo>
                <a:lnTo>
                  <a:pt x="119" y="1095"/>
                </a:lnTo>
                <a:lnTo>
                  <a:pt x="122" y="1091"/>
                </a:lnTo>
                <a:lnTo>
                  <a:pt x="125" y="1078"/>
                </a:lnTo>
                <a:lnTo>
                  <a:pt x="106" y="1063"/>
                </a:lnTo>
                <a:lnTo>
                  <a:pt x="114" y="1037"/>
                </a:lnTo>
                <a:lnTo>
                  <a:pt x="119" y="1033"/>
                </a:lnTo>
                <a:lnTo>
                  <a:pt x="119" y="1024"/>
                </a:lnTo>
                <a:lnTo>
                  <a:pt x="122" y="1017"/>
                </a:lnTo>
                <a:lnTo>
                  <a:pt x="119" y="1001"/>
                </a:lnTo>
                <a:lnTo>
                  <a:pt x="120" y="988"/>
                </a:lnTo>
                <a:lnTo>
                  <a:pt x="130" y="984"/>
                </a:lnTo>
                <a:lnTo>
                  <a:pt x="130" y="979"/>
                </a:lnTo>
                <a:lnTo>
                  <a:pt x="131" y="972"/>
                </a:lnTo>
                <a:lnTo>
                  <a:pt x="160" y="954"/>
                </a:lnTo>
                <a:lnTo>
                  <a:pt x="164" y="944"/>
                </a:lnTo>
                <a:lnTo>
                  <a:pt x="175" y="936"/>
                </a:lnTo>
                <a:lnTo>
                  <a:pt x="185" y="927"/>
                </a:lnTo>
                <a:lnTo>
                  <a:pt x="192" y="926"/>
                </a:lnTo>
                <a:lnTo>
                  <a:pt x="200" y="921"/>
                </a:lnTo>
                <a:lnTo>
                  <a:pt x="209" y="902"/>
                </a:lnTo>
                <a:lnTo>
                  <a:pt x="234" y="895"/>
                </a:lnTo>
                <a:lnTo>
                  <a:pt x="244" y="895"/>
                </a:lnTo>
                <a:lnTo>
                  <a:pt x="256" y="901"/>
                </a:lnTo>
                <a:lnTo>
                  <a:pt x="269" y="899"/>
                </a:lnTo>
                <a:lnTo>
                  <a:pt x="270" y="902"/>
                </a:lnTo>
                <a:lnTo>
                  <a:pt x="274" y="901"/>
                </a:lnTo>
                <a:lnTo>
                  <a:pt x="274" y="916"/>
                </a:lnTo>
                <a:lnTo>
                  <a:pt x="285" y="924"/>
                </a:lnTo>
                <a:lnTo>
                  <a:pt x="283" y="927"/>
                </a:lnTo>
                <a:lnTo>
                  <a:pt x="301" y="932"/>
                </a:lnTo>
                <a:lnTo>
                  <a:pt x="302" y="938"/>
                </a:lnTo>
                <a:lnTo>
                  <a:pt x="310" y="934"/>
                </a:lnTo>
                <a:lnTo>
                  <a:pt x="312" y="927"/>
                </a:lnTo>
                <a:lnTo>
                  <a:pt x="315" y="932"/>
                </a:lnTo>
                <a:lnTo>
                  <a:pt x="317" y="932"/>
                </a:lnTo>
                <a:lnTo>
                  <a:pt x="319" y="921"/>
                </a:lnTo>
                <a:lnTo>
                  <a:pt x="321" y="913"/>
                </a:lnTo>
                <a:lnTo>
                  <a:pt x="330" y="909"/>
                </a:lnTo>
                <a:lnTo>
                  <a:pt x="330" y="901"/>
                </a:lnTo>
                <a:lnTo>
                  <a:pt x="341" y="909"/>
                </a:lnTo>
                <a:lnTo>
                  <a:pt x="344" y="909"/>
                </a:lnTo>
                <a:lnTo>
                  <a:pt x="341" y="905"/>
                </a:lnTo>
                <a:lnTo>
                  <a:pt x="349" y="904"/>
                </a:lnTo>
                <a:lnTo>
                  <a:pt x="360" y="909"/>
                </a:lnTo>
                <a:lnTo>
                  <a:pt x="362" y="905"/>
                </a:lnTo>
                <a:lnTo>
                  <a:pt x="387" y="902"/>
                </a:lnTo>
                <a:lnTo>
                  <a:pt x="387" y="895"/>
                </a:lnTo>
                <a:lnTo>
                  <a:pt x="419" y="882"/>
                </a:lnTo>
                <a:lnTo>
                  <a:pt x="429" y="882"/>
                </a:lnTo>
                <a:lnTo>
                  <a:pt x="430" y="887"/>
                </a:lnTo>
                <a:lnTo>
                  <a:pt x="441" y="883"/>
                </a:lnTo>
                <a:lnTo>
                  <a:pt x="451" y="885"/>
                </a:lnTo>
                <a:lnTo>
                  <a:pt x="454" y="879"/>
                </a:lnTo>
                <a:lnTo>
                  <a:pt x="472" y="868"/>
                </a:lnTo>
                <a:lnTo>
                  <a:pt x="474" y="864"/>
                </a:lnTo>
                <a:lnTo>
                  <a:pt x="495" y="859"/>
                </a:lnTo>
                <a:lnTo>
                  <a:pt x="500" y="846"/>
                </a:lnTo>
                <a:lnTo>
                  <a:pt x="509" y="846"/>
                </a:lnTo>
                <a:lnTo>
                  <a:pt x="537" y="830"/>
                </a:lnTo>
                <a:lnTo>
                  <a:pt x="541" y="815"/>
                </a:lnTo>
                <a:lnTo>
                  <a:pt x="541" y="804"/>
                </a:lnTo>
                <a:lnTo>
                  <a:pt x="531" y="797"/>
                </a:lnTo>
                <a:lnTo>
                  <a:pt x="531" y="773"/>
                </a:lnTo>
                <a:lnTo>
                  <a:pt x="536" y="750"/>
                </a:lnTo>
                <a:lnTo>
                  <a:pt x="537" y="742"/>
                </a:lnTo>
                <a:lnTo>
                  <a:pt x="543" y="676"/>
                </a:lnTo>
                <a:lnTo>
                  <a:pt x="544" y="663"/>
                </a:lnTo>
                <a:lnTo>
                  <a:pt x="566" y="368"/>
                </a:lnTo>
                <a:lnTo>
                  <a:pt x="566" y="360"/>
                </a:lnTo>
                <a:lnTo>
                  <a:pt x="568" y="355"/>
                </a:lnTo>
                <a:lnTo>
                  <a:pt x="686" y="358"/>
                </a:lnTo>
                <a:lnTo>
                  <a:pt x="712" y="360"/>
                </a:lnTo>
                <a:lnTo>
                  <a:pt x="726" y="360"/>
                </a:lnTo>
                <a:lnTo>
                  <a:pt x="757" y="360"/>
                </a:lnTo>
                <a:lnTo>
                  <a:pt x="773" y="347"/>
                </a:lnTo>
                <a:lnTo>
                  <a:pt x="775" y="347"/>
                </a:lnTo>
                <a:lnTo>
                  <a:pt x="776" y="347"/>
                </a:lnTo>
                <a:lnTo>
                  <a:pt x="778" y="347"/>
                </a:lnTo>
                <a:lnTo>
                  <a:pt x="779" y="345"/>
                </a:lnTo>
                <a:lnTo>
                  <a:pt x="780" y="345"/>
                </a:lnTo>
                <a:lnTo>
                  <a:pt x="782" y="345"/>
                </a:lnTo>
                <a:lnTo>
                  <a:pt x="783" y="345"/>
                </a:lnTo>
                <a:lnTo>
                  <a:pt x="785" y="345"/>
                </a:lnTo>
                <a:lnTo>
                  <a:pt x="786" y="345"/>
                </a:lnTo>
                <a:lnTo>
                  <a:pt x="786" y="347"/>
                </a:lnTo>
                <a:lnTo>
                  <a:pt x="787" y="347"/>
                </a:lnTo>
                <a:lnTo>
                  <a:pt x="786" y="347"/>
                </a:lnTo>
                <a:lnTo>
                  <a:pt x="786" y="349"/>
                </a:lnTo>
                <a:lnTo>
                  <a:pt x="787" y="349"/>
                </a:lnTo>
                <a:lnTo>
                  <a:pt x="789" y="347"/>
                </a:lnTo>
                <a:lnTo>
                  <a:pt x="789" y="349"/>
                </a:lnTo>
                <a:lnTo>
                  <a:pt x="790" y="349"/>
                </a:lnTo>
                <a:lnTo>
                  <a:pt x="791" y="349"/>
                </a:lnTo>
                <a:lnTo>
                  <a:pt x="791" y="350"/>
                </a:lnTo>
                <a:lnTo>
                  <a:pt x="791" y="352"/>
                </a:lnTo>
                <a:lnTo>
                  <a:pt x="793" y="352"/>
                </a:lnTo>
                <a:lnTo>
                  <a:pt x="794" y="352"/>
                </a:lnTo>
                <a:lnTo>
                  <a:pt x="796" y="352"/>
                </a:lnTo>
                <a:lnTo>
                  <a:pt x="796" y="353"/>
                </a:lnTo>
                <a:lnTo>
                  <a:pt x="797" y="353"/>
                </a:lnTo>
                <a:lnTo>
                  <a:pt x="797" y="355"/>
                </a:lnTo>
                <a:lnTo>
                  <a:pt x="799" y="355"/>
                </a:lnTo>
                <a:lnTo>
                  <a:pt x="799" y="356"/>
                </a:lnTo>
                <a:lnTo>
                  <a:pt x="800" y="356"/>
                </a:lnTo>
                <a:lnTo>
                  <a:pt x="801" y="356"/>
                </a:lnTo>
                <a:lnTo>
                  <a:pt x="801" y="355"/>
                </a:lnTo>
                <a:lnTo>
                  <a:pt x="803" y="355"/>
                </a:lnTo>
                <a:lnTo>
                  <a:pt x="804" y="355"/>
                </a:lnTo>
                <a:lnTo>
                  <a:pt x="805" y="355"/>
                </a:lnTo>
                <a:lnTo>
                  <a:pt x="807" y="355"/>
                </a:lnTo>
                <a:lnTo>
                  <a:pt x="808" y="355"/>
                </a:lnTo>
                <a:lnTo>
                  <a:pt x="810" y="355"/>
                </a:lnTo>
                <a:lnTo>
                  <a:pt x="811" y="355"/>
                </a:lnTo>
                <a:lnTo>
                  <a:pt x="813" y="355"/>
                </a:lnTo>
                <a:lnTo>
                  <a:pt x="814" y="355"/>
                </a:lnTo>
                <a:lnTo>
                  <a:pt x="814" y="356"/>
                </a:lnTo>
                <a:lnTo>
                  <a:pt x="815" y="356"/>
                </a:lnTo>
                <a:lnTo>
                  <a:pt x="816" y="356"/>
                </a:lnTo>
                <a:lnTo>
                  <a:pt x="816" y="358"/>
                </a:lnTo>
                <a:lnTo>
                  <a:pt x="818" y="358"/>
                </a:lnTo>
                <a:lnTo>
                  <a:pt x="819" y="358"/>
                </a:lnTo>
                <a:lnTo>
                  <a:pt x="818" y="360"/>
                </a:lnTo>
                <a:lnTo>
                  <a:pt x="819" y="360"/>
                </a:lnTo>
                <a:lnTo>
                  <a:pt x="821" y="360"/>
                </a:lnTo>
                <a:lnTo>
                  <a:pt x="822" y="360"/>
                </a:lnTo>
                <a:lnTo>
                  <a:pt x="822" y="362"/>
                </a:lnTo>
                <a:lnTo>
                  <a:pt x="824" y="362"/>
                </a:lnTo>
                <a:lnTo>
                  <a:pt x="824" y="363"/>
                </a:lnTo>
                <a:lnTo>
                  <a:pt x="825" y="363"/>
                </a:lnTo>
                <a:lnTo>
                  <a:pt x="825" y="365"/>
                </a:lnTo>
                <a:lnTo>
                  <a:pt x="826" y="365"/>
                </a:lnTo>
                <a:lnTo>
                  <a:pt x="828" y="365"/>
                </a:lnTo>
                <a:lnTo>
                  <a:pt x="829" y="365"/>
                </a:lnTo>
                <a:lnTo>
                  <a:pt x="829" y="366"/>
                </a:lnTo>
                <a:lnTo>
                  <a:pt x="830" y="366"/>
                </a:lnTo>
                <a:lnTo>
                  <a:pt x="832" y="366"/>
                </a:lnTo>
                <a:lnTo>
                  <a:pt x="832" y="365"/>
                </a:lnTo>
                <a:lnTo>
                  <a:pt x="833" y="365"/>
                </a:lnTo>
                <a:lnTo>
                  <a:pt x="835" y="365"/>
                </a:lnTo>
                <a:lnTo>
                  <a:pt x="836" y="363"/>
                </a:lnTo>
                <a:lnTo>
                  <a:pt x="838" y="363"/>
                </a:lnTo>
                <a:lnTo>
                  <a:pt x="886" y="381"/>
                </a:lnTo>
                <a:lnTo>
                  <a:pt x="908" y="385"/>
                </a:lnTo>
                <a:lnTo>
                  <a:pt x="911" y="381"/>
                </a:lnTo>
                <a:lnTo>
                  <a:pt x="915" y="373"/>
                </a:lnTo>
                <a:lnTo>
                  <a:pt x="915" y="372"/>
                </a:lnTo>
                <a:lnTo>
                  <a:pt x="915" y="369"/>
                </a:lnTo>
                <a:lnTo>
                  <a:pt x="917" y="369"/>
                </a:lnTo>
                <a:lnTo>
                  <a:pt x="918" y="369"/>
                </a:lnTo>
                <a:lnTo>
                  <a:pt x="918" y="368"/>
                </a:lnTo>
                <a:lnTo>
                  <a:pt x="919" y="366"/>
                </a:lnTo>
                <a:lnTo>
                  <a:pt x="919" y="365"/>
                </a:lnTo>
                <a:lnTo>
                  <a:pt x="918" y="365"/>
                </a:lnTo>
                <a:lnTo>
                  <a:pt x="918" y="363"/>
                </a:lnTo>
                <a:lnTo>
                  <a:pt x="919" y="362"/>
                </a:lnTo>
                <a:lnTo>
                  <a:pt x="918" y="360"/>
                </a:lnTo>
                <a:lnTo>
                  <a:pt x="917" y="360"/>
                </a:lnTo>
                <a:lnTo>
                  <a:pt x="915" y="360"/>
                </a:lnTo>
                <a:lnTo>
                  <a:pt x="914" y="360"/>
                </a:lnTo>
                <a:lnTo>
                  <a:pt x="914" y="358"/>
                </a:lnTo>
                <a:lnTo>
                  <a:pt x="913" y="358"/>
                </a:lnTo>
                <a:lnTo>
                  <a:pt x="913" y="356"/>
                </a:lnTo>
                <a:lnTo>
                  <a:pt x="911" y="356"/>
                </a:lnTo>
                <a:lnTo>
                  <a:pt x="910" y="356"/>
                </a:lnTo>
                <a:lnTo>
                  <a:pt x="910" y="353"/>
                </a:lnTo>
                <a:lnTo>
                  <a:pt x="908" y="353"/>
                </a:lnTo>
                <a:lnTo>
                  <a:pt x="907" y="352"/>
                </a:lnTo>
                <a:lnTo>
                  <a:pt x="905" y="352"/>
                </a:lnTo>
                <a:lnTo>
                  <a:pt x="904" y="350"/>
                </a:lnTo>
                <a:lnTo>
                  <a:pt x="903" y="347"/>
                </a:lnTo>
                <a:lnTo>
                  <a:pt x="901" y="345"/>
                </a:lnTo>
                <a:lnTo>
                  <a:pt x="903" y="345"/>
                </a:lnTo>
                <a:lnTo>
                  <a:pt x="903" y="344"/>
                </a:lnTo>
                <a:lnTo>
                  <a:pt x="903" y="343"/>
                </a:lnTo>
                <a:lnTo>
                  <a:pt x="904" y="343"/>
                </a:lnTo>
                <a:lnTo>
                  <a:pt x="904" y="341"/>
                </a:lnTo>
                <a:lnTo>
                  <a:pt x="904" y="340"/>
                </a:lnTo>
                <a:lnTo>
                  <a:pt x="903" y="340"/>
                </a:lnTo>
                <a:lnTo>
                  <a:pt x="903" y="337"/>
                </a:lnTo>
                <a:lnTo>
                  <a:pt x="901" y="337"/>
                </a:lnTo>
                <a:lnTo>
                  <a:pt x="901" y="336"/>
                </a:lnTo>
                <a:lnTo>
                  <a:pt x="901" y="333"/>
                </a:lnTo>
                <a:lnTo>
                  <a:pt x="903" y="333"/>
                </a:lnTo>
                <a:lnTo>
                  <a:pt x="903" y="332"/>
                </a:lnTo>
                <a:lnTo>
                  <a:pt x="901" y="332"/>
                </a:lnTo>
                <a:lnTo>
                  <a:pt x="901" y="331"/>
                </a:lnTo>
                <a:lnTo>
                  <a:pt x="901" y="330"/>
                </a:lnTo>
                <a:lnTo>
                  <a:pt x="901" y="328"/>
                </a:lnTo>
                <a:lnTo>
                  <a:pt x="901" y="327"/>
                </a:lnTo>
                <a:lnTo>
                  <a:pt x="901" y="324"/>
                </a:lnTo>
                <a:lnTo>
                  <a:pt x="901" y="323"/>
                </a:lnTo>
                <a:lnTo>
                  <a:pt x="901" y="320"/>
                </a:lnTo>
                <a:lnTo>
                  <a:pt x="901" y="319"/>
                </a:lnTo>
                <a:lnTo>
                  <a:pt x="901" y="316"/>
                </a:lnTo>
                <a:lnTo>
                  <a:pt x="901" y="315"/>
                </a:lnTo>
                <a:lnTo>
                  <a:pt x="901" y="316"/>
                </a:lnTo>
                <a:lnTo>
                  <a:pt x="903" y="316"/>
                </a:lnTo>
                <a:lnTo>
                  <a:pt x="903" y="315"/>
                </a:lnTo>
                <a:lnTo>
                  <a:pt x="904" y="315"/>
                </a:lnTo>
                <a:lnTo>
                  <a:pt x="905" y="315"/>
                </a:lnTo>
                <a:lnTo>
                  <a:pt x="907" y="315"/>
                </a:lnTo>
                <a:lnTo>
                  <a:pt x="907" y="316"/>
                </a:lnTo>
                <a:lnTo>
                  <a:pt x="908" y="316"/>
                </a:lnTo>
                <a:lnTo>
                  <a:pt x="910" y="316"/>
                </a:lnTo>
                <a:lnTo>
                  <a:pt x="910" y="315"/>
                </a:lnTo>
                <a:lnTo>
                  <a:pt x="911" y="315"/>
                </a:lnTo>
                <a:lnTo>
                  <a:pt x="913" y="315"/>
                </a:lnTo>
                <a:lnTo>
                  <a:pt x="914" y="315"/>
                </a:lnTo>
                <a:lnTo>
                  <a:pt x="915" y="315"/>
                </a:lnTo>
                <a:lnTo>
                  <a:pt x="915" y="313"/>
                </a:lnTo>
                <a:lnTo>
                  <a:pt x="917" y="313"/>
                </a:lnTo>
                <a:lnTo>
                  <a:pt x="917" y="311"/>
                </a:lnTo>
                <a:lnTo>
                  <a:pt x="917" y="310"/>
                </a:lnTo>
                <a:lnTo>
                  <a:pt x="918" y="310"/>
                </a:lnTo>
                <a:lnTo>
                  <a:pt x="918" y="308"/>
                </a:lnTo>
                <a:lnTo>
                  <a:pt x="919" y="307"/>
                </a:lnTo>
                <a:lnTo>
                  <a:pt x="919" y="306"/>
                </a:lnTo>
                <a:lnTo>
                  <a:pt x="921" y="304"/>
                </a:lnTo>
                <a:lnTo>
                  <a:pt x="922" y="302"/>
                </a:lnTo>
                <a:lnTo>
                  <a:pt x="924" y="302"/>
                </a:lnTo>
                <a:lnTo>
                  <a:pt x="925" y="302"/>
                </a:lnTo>
                <a:lnTo>
                  <a:pt x="925" y="300"/>
                </a:lnTo>
                <a:lnTo>
                  <a:pt x="925" y="298"/>
                </a:lnTo>
                <a:lnTo>
                  <a:pt x="926" y="298"/>
                </a:lnTo>
                <a:lnTo>
                  <a:pt x="928" y="298"/>
                </a:lnTo>
                <a:lnTo>
                  <a:pt x="928" y="296"/>
                </a:lnTo>
                <a:lnTo>
                  <a:pt x="928" y="295"/>
                </a:lnTo>
                <a:lnTo>
                  <a:pt x="928" y="296"/>
                </a:lnTo>
                <a:lnTo>
                  <a:pt x="929" y="296"/>
                </a:lnTo>
                <a:lnTo>
                  <a:pt x="929" y="295"/>
                </a:lnTo>
                <a:lnTo>
                  <a:pt x="928" y="295"/>
                </a:lnTo>
                <a:lnTo>
                  <a:pt x="928" y="294"/>
                </a:lnTo>
                <a:lnTo>
                  <a:pt x="928" y="295"/>
                </a:lnTo>
                <a:lnTo>
                  <a:pt x="929" y="295"/>
                </a:lnTo>
                <a:lnTo>
                  <a:pt x="929" y="294"/>
                </a:lnTo>
                <a:lnTo>
                  <a:pt x="929" y="293"/>
                </a:lnTo>
                <a:lnTo>
                  <a:pt x="930" y="293"/>
                </a:lnTo>
                <a:lnTo>
                  <a:pt x="932" y="293"/>
                </a:lnTo>
                <a:lnTo>
                  <a:pt x="933" y="293"/>
                </a:lnTo>
                <a:lnTo>
                  <a:pt x="935" y="293"/>
                </a:lnTo>
                <a:lnTo>
                  <a:pt x="935" y="291"/>
                </a:lnTo>
                <a:lnTo>
                  <a:pt x="936" y="291"/>
                </a:lnTo>
                <a:lnTo>
                  <a:pt x="936" y="288"/>
                </a:lnTo>
                <a:lnTo>
                  <a:pt x="935" y="288"/>
                </a:lnTo>
                <a:lnTo>
                  <a:pt x="936" y="288"/>
                </a:lnTo>
                <a:lnTo>
                  <a:pt x="938" y="288"/>
                </a:lnTo>
                <a:lnTo>
                  <a:pt x="938" y="287"/>
                </a:lnTo>
                <a:lnTo>
                  <a:pt x="936" y="287"/>
                </a:lnTo>
                <a:lnTo>
                  <a:pt x="938" y="287"/>
                </a:lnTo>
                <a:lnTo>
                  <a:pt x="938" y="285"/>
                </a:lnTo>
                <a:lnTo>
                  <a:pt x="939" y="285"/>
                </a:lnTo>
                <a:lnTo>
                  <a:pt x="940" y="285"/>
                </a:lnTo>
                <a:lnTo>
                  <a:pt x="940" y="283"/>
                </a:lnTo>
                <a:lnTo>
                  <a:pt x="942" y="283"/>
                </a:lnTo>
                <a:lnTo>
                  <a:pt x="942" y="282"/>
                </a:lnTo>
                <a:lnTo>
                  <a:pt x="940" y="282"/>
                </a:lnTo>
                <a:lnTo>
                  <a:pt x="940" y="279"/>
                </a:lnTo>
                <a:lnTo>
                  <a:pt x="942" y="279"/>
                </a:lnTo>
                <a:lnTo>
                  <a:pt x="943" y="279"/>
                </a:lnTo>
                <a:lnTo>
                  <a:pt x="942" y="279"/>
                </a:lnTo>
                <a:lnTo>
                  <a:pt x="940" y="278"/>
                </a:lnTo>
                <a:lnTo>
                  <a:pt x="942" y="278"/>
                </a:lnTo>
                <a:lnTo>
                  <a:pt x="942" y="275"/>
                </a:lnTo>
                <a:lnTo>
                  <a:pt x="943" y="275"/>
                </a:lnTo>
                <a:lnTo>
                  <a:pt x="944" y="275"/>
                </a:lnTo>
                <a:lnTo>
                  <a:pt x="946" y="275"/>
                </a:lnTo>
                <a:lnTo>
                  <a:pt x="947" y="275"/>
                </a:lnTo>
                <a:lnTo>
                  <a:pt x="949" y="275"/>
                </a:lnTo>
                <a:lnTo>
                  <a:pt x="949" y="274"/>
                </a:lnTo>
                <a:lnTo>
                  <a:pt x="950" y="274"/>
                </a:lnTo>
                <a:lnTo>
                  <a:pt x="949" y="274"/>
                </a:lnTo>
                <a:lnTo>
                  <a:pt x="949" y="273"/>
                </a:lnTo>
                <a:lnTo>
                  <a:pt x="950" y="271"/>
                </a:lnTo>
                <a:lnTo>
                  <a:pt x="949" y="271"/>
                </a:lnTo>
                <a:lnTo>
                  <a:pt x="949" y="270"/>
                </a:lnTo>
                <a:lnTo>
                  <a:pt x="950" y="270"/>
                </a:lnTo>
                <a:lnTo>
                  <a:pt x="949" y="269"/>
                </a:lnTo>
                <a:lnTo>
                  <a:pt x="950" y="269"/>
                </a:lnTo>
                <a:lnTo>
                  <a:pt x="951" y="269"/>
                </a:lnTo>
                <a:lnTo>
                  <a:pt x="951" y="266"/>
                </a:lnTo>
                <a:lnTo>
                  <a:pt x="953" y="266"/>
                </a:lnTo>
                <a:lnTo>
                  <a:pt x="953" y="265"/>
                </a:lnTo>
                <a:lnTo>
                  <a:pt x="954" y="265"/>
                </a:lnTo>
                <a:lnTo>
                  <a:pt x="953" y="265"/>
                </a:lnTo>
                <a:lnTo>
                  <a:pt x="953" y="262"/>
                </a:lnTo>
                <a:lnTo>
                  <a:pt x="954" y="262"/>
                </a:lnTo>
                <a:lnTo>
                  <a:pt x="955" y="262"/>
                </a:lnTo>
                <a:lnTo>
                  <a:pt x="955" y="260"/>
                </a:lnTo>
                <a:lnTo>
                  <a:pt x="954" y="260"/>
                </a:lnTo>
                <a:lnTo>
                  <a:pt x="955" y="260"/>
                </a:lnTo>
                <a:lnTo>
                  <a:pt x="957" y="258"/>
                </a:lnTo>
                <a:lnTo>
                  <a:pt x="958" y="257"/>
                </a:lnTo>
                <a:lnTo>
                  <a:pt x="958" y="256"/>
                </a:lnTo>
                <a:lnTo>
                  <a:pt x="960" y="256"/>
                </a:lnTo>
                <a:lnTo>
                  <a:pt x="960" y="253"/>
                </a:lnTo>
                <a:lnTo>
                  <a:pt x="963" y="253"/>
                </a:lnTo>
                <a:lnTo>
                  <a:pt x="961" y="253"/>
                </a:lnTo>
                <a:lnTo>
                  <a:pt x="961" y="251"/>
                </a:lnTo>
                <a:lnTo>
                  <a:pt x="963" y="251"/>
                </a:lnTo>
                <a:lnTo>
                  <a:pt x="964" y="253"/>
                </a:lnTo>
                <a:lnTo>
                  <a:pt x="964" y="251"/>
                </a:lnTo>
                <a:lnTo>
                  <a:pt x="964" y="249"/>
                </a:lnTo>
                <a:lnTo>
                  <a:pt x="965" y="249"/>
                </a:lnTo>
                <a:lnTo>
                  <a:pt x="965" y="251"/>
                </a:lnTo>
                <a:lnTo>
                  <a:pt x="965" y="249"/>
                </a:lnTo>
                <a:lnTo>
                  <a:pt x="967" y="249"/>
                </a:lnTo>
                <a:lnTo>
                  <a:pt x="968" y="249"/>
                </a:lnTo>
                <a:lnTo>
                  <a:pt x="968" y="248"/>
                </a:lnTo>
                <a:lnTo>
                  <a:pt x="968" y="246"/>
                </a:lnTo>
                <a:lnTo>
                  <a:pt x="967" y="246"/>
                </a:lnTo>
                <a:lnTo>
                  <a:pt x="968" y="246"/>
                </a:lnTo>
                <a:lnTo>
                  <a:pt x="968" y="244"/>
                </a:lnTo>
                <a:lnTo>
                  <a:pt x="968" y="243"/>
                </a:lnTo>
                <a:lnTo>
                  <a:pt x="968" y="240"/>
                </a:lnTo>
                <a:lnTo>
                  <a:pt x="968" y="237"/>
                </a:lnTo>
                <a:lnTo>
                  <a:pt x="969" y="237"/>
                </a:lnTo>
                <a:lnTo>
                  <a:pt x="971" y="237"/>
                </a:lnTo>
                <a:lnTo>
                  <a:pt x="969" y="237"/>
                </a:lnTo>
                <a:lnTo>
                  <a:pt x="968" y="237"/>
                </a:lnTo>
                <a:lnTo>
                  <a:pt x="969" y="237"/>
                </a:lnTo>
                <a:lnTo>
                  <a:pt x="969" y="236"/>
                </a:lnTo>
                <a:lnTo>
                  <a:pt x="969" y="237"/>
                </a:lnTo>
                <a:lnTo>
                  <a:pt x="971" y="237"/>
                </a:lnTo>
                <a:lnTo>
                  <a:pt x="971" y="236"/>
                </a:lnTo>
                <a:lnTo>
                  <a:pt x="971" y="234"/>
                </a:lnTo>
                <a:lnTo>
                  <a:pt x="972" y="234"/>
                </a:lnTo>
                <a:lnTo>
                  <a:pt x="972" y="236"/>
                </a:lnTo>
                <a:lnTo>
                  <a:pt x="974" y="236"/>
                </a:lnTo>
                <a:lnTo>
                  <a:pt x="974" y="234"/>
                </a:lnTo>
                <a:lnTo>
                  <a:pt x="972" y="234"/>
                </a:lnTo>
                <a:lnTo>
                  <a:pt x="974" y="234"/>
                </a:lnTo>
                <a:lnTo>
                  <a:pt x="974" y="233"/>
                </a:lnTo>
                <a:lnTo>
                  <a:pt x="972" y="233"/>
                </a:lnTo>
                <a:lnTo>
                  <a:pt x="972" y="231"/>
                </a:lnTo>
                <a:lnTo>
                  <a:pt x="974" y="231"/>
                </a:lnTo>
                <a:lnTo>
                  <a:pt x="975" y="231"/>
                </a:lnTo>
                <a:lnTo>
                  <a:pt x="977" y="231"/>
                </a:lnTo>
                <a:lnTo>
                  <a:pt x="978" y="231"/>
                </a:lnTo>
                <a:lnTo>
                  <a:pt x="980" y="231"/>
                </a:lnTo>
                <a:lnTo>
                  <a:pt x="982" y="231"/>
                </a:lnTo>
                <a:lnTo>
                  <a:pt x="983" y="231"/>
                </a:lnTo>
                <a:lnTo>
                  <a:pt x="985" y="231"/>
                </a:lnTo>
                <a:lnTo>
                  <a:pt x="985" y="229"/>
                </a:lnTo>
                <a:lnTo>
                  <a:pt x="986" y="229"/>
                </a:lnTo>
                <a:lnTo>
                  <a:pt x="988" y="229"/>
                </a:lnTo>
                <a:lnTo>
                  <a:pt x="989" y="229"/>
                </a:lnTo>
                <a:lnTo>
                  <a:pt x="990" y="229"/>
                </a:lnTo>
                <a:lnTo>
                  <a:pt x="990" y="226"/>
                </a:lnTo>
                <a:lnTo>
                  <a:pt x="992" y="229"/>
                </a:lnTo>
                <a:lnTo>
                  <a:pt x="992" y="226"/>
                </a:lnTo>
                <a:lnTo>
                  <a:pt x="993" y="226"/>
                </a:lnTo>
                <a:lnTo>
                  <a:pt x="994" y="226"/>
                </a:lnTo>
                <a:lnTo>
                  <a:pt x="996" y="226"/>
                </a:lnTo>
                <a:lnTo>
                  <a:pt x="997" y="226"/>
                </a:lnTo>
                <a:lnTo>
                  <a:pt x="999" y="226"/>
                </a:lnTo>
                <a:lnTo>
                  <a:pt x="999" y="225"/>
                </a:lnTo>
                <a:lnTo>
                  <a:pt x="1000" y="225"/>
                </a:lnTo>
                <a:lnTo>
                  <a:pt x="1002" y="225"/>
                </a:lnTo>
                <a:lnTo>
                  <a:pt x="1003" y="225"/>
                </a:lnTo>
                <a:lnTo>
                  <a:pt x="1004" y="224"/>
                </a:lnTo>
                <a:lnTo>
                  <a:pt x="1005" y="224"/>
                </a:lnTo>
                <a:lnTo>
                  <a:pt x="1008" y="224"/>
                </a:lnTo>
                <a:lnTo>
                  <a:pt x="1008" y="225"/>
                </a:lnTo>
                <a:lnTo>
                  <a:pt x="1010" y="225"/>
                </a:lnTo>
                <a:lnTo>
                  <a:pt x="1010" y="224"/>
                </a:lnTo>
                <a:lnTo>
                  <a:pt x="1010" y="223"/>
                </a:lnTo>
                <a:lnTo>
                  <a:pt x="1011" y="223"/>
                </a:lnTo>
                <a:lnTo>
                  <a:pt x="1013" y="223"/>
                </a:lnTo>
                <a:lnTo>
                  <a:pt x="1014" y="223"/>
                </a:lnTo>
                <a:lnTo>
                  <a:pt x="1015" y="223"/>
                </a:lnTo>
                <a:lnTo>
                  <a:pt x="1017" y="223"/>
                </a:lnTo>
                <a:lnTo>
                  <a:pt x="1018" y="223"/>
                </a:lnTo>
                <a:lnTo>
                  <a:pt x="1018" y="221"/>
                </a:lnTo>
                <a:lnTo>
                  <a:pt x="1019" y="221"/>
                </a:lnTo>
                <a:lnTo>
                  <a:pt x="1021" y="221"/>
                </a:lnTo>
                <a:lnTo>
                  <a:pt x="1022" y="221"/>
                </a:lnTo>
                <a:lnTo>
                  <a:pt x="1024" y="223"/>
                </a:lnTo>
                <a:lnTo>
                  <a:pt x="1025" y="223"/>
                </a:lnTo>
                <a:lnTo>
                  <a:pt x="1027" y="221"/>
                </a:lnTo>
                <a:lnTo>
                  <a:pt x="1027" y="220"/>
                </a:lnTo>
                <a:lnTo>
                  <a:pt x="1028" y="220"/>
                </a:lnTo>
                <a:lnTo>
                  <a:pt x="1029" y="220"/>
                </a:lnTo>
                <a:lnTo>
                  <a:pt x="1031" y="220"/>
                </a:lnTo>
                <a:lnTo>
                  <a:pt x="1031" y="217"/>
                </a:lnTo>
                <a:lnTo>
                  <a:pt x="1032" y="217"/>
                </a:lnTo>
                <a:lnTo>
                  <a:pt x="1033" y="217"/>
                </a:lnTo>
                <a:lnTo>
                  <a:pt x="1035" y="217"/>
                </a:lnTo>
                <a:lnTo>
                  <a:pt x="1033" y="217"/>
                </a:lnTo>
                <a:lnTo>
                  <a:pt x="1035" y="217"/>
                </a:lnTo>
                <a:lnTo>
                  <a:pt x="1035" y="215"/>
                </a:lnTo>
                <a:lnTo>
                  <a:pt x="1036" y="217"/>
                </a:lnTo>
                <a:lnTo>
                  <a:pt x="1042" y="215"/>
                </a:lnTo>
                <a:lnTo>
                  <a:pt x="1049" y="217"/>
                </a:lnTo>
                <a:lnTo>
                  <a:pt x="1054" y="215"/>
                </a:lnTo>
                <a:lnTo>
                  <a:pt x="1060" y="213"/>
                </a:lnTo>
                <a:lnTo>
                  <a:pt x="1061" y="208"/>
                </a:lnTo>
                <a:lnTo>
                  <a:pt x="1063" y="203"/>
                </a:lnTo>
                <a:lnTo>
                  <a:pt x="1065" y="201"/>
                </a:lnTo>
                <a:lnTo>
                  <a:pt x="1071" y="200"/>
                </a:lnTo>
                <a:lnTo>
                  <a:pt x="1078" y="203"/>
                </a:lnTo>
                <a:lnTo>
                  <a:pt x="1086" y="198"/>
                </a:lnTo>
                <a:lnTo>
                  <a:pt x="1088" y="199"/>
                </a:lnTo>
                <a:lnTo>
                  <a:pt x="1096" y="198"/>
                </a:lnTo>
                <a:lnTo>
                  <a:pt x="1098" y="195"/>
                </a:lnTo>
                <a:lnTo>
                  <a:pt x="1096" y="191"/>
                </a:lnTo>
                <a:lnTo>
                  <a:pt x="1100" y="189"/>
                </a:lnTo>
                <a:lnTo>
                  <a:pt x="1100" y="184"/>
                </a:lnTo>
                <a:lnTo>
                  <a:pt x="1107" y="182"/>
                </a:lnTo>
                <a:lnTo>
                  <a:pt x="1112" y="182"/>
                </a:lnTo>
                <a:lnTo>
                  <a:pt x="1117" y="182"/>
                </a:lnTo>
                <a:lnTo>
                  <a:pt x="1120" y="179"/>
                </a:lnTo>
                <a:lnTo>
                  <a:pt x="1120" y="173"/>
                </a:lnTo>
                <a:lnTo>
                  <a:pt x="1124" y="169"/>
                </a:lnTo>
                <a:lnTo>
                  <a:pt x="1124" y="173"/>
                </a:lnTo>
                <a:lnTo>
                  <a:pt x="1127" y="171"/>
                </a:lnTo>
                <a:lnTo>
                  <a:pt x="1128" y="171"/>
                </a:lnTo>
                <a:lnTo>
                  <a:pt x="1132" y="171"/>
                </a:lnTo>
                <a:lnTo>
                  <a:pt x="1135" y="166"/>
                </a:lnTo>
                <a:lnTo>
                  <a:pt x="1143" y="162"/>
                </a:lnTo>
                <a:lnTo>
                  <a:pt x="1145" y="153"/>
                </a:lnTo>
                <a:lnTo>
                  <a:pt x="1148" y="150"/>
                </a:lnTo>
                <a:lnTo>
                  <a:pt x="1152" y="142"/>
                </a:lnTo>
                <a:lnTo>
                  <a:pt x="1157" y="141"/>
                </a:lnTo>
                <a:lnTo>
                  <a:pt x="1156" y="137"/>
                </a:lnTo>
                <a:lnTo>
                  <a:pt x="1163" y="137"/>
                </a:lnTo>
                <a:lnTo>
                  <a:pt x="1167" y="137"/>
                </a:lnTo>
                <a:lnTo>
                  <a:pt x="1168" y="137"/>
                </a:lnTo>
                <a:lnTo>
                  <a:pt x="1173" y="129"/>
                </a:lnTo>
                <a:lnTo>
                  <a:pt x="1179" y="128"/>
                </a:lnTo>
                <a:lnTo>
                  <a:pt x="1182" y="126"/>
                </a:lnTo>
                <a:lnTo>
                  <a:pt x="1181" y="124"/>
                </a:lnTo>
                <a:lnTo>
                  <a:pt x="1182" y="122"/>
                </a:lnTo>
                <a:lnTo>
                  <a:pt x="1185" y="122"/>
                </a:lnTo>
                <a:lnTo>
                  <a:pt x="1184" y="119"/>
                </a:lnTo>
                <a:lnTo>
                  <a:pt x="1187" y="117"/>
                </a:lnTo>
                <a:lnTo>
                  <a:pt x="1188" y="113"/>
                </a:lnTo>
                <a:lnTo>
                  <a:pt x="1188" y="105"/>
                </a:lnTo>
                <a:lnTo>
                  <a:pt x="1190" y="96"/>
                </a:lnTo>
                <a:lnTo>
                  <a:pt x="1193" y="94"/>
                </a:lnTo>
                <a:lnTo>
                  <a:pt x="1199" y="84"/>
                </a:lnTo>
                <a:lnTo>
                  <a:pt x="1200" y="84"/>
                </a:lnTo>
                <a:lnTo>
                  <a:pt x="1202" y="84"/>
                </a:lnTo>
                <a:lnTo>
                  <a:pt x="1206" y="84"/>
                </a:lnTo>
                <a:lnTo>
                  <a:pt x="1212" y="88"/>
                </a:lnTo>
                <a:lnTo>
                  <a:pt x="1217" y="87"/>
                </a:lnTo>
                <a:lnTo>
                  <a:pt x="1218" y="75"/>
                </a:lnTo>
                <a:lnTo>
                  <a:pt x="1221" y="75"/>
                </a:lnTo>
                <a:lnTo>
                  <a:pt x="1220" y="74"/>
                </a:lnTo>
                <a:lnTo>
                  <a:pt x="1221" y="74"/>
                </a:lnTo>
                <a:lnTo>
                  <a:pt x="1221" y="71"/>
                </a:lnTo>
                <a:lnTo>
                  <a:pt x="1220" y="70"/>
                </a:lnTo>
                <a:lnTo>
                  <a:pt x="1221" y="62"/>
                </a:lnTo>
                <a:lnTo>
                  <a:pt x="1225" y="60"/>
                </a:lnTo>
                <a:lnTo>
                  <a:pt x="1227" y="62"/>
                </a:lnTo>
                <a:lnTo>
                  <a:pt x="1232" y="59"/>
                </a:lnTo>
                <a:lnTo>
                  <a:pt x="1232" y="52"/>
                </a:lnTo>
                <a:lnTo>
                  <a:pt x="1240" y="49"/>
                </a:lnTo>
                <a:lnTo>
                  <a:pt x="1239" y="46"/>
                </a:lnTo>
                <a:lnTo>
                  <a:pt x="1240" y="39"/>
                </a:lnTo>
                <a:lnTo>
                  <a:pt x="1248" y="37"/>
                </a:lnTo>
                <a:lnTo>
                  <a:pt x="1249" y="34"/>
                </a:lnTo>
                <a:lnTo>
                  <a:pt x="1246" y="20"/>
                </a:lnTo>
                <a:lnTo>
                  <a:pt x="1250" y="17"/>
                </a:lnTo>
                <a:lnTo>
                  <a:pt x="1248" y="14"/>
                </a:lnTo>
                <a:lnTo>
                  <a:pt x="1252" y="8"/>
                </a:lnTo>
                <a:lnTo>
                  <a:pt x="1252" y="4"/>
                </a:lnTo>
                <a:lnTo>
                  <a:pt x="1250" y="4"/>
                </a:lnTo>
                <a:lnTo>
                  <a:pt x="1248" y="2"/>
                </a:lnTo>
                <a:lnTo>
                  <a:pt x="1245" y="0"/>
                </a:lnTo>
                <a:lnTo>
                  <a:pt x="1289" y="0"/>
                </a:lnTo>
                <a:lnTo>
                  <a:pt x="1640" y="0"/>
                </a:lnTo>
                <a:lnTo>
                  <a:pt x="1649" y="2"/>
                </a:lnTo>
                <a:lnTo>
                  <a:pt x="1655" y="13"/>
                </a:lnTo>
                <a:lnTo>
                  <a:pt x="1655" y="17"/>
                </a:lnTo>
                <a:lnTo>
                  <a:pt x="1659" y="21"/>
                </a:lnTo>
                <a:lnTo>
                  <a:pt x="1668" y="24"/>
                </a:lnTo>
                <a:lnTo>
                  <a:pt x="1672" y="26"/>
                </a:lnTo>
                <a:lnTo>
                  <a:pt x="1677" y="25"/>
                </a:lnTo>
                <a:lnTo>
                  <a:pt x="1680" y="26"/>
                </a:lnTo>
                <a:lnTo>
                  <a:pt x="1680" y="24"/>
                </a:lnTo>
                <a:lnTo>
                  <a:pt x="1679" y="21"/>
                </a:lnTo>
                <a:lnTo>
                  <a:pt x="1683" y="16"/>
                </a:lnTo>
                <a:lnTo>
                  <a:pt x="1683" y="17"/>
                </a:lnTo>
                <a:lnTo>
                  <a:pt x="1684" y="20"/>
                </a:lnTo>
                <a:lnTo>
                  <a:pt x="1686" y="24"/>
                </a:lnTo>
                <a:lnTo>
                  <a:pt x="1684" y="25"/>
                </a:lnTo>
                <a:lnTo>
                  <a:pt x="1686" y="26"/>
                </a:lnTo>
                <a:lnTo>
                  <a:pt x="1686" y="29"/>
                </a:lnTo>
                <a:lnTo>
                  <a:pt x="1687" y="30"/>
                </a:lnTo>
                <a:lnTo>
                  <a:pt x="1691" y="38"/>
                </a:lnTo>
                <a:lnTo>
                  <a:pt x="1704" y="74"/>
                </a:lnTo>
                <a:lnTo>
                  <a:pt x="1705" y="75"/>
                </a:lnTo>
                <a:lnTo>
                  <a:pt x="1708" y="79"/>
                </a:lnTo>
                <a:lnTo>
                  <a:pt x="1712" y="75"/>
                </a:lnTo>
                <a:lnTo>
                  <a:pt x="1718" y="75"/>
                </a:lnTo>
                <a:lnTo>
                  <a:pt x="1722" y="84"/>
                </a:lnTo>
                <a:lnTo>
                  <a:pt x="1722" y="88"/>
                </a:lnTo>
                <a:lnTo>
                  <a:pt x="1724" y="95"/>
                </a:lnTo>
                <a:lnTo>
                  <a:pt x="1736" y="97"/>
                </a:lnTo>
                <a:lnTo>
                  <a:pt x="1738" y="97"/>
                </a:lnTo>
                <a:lnTo>
                  <a:pt x="1738" y="101"/>
                </a:lnTo>
                <a:lnTo>
                  <a:pt x="1743" y="101"/>
                </a:lnTo>
                <a:lnTo>
                  <a:pt x="1746" y="107"/>
                </a:lnTo>
                <a:lnTo>
                  <a:pt x="1751" y="108"/>
                </a:lnTo>
                <a:lnTo>
                  <a:pt x="1754" y="107"/>
                </a:lnTo>
                <a:lnTo>
                  <a:pt x="1758" y="109"/>
                </a:lnTo>
                <a:lnTo>
                  <a:pt x="1772" y="95"/>
                </a:lnTo>
                <a:lnTo>
                  <a:pt x="1776" y="92"/>
                </a:lnTo>
                <a:lnTo>
                  <a:pt x="1782" y="84"/>
                </a:lnTo>
                <a:lnTo>
                  <a:pt x="1787" y="82"/>
                </a:lnTo>
                <a:lnTo>
                  <a:pt x="1812" y="108"/>
                </a:lnTo>
                <a:lnTo>
                  <a:pt x="1815" y="111"/>
                </a:lnTo>
                <a:lnTo>
                  <a:pt x="1813" y="120"/>
                </a:lnTo>
                <a:lnTo>
                  <a:pt x="1816" y="128"/>
                </a:lnTo>
                <a:lnTo>
                  <a:pt x="1816" y="136"/>
                </a:lnTo>
                <a:lnTo>
                  <a:pt x="1813" y="145"/>
                </a:lnTo>
                <a:lnTo>
                  <a:pt x="1815" y="146"/>
                </a:lnTo>
                <a:lnTo>
                  <a:pt x="1815" y="150"/>
                </a:lnTo>
                <a:lnTo>
                  <a:pt x="1816" y="153"/>
                </a:lnTo>
                <a:lnTo>
                  <a:pt x="1826" y="149"/>
                </a:lnTo>
                <a:lnTo>
                  <a:pt x="1829" y="150"/>
                </a:lnTo>
                <a:lnTo>
                  <a:pt x="1830" y="149"/>
                </a:lnTo>
                <a:lnTo>
                  <a:pt x="1833" y="150"/>
                </a:lnTo>
                <a:lnTo>
                  <a:pt x="1836" y="150"/>
                </a:lnTo>
                <a:lnTo>
                  <a:pt x="1838" y="149"/>
                </a:lnTo>
                <a:lnTo>
                  <a:pt x="1840" y="150"/>
                </a:lnTo>
                <a:lnTo>
                  <a:pt x="1843" y="146"/>
                </a:lnTo>
                <a:lnTo>
                  <a:pt x="1847" y="146"/>
                </a:lnTo>
                <a:lnTo>
                  <a:pt x="1855" y="142"/>
                </a:lnTo>
                <a:lnTo>
                  <a:pt x="1859" y="142"/>
                </a:lnTo>
                <a:lnTo>
                  <a:pt x="1859" y="139"/>
                </a:lnTo>
                <a:lnTo>
                  <a:pt x="1866" y="133"/>
                </a:lnTo>
                <a:lnTo>
                  <a:pt x="1872" y="130"/>
                </a:lnTo>
                <a:lnTo>
                  <a:pt x="1875" y="124"/>
                </a:lnTo>
                <a:lnTo>
                  <a:pt x="1879" y="120"/>
                </a:lnTo>
                <a:lnTo>
                  <a:pt x="1882" y="117"/>
                </a:lnTo>
                <a:lnTo>
                  <a:pt x="1886" y="113"/>
                </a:lnTo>
                <a:lnTo>
                  <a:pt x="1892" y="105"/>
                </a:lnTo>
                <a:lnTo>
                  <a:pt x="1892" y="107"/>
                </a:lnTo>
                <a:lnTo>
                  <a:pt x="1896" y="101"/>
                </a:lnTo>
                <a:lnTo>
                  <a:pt x="1897" y="104"/>
                </a:lnTo>
                <a:lnTo>
                  <a:pt x="1901" y="101"/>
                </a:lnTo>
                <a:lnTo>
                  <a:pt x="1904" y="104"/>
                </a:lnTo>
                <a:lnTo>
                  <a:pt x="1905" y="109"/>
                </a:lnTo>
                <a:lnTo>
                  <a:pt x="1908" y="109"/>
                </a:lnTo>
                <a:lnTo>
                  <a:pt x="1908" y="111"/>
                </a:lnTo>
                <a:lnTo>
                  <a:pt x="1912" y="119"/>
                </a:lnTo>
                <a:lnTo>
                  <a:pt x="1915" y="117"/>
                </a:lnTo>
                <a:lnTo>
                  <a:pt x="1917" y="114"/>
                </a:lnTo>
                <a:lnTo>
                  <a:pt x="1919" y="114"/>
                </a:lnTo>
                <a:lnTo>
                  <a:pt x="1921" y="113"/>
                </a:lnTo>
                <a:lnTo>
                  <a:pt x="1921" y="114"/>
                </a:lnTo>
                <a:lnTo>
                  <a:pt x="1922" y="114"/>
                </a:lnTo>
                <a:lnTo>
                  <a:pt x="1931" y="122"/>
                </a:lnTo>
                <a:lnTo>
                  <a:pt x="1931" y="124"/>
                </a:lnTo>
                <a:lnTo>
                  <a:pt x="1933" y="126"/>
                </a:lnTo>
                <a:lnTo>
                  <a:pt x="1933" y="129"/>
                </a:lnTo>
                <a:lnTo>
                  <a:pt x="1939" y="133"/>
                </a:lnTo>
                <a:lnTo>
                  <a:pt x="1943" y="133"/>
                </a:lnTo>
                <a:lnTo>
                  <a:pt x="1946" y="137"/>
                </a:lnTo>
                <a:lnTo>
                  <a:pt x="1950" y="139"/>
                </a:lnTo>
                <a:lnTo>
                  <a:pt x="1958" y="150"/>
                </a:lnTo>
                <a:lnTo>
                  <a:pt x="1961" y="150"/>
                </a:lnTo>
                <a:lnTo>
                  <a:pt x="1962" y="156"/>
                </a:lnTo>
                <a:lnTo>
                  <a:pt x="1965" y="156"/>
                </a:lnTo>
                <a:lnTo>
                  <a:pt x="1969" y="153"/>
                </a:lnTo>
                <a:lnTo>
                  <a:pt x="1973" y="156"/>
                </a:lnTo>
                <a:lnTo>
                  <a:pt x="1975" y="159"/>
                </a:lnTo>
                <a:lnTo>
                  <a:pt x="1978" y="162"/>
                </a:lnTo>
                <a:lnTo>
                  <a:pt x="1979" y="159"/>
                </a:lnTo>
                <a:lnTo>
                  <a:pt x="1981" y="163"/>
                </a:lnTo>
                <a:lnTo>
                  <a:pt x="1984" y="162"/>
                </a:lnTo>
                <a:lnTo>
                  <a:pt x="1986" y="166"/>
                </a:lnTo>
                <a:lnTo>
                  <a:pt x="1986" y="169"/>
                </a:lnTo>
                <a:lnTo>
                  <a:pt x="1987" y="169"/>
                </a:lnTo>
                <a:lnTo>
                  <a:pt x="1984" y="173"/>
                </a:lnTo>
                <a:lnTo>
                  <a:pt x="1987" y="175"/>
                </a:lnTo>
                <a:lnTo>
                  <a:pt x="1987" y="178"/>
                </a:lnTo>
                <a:lnTo>
                  <a:pt x="1986" y="179"/>
                </a:lnTo>
                <a:lnTo>
                  <a:pt x="1986" y="181"/>
                </a:lnTo>
                <a:lnTo>
                  <a:pt x="1984" y="181"/>
                </a:lnTo>
                <a:lnTo>
                  <a:pt x="1984" y="182"/>
                </a:lnTo>
                <a:lnTo>
                  <a:pt x="1987" y="184"/>
                </a:lnTo>
                <a:lnTo>
                  <a:pt x="1989" y="188"/>
                </a:lnTo>
                <a:lnTo>
                  <a:pt x="1992" y="191"/>
                </a:lnTo>
                <a:lnTo>
                  <a:pt x="1994" y="189"/>
                </a:lnTo>
                <a:lnTo>
                  <a:pt x="1997" y="189"/>
                </a:lnTo>
                <a:lnTo>
                  <a:pt x="2000" y="188"/>
                </a:lnTo>
                <a:lnTo>
                  <a:pt x="2003" y="191"/>
                </a:lnTo>
                <a:lnTo>
                  <a:pt x="2006" y="189"/>
                </a:lnTo>
                <a:lnTo>
                  <a:pt x="2008" y="191"/>
                </a:lnTo>
                <a:lnTo>
                  <a:pt x="2011" y="191"/>
                </a:lnTo>
                <a:lnTo>
                  <a:pt x="2017" y="191"/>
                </a:lnTo>
                <a:lnTo>
                  <a:pt x="2021" y="191"/>
                </a:lnTo>
                <a:lnTo>
                  <a:pt x="2028" y="191"/>
                </a:lnTo>
                <a:lnTo>
                  <a:pt x="2029" y="195"/>
                </a:lnTo>
                <a:lnTo>
                  <a:pt x="2031" y="195"/>
                </a:lnTo>
                <a:lnTo>
                  <a:pt x="2033" y="191"/>
                </a:lnTo>
                <a:lnTo>
                  <a:pt x="2039" y="198"/>
                </a:lnTo>
                <a:lnTo>
                  <a:pt x="2042" y="195"/>
                </a:lnTo>
                <a:lnTo>
                  <a:pt x="2042" y="194"/>
                </a:lnTo>
                <a:lnTo>
                  <a:pt x="2043" y="195"/>
                </a:lnTo>
                <a:lnTo>
                  <a:pt x="2048" y="198"/>
                </a:lnTo>
                <a:lnTo>
                  <a:pt x="2064" y="194"/>
                </a:lnTo>
                <a:lnTo>
                  <a:pt x="2067" y="191"/>
                </a:lnTo>
                <a:lnTo>
                  <a:pt x="2069" y="191"/>
                </a:lnTo>
                <a:lnTo>
                  <a:pt x="2075" y="187"/>
                </a:lnTo>
                <a:lnTo>
                  <a:pt x="2082" y="178"/>
                </a:lnTo>
                <a:lnTo>
                  <a:pt x="2086" y="178"/>
                </a:lnTo>
                <a:lnTo>
                  <a:pt x="2101" y="169"/>
                </a:lnTo>
                <a:lnTo>
                  <a:pt x="2112" y="173"/>
                </a:lnTo>
                <a:lnTo>
                  <a:pt x="2114" y="173"/>
                </a:lnTo>
                <a:lnTo>
                  <a:pt x="2125" y="173"/>
                </a:lnTo>
                <a:lnTo>
                  <a:pt x="2129" y="173"/>
                </a:lnTo>
                <a:lnTo>
                  <a:pt x="2136" y="173"/>
                </a:lnTo>
                <a:lnTo>
                  <a:pt x="2137" y="169"/>
                </a:lnTo>
                <a:lnTo>
                  <a:pt x="2142" y="169"/>
                </a:lnTo>
                <a:lnTo>
                  <a:pt x="2145" y="169"/>
                </a:lnTo>
                <a:lnTo>
                  <a:pt x="2150" y="167"/>
                </a:lnTo>
                <a:lnTo>
                  <a:pt x="2154" y="166"/>
                </a:lnTo>
                <a:lnTo>
                  <a:pt x="2157" y="163"/>
                </a:lnTo>
                <a:lnTo>
                  <a:pt x="2160" y="164"/>
                </a:lnTo>
                <a:lnTo>
                  <a:pt x="2165" y="164"/>
                </a:lnTo>
                <a:lnTo>
                  <a:pt x="2167" y="169"/>
                </a:lnTo>
                <a:lnTo>
                  <a:pt x="2174" y="173"/>
                </a:lnTo>
                <a:lnTo>
                  <a:pt x="2175" y="178"/>
                </a:lnTo>
                <a:lnTo>
                  <a:pt x="2181" y="176"/>
                </a:lnTo>
                <a:lnTo>
                  <a:pt x="2182" y="179"/>
                </a:lnTo>
                <a:lnTo>
                  <a:pt x="2186" y="184"/>
                </a:lnTo>
                <a:lnTo>
                  <a:pt x="2191" y="184"/>
                </a:lnTo>
                <a:lnTo>
                  <a:pt x="2196" y="191"/>
                </a:lnTo>
                <a:lnTo>
                  <a:pt x="2200" y="191"/>
                </a:lnTo>
                <a:lnTo>
                  <a:pt x="2203" y="187"/>
                </a:lnTo>
                <a:lnTo>
                  <a:pt x="2208" y="184"/>
                </a:lnTo>
                <a:lnTo>
                  <a:pt x="2213" y="181"/>
                </a:lnTo>
                <a:lnTo>
                  <a:pt x="2217" y="186"/>
                </a:lnTo>
                <a:lnTo>
                  <a:pt x="2220" y="184"/>
                </a:lnTo>
                <a:lnTo>
                  <a:pt x="2232" y="184"/>
                </a:lnTo>
                <a:lnTo>
                  <a:pt x="2243" y="187"/>
                </a:lnTo>
                <a:lnTo>
                  <a:pt x="2250" y="188"/>
                </a:lnTo>
                <a:lnTo>
                  <a:pt x="2261" y="195"/>
                </a:lnTo>
                <a:lnTo>
                  <a:pt x="2263" y="194"/>
                </a:lnTo>
                <a:lnTo>
                  <a:pt x="2271" y="195"/>
                </a:lnTo>
                <a:lnTo>
                  <a:pt x="2274" y="198"/>
                </a:lnTo>
                <a:lnTo>
                  <a:pt x="2272" y="199"/>
                </a:lnTo>
                <a:lnTo>
                  <a:pt x="2274" y="200"/>
                </a:lnTo>
                <a:lnTo>
                  <a:pt x="2286" y="208"/>
                </a:lnTo>
                <a:lnTo>
                  <a:pt x="2297" y="208"/>
                </a:lnTo>
                <a:lnTo>
                  <a:pt x="2299" y="211"/>
                </a:lnTo>
                <a:lnTo>
                  <a:pt x="2296" y="215"/>
                </a:lnTo>
                <a:lnTo>
                  <a:pt x="2299" y="225"/>
                </a:lnTo>
                <a:lnTo>
                  <a:pt x="2295" y="226"/>
                </a:lnTo>
                <a:lnTo>
                  <a:pt x="2299" y="240"/>
                </a:lnTo>
                <a:lnTo>
                  <a:pt x="2303" y="244"/>
                </a:lnTo>
                <a:lnTo>
                  <a:pt x="2310" y="246"/>
                </a:lnTo>
                <a:lnTo>
                  <a:pt x="2318" y="256"/>
                </a:lnTo>
                <a:lnTo>
                  <a:pt x="2327" y="260"/>
                </a:lnTo>
                <a:lnTo>
                  <a:pt x="2328" y="258"/>
                </a:lnTo>
                <a:lnTo>
                  <a:pt x="2328" y="251"/>
                </a:lnTo>
                <a:lnTo>
                  <a:pt x="2331" y="249"/>
                </a:lnTo>
                <a:lnTo>
                  <a:pt x="2335" y="249"/>
                </a:lnTo>
                <a:lnTo>
                  <a:pt x="2336" y="253"/>
                </a:lnTo>
                <a:lnTo>
                  <a:pt x="2335" y="258"/>
                </a:lnTo>
                <a:lnTo>
                  <a:pt x="2341" y="262"/>
                </a:lnTo>
                <a:lnTo>
                  <a:pt x="2345" y="262"/>
                </a:lnTo>
                <a:lnTo>
                  <a:pt x="2350" y="266"/>
                </a:lnTo>
                <a:lnTo>
                  <a:pt x="2355" y="266"/>
                </a:lnTo>
                <a:lnTo>
                  <a:pt x="2360" y="260"/>
                </a:lnTo>
                <a:lnTo>
                  <a:pt x="2364" y="262"/>
                </a:lnTo>
                <a:lnTo>
                  <a:pt x="2371" y="258"/>
                </a:lnTo>
                <a:lnTo>
                  <a:pt x="2371" y="260"/>
                </a:lnTo>
                <a:lnTo>
                  <a:pt x="2377" y="262"/>
                </a:lnTo>
                <a:lnTo>
                  <a:pt x="2377" y="266"/>
                </a:lnTo>
                <a:lnTo>
                  <a:pt x="2372" y="269"/>
                </a:lnTo>
                <a:lnTo>
                  <a:pt x="2372" y="270"/>
                </a:lnTo>
                <a:lnTo>
                  <a:pt x="2380" y="273"/>
                </a:lnTo>
                <a:lnTo>
                  <a:pt x="2383" y="279"/>
                </a:lnTo>
                <a:lnTo>
                  <a:pt x="2388" y="279"/>
                </a:lnTo>
                <a:lnTo>
                  <a:pt x="2399" y="275"/>
                </a:lnTo>
                <a:lnTo>
                  <a:pt x="2407" y="274"/>
                </a:lnTo>
                <a:lnTo>
                  <a:pt x="2409" y="275"/>
                </a:lnTo>
                <a:lnTo>
                  <a:pt x="2405" y="287"/>
                </a:lnTo>
                <a:lnTo>
                  <a:pt x="2399" y="293"/>
                </a:lnTo>
                <a:lnTo>
                  <a:pt x="2399" y="300"/>
                </a:lnTo>
                <a:lnTo>
                  <a:pt x="2399" y="307"/>
                </a:lnTo>
                <a:lnTo>
                  <a:pt x="2403" y="308"/>
                </a:lnTo>
                <a:lnTo>
                  <a:pt x="2407" y="307"/>
                </a:lnTo>
                <a:lnTo>
                  <a:pt x="2417" y="315"/>
                </a:lnTo>
                <a:lnTo>
                  <a:pt x="2421" y="316"/>
                </a:lnTo>
                <a:lnTo>
                  <a:pt x="2425" y="315"/>
                </a:lnTo>
                <a:lnTo>
                  <a:pt x="2431" y="320"/>
                </a:lnTo>
                <a:lnTo>
                  <a:pt x="2431" y="323"/>
                </a:lnTo>
                <a:lnTo>
                  <a:pt x="2428" y="324"/>
                </a:lnTo>
                <a:lnTo>
                  <a:pt x="2428" y="330"/>
                </a:lnTo>
                <a:lnTo>
                  <a:pt x="2435" y="337"/>
                </a:lnTo>
                <a:lnTo>
                  <a:pt x="2437" y="344"/>
                </a:lnTo>
                <a:lnTo>
                  <a:pt x="2441" y="347"/>
                </a:lnTo>
                <a:lnTo>
                  <a:pt x="2449" y="355"/>
                </a:lnTo>
                <a:lnTo>
                  <a:pt x="2459" y="356"/>
                </a:lnTo>
                <a:lnTo>
                  <a:pt x="2462" y="360"/>
                </a:lnTo>
                <a:lnTo>
                  <a:pt x="2470" y="363"/>
                </a:lnTo>
                <a:lnTo>
                  <a:pt x="2476" y="365"/>
                </a:lnTo>
                <a:lnTo>
                  <a:pt x="2488" y="360"/>
                </a:lnTo>
                <a:lnTo>
                  <a:pt x="2496" y="352"/>
                </a:lnTo>
                <a:lnTo>
                  <a:pt x="2501" y="353"/>
                </a:lnTo>
                <a:lnTo>
                  <a:pt x="2506" y="362"/>
                </a:lnTo>
                <a:lnTo>
                  <a:pt x="2521" y="368"/>
                </a:lnTo>
                <a:lnTo>
                  <a:pt x="2535" y="365"/>
                </a:lnTo>
                <a:lnTo>
                  <a:pt x="2548" y="360"/>
                </a:lnTo>
                <a:lnTo>
                  <a:pt x="2553" y="362"/>
                </a:lnTo>
                <a:lnTo>
                  <a:pt x="2553" y="369"/>
                </a:lnTo>
                <a:lnTo>
                  <a:pt x="2556" y="372"/>
                </a:lnTo>
                <a:lnTo>
                  <a:pt x="2571" y="373"/>
                </a:lnTo>
                <a:lnTo>
                  <a:pt x="2587" y="372"/>
                </a:lnTo>
                <a:lnTo>
                  <a:pt x="2591" y="375"/>
                </a:lnTo>
                <a:lnTo>
                  <a:pt x="2591" y="381"/>
                </a:lnTo>
                <a:lnTo>
                  <a:pt x="2593" y="382"/>
                </a:lnTo>
                <a:lnTo>
                  <a:pt x="2599" y="387"/>
                </a:lnTo>
                <a:lnTo>
                  <a:pt x="2603" y="395"/>
                </a:lnTo>
                <a:lnTo>
                  <a:pt x="2607" y="395"/>
                </a:lnTo>
                <a:lnTo>
                  <a:pt x="2615" y="405"/>
                </a:lnTo>
                <a:lnTo>
                  <a:pt x="2616" y="407"/>
                </a:lnTo>
                <a:lnTo>
                  <a:pt x="2620" y="407"/>
                </a:lnTo>
                <a:lnTo>
                  <a:pt x="2626" y="408"/>
                </a:lnTo>
                <a:lnTo>
                  <a:pt x="2634" y="405"/>
                </a:lnTo>
                <a:lnTo>
                  <a:pt x="2637" y="407"/>
                </a:lnTo>
                <a:lnTo>
                  <a:pt x="2638" y="408"/>
                </a:lnTo>
                <a:lnTo>
                  <a:pt x="2640" y="412"/>
                </a:lnTo>
                <a:lnTo>
                  <a:pt x="2642" y="414"/>
                </a:lnTo>
                <a:lnTo>
                  <a:pt x="2644" y="416"/>
                </a:lnTo>
                <a:lnTo>
                  <a:pt x="2644" y="423"/>
                </a:lnTo>
                <a:lnTo>
                  <a:pt x="2648" y="427"/>
                </a:lnTo>
                <a:lnTo>
                  <a:pt x="2648" y="437"/>
                </a:lnTo>
                <a:lnTo>
                  <a:pt x="2651" y="440"/>
                </a:lnTo>
                <a:lnTo>
                  <a:pt x="2657" y="447"/>
                </a:lnTo>
                <a:lnTo>
                  <a:pt x="2669" y="448"/>
                </a:lnTo>
                <a:lnTo>
                  <a:pt x="2671" y="449"/>
                </a:lnTo>
                <a:lnTo>
                  <a:pt x="2673" y="456"/>
                </a:lnTo>
                <a:lnTo>
                  <a:pt x="2677" y="459"/>
                </a:lnTo>
                <a:lnTo>
                  <a:pt x="2684" y="459"/>
                </a:lnTo>
                <a:lnTo>
                  <a:pt x="2690" y="457"/>
                </a:lnTo>
                <a:lnTo>
                  <a:pt x="2695" y="457"/>
                </a:lnTo>
                <a:lnTo>
                  <a:pt x="2708" y="466"/>
                </a:lnTo>
                <a:lnTo>
                  <a:pt x="2715" y="474"/>
                </a:lnTo>
                <a:lnTo>
                  <a:pt x="2716" y="474"/>
                </a:lnTo>
                <a:lnTo>
                  <a:pt x="2717" y="476"/>
                </a:lnTo>
                <a:lnTo>
                  <a:pt x="2723" y="484"/>
                </a:lnTo>
                <a:lnTo>
                  <a:pt x="2724" y="494"/>
                </a:lnTo>
                <a:lnTo>
                  <a:pt x="2730" y="498"/>
                </a:lnTo>
                <a:lnTo>
                  <a:pt x="2740" y="511"/>
                </a:lnTo>
                <a:lnTo>
                  <a:pt x="2744" y="516"/>
                </a:lnTo>
                <a:lnTo>
                  <a:pt x="2750" y="523"/>
                </a:lnTo>
                <a:lnTo>
                  <a:pt x="2752" y="524"/>
                </a:lnTo>
                <a:lnTo>
                  <a:pt x="2756" y="524"/>
                </a:lnTo>
                <a:lnTo>
                  <a:pt x="2762" y="528"/>
                </a:lnTo>
                <a:lnTo>
                  <a:pt x="2765" y="531"/>
                </a:lnTo>
                <a:lnTo>
                  <a:pt x="2765" y="534"/>
                </a:lnTo>
                <a:lnTo>
                  <a:pt x="2769" y="534"/>
                </a:lnTo>
                <a:lnTo>
                  <a:pt x="2770" y="537"/>
                </a:lnTo>
                <a:lnTo>
                  <a:pt x="2773" y="541"/>
                </a:lnTo>
                <a:lnTo>
                  <a:pt x="2776" y="543"/>
                </a:lnTo>
                <a:lnTo>
                  <a:pt x="2780" y="543"/>
                </a:lnTo>
                <a:lnTo>
                  <a:pt x="2791" y="540"/>
                </a:lnTo>
                <a:lnTo>
                  <a:pt x="2794" y="544"/>
                </a:lnTo>
                <a:lnTo>
                  <a:pt x="2804" y="547"/>
                </a:lnTo>
                <a:lnTo>
                  <a:pt x="2815" y="547"/>
                </a:lnTo>
                <a:lnTo>
                  <a:pt x="2827" y="546"/>
                </a:lnTo>
                <a:lnTo>
                  <a:pt x="2833" y="543"/>
                </a:lnTo>
                <a:lnTo>
                  <a:pt x="2844" y="544"/>
                </a:lnTo>
                <a:lnTo>
                  <a:pt x="2848" y="553"/>
                </a:lnTo>
                <a:lnTo>
                  <a:pt x="2851" y="556"/>
                </a:lnTo>
                <a:lnTo>
                  <a:pt x="2854" y="565"/>
                </a:lnTo>
                <a:lnTo>
                  <a:pt x="2852" y="568"/>
                </a:lnTo>
                <a:lnTo>
                  <a:pt x="2855" y="573"/>
                </a:lnTo>
                <a:lnTo>
                  <a:pt x="2855" y="581"/>
                </a:lnTo>
                <a:lnTo>
                  <a:pt x="2861" y="591"/>
                </a:lnTo>
                <a:lnTo>
                  <a:pt x="2867" y="591"/>
                </a:lnTo>
                <a:lnTo>
                  <a:pt x="2876" y="598"/>
                </a:lnTo>
                <a:lnTo>
                  <a:pt x="2879" y="603"/>
                </a:lnTo>
                <a:lnTo>
                  <a:pt x="2886" y="603"/>
                </a:lnTo>
                <a:lnTo>
                  <a:pt x="2889" y="610"/>
                </a:lnTo>
                <a:lnTo>
                  <a:pt x="2889" y="616"/>
                </a:lnTo>
                <a:lnTo>
                  <a:pt x="2894" y="618"/>
                </a:lnTo>
                <a:lnTo>
                  <a:pt x="2898" y="621"/>
                </a:lnTo>
                <a:lnTo>
                  <a:pt x="2904" y="621"/>
                </a:lnTo>
                <a:lnTo>
                  <a:pt x="2912" y="622"/>
                </a:lnTo>
                <a:lnTo>
                  <a:pt x="2920" y="614"/>
                </a:lnTo>
                <a:lnTo>
                  <a:pt x="2925" y="614"/>
                </a:lnTo>
                <a:lnTo>
                  <a:pt x="2926" y="616"/>
                </a:lnTo>
                <a:lnTo>
                  <a:pt x="2926" y="622"/>
                </a:lnTo>
                <a:lnTo>
                  <a:pt x="2930" y="627"/>
                </a:lnTo>
                <a:lnTo>
                  <a:pt x="2930" y="631"/>
                </a:lnTo>
                <a:lnTo>
                  <a:pt x="2936" y="636"/>
                </a:lnTo>
                <a:lnTo>
                  <a:pt x="2942" y="640"/>
                </a:lnTo>
                <a:lnTo>
                  <a:pt x="2941" y="659"/>
                </a:lnTo>
                <a:lnTo>
                  <a:pt x="2947" y="671"/>
                </a:lnTo>
                <a:lnTo>
                  <a:pt x="2955" y="675"/>
                </a:lnTo>
                <a:lnTo>
                  <a:pt x="2955" y="676"/>
                </a:lnTo>
                <a:lnTo>
                  <a:pt x="2952" y="683"/>
                </a:lnTo>
                <a:lnTo>
                  <a:pt x="2954" y="685"/>
                </a:lnTo>
                <a:lnTo>
                  <a:pt x="2954" y="689"/>
                </a:lnTo>
                <a:lnTo>
                  <a:pt x="2955" y="709"/>
                </a:lnTo>
                <a:lnTo>
                  <a:pt x="2958" y="711"/>
                </a:lnTo>
                <a:lnTo>
                  <a:pt x="2968" y="711"/>
                </a:lnTo>
                <a:lnTo>
                  <a:pt x="2975" y="714"/>
                </a:lnTo>
                <a:lnTo>
                  <a:pt x="2977" y="717"/>
                </a:lnTo>
                <a:lnTo>
                  <a:pt x="2977" y="727"/>
                </a:lnTo>
                <a:lnTo>
                  <a:pt x="2975" y="731"/>
                </a:lnTo>
                <a:lnTo>
                  <a:pt x="2975" y="734"/>
                </a:lnTo>
                <a:lnTo>
                  <a:pt x="2972" y="739"/>
                </a:lnTo>
                <a:lnTo>
                  <a:pt x="2973" y="742"/>
                </a:lnTo>
                <a:lnTo>
                  <a:pt x="2975" y="742"/>
                </a:lnTo>
                <a:lnTo>
                  <a:pt x="2982" y="742"/>
                </a:lnTo>
                <a:lnTo>
                  <a:pt x="2987" y="746"/>
                </a:lnTo>
                <a:lnTo>
                  <a:pt x="2991" y="752"/>
                </a:lnTo>
                <a:lnTo>
                  <a:pt x="2997" y="756"/>
                </a:lnTo>
                <a:lnTo>
                  <a:pt x="2997" y="760"/>
                </a:lnTo>
                <a:lnTo>
                  <a:pt x="2996" y="764"/>
                </a:lnTo>
                <a:lnTo>
                  <a:pt x="2997" y="770"/>
                </a:lnTo>
                <a:lnTo>
                  <a:pt x="2996" y="776"/>
                </a:lnTo>
                <a:lnTo>
                  <a:pt x="2998" y="779"/>
                </a:lnTo>
                <a:lnTo>
                  <a:pt x="2997" y="783"/>
                </a:lnTo>
                <a:lnTo>
                  <a:pt x="2994" y="783"/>
                </a:lnTo>
                <a:lnTo>
                  <a:pt x="2993" y="785"/>
                </a:lnTo>
                <a:lnTo>
                  <a:pt x="2996" y="792"/>
                </a:lnTo>
                <a:lnTo>
                  <a:pt x="2994" y="797"/>
                </a:lnTo>
                <a:lnTo>
                  <a:pt x="2994" y="804"/>
                </a:lnTo>
                <a:lnTo>
                  <a:pt x="3014" y="810"/>
                </a:lnTo>
                <a:lnTo>
                  <a:pt x="3015" y="814"/>
                </a:lnTo>
                <a:lnTo>
                  <a:pt x="3016" y="820"/>
                </a:lnTo>
                <a:lnTo>
                  <a:pt x="3014" y="827"/>
                </a:lnTo>
                <a:lnTo>
                  <a:pt x="3021" y="830"/>
                </a:lnTo>
                <a:lnTo>
                  <a:pt x="3022" y="833"/>
                </a:lnTo>
                <a:lnTo>
                  <a:pt x="3030" y="834"/>
                </a:lnTo>
                <a:lnTo>
                  <a:pt x="3032" y="842"/>
                </a:lnTo>
                <a:lnTo>
                  <a:pt x="3032" y="845"/>
                </a:lnTo>
                <a:lnTo>
                  <a:pt x="3026" y="859"/>
                </a:lnTo>
                <a:lnTo>
                  <a:pt x="3026" y="860"/>
                </a:lnTo>
                <a:lnTo>
                  <a:pt x="3029" y="864"/>
                </a:lnTo>
                <a:lnTo>
                  <a:pt x="3033" y="868"/>
                </a:lnTo>
                <a:lnTo>
                  <a:pt x="3036" y="875"/>
                </a:lnTo>
                <a:lnTo>
                  <a:pt x="3039" y="876"/>
                </a:lnTo>
                <a:lnTo>
                  <a:pt x="3040" y="891"/>
                </a:lnTo>
                <a:lnTo>
                  <a:pt x="3043" y="895"/>
                </a:lnTo>
                <a:lnTo>
                  <a:pt x="3044" y="897"/>
                </a:lnTo>
                <a:lnTo>
                  <a:pt x="3050" y="897"/>
                </a:lnTo>
                <a:lnTo>
                  <a:pt x="3051" y="899"/>
                </a:lnTo>
                <a:lnTo>
                  <a:pt x="3050" y="902"/>
                </a:lnTo>
                <a:lnTo>
                  <a:pt x="3043" y="904"/>
                </a:lnTo>
                <a:lnTo>
                  <a:pt x="3036" y="913"/>
                </a:lnTo>
                <a:lnTo>
                  <a:pt x="3032" y="917"/>
                </a:lnTo>
                <a:lnTo>
                  <a:pt x="3030" y="920"/>
                </a:lnTo>
                <a:lnTo>
                  <a:pt x="3032" y="925"/>
                </a:lnTo>
                <a:lnTo>
                  <a:pt x="3039" y="934"/>
                </a:lnTo>
                <a:lnTo>
                  <a:pt x="3037" y="936"/>
                </a:lnTo>
                <a:lnTo>
                  <a:pt x="3033" y="938"/>
                </a:lnTo>
                <a:lnTo>
                  <a:pt x="3030" y="939"/>
                </a:lnTo>
                <a:lnTo>
                  <a:pt x="3030" y="950"/>
                </a:lnTo>
                <a:lnTo>
                  <a:pt x="3033" y="957"/>
                </a:lnTo>
                <a:lnTo>
                  <a:pt x="3033" y="970"/>
                </a:lnTo>
                <a:lnTo>
                  <a:pt x="3041" y="980"/>
                </a:lnTo>
                <a:lnTo>
                  <a:pt x="3044" y="988"/>
                </a:lnTo>
                <a:lnTo>
                  <a:pt x="3044" y="992"/>
                </a:lnTo>
                <a:lnTo>
                  <a:pt x="3046" y="999"/>
                </a:lnTo>
                <a:lnTo>
                  <a:pt x="3052" y="1003"/>
                </a:lnTo>
                <a:lnTo>
                  <a:pt x="3052" y="1013"/>
                </a:lnTo>
                <a:lnTo>
                  <a:pt x="3065" y="1024"/>
                </a:lnTo>
                <a:lnTo>
                  <a:pt x="3076" y="1025"/>
                </a:lnTo>
                <a:lnTo>
                  <a:pt x="3082" y="1024"/>
                </a:lnTo>
                <a:lnTo>
                  <a:pt x="3083" y="1025"/>
                </a:lnTo>
                <a:lnTo>
                  <a:pt x="3091" y="1041"/>
                </a:lnTo>
                <a:lnTo>
                  <a:pt x="3091" y="1048"/>
                </a:lnTo>
                <a:lnTo>
                  <a:pt x="3090" y="1055"/>
                </a:lnTo>
                <a:lnTo>
                  <a:pt x="3101" y="1069"/>
                </a:lnTo>
                <a:lnTo>
                  <a:pt x="3102" y="1070"/>
                </a:lnTo>
                <a:lnTo>
                  <a:pt x="3104" y="1073"/>
                </a:lnTo>
                <a:lnTo>
                  <a:pt x="3099" y="1078"/>
                </a:lnTo>
                <a:lnTo>
                  <a:pt x="3100" y="1086"/>
                </a:lnTo>
                <a:lnTo>
                  <a:pt x="3100" y="1092"/>
                </a:lnTo>
                <a:lnTo>
                  <a:pt x="3105" y="1100"/>
                </a:lnTo>
                <a:lnTo>
                  <a:pt x="3105" y="1104"/>
                </a:lnTo>
                <a:lnTo>
                  <a:pt x="3110" y="1107"/>
                </a:lnTo>
                <a:lnTo>
                  <a:pt x="3111" y="1111"/>
                </a:lnTo>
                <a:lnTo>
                  <a:pt x="3111" y="1115"/>
                </a:lnTo>
                <a:lnTo>
                  <a:pt x="3108" y="1119"/>
                </a:lnTo>
                <a:lnTo>
                  <a:pt x="3108" y="1121"/>
                </a:lnTo>
                <a:lnTo>
                  <a:pt x="3119" y="1130"/>
                </a:lnTo>
                <a:lnTo>
                  <a:pt x="3121" y="1140"/>
                </a:lnTo>
                <a:lnTo>
                  <a:pt x="3129" y="1144"/>
                </a:lnTo>
                <a:lnTo>
                  <a:pt x="3130" y="1145"/>
                </a:lnTo>
                <a:lnTo>
                  <a:pt x="3132" y="1163"/>
                </a:lnTo>
                <a:lnTo>
                  <a:pt x="3129" y="1170"/>
                </a:lnTo>
                <a:lnTo>
                  <a:pt x="3130" y="1175"/>
                </a:lnTo>
                <a:lnTo>
                  <a:pt x="3126" y="1182"/>
                </a:lnTo>
                <a:lnTo>
                  <a:pt x="3118" y="1185"/>
                </a:lnTo>
                <a:lnTo>
                  <a:pt x="3118" y="1186"/>
                </a:lnTo>
                <a:lnTo>
                  <a:pt x="3114" y="1190"/>
                </a:lnTo>
                <a:lnTo>
                  <a:pt x="3115" y="1202"/>
                </a:lnTo>
                <a:lnTo>
                  <a:pt x="3122" y="1205"/>
                </a:lnTo>
                <a:lnTo>
                  <a:pt x="3125" y="1212"/>
                </a:lnTo>
                <a:lnTo>
                  <a:pt x="3130" y="1219"/>
                </a:lnTo>
                <a:lnTo>
                  <a:pt x="3130" y="1227"/>
                </a:lnTo>
                <a:lnTo>
                  <a:pt x="3129" y="1228"/>
                </a:lnTo>
                <a:lnTo>
                  <a:pt x="3121" y="1228"/>
                </a:lnTo>
                <a:lnTo>
                  <a:pt x="3118" y="1228"/>
                </a:lnTo>
                <a:lnTo>
                  <a:pt x="3114" y="1228"/>
                </a:lnTo>
                <a:lnTo>
                  <a:pt x="3112" y="1230"/>
                </a:lnTo>
                <a:lnTo>
                  <a:pt x="3108" y="1228"/>
                </a:lnTo>
                <a:lnTo>
                  <a:pt x="3105" y="1233"/>
                </a:lnTo>
                <a:lnTo>
                  <a:pt x="3097" y="1239"/>
                </a:lnTo>
                <a:lnTo>
                  <a:pt x="3096" y="1245"/>
                </a:lnTo>
                <a:lnTo>
                  <a:pt x="3099" y="1250"/>
                </a:lnTo>
                <a:lnTo>
                  <a:pt x="3094" y="1261"/>
                </a:lnTo>
                <a:lnTo>
                  <a:pt x="3096" y="1265"/>
                </a:lnTo>
                <a:lnTo>
                  <a:pt x="3094" y="1269"/>
                </a:lnTo>
                <a:lnTo>
                  <a:pt x="3096" y="1277"/>
                </a:lnTo>
                <a:lnTo>
                  <a:pt x="3090" y="1286"/>
                </a:lnTo>
                <a:lnTo>
                  <a:pt x="3089" y="1291"/>
                </a:lnTo>
                <a:lnTo>
                  <a:pt x="3086" y="1295"/>
                </a:lnTo>
                <a:lnTo>
                  <a:pt x="3089" y="1304"/>
                </a:lnTo>
                <a:lnTo>
                  <a:pt x="3086" y="1310"/>
                </a:lnTo>
                <a:lnTo>
                  <a:pt x="3087" y="1312"/>
                </a:lnTo>
                <a:lnTo>
                  <a:pt x="3090" y="1314"/>
                </a:lnTo>
                <a:lnTo>
                  <a:pt x="3090" y="1320"/>
                </a:lnTo>
                <a:lnTo>
                  <a:pt x="3096" y="1322"/>
                </a:lnTo>
                <a:lnTo>
                  <a:pt x="3096" y="1326"/>
                </a:lnTo>
                <a:lnTo>
                  <a:pt x="3100" y="1328"/>
                </a:lnTo>
                <a:lnTo>
                  <a:pt x="3101" y="1328"/>
                </a:lnTo>
                <a:lnTo>
                  <a:pt x="3104" y="1331"/>
                </a:lnTo>
                <a:lnTo>
                  <a:pt x="3107" y="1328"/>
                </a:lnTo>
                <a:lnTo>
                  <a:pt x="3108" y="1332"/>
                </a:lnTo>
                <a:lnTo>
                  <a:pt x="3112" y="1332"/>
                </a:lnTo>
                <a:lnTo>
                  <a:pt x="3115" y="1331"/>
                </a:lnTo>
                <a:lnTo>
                  <a:pt x="3119" y="1335"/>
                </a:lnTo>
                <a:lnTo>
                  <a:pt x="3125" y="1336"/>
                </a:lnTo>
                <a:lnTo>
                  <a:pt x="3127" y="1336"/>
                </a:lnTo>
                <a:lnTo>
                  <a:pt x="3129" y="1339"/>
                </a:lnTo>
                <a:lnTo>
                  <a:pt x="3130" y="1343"/>
                </a:lnTo>
                <a:lnTo>
                  <a:pt x="3135" y="1344"/>
                </a:lnTo>
                <a:lnTo>
                  <a:pt x="3135" y="1351"/>
                </a:lnTo>
                <a:lnTo>
                  <a:pt x="3137" y="1361"/>
                </a:lnTo>
                <a:lnTo>
                  <a:pt x="3135" y="1369"/>
                </a:lnTo>
                <a:lnTo>
                  <a:pt x="3136" y="1373"/>
                </a:lnTo>
                <a:lnTo>
                  <a:pt x="3135" y="1379"/>
                </a:lnTo>
                <a:lnTo>
                  <a:pt x="3139" y="1381"/>
                </a:lnTo>
                <a:lnTo>
                  <a:pt x="3144" y="1389"/>
                </a:lnTo>
                <a:lnTo>
                  <a:pt x="3149" y="1389"/>
                </a:lnTo>
                <a:lnTo>
                  <a:pt x="3155" y="1396"/>
                </a:lnTo>
                <a:lnTo>
                  <a:pt x="3155" y="1397"/>
                </a:lnTo>
                <a:lnTo>
                  <a:pt x="3157" y="1399"/>
                </a:lnTo>
                <a:lnTo>
                  <a:pt x="3157" y="1403"/>
                </a:lnTo>
                <a:lnTo>
                  <a:pt x="3158" y="1407"/>
                </a:lnTo>
                <a:lnTo>
                  <a:pt x="3157" y="1414"/>
                </a:lnTo>
                <a:lnTo>
                  <a:pt x="3160" y="1419"/>
                </a:lnTo>
                <a:lnTo>
                  <a:pt x="3161" y="1424"/>
                </a:lnTo>
                <a:lnTo>
                  <a:pt x="3164" y="1426"/>
                </a:lnTo>
                <a:lnTo>
                  <a:pt x="3166" y="1432"/>
                </a:lnTo>
                <a:lnTo>
                  <a:pt x="3171" y="1432"/>
                </a:lnTo>
                <a:lnTo>
                  <a:pt x="3174" y="1436"/>
                </a:lnTo>
                <a:lnTo>
                  <a:pt x="3179" y="1434"/>
                </a:lnTo>
                <a:lnTo>
                  <a:pt x="3180" y="1440"/>
                </a:lnTo>
                <a:lnTo>
                  <a:pt x="3187" y="1441"/>
                </a:lnTo>
                <a:lnTo>
                  <a:pt x="3191" y="1452"/>
                </a:lnTo>
                <a:lnTo>
                  <a:pt x="3191" y="1459"/>
                </a:lnTo>
                <a:lnTo>
                  <a:pt x="3193" y="1464"/>
                </a:lnTo>
                <a:lnTo>
                  <a:pt x="3196" y="1466"/>
                </a:lnTo>
                <a:lnTo>
                  <a:pt x="3207" y="1475"/>
                </a:lnTo>
                <a:lnTo>
                  <a:pt x="3208" y="1477"/>
                </a:lnTo>
                <a:lnTo>
                  <a:pt x="3207" y="1483"/>
                </a:lnTo>
                <a:lnTo>
                  <a:pt x="3205" y="1486"/>
                </a:lnTo>
                <a:lnTo>
                  <a:pt x="3201" y="1489"/>
                </a:lnTo>
                <a:lnTo>
                  <a:pt x="3201" y="1493"/>
                </a:lnTo>
                <a:lnTo>
                  <a:pt x="3197" y="1493"/>
                </a:lnTo>
                <a:lnTo>
                  <a:pt x="3196" y="1501"/>
                </a:lnTo>
                <a:lnTo>
                  <a:pt x="3197" y="1505"/>
                </a:lnTo>
                <a:lnTo>
                  <a:pt x="3200" y="1508"/>
                </a:lnTo>
                <a:lnTo>
                  <a:pt x="3201" y="1513"/>
                </a:lnTo>
                <a:lnTo>
                  <a:pt x="3208" y="1522"/>
                </a:lnTo>
                <a:close/>
                <a:moveTo>
                  <a:pt x="1444" y="2400"/>
                </a:moveTo>
                <a:lnTo>
                  <a:pt x="1447" y="2406"/>
                </a:lnTo>
                <a:lnTo>
                  <a:pt x="1438" y="2418"/>
                </a:lnTo>
                <a:lnTo>
                  <a:pt x="1437" y="2418"/>
                </a:lnTo>
                <a:lnTo>
                  <a:pt x="1435" y="2425"/>
                </a:lnTo>
                <a:lnTo>
                  <a:pt x="1428" y="2432"/>
                </a:lnTo>
                <a:lnTo>
                  <a:pt x="1424" y="2431"/>
                </a:lnTo>
                <a:lnTo>
                  <a:pt x="1422" y="2426"/>
                </a:lnTo>
                <a:lnTo>
                  <a:pt x="1417" y="2414"/>
                </a:lnTo>
                <a:lnTo>
                  <a:pt x="1417" y="2413"/>
                </a:lnTo>
                <a:lnTo>
                  <a:pt x="1417" y="2410"/>
                </a:lnTo>
                <a:lnTo>
                  <a:pt x="1417" y="2403"/>
                </a:lnTo>
                <a:lnTo>
                  <a:pt x="1414" y="2395"/>
                </a:lnTo>
                <a:lnTo>
                  <a:pt x="1416" y="2392"/>
                </a:lnTo>
                <a:lnTo>
                  <a:pt x="1430" y="2392"/>
                </a:lnTo>
                <a:lnTo>
                  <a:pt x="1437" y="2392"/>
                </a:lnTo>
                <a:lnTo>
                  <a:pt x="1444" y="2400"/>
                </a:lnTo>
                <a:close/>
                <a:moveTo>
                  <a:pt x="1416" y="2339"/>
                </a:moveTo>
                <a:lnTo>
                  <a:pt x="1414" y="2351"/>
                </a:lnTo>
                <a:lnTo>
                  <a:pt x="1412" y="2355"/>
                </a:lnTo>
                <a:lnTo>
                  <a:pt x="1409" y="2355"/>
                </a:lnTo>
                <a:lnTo>
                  <a:pt x="1403" y="2343"/>
                </a:lnTo>
                <a:lnTo>
                  <a:pt x="1400" y="2332"/>
                </a:lnTo>
                <a:lnTo>
                  <a:pt x="1400" y="2325"/>
                </a:lnTo>
                <a:lnTo>
                  <a:pt x="1408" y="2325"/>
                </a:lnTo>
                <a:lnTo>
                  <a:pt x="1413" y="2328"/>
                </a:lnTo>
                <a:lnTo>
                  <a:pt x="1414" y="2331"/>
                </a:lnTo>
                <a:lnTo>
                  <a:pt x="1416" y="2339"/>
                </a:lnTo>
                <a:close/>
                <a:moveTo>
                  <a:pt x="1348" y="2564"/>
                </a:moveTo>
                <a:lnTo>
                  <a:pt x="1348" y="2567"/>
                </a:lnTo>
                <a:lnTo>
                  <a:pt x="1345" y="2571"/>
                </a:lnTo>
                <a:lnTo>
                  <a:pt x="1325" y="2579"/>
                </a:lnTo>
                <a:lnTo>
                  <a:pt x="1323" y="2577"/>
                </a:lnTo>
                <a:lnTo>
                  <a:pt x="1323" y="2572"/>
                </a:lnTo>
                <a:lnTo>
                  <a:pt x="1335" y="2569"/>
                </a:lnTo>
                <a:lnTo>
                  <a:pt x="1346" y="2564"/>
                </a:lnTo>
                <a:lnTo>
                  <a:pt x="1348" y="2564"/>
                </a:lnTo>
                <a:close/>
                <a:moveTo>
                  <a:pt x="1420" y="2381"/>
                </a:moveTo>
                <a:lnTo>
                  <a:pt x="1420" y="2382"/>
                </a:lnTo>
                <a:lnTo>
                  <a:pt x="1412" y="2377"/>
                </a:lnTo>
                <a:lnTo>
                  <a:pt x="1410" y="2368"/>
                </a:lnTo>
                <a:lnTo>
                  <a:pt x="1410" y="2364"/>
                </a:lnTo>
                <a:lnTo>
                  <a:pt x="1412" y="2360"/>
                </a:lnTo>
                <a:lnTo>
                  <a:pt x="1414" y="2358"/>
                </a:lnTo>
                <a:lnTo>
                  <a:pt x="1419" y="2368"/>
                </a:lnTo>
                <a:lnTo>
                  <a:pt x="1420" y="2381"/>
                </a:lnTo>
                <a:close/>
                <a:moveTo>
                  <a:pt x="1388" y="2319"/>
                </a:moveTo>
                <a:lnTo>
                  <a:pt x="1381" y="2325"/>
                </a:lnTo>
                <a:lnTo>
                  <a:pt x="1370" y="2325"/>
                </a:lnTo>
                <a:lnTo>
                  <a:pt x="1375" y="2316"/>
                </a:lnTo>
                <a:lnTo>
                  <a:pt x="1377" y="2316"/>
                </a:lnTo>
                <a:lnTo>
                  <a:pt x="1380" y="2316"/>
                </a:lnTo>
                <a:lnTo>
                  <a:pt x="1388" y="2319"/>
                </a:lnTo>
                <a:close/>
                <a:moveTo>
                  <a:pt x="2367" y="1778"/>
                </a:moveTo>
                <a:lnTo>
                  <a:pt x="2367" y="1780"/>
                </a:lnTo>
                <a:lnTo>
                  <a:pt x="2363" y="1781"/>
                </a:lnTo>
                <a:lnTo>
                  <a:pt x="2361" y="1781"/>
                </a:lnTo>
                <a:lnTo>
                  <a:pt x="2360" y="1778"/>
                </a:lnTo>
                <a:lnTo>
                  <a:pt x="2360" y="1776"/>
                </a:lnTo>
                <a:lnTo>
                  <a:pt x="2357" y="1769"/>
                </a:lnTo>
                <a:lnTo>
                  <a:pt x="2357" y="1767"/>
                </a:lnTo>
                <a:lnTo>
                  <a:pt x="2364" y="1771"/>
                </a:lnTo>
                <a:lnTo>
                  <a:pt x="2367" y="1778"/>
                </a:lnTo>
                <a:close/>
                <a:moveTo>
                  <a:pt x="1330" y="2587"/>
                </a:moveTo>
                <a:lnTo>
                  <a:pt x="1331" y="2587"/>
                </a:lnTo>
                <a:lnTo>
                  <a:pt x="1324" y="2594"/>
                </a:lnTo>
                <a:lnTo>
                  <a:pt x="1317" y="2597"/>
                </a:lnTo>
                <a:lnTo>
                  <a:pt x="1313" y="2597"/>
                </a:lnTo>
                <a:lnTo>
                  <a:pt x="1317" y="2593"/>
                </a:lnTo>
                <a:lnTo>
                  <a:pt x="1330" y="2587"/>
                </a:lnTo>
                <a:close/>
                <a:moveTo>
                  <a:pt x="961" y="3058"/>
                </a:moveTo>
                <a:lnTo>
                  <a:pt x="963" y="3058"/>
                </a:lnTo>
                <a:lnTo>
                  <a:pt x="949" y="3058"/>
                </a:lnTo>
                <a:lnTo>
                  <a:pt x="938" y="3053"/>
                </a:lnTo>
                <a:lnTo>
                  <a:pt x="936" y="3051"/>
                </a:lnTo>
                <a:lnTo>
                  <a:pt x="942" y="3053"/>
                </a:lnTo>
                <a:lnTo>
                  <a:pt x="947" y="3057"/>
                </a:lnTo>
                <a:lnTo>
                  <a:pt x="961" y="3058"/>
                </a:lnTo>
                <a:close/>
                <a:moveTo>
                  <a:pt x="1847" y="2102"/>
                </a:moveTo>
                <a:lnTo>
                  <a:pt x="1848" y="2102"/>
                </a:lnTo>
                <a:lnTo>
                  <a:pt x="1840" y="2103"/>
                </a:lnTo>
                <a:lnTo>
                  <a:pt x="1836" y="2102"/>
                </a:lnTo>
                <a:lnTo>
                  <a:pt x="1843" y="2100"/>
                </a:lnTo>
                <a:lnTo>
                  <a:pt x="1846" y="2100"/>
                </a:lnTo>
                <a:lnTo>
                  <a:pt x="1847" y="2102"/>
                </a:lnTo>
                <a:close/>
                <a:moveTo>
                  <a:pt x="1424" y="2388"/>
                </a:moveTo>
                <a:lnTo>
                  <a:pt x="1423" y="2388"/>
                </a:lnTo>
                <a:lnTo>
                  <a:pt x="1419" y="2388"/>
                </a:lnTo>
                <a:lnTo>
                  <a:pt x="1417" y="2388"/>
                </a:lnTo>
                <a:lnTo>
                  <a:pt x="1414" y="2385"/>
                </a:lnTo>
                <a:lnTo>
                  <a:pt x="1417" y="2384"/>
                </a:lnTo>
                <a:lnTo>
                  <a:pt x="1424" y="2388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89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84311" y="1299272"/>
            <a:ext cx="3207534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0" bIns="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15 multi-sectoral governance actions                      at national level</a:t>
            </a:r>
          </a:p>
        </p:txBody>
      </p:sp>
      <p:sp>
        <p:nvSpPr>
          <p:cNvPr id="90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510146" y="1299272"/>
            <a:ext cx="3207534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0" bIns="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14 multi-sectoral governance actions                         conducted across 5 provinces</a:t>
            </a:r>
          </a:p>
        </p:txBody>
      </p:sp>
      <p:sp>
        <p:nvSpPr>
          <p:cNvPr id="126" name="Freeform 125"/>
          <p:cNvSpPr>
            <a:spLocks/>
          </p:cNvSpPr>
          <p:nvPr/>
        </p:nvSpPr>
        <p:spPr bwMode="auto">
          <a:xfrm>
            <a:off x="6071770" y="4696124"/>
            <a:ext cx="765268" cy="1051484"/>
          </a:xfrm>
          <a:custGeom>
            <a:avLst/>
            <a:gdLst>
              <a:gd name="T0" fmla="*/ 2039 w 2547"/>
              <a:gd name="T1" fmla="*/ 3029 h 3272"/>
              <a:gd name="T2" fmla="*/ 1538 w 2547"/>
              <a:gd name="T3" fmla="*/ 3233 h 3272"/>
              <a:gd name="T4" fmla="*/ 1364 w 2547"/>
              <a:gd name="T5" fmla="*/ 3099 h 3272"/>
              <a:gd name="T6" fmla="*/ 1359 w 2547"/>
              <a:gd name="T7" fmla="*/ 3040 h 3272"/>
              <a:gd name="T8" fmla="*/ 1303 w 2547"/>
              <a:gd name="T9" fmla="*/ 3013 h 3272"/>
              <a:gd name="T10" fmla="*/ 1286 w 2547"/>
              <a:gd name="T11" fmla="*/ 2922 h 3272"/>
              <a:gd name="T12" fmla="*/ 1314 w 2547"/>
              <a:gd name="T13" fmla="*/ 2891 h 3272"/>
              <a:gd name="T14" fmla="*/ 1292 w 2547"/>
              <a:gd name="T15" fmla="*/ 2864 h 3272"/>
              <a:gd name="T16" fmla="*/ 1259 w 2547"/>
              <a:gd name="T17" fmla="*/ 2775 h 3272"/>
              <a:gd name="T18" fmla="*/ 1236 w 2547"/>
              <a:gd name="T19" fmla="*/ 2716 h 3272"/>
              <a:gd name="T20" fmla="*/ 1184 w 2547"/>
              <a:gd name="T21" fmla="*/ 2644 h 3272"/>
              <a:gd name="T22" fmla="*/ 1136 w 2547"/>
              <a:gd name="T23" fmla="*/ 2579 h 3272"/>
              <a:gd name="T24" fmla="*/ 1060 w 2547"/>
              <a:gd name="T25" fmla="*/ 2468 h 3272"/>
              <a:gd name="T26" fmla="*/ 953 w 2547"/>
              <a:gd name="T27" fmla="*/ 2428 h 3272"/>
              <a:gd name="T28" fmla="*/ 860 w 2547"/>
              <a:gd name="T29" fmla="*/ 2365 h 3272"/>
              <a:gd name="T30" fmla="*/ 769 w 2547"/>
              <a:gd name="T31" fmla="*/ 2356 h 3272"/>
              <a:gd name="T32" fmla="*/ 704 w 2547"/>
              <a:gd name="T33" fmla="*/ 2336 h 3272"/>
              <a:gd name="T34" fmla="*/ 590 w 2547"/>
              <a:gd name="T35" fmla="*/ 2333 h 3272"/>
              <a:gd name="T36" fmla="*/ 374 w 2547"/>
              <a:gd name="T37" fmla="*/ 2071 h 3272"/>
              <a:gd name="T38" fmla="*/ 101 w 2547"/>
              <a:gd name="T39" fmla="*/ 1185 h 3272"/>
              <a:gd name="T40" fmla="*/ 54 w 2547"/>
              <a:gd name="T41" fmla="*/ 859 h 3272"/>
              <a:gd name="T42" fmla="*/ 740 w 2547"/>
              <a:gd name="T43" fmla="*/ 159 h 3272"/>
              <a:gd name="T44" fmla="*/ 1011 w 2547"/>
              <a:gd name="T45" fmla="*/ 68 h 3272"/>
              <a:gd name="T46" fmla="*/ 1127 w 2547"/>
              <a:gd name="T47" fmla="*/ 85 h 3272"/>
              <a:gd name="T48" fmla="*/ 1217 w 2547"/>
              <a:gd name="T49" fmla="*/ 152 h 3272"/>
              <a:gd name="T50" fmla="*/ 1317 w 2547"/>
              <a:gd name="T51" fmla="*/ 152 h 3272"/>
              <a:gd name="T52" fmla="*/ 1388 w 2547"/>
              <a:gd name="T53" fmla="*/ 214 h 3272"/>
              <a:gd name="T54" fmla="*/ 1479 w 2547"/>
              <a:gd name="T55" fmla="*/ 166 h 3272"/>
              <a:gd name="T56" fmla="*/ 1571 w 2547"/>
              <a:gd name="T57" fmla="*/ 143 h 3272"/>
              <a:gd name="T58" fmla="*/ 1530 w 2547"/>
              <a:gd name="T59" fmla="*/ 245 h 3272"/>
              <a:gd name="T60" fmla="*/ 1630 w 2547"/>
              <a:gd name="T61" fmla="*/ 607 h 3272"/>
              <a:gd name="T62" fmla="*/ 1635 w 2547"/>
              <a:gd name="T63" fmla="*/ 677 h 3272"/>
              <a:gd name="T64" fmla="*/ 1659 w 2547"/>
              <a:gd name="T65" fmla="*/ 776 h 3272"/>
              <a:gd name="T66" fmla="*/ 1666 w 2547"/>
              <a:gd name="T67" fmla="*/ 864 h 3272"/>
              <a:gd name="T68" fmla="*/ 1609 w 2547"/>
              <a:gd name="T69" fmla="*/ 904 h 3272"/>
              <a:gd name="T70" fmla="*/ 1583 w 2547"/>
              <a:gd name="T71" fmla="*/ 989 h 3272"/>
              <a:gd name="T72" fmla="*/ 1609 w 2547"/>
              <a:gd name="T73" fmla="*/ 1054 h 3272"/>
              <a:gd name="T74" fmla="*/ 1723 w 2547"/>
              <a:gd name="T75" fmla="*/ 1121 h 3272"/>
              <a:gd name="T76" fmla="*/ 1769 w 2547"/>
              <a:gd name="T77" fmla="*/ 1202 h 3272"/>
              <a:gd name="T78" fmla="*/ 1898 w 2547"/>
              <a:gd name="T79" fmla="*/ 1307 h 3272"/>
              <a:gd name="T80" fmla="*/ 1916 w 2547"/>
              <a:gd name="T81" fmla="*/ 1373 h 3272"/>
              <a:gd name="T82" fmla="*/ 1976 w 2547"/>
              <a:gd name="T83" fmla="*/ 1426 h 3272"/>
              <a:gd name="T84" fmla="*/ 2025 w 2547"/>
              <a:gd name="T85" fmla="*/ 1498 h 3272"/>
              <a:gd name="T86" fmla="*/ 2044 w 2547"/>
              <a:gd name="T87" fmla="*/ 1555 h 3272"/>
              <a:gd name="T88" fmla="*/ 2064 w 2547"/>
              <a:gd name="T89" fmla="*/ 1618 h 3272"/>
              <a:gd name="T90" fmla="*/ 2050 w 2547"/>
              <a:gd name="T91" fmla="*/ 1640 h 3272"/>
              <a:gd name="T92" fmla="*/ 2055 w 2547"/>
              <a:gd name="T93" fmla="*/ 1693 h 3272"/>
              <a:gd name="T94" fmla="*/ 2078 w 2547"/>
              <a:gd name="T95" fmla="*/ 1748 h 3272"/>
              <a:gd name="T96" fmla="*/ 2117 w 2547"/>
              <a:gd name="T97" fmla="*/ 1780 h 3272"/>
              <a:gd name="T98" fmla="*/ 2114 w 2547"/>
              <a:gd name="T99" fmla="*/ 1813 h 3272"/>
              <a:gd name="T100" fmla="*/ 2094 w 2547"/>
              <a:gd name="T101" fmla="*/ 1870 h 3272"/>
              <a:gd name="T102" fmla="*/ 2119 w 2547"/>
              <a:gd name="T103" fmla="*/ 1901 h 3272"/>
              <a:gd name="T104" fmla="*/ 2114 w 2547"/>
              <a:gd name="T105" fmla="*/ 1940 h 3272"/>
              <a:gd name="T106" fmla="*/ 2108 w 2547"/>
              <a:gd name="T107" fmla="*/ 2010 h 3272"/>
              <a:gd name="T108" fmla="*/ 2119 w 2547"/>
              <a:gd name="T109" fmla="*/ 2049 h 3272"/>
              <a:gd name="T110" fmla="*/ 2108 w 2547"/>
              <a:gd name="T111" fmla="*/ 2103 h 3272"/>
              <a:gd name="T112" fmla="*/ 2104 w 2547"/>
              <a:gd name="T113" fmla="*/ 2163 h 3272"/>
              <a:gd name="T114" fmla="*/ 2144 w 2547"/>
              <a:gd name="T115" fmla="*/ 2219 h 3272"/>
              <a:gd name="T116" fmla="*/ 2307 w 2547"/>
              <a:gd name="T117" fmla="*/ 2580 h 3272"/>
              <a:gd name="T118" fmla="*/ 2418 w 2547"/>
              <a:gd name="T119" fmla="*/ 2552 h 3272"/>
              <a:gd name="T120" fmla="*/ 2498 w 2547"/>
              <a:gd name="T121" fmla="*/ 2638 h 3272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547"/>
              <a:gd name="T184" fmla="*/ 0 h 3272"/>
              <a:gd name="T185" fmla="*/ 2547 w 2547"/>
              <a:gd name="T186" fmla="*/ 3272 h 3272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547" h="3272">
                <a:moveTo>
                  <a:pt x="2489" y="2875"/>
                </a:moveTo>
                <a:lnTo>
                  <a:pt x="2475" y="2880"/>
                </a:lnTo>
                <a:lnTo>
                  <a:pt x="2468" y="2885"/>
                </a:lnTo>
                <a:lnTo>
                  <a:pt x="2438" y="2897"/>
                </a:lnTo>
                <a:lnTo>
                  <a:pt x="2423" y="2902"/>
                </a:lnTo>
                <a:lnTo>
                  <a:pt x="2412" y="2907"/>
                </a:lnTo>
                <a:lnTo>
                  <a:pt x="2377" y="2916"/>
                </a:lnTo>
                <a:lnTo>
                  <a:pt x="2365" y="2916"/>
                </a:lnTo>
                <a:lnTo>
                  <a:pt x="2356" y="2917"/>
                </a:lnTo>
                <a:lnTo>
                  <a:pt x="2253" y="2958"/>
                </a:lnTo>
                <a:lnTo>
                  <a:pt x="2210" y="2971"/>
                </a:lnTo>
                <a:lnTo>
                  <a:pt x="2188" y="2981"/>
                </a:lnTo>
                <a:lnTo>
                  <a:pt x="2176" y="2984"/>
                </a:lnTo>
                <a:lnTo>
                  <a:pt x="2163" y="2992"/>
                </a:lnTo>
                <a:lnTo>
                  <a:pt x="2144" y="2995"/>
                </a:lnTo>
                <a:lnTo>
                  <a:pt x="2133" y="2999"/>
                </a:lnTo>
                <a:lnTo>
                  <a:pt x="2121" y="3001"/>
                </a:lnTo>
                <a:lnTo>
                  <a:pt x="2078" y="3014"/>
                </a:lnTo>
                <a:lnTo>
                  <a:pt x="2057" y="3021"/>
                </a:lnTo>
                <a:lnTo>
                  <a:pt x="2039" y="3029"/>
                </a:lnTo>
                <a:lnTo>
                  <a:pt x="2003" y="3041"/>
                </a:lnTo>
                <a:lnTo>
                  <a:pt x="1969" y="3054"/>
                </a:lnTo>
                <a:lnTo>
                  <a:pt x="1957" y="3056"/>
                </a:lnTo>
                <a:lnTo>
                  <a:pt x="1939" y="3065"/>
                </a:lnTo>
                <a:lnTo>
                  <a:pt x="1904" y="3079"/>
                </a:lnTo>
                <a:lnTo>
                  <a:pt x="1878" y="3093"/>
                </a:lnTo>
                <a:lnTo>
                  <a:pt x="1848" y="3104"/>
                </a:lnTo>
                <a:lnTo>
                  <a:pt x="1818" y="3113"/>
                </a:lnTo>
                <a:lnTo>
                  <a:pt x="1797" y="3124"/>
                </a:lnTo>
                <a:lnTo>
                  <a:pt x="1769" y="3135"/>
                </a:lnTo>
                <a:lnTo>
                  <a:pt x="1764" y="3137"/>
                </a:lnTo>
                <a:lnTo>
                  <a:pt x="1730" y="3149"/>
                </a:lnTo>
                <a:lnTo>
                  <a:pt x="1689" y="3168"/>
                </a:lnTo>
                <a:lnTo>
                  <a:pt x="1648" y="3183"/>
                </a:lnTo>
                <a:lnTo>
                  <a:pt x="1630" y="3193"/>
                </a:lnTo>
                <a:lnTo>
                  <a:pt x="1591" y="3210"/>
                </a:lnTo>
                <a:lnTo>
                  <a:pt x="1560" y="3227"/>
                </a:lnTo>
                <a:lnTo>
                  <a:pt x="1558" y="3227"/>
                </a:lnTo>
                <a:lnTo>
                  <a:pt x="1552" y="3227"/>
                </a:lnTo>
                <a:lnTo>
                  <a:pt x="1538" y="3233"/>
                </a:lnTo>
                <a:lnTo>
                  <a:pt x="1470" y="3272"/>
                </a:lnTo>
                <a:lnTo>
                  <a:pt x="1470" y="3235"/>
                </a:lnTo>
                <a:lnTo>
                  <a:pt x="1473" y="3205"/>
                </a:lnTo>
                <a:lnTo>
                  <a:pt x="1470" y="3191"/>
                </a:lnTo>
                <a:lnTo>
                  <a:pt x="1469" y="3170"/>
                </a:lnTo>
                <a:lnTo>
                  <a:pt x="1466" y="3163"/>
                </a:lnTo>
                <a:lnTo>
                  <a:pt x="1457" y="3149"/>
                </a:lnTo>
                <a:lnTo>
                  <a:pt x="1442" y="3127"/>
                </a:lnTo>
                <a:lnTo>
                  <a:pt x="1355" y="3129"/>
                </a:lnTo>
                <a:lnTo>
                  <a:pt x="1355" y="3124"/>
                </a:lnTo>
                <a:lnTo>
                  <a:pt x="1359" y="3123"/>
                </a:lnTo>
                <a:lnTo>
                  <a:pt x="1359" y="3120"/>
                </a:lnTo>
                <a:lnTo>
                  <a:pt x="1362" y="3112"/>
                </a:lnTo>
                <a:lnTo>
                  <a:pt x="1360" y="3111"/>
                </a:lnTo>
                <a:lnTo>
                  <a:pt x="1357" y="3110"/>
                </a:lnTo>
                <a:lnTo>
                  <a:pt x="1357" y="3108"/>
                </a:lnTo>
                <a:lnTo>
                  <a:pt x="1359" y="3108"/>
                </a:lnTo>
                <a:lnTo>
                  <a:pt x="1357" y="3104"/>
                </a:lnTo>
                <a:lnTo>
                  <a:pt x="1362" y="3100"/>
                </a:lnTo>
                <a:lnTo>
                  <a:pt x="1364" y="3099"/>
                </a:lnTo>
                <a:lnTo>
                  <a:pt x="1366" y="3094"/>
                </a:lnTo>
                <a:lnTo>
                  <a:pt x="1370" y="3091"/>
                </a:lnTo>
                <a:lnTo>
                  <a:pt x="1371" y="3088"/>
                </a:lnTo>
                <a:lnTo>
                  <a:pt x="1370" y="3082"/>
                </a:lnTo>
                <a:lnTo>
                  <a:pt x="1371" y="3079"/>
                </a:lnTo>
                <a:lnTo>
                  <a:pt x="1369" y="3073"/>
                </a:lnTo>
                <a:lnTo>
                  <a:pt x="1364" y="3073"/>
                </a:lnTo>
                <a:lnTo>
                  <a:pt x="1359" y="3075"/>
                </a:lnTo>
                <a:lnTo>
                  <a:pt x="1353" y="3068"/>
                </a:lnTo>
                <a:lnTo>
                  <a:pt x="1349" y="3066"/>
                </a:lnTo>
                <a:lnTo>
                  <a:pt x="1348" y="3065"/>
                </a:lnTo>
                <a:lnTo>
                  <a:pt x="1348" y="3063"/>
                </a:lnTo>
                <a:lnTo>
                  <a:pt x="1350" y="3062"/>
                </a:lnTo>
                <a:lnTo>
                  <a:pt x="1349" y="3056"/>
                </a:lnTo>
                <a:lnTo>
                  <a:pt x="1353" y="3056"/>
                </a:lnTo>
                <a:lnTo>
                  <a:pt x="1353" y="3053"/>
                </a:lnTo>
                <a:lnTo>
                  <a:pt x="1355" y="3049"/>
                </a:lnTo>
                <a:lnTo>
                  <a:pt x="1355" y="3046"/>
                </a:lnTo>
                <a:lnTo>
                  <a:pt x="1357" y="3045"/>
                </a:lnTo>
                <a:lnTo>
                  <a:pt x="1359" y="3040"/>
                </a:lnTo>
                <a:lnTo>
                  <a:pt x="1360" y="3041"/>
                </a:lnTo>
                <a:lnTo>
                  <a:pt x="1363" y="3038"/>
                </a:lnTo>
                <a:lnTo>
                  <a:pt x="1363" y="3037"/>
                </a:lnTo>
                <a:lnTo>
                  <a:pt x="1360" y="3033"/>
                </a:lnTo>
                <a:lnTo>
                  <a:pt x="1357" y="3033"/>
                </a:lnTo>
                <a:lnTo>
                  <a:pt x="1355" y="3033"/>
                </a:lnTo>
                <a:lnTo>
                  <a:pt x="1352" y="3033"/>
                </a:lnTo>
                <a:lnTo>
                  <a:pt x="1348" y="3032"/>
                </a:lnTo>
                <a:lnTo>
                  <a:pt x="1344" y="3032"/>
                </a:lnTo>
                <a:lnTo>
                  <a:pt x="1341" y="3031"/>
                </a:lnTo>
                <a:lnTo>
                  <a:pt x="1334" y="3032"/>
                </a:lnTo>
                <a:lnTo>
                  <a:pt x="1330" y="3029"/>
                </a:lnTo>
                <a:lnTo>
                  <a:pt x="1322" y="3028"/>
                </a:lnTo>
                <a:lnTo>
                  <a:pt x="1321" y="3025"/>
                </a:lnTo>
                <a:lnTo>
                  <a:pt x="1317" y="3025"/>
                </a:lnTo>
                <a:lnTo>
                  <a:pt x="1316" y="3023"/>
                </a:lnTo>
                <a:lnTo>
                  <a:pt x="1313" y="3021"/>
                </a:lnTo>
                <a:lnTo>
                  <a:pt x="1302" y="3021"/>
                </a:lnTo>
                <a:lnTo>
                  <a:pt x="1300" y="3017"/>
                </a:lnTo>
                <a:lnTo>
                  <a:pt x="1303" y="3013"/>
                </a:lnTo>
                <a:lnTo>
                  <a:pt x="1303" y="3009"/>
                </a:lnTo>
                <a:lnTo>
                  <a:pt x="1296" y="3003"/>
                </a:lnTo>
                <a:lnTo>
                  <a:pt x="1295" y="3000"/>
                </a:lnTo>
                <a:lnTo>
                  <a:pt x="1295" y="2998"/>
                </a:lnTo>
                <a:lnTo>
                  <a:pt x="1300" y="2975"/>
                </a:lnTo>
                <a:lnTo>
                  <a:pt x="1299" y="2972"/>
                </a:lnTo>
                <a:lnTo>
                  <a:pt x="1295" y="2969"/>
                </a:lnTo>
                <a:lnTo>
                  <a:pt x="1296" y="2967"/>
                </a:lnTo>
                <a:lnTo>
                  <a:pt x="1300" y="2967"/>
                </a:lnTo>
                <a:lnTo>
                  <a:pt x="1302" y="2964"/>
                </a:lnTo>
                <a:lnTo>
                  <a:pt x="1302" y="2961"/>
                </a:lnTo>
                <a:lnTo>
                  <a:pt x="1297" y="2958"/>
                </a:lnTo>
                <a:lnTo>
                  <a:pt x="1299" y="2955"/>
                </a:lnTo>
                <a:lnTo>
                  <a:pt x="1302" y="2954"/>
                </a:lnTo>
                <a:lnTo>
                  <a:pt x="1303" y="2950"/>
                </a:lnTo>
                <a:lnTo>
                  <a:pt x="1302" y="2946"/>
                </a:lnTo>
                <a:lnTo>
                  <a:pt x="1295" y="2945"/>
                </a:lnTo>
                <a:lnTo>
                  <a:pt x="1286" y="2939"/>
                </a:lnTo>
                <a:lnTo>
                  <a:pt x="1285" y="2936"/>
                </a:lnTo>
                <a:lnTo>
                  <a:pt x="1286" y="2922"/>
                </a:lnTo>
                <a:lnTo>
                  <a:pt x="1289" y="2917"/>
                </a:lnTo>
                <a:lnTo>
                  <a:pt x="1294" y="2913"/>
                </a:lnTo>
                <a:lnTo>
                  <a:pt x="1295" y="2911"/>
                </a:lnTo>
                <a:lnTo>
                  <a:pt x="1295" y="2907"/>
                </a:lnTo>
                <a:lnTo>
                  <a:pt x="1296" y="2905"/>
                </a:lnTo>
                <a:lnTo>
                  <a:pt x="1300" y="2908"/>
                </a:lnTo>
                <a:lnTo>
                  <a:pt x="1302" y="2907"/>
                </a:lnTo>
                <a:lnTo>
                  <a:pt x="1299" y="2907"/>
                </a:lnTo>
                <a:lnTo>
                  <a:pt x="1300" y="2904"/>
                </a:lnTo>
                <a:lnTo>
                  <a:pt x="1306" y="2902"/>
                </a:lnTo>
                <a:lnTo>
                  <a:pt x="1306" y="2900"/>
                </a:lnTo>
                <a:lnTo>
                  <a:pt x="1309" y="2900"/>
                </a:lnTo>
                <a:lnTo>
                  <a:pt x="1309" y="2899"/>
                </a:lnTo>
                <a:lnTo>
                  <a:pt x="1311" y="2897"/>
                </a:lnTo>
                <a:lnTo>
                  <a:pt x="1313" y="2899"/>
                </a:lnTo>
                <a:lnTo>
                  <a:pt x="1316" y="2897"/>
                </a:lnTo>
                <a:lnTo>
                  <a:pt x="1317" y="2899"/>
                </a:lnTo>
                <a:lnTo>
                  <a:pt x="1319" y="2897"/>
                </a:lnTo>
                <a:lnTo>
                  <a:pt x="1317" y="2894"/>
                </a:lnTo>
                <a:lnTo>
                  <a:pt x="1314" y="2891"/>
                </a:lnTo>
                <a:lnTo>
                  <a:pt x="1316" y="2889"/>
                </a:lnTo>
                <a:lnTo>
                  <a:pt x="1316" y="2888"/>
                </a:lnTo>
                <a:lnTo>
                  <a:pt x="1316" y="2885"/>
                </a:lnTo>
                <a:lnTo>
                  <a:pt x="1314" y="2884"/>
                </a:lnTo>
                <a:lnTo>
                  <a:pt x="1313" y="2885"/>
                </a:lnTo>
                <a:lnTo>
                  <a:pt x="1306" y="2884"/>
                </a:lnTo>
                <a:lnTo>
                  <a:pt x="1305" y="2885"/>
                </a:lnTo>
                <a:lnTo>
                  <a:pt x="1302" y="2885"/>
                </a:lnTo>
                <a:lnTo>
                  <a:pt x="1296" y="2883"/>
                </a:lnTo>
                <a:lnTo>
                  <a:pt x="1297" y="2880"/>
                </a:lnTo>
                <a:lnTo>
                  <a:pt x="1295" y="2879"/>
                </a:lnTo>
                <a:lnTo>
                  <a:pt x="1297" y="2877"/>
                </a:lnTo>
                <a:lnTo>
                  <a:pt x="1295" y="2876"/>
                </a:lnTo>
                <a:lnTo>
                  <a:pt x="1297" y="2874"/>
                </a:lnTo>
                <a:lnTo>
                  <a:pt x="1296" y="2872"/>
                </a:lnTo>
                <a:lnTo>
                  <a:pt x="1294" y="2872"/>
                </a:lnTo>
                <a:lnTo>
                  <a:pt x="1292" y="2871"/>
                </a:lnTo>
                <a:lnTo>
                  <a:pt x="1292" y="2867"/>
                </a:lnTo>
                <a:lnTo>
                  <a:pt x="1294" y="2866"/>
                </a:lnTo>
                <a:lnTo>
                  <a:pt x="1292" y="2864"/>
                </a:lnTo>
                <a:lnTo>
                  <a:pt x="1294" y="2863"/>
                </a:lnTo>
                <a:lnTo>
                  <a:pt x="1286" y="2860"/>
                </a:lnTo>
                <a:lnTo>
                  <a:pt x="1288" y="2858"/>
                </a:lnTo>
                <a:lnTo>
                  <a:pt x="1291" y="2857"/>
                </a:lnTo>
                <a:lnTo>
                  <a:pt x="1289" y="2854"/>
                </a:lnTo>
                <a:lnTo>
                  <a:pt x="1291" y="2854"/>
                </a:lnTo>
                <a:lnTo>
                  <a:pt x="1291" y="2852"/>
                </a:lnTo>
                <a:lnTo>
                  <a:pt x="1291" y="2851"/>
                </a:lnTo>
                <a:lnTo>
                  <a:pt x="1285" y="2851"/>
                </a:lnTo>
                <a:lnTo>
                  <a:pt x="1285" y="2850"/>
                </a:lnTo>
                <a:lnTo>
                  <a:pt x="1296" y="2834"/>
                </a:lnTo>
                <a:lnTo>
                  <a:pt x="1306" y="2824"/>
                </a:lnTo>
                <a:lnTo>
                  <a:pt x="1327" y="2775"/>
                </a:lnTo>
                <a:lnTo>
                  <a:pt x="1288" y="2775"/>
                </a:lnTo>
                <a:lnTo>
                  <a:pt x="1272" y="2775"/>
                </a:lnTo>
                <a:lnTo>
                  <a:pt x="1260" y="2785"/>
                </a:lnTo>
                <a:lnTo>
                  <a:pt x="1256" y="2787"/>
                </a:lnTo>
                <a:lnTo>
                  <a:pt x="1256" y="2782"/>
                </a:lnTo>
                <a:lnTo>
                  <a:pt x="1260" y="2779"/>
                </a:lnTo>
                <a:lnTo>
                  <a:pt x="1259" y="2775"/>
                </a:lnTo>
                <a:lnTo>
                  <a:pt x="1261" y="2772"/>
                </a:lnTo>
                <a:lnTo>
                  <a:pt x="1263" y="2766"/>
                </a:lnTo>
                <a:lnTo>
                  <a:pt x="1259" y="2763"/>
                </a:lnTo>
                <a:lnTo>
                  <a:pt x="1256" y="2764"/>
                </a:lnTo>
                <a:lnTo>
                  <a:pt x="1252" y="2762"/>
                </a:lnTo>
                <a:lnTo>
                  <a:pt x="1252" y="2760"/>
                </a:lnTo>
                <a:lnTo>
                  <a:pt x="1250" y="2758"/>
                </a:lnTo>
                <a:lnTo>
                  <a:pt x="1250" y="2755"/>
                </a:lnTo>
                <a:lnTo>
                  <a:pt x="1241" y="2750"/>
                </a:lnTo>
                <a:lnTo>
                  <a:pt x="1239" y="2750"/>
                </a:lnTo>
                <a:lnTo>
                  <a:pt x="1234" y="2745"/>
                </a:lnTo>
                <a:lnTo>
                  <a:pt x="1232" y="2742"/>
                </a:lnTo>
                <a:lnTo>
                  <a:pt x="1235" y="2737"/>
                </a:lnTo>
                <a:lnTo>
                  <a:pt x="1234" y="2730"/>
                </a:lnTo>
                <a:lnTo>
                  <a:pt x="1235" y="2726"/>
                </a:lnTo>
                <a:lnTo>
                  <a:pt x="1236" y="2726"/>
                </a:lnTo>
                <a:lnTo>
                  <a:pt x="1234" y="2722"/>
                </a:lnTo>
                <a:lnTo>
                  <a:pt x="1238" y="2721"/>
                </a:lnTo>
                <a:lnTo>
                  <a:pt x="1239" y="2718"/>
                </a:lnTo>
                <a:lnTo>
                  <a:pt x="1236" y="2716"/>
                </a:lnTo>
                <a:lnTo>
                  <a:pt x="1236" y="2713"/>
                </a:lnTo>
                <a:lnTo>
                  <a:pt x="1232" y="2711"/>
                </a:lnTo>
                <a:lnTo>
                  <a:pt x="1232" y="2706"/>
                </a:lnTo>
                <a:lnTo>
                  <a:pt x="1230" y="2701"/>
                </a:lnTo>
                <a:lnTo>
                  <a:pt x="1227" y="2700"/>
                </a:lnTo>
                <a:lnTo>
                  <a:pt x="1222" y="2700"/>
                </a:lnTo>
                <a:lnTo>
                  <a:pt x="1221" y="2700"/>
                </a:lnTo>
                <a:lnTo>
                  <a:pt x="1211" y="2684"/>
                </a:lnTo>
                <a:lnTo>
                  <a:pt x="1213" y="2681"/>
                </a:lnTo>
                <a:lnTo>
                  <a:pt x="1211" y="2677"/>
                </a:lnTo>
                <a:lnTo>
                  <a:pt x="1209" y="2677"/>
                </a:lnTo>
                <a:lnTo>
                  <a:pt x="1206" y="2675"/>
                </a:lnTo>
                <a:lnTo>
                  <a:pt x="1206" y="2671"/>
                </a:lnTo>
                <a:lnTo>
                  <a:pt x="1200" y="2664"/>
                </a:lnTo>
                <a:lnTo>
                  <a:pt x="1197" y="2661"/>
                </a:lnTo>
                <a:lnTo>
                  <a:pt x="1196" y="2659"/>
                </a:lnTo>
                <a:lnTo>
                  <a:pt x="1191" y="2655"/>
                </a:lnTo>
                <a:lnTo>
                  <a:pt x="1189" y="2651"/>
                </a:lnTo>
                <a:lnTo>
                  <a:pt x="1185" y="2648"/>
                </a:lnTo>
                <a:lnTo>
                  <a:pt x="1184" y="2644"/>
                </a:lnTo>
                <a:lnTo>
                  <a:pt x="1182" y="2642"/>
                </a:lnTo>
                <a:lnTo>
                  <a:pt x="1181" y="2633"/>
                </a:lnTo>
                <a:lnTo>
                  <a:pt x="1178" y="2627"/>
                </a:lnTo>
                <a:lnTo>
                  <a:pt x="1178" y="2626"/>
                </a:lnTo>
                <a:lnTo>
                  <a:pt x="1174" y="2624"/>
                </a:lnTo>
                <a:lnTo>
                  <a:pt x="1175" y="2619"/>
                </a:lnTo>
                <a:lnTo>
                  <a:pt x="1174" y="2617"/>
                </a:lnTo>
                <a:lnTo>
                  <a:pt x="1174" y="2616"/>
                </a:lnTo>
                <a:lnTo>
                  <a:pt x="1167" y="2610"/>
                </a:lnTo>
                <a:lnTo>
                  <a:pt x="1163" y="2610"/>
                </a:lnTo>
                <a:lnTo>
                  <a:pt x="1160" y="2605"/>
                </a:lnTo>
                <a:lnTo>
                  <a:pt x="1161" y="2599"/>
                </a:lnTo>
                <a:lnTo>
                  <a:pt x="1157" y="2597"/>
                </a:lnTo>
                <a:lnTo>
                  <a:pt x="1155" y="2596"/>
                </a:lnTo>
                <a:lnTo>
                  <a:pt x="1152" y="2597"/>
                </a:lnTo>
                <a:lnTo>
                  <a:pt x="1150" y="2597"/>
                </a:lnTo>
                <a:lnTo>
                  <a:pt x="1150" y="2594"/>
                </a:lnTo>
                <a:lnTo>
                  <a:pt x="1142" y="2588"/>
                </a:lnTo>
                <a:lnTo>
                  <a:pt x="1142" y="2581"/>
                </a:lnTo>
                <a:lnTo>
                  <a:pt x="1136" y="2579"/>
                </a:lnTo>
                <a:lnTo>
                  <a:pt x="1135" y="2576"/>
                </a:lnTo>
                <a:lnTo>
                  <a:pt x="1135" y="2564"/>
                </a:lnTo>
                <a:lnTo>
                  <a:pt x="1138" y="2559"/>
                </a:lnTo>
                <a:lnTo>
                  <a:pt x="1138" y="2555"/>
                </a:lnTo>
                <a:lnTo>
                  <a:pt x="1145" y="2547"/>
                </a:lnTo>
                <a:lnTo>
                  <a:pt x="1145" y="2534"/>
                </a:lnTo>
                <a:lnTo>
                  <a:pt x="1143" y="2532"/>
                </a:lnTo>
                <a:lnTo>
                  <a:pt x="1145" y="2526"/>
                </a:lnTo>
                <a:lnTo>
                  <a:pt x="1142" y="2512"/>
                </a:lnTo>
                <a:lnTo>
                  <a:pt x="1143" y="2501"/>
                </a:lnTo>
                <a:lnTo>
                  <a:pt x="1141" y="2489"/>
                </a:lnTo>
                <a:lnTo>
                  <a:pt x="1127" y="2481"/>
                </a:lnTo>
                <a:lnTo>
                  <a:pt x="1122" y="2481"/>
                </a:lnTo>
                <a:lnTo>
                  <a:pt x="1118" y="2478"/>
                </a:lnTo>
                <a:lnTo>
                  <a:pt x="1120" y="2477"/>
                </a:lnTo>
                <a:lnTo>
                  <a:pt x="1100" y="2474"/>
                </a:lnTo>
                <a:lnTo>
                  <a:pt x="1088" y="2467"/>
                </a:lnTo>
                <a:lnTo>
                  <a:pt x="1084" y="2467"/>
                </a:lnTo>
                <a:lnTo>
                  <a:pt x="1075" y="2465"/>
                </a:lnTo>
                <a:lnTo>
                  <a:pt x="1060" y="2468"/>
                </a:lnTo>
                <a:lnTo>
                  <a:pt x="1054" y="2467"/>
                </a:lnTo>
                <a:lnTo>
                  <a:pt x="1050" y="2468"/>
                </a:lnTo>
                <a:lnTo>
                  <a:pt x="1046" y="2462"/>
                </a:lnTo>
                <a:lnTo>
                  <a:pt x="1040" y="2457"/>
                </a:lnTo>
                <a:lnTo>
                  <a:pt x="1039" y="2452"/>
                </a:lnTo>
                <a:lnTo>
                  <a:pt x="1036" y="2449"/>
                </a:lnTo>
                <a:lnTo>
                  <a:pt x="1035" y="2445"/>
                </a:lnTo>
                <a:lnTo>
                  <a:pt x="1032" y="2444"/>
                </a:lnTo>
                <a:lnTo>
                  <a:pt x="1031" y="2442"/>
                </a:lnTo>
                <a:lnTo>
                  <a:pt x="1020" y="2435"/>
                </a:lnTo>
                <a:lnTo>
                  <a:pt x="1010" y="2431"/>
                </a:lnTo>
                <a:lnTo>
                  <a:pt x="1000" y="2440"/>
                </a:lnTo>
                <a:lnTo>
                  <a:pt x="995" y="2442"/>
                </a:lnTo>
                <a:lnTo>
                  <a:pt x="987" y="2439"/>
                </a:lnTo>
                <a:lnTo>
                  <a:pt x="983" y="2431"/>
                </a:lnTo>
                <a:lnTo>
                  <a:pt x="979" y="2432"/>
                </a:lnTo>
                <a:lnTo>
                  <a:pt x="970" y="2428"/>
                </a:lnTo>
                <a:lnTo>
                  <a:pt x="960" y="2430"/>
                </a:lnTo>
                <a:lnTo>
                  <a:pt x="957" y="2428"/>
                </a:lnTo>
                <a:lnTo>
                  <a:pt x="953" y="2428"/>
                </a:lnTo>
                <a:lnTo>
                  <a:pt x="949" y="2427"/>
                </a:lnTo>
                <a:lnTo>
                  <a:pt x="946" y="2427"/>
                </a:lnTo>
                <a:lnTo>
                  <a:pt x="943" y="2425"/>
                </a:lnTo>
                <a:lnTo>
                  <a:pt x="931" y="2408"/>
                </a:lnTo>
                <a:lnTo>
                  <a:pt x="926" y="2408"/>
                </a:lnTo>
                <a:lnTo>
                  <a:pt x="922" y="2407"/>
                </a:lnTo>
                <a:lnTo>
                  <a:pt x="921" y="2399"/>
                </a:lnTo>
                <a:lnTo>
                  <a:pt x="917" y="2397"/>
                </a:lnTo>
                <a:lnTo>
                  <a:pt x="912" y="2385"/>
                </a:lnTo>
                <a:lnTo>
                  <a:pt x="906" y="2387"/>
                </a:lnTo>
                <a:lnTo>
                  <a:pt x="898" y="2381"/>
                </a:lnTo>
                <a:lnTo>
                  <a:pt x="896" y="2377"/>
                </a:lnTo>
                <a:lnTo>
                  <a:pt x="892" y="2373"/>
                </a:lnTo>
                <a:lnTo>
                  <a:pt x="889" y="2373"/>
                </a:lnTo>
                <a:lnTo>
                  <a:pt x="887" y="2369"/>
                </a:lnTo>
                <a:lnTo>
                  <a:pt x="885" y="2368"/>
                </a:lnTo>
                <a:lnTo>
                  <a:pt x="882" y="2368"/>
                </a:lnTo>
                <a:lnTo>
                  <a:pt x="881" y="2370"/>
                </a:lnTo>
                <a:lnTo>
                  <a:pt x="871" y="2365"/>
                </a:lnTo>
                <a:lnTo>
                  <a:pt x="860" y="2365"/>
                </a:lnTo>
                <a:lnTo>
                  <a:pt x="853" y="2361"/>
                </a:lnTo>
                <a:lnTo>
                  <a:pt x="844" y="2361"/>
                </a:lnTo>
                <a:lnTo>
                  <a:pt x="840" y="2358"/>
                </a:lnTo>
                <a:lnTo>
                  <a:pt x="835" y="2360"/>
                </a:lnTo>
                <a:lnTo>
                  <a:pt x="830" y="2358"/>
                </a:lnTo>
                <a:lnTo>
                  <a:pt x="829" y="2358"/>
                </a:lnTo>
                <a:lnTo>
                  <a:pt x="829" y="2360"/>
                </a:lnTo>
                <a:lnTo>
                  <a:pt x="823" y="2361"/>
                </a:lnTo>
                <a:lnTo>
                  <a:pt x="819" y="2365"/>
                </a:lnTo>
                <a:lnTo>
                  <a:pt x="814" y="2363"/>
                </a:lnTo>
                <a:lnTo>
                  <a:pt x="810" y="2365"/>
                </a:lnTo>
                <a:lnTo>
                  <a:pt x="805" y="2363"/>
                </a:lnTo>
                <a:lnTo>
                  <a:pt x="803" y="2362"/>
                </a:lnTo>
                <a:lnTo>
                  <a:pt x="797" y="2362"/>
                </a:lnTo>
                <a:lnTo>
                  <a:pt x="793" y="2363"/>
                </a:lnTo>
                <a:lnTo>
                  <a:pt x="790" y="2368"/>
                </a:lnTo>
                <a:lnTo>
                  <a:pt x="787" y="2368"/>
                </a:lnTo>
                <a:lnTo>
                  <a:pt x="782" y="2365"/>
                </a:lnTo>
                <a:lnTo>
                  <a:pt x="780" y="2362"/>
                </a:lnTo>
                <a:lnTo>
                  <a:pt x="769" y="2356"/>
                </a:lnTo>
                <a:lnTo>
                  <a:pt x="761" y="2350"/>
                </a:lnTo>
                <a:lnTo>
                  <a:pt x="758" y="2352"/>
                </a:lnTo>
                <a:lnTo>
                  <a:pt x="750" y="2348"/>
                </a:lnTo>
                <a:lnTo>
                  <a:pt x="748" y="2350"/>
                </a:lnTo>
                <a:lnTo>
                  <a:pt x="747" y="2349"/>
                </a:lnTo>
                <a:lnTo>
                  <a:pt x="743" y="2357"/>
                </a:lnTo>
                <a:lnTo>
                  <a:pt x="740" y="2352"/>
                </a:lnTo>
                <a:lnTo>
                  <a:pt x="735" y="2350"/>
                </a:lnTo>
                <a:lnTo>
                  <a:pt x="729" y="2350"/>
                </a:lnTo>
                <a:lnTo>
                  <a:pt x="725" y="2345"/>
                </a:lnTo>
                <a:lnTo>
                  <a:pt x="721" y="2344"/>
                </a:lnTo>
                <a:lnTo>
                  <a:pt x="721" y="2341"/>
                </a:lnTo>
                <a:lnTo>
                  <a:pt x="718" y="2343"/>
                </a:lnTo>
                <a:lnTo>
                  <a:pt x="718" y="2338"/>
                </a:lnTo>
                <a:lnTo>
                  <a:pt x="715" y="2336"/>
                </a:lnTo>
                <a:lnTo>
                  <a:pt x="711" y="2336"/>
                </a:lnTo>
                <a:lnTo>
                  <a:pt x="710" y="2337"/>
                </a:lnTo>
                <a:lnTo>
                  <a:pt x="708" y="2336"/>
                </a:lnTo>
                <a:lnTo>
                  <a:pt x="707" y="2337"/>
                </a:lnTo>
                <a:lnTo>
                  <a:pt x="704" y="2336"/>
                </a:lnTo>
                <a:lnTo>
                  <a:pt x="702" y="2337"/>
                </a:lnTo>
                <a:lnTo>
                  <a:pt x="698" y="2337"/>
                </a:lnTo>
                <a:lnTo>
                  <a:pt x="696" y="2336"/>
                </a:lnTo>
                <a:lnTo>
                  <a:pt x="693" y="2337"/>
                </a:lnTo>
                <a:lnTo>
                  <a:pt x="690" y="2333"/>
                </a:lnTo>
                <a:lnTo>
                  <a:pt x="686" y="2333"/>
                </a:lnTo>
                <a:lnTo>
                  <a:pt x="682" y="2335"/>
                </a:lnTo>
                <a:lnTo>
                  <a:pt x="677" y="2333"/>
                </a:lnTo>
                <a:lnTo>
                  <a:pt x="675" y="2337"/>
                </a:lnTo>
                <a:lnTo>
                  <a:pt x="669" y="2335"/>
                </a:lnTo>
                <a:lnTo>
                  <a:pt x="655" y="2335"/>
                </a:lnTo>
                <a:lnTo>
                  <a:pt x="654" y="2330"/>
                </a:lnTo>
                <a:lnTo>
                  <a:pt x="647" y="2330"/>
                </a:lnTo>
                <a:lnTo>
                  <a:pt x="644" y="2330"/>
                </a:lnTo>
                <a:lnTo>
                  <a:pt x="622" y="2325"/>
                </a:lnTo>
                <a:lnTo>
                  <a:pt x="616" y="2325"/>
                </a:lnTo>
                <a:lnTo>
                  <a:pt x="612" y="2328"/>
                </a:lnTo>
                <a:lnTo>
                  <a:pt x="612" y="2330"/>
                </a:lnTo>
                <a:lnTo>
                  <a:pt x="598" y="2330"/>
                </a:lnTo>
                <a:lnTo>
                  <a:pt x="590" y="2333"/>
                </a:lnTo>
                <a:lnTo>
                  <a:pt x="588" y="2336"/>
                </a:lnTo>
                <a:lnTo>
                  <a:pt x="584" y="2336"/>
                </a:lnTo>
                <a:lnTo>
                  <a:pt x="583" y="2338"/>
                </a:lnTo>
                <a:lnTo>
                  <a:pt x="580" y="2338"/>
                </a:lnTo>
                <a:lnTo>
                  <a:pt x="571" y="2345"/>
                </a:lnTo>
                <a:lnTo>
                  <a:pt x="561" y="2347"/>
                </a:lnTo>
                <a:lnTo>
                  <a:pt x="559" y="2349"/>
                </a:lnTo>
                <a:lnTo>
                  <a:pt x="545" y="2355"/>
                </a:lnTo>
                <a:lnTo>
                  <a:pt x="541" y="2358"/>
                </a:lnTo>
                <a:lnTo>
                  <a:pt x="522" y="2363"/>
                </a:lnTo>
                <a:lnTo>
                  <a:pt x="486" y="2307"/>
                </a:lnTo>
                <a:lnTo>
                  <a:pt x="465" y="2136"/>
                </a:lnTo>
                <a:lnTo>
                  <a:pt x="463" y="2133"/>
                </a:lnTo>
                <a:lnTo>
                  <a:pt x="463" y="2129"/>
                </a:lnTo>
                <a:lnTo>
                  <a:pt x="463" y="2127"/>
                </a:lnTo>
                <a:lnTo>
                  <a:pt x="463" y="2125"/>
                </a:lnTo>
                <a:lnTo>
                  <a:pt x="459" y="2122"/>
                </a:lnTo>
                <a:lnTo>
                  <a:pt x="458" y="2120"/>
                </a:lnTo>
                <a:lnTo>
                  <a:pt x="456" y="2120"/>
                </a:lnTo>
                <a:lnTo>
                  <a:pt x="374" y="2071"/>
                </a:lnTo>
                <a:lnTo>
                  <a:pt x="316" y="1938"/>
                </a:lnTo>
                <a:lnTo>
                  <a:pt x="312" y="1861"/>
                </a:lnTo>
                <a:lnTo>
                  <a:pt x="298" y="1843"/>
                </a:lnTo>
                <a:lnTo>
                  <a:pt x="291" y="1831"/>
                </a:lnTo>
                <a:lnTo>
                  <a:pt x="221" y="1760"/>
                </a:lnTo>
                <a:lnTo>
                  <a:pt x="207" y="1746"/>
                </a:lnTo>
                <a:lnTo>
                  <a:pt x="199" y="1688"/>
                </a:lnTo>
                <a:lnTo>
                  <a:pt x="203" y="1573"/>
                </a:lnTo>
                <a:lnTo>
                  <a:pt x="206" y="1543"/>
                </a:lnTo>
                <a:lnTo>
                  <a:pt x="206" y="1541"/>
                </a:lnTo>
                <a:lnTo>
                  <a:pt x="206" y="1539"/>
                </a:lnTo>
                <a:lnTo>
                  <a:pt x="209" y="1508"/>
                </a:lnTo>
                <a:lnTo>
                  <a:pt x="173" y="1402"/>
                </a:lnTo>
                <a:lnTo>
                  <a:pt x="170" y="1394"/>
                </a:lnTo>
                <a:lnTo>
                  <a:pt x="162" y="1366"/>
                </a:lnTo>
                <a:lnTo>
                  <a:pt x="159" y="1358"/>
                </a:lnTo>
                <a:lnTo>
                  <a:pt x="148" y="1325"/>
                </a:lnTo>
                <a:lnTo>
                  <a:pt x="129" y="1274"/>
                </a:lnTo>
                <a:lnTo>
                  <a:pt x="124" y="1258"/>
                </a:lnTo>
                <a:lnTo>
                  <a:pt x="101" y="1185"/>
                </a:lnTo>
                <a:lnTo>
                  <a:pt x="81" y="1126"/>
                </a:lnTo>
                <a:lnTo>
                  <a:pt x="74" y="1108"/>
                </a:lnTo>
                <a:lnTo>
                  <a:pt x="51" y="1037"/>
                </a:lnTo>
                <a:lnTo>
                  <a:pt x="34" y="988"/>
                </a:lnTo>
                <a:lnTo>
                  <a:pt x="34" y="984"/>
                </a:lnTo>
                <a:lnTo>
                  <a:pt x="29" y="972"/>
                </a:lnTo>
                <a:lnTo>
                  <a:pt x="23" y="954"/>
                </a:lnTo>
                <a:lnTo>
                  <a:pt x="17" y="934"/>
                </a:lnTo>
                <a:lnTo>
                  <a:pt x="16" y="931"/>
                </a:lnTo>
                <a:lnTo>
                  <a:pt x="10" y="914"/>
                </a:lnTo>
                <a:lnTo>
                  <a:pt x="9" y="910"/>
                </a:lnTo>
                <a:lnTo>
                  <a:pt x="4" y="899"/>
                </a:lnTo>
                <a:lnTo>
                  <a:pt x="4" y="896"/>
                </a:lnTo>
                <a:lnTo>
                  <a:pt x="3" y="896"/>
                </a:lnTo>
                <a:lnTo>
                  <a:pt x="2" y="896"/>
                </a:lnTo>
                <a:lnTo>
                  <a:pt x="2" y="894"/>
                </a:lnTo>
                <a:lnTo>
                  <a:pt x="0" y="894"/>
                </a:lnTo>
                <a:lnTo>
                  <a:pt x="23" y="880"/>
                </a:lnTo>
                <a:lnTo>
                  <a:pt x="43" y="867"/>
                </a:lnTo>
                <a:lnTo>
                  <a:pt x="54" y="859"/>
                </a:lnTo>
                <a:lnTo>
                  <a:pt x="63" y="854"/>
                </a:lnTo>
                <a:lnTo>
                  <a:pt x="143" y="772"/>
                </a:lnTo>
                <a:lnTo>
                  <a:pt x="162" y="757"/>
                </a:lnTo>
                <a:lnTo>
                  <a:pt x="181" y="731"/>
                </a:lnTo>
                <a:lnTo>
                  <a:pt x="234" y="678"/>
                </a:lnTo>
                <a:lnTo>
                  <a:pt x="245" y="670"/>
                </a:lnTo>
                <a:lnTo>
                  <a:pt x="269" y="645"/>
                </a:lnTo>
                <a:lnTo>
                  <a:pt x="303" y="608"/>
                </a:lnTo>
                <a:lnTo>
                  <a:pt x="341" y="570"/>
                </a:lnTo>
                <a:lnTo>
                  <a:pt x="372" y="539"/>
                </a:lnTo>
                <a:lnTo>
                  <a:pt x="380" y="529"/>
                </a:lnTo>
                <a:lnTo>
                  <a:pt x="394" y="514"/>
                </a:lnTo>
                <a:lnTo>
                  <a:pt x="477" y="430"/>
                </a:lnTo>
                <a:lnTo>
                  <a:pt x="484" y="424"/>
                </a:lnTo>
                <a:lnTo>
                  <a:pt x="517" y="390"/>
                </a:lnTo>
                <a:lnTo>
                  <a:pt x="531" y="375"/>
                </a:lnTo>
                <a:lnTo>
                  <a:pt x="641" y="259"/>
                </a:lnTo>
                <a:lnTo>
                  <a:pt x="648" y="253"/>
                </a:lnTo>
                <a:lnTo>
                  <a:pt x="661" y="241"/>
                </a:lnTo>
                <a:lnTo>
                  <a:pt x="740" y="159"/>
                </a:lnTo>
                <a:lnTo>
                  <a:pt x="766" y="131"/>
                </a:lnTo>
                <a:lnTo>
                  <a:pt x="796" y="101"/>
                </a:lnTo>
                <a:lnTo>
                  <a:pt x="870" y="26"/>
                </a:lnTo>
                <a:lnTo>
                  <a:pt x="890" y="5"/>
                </a:lnTo>
                <a:lnTo>
                  <a:pt x="903" y="1"/>
                </a:lnTo>
                <a:lnTo>
                  <a:pt x="914" y="0"/>
                </a:lnTo>
                <a:lnTo>
                  <a:pt x="923" y="1"/>
                </a:lnTo>
                <a:lnTo>
                  <a:pt x="946" y="14"/>
                </a:lnTo>
                <a:lnTo>
                  <a:pt x="956" y="19"/>
                </a:lnTo>
                <a:lnTo>
                  <a:pt x="961" y="26"/>
                </a:lnTo>
                <a:lnTo>
                  <a:pt x="965" y="27"/>
                </a:lnTo>
                <a:lnTo>
                  <a:pt x="971" y="31"/>
                </a:lnTo>
                <a:lnTo>
                  <a:pt x="974" y="31"/>
                </a:lnTo>
                <a:lnTo>
                  <a:pt x="975" y="38"/>
                </a:lnTo>
                <a:lnTo>
                  <a:pt x="981" y="46"/>
                </a:lnTo>
                <a:lnTo>
                  <a:pt x="992" y="50"/>
                </a:lnTo>
                <a:lnTo>
                  <a:pt x="997" y="56"/>
                </a:lnTo>
                <a:lnTo>
                  <a:pt x="1003" y="59"/>
                </a:lnTo>
                <a:lnTo>
                  <a:pt x="1007" y="64"/>
                </a:lnTo>
                <a:lnTo>
                  <a:pt x="1011" y="68"/>
                </a:lnTo>
                <a:lnTo>
                  <a:pt x="1015" y="68"/>
                </a:lnTo>
                <a:lnTo>
                  <a:pt x="1021" y="68"/>
                </a:lnTo>
                <a:lnTo>
                  <a:pt x="1025" y="67"/>
                </a:lnTo>
                <a:lnTo>
                  <a:pt x="1031" y="67"/>
                </a:lnTo>
                <a:lnTo>
                  <a:pt x="1039" y="64"/>
                </a:lnTo>
                <a:lnTo>
                  <a:pt x="1059" y="71"/>
                </a:lnTo>
                <a:lnTo>
                  <a:pt x="1067" y="68"/>
                </a:lnTo>
                <a:lnTo>
                  <a:pt x="1082" y="65"/>
                </a:lnTo>
                <a:lnTo>
                  <a:pt x="1085" y="65"/>
                </a:lnTo>
                <a:lnTo>
                  <a:pt x="1086" y="72"/>
                </a:lnTo>
                <a:lnTo>
                  <a:pt x="1089" y="75"/>
                </a:lnTo>
                <a:lnTo>
                  <a:pt x="1093" y="76"/>
                </a:lnTo>
                <a:lnTo>
                  <a:pt x="1099" y="79"/>
                </a:lnTo>
                <a:lnTo>
                  <a:pt x="1103" y="79"/>
                </a:lnTo>
                <a:lnTo>
                  <a:pt x="1104" y="79"/>
                </a:lnTo>
                <a:lnTo>
                  <a:pt x="1106" y="76"/>
                </a:lnTo>
                <a:lnTo>
                  <a:pt x="1107" y="80"/>
                </a:lnTo>
                <a:lnTo>
                  <a:pt x="1113" y="79"/>
                </a:lnTo>
                <a:lnTo>
                  <a:pt x="1121" y="81"/>
                </a:lnTo>
                <a:lnTo>
                  <a:pt x="1127" y="85"/>
                </a:lnTo>
                <a:lnTo>
                  <a:pt x="1134" y="89"/>
                </a:lnTo>
                <a:lnTo>
                  <a:pt x="1134" y="93"/>
                </a:lnTo>
                <a:lnTo>
                  <a:pt x="1132" y="94"/>
                </a:lnTo>
                <a:lnTo>
                  <a:pt x="1132" y="97"/>
                </a:lnTo>
                <a:lnTo>
                  <a:pt x="1138" y="104"/>
                </a:lnTo>
                <a:lnTo>
                  <a:pt x="1150" y="107"/>
                </a:lnTo>
                <a:lnTo>
                  <a:pt x="1157" y="107"/>
                </a:lnTo>
                <a:lnTo>
                  <a:pt x="1163" y="109"/>
                </a:lnTo>
                <a:lnTo>
                  <a:pt x="1182" y="119"/>
                </a:lnTo>
                <a:lnTo>
                  <a:pt x="1188" y="129"/>
                </a:lnTo>
                <a:lnTo>
                  <a:pt x="1186" y="131"/>
                </a:lnTo>
                <a:lnTo>
                  <a:pt x="1186" y="134"/>
                </a:lnTo>
                <a:lnTo>
                  <a:pt x="1194" y="137"/>
                </a:lnTo>
                <a:lnTo>
                  <a:pt x="1199" y="135"/>
                </a:lnTo>
                <a:lnTo>
                  <a:pt x="1203" y="138"/>
                </a:lnTo>
                <a:lnTo>
                  <a:pt x="1205" y="139"/>
                </a:lnTo>
                <a:lnTo>
                  <a:pt x="1209" y="143"/>
                </a:lnTo>
                <a:lnTo>
                  <a:pt x="1211" y="147"/>
                </a:lnTo>
                <a:lnTo>
                  <a:pt x="1217" y="150"/>
                </a:lnTo>
                <a:lnTo>
                  <a:pt x="1217" y="152"/>
                </a:lnTo>
                <a:lnTo>
                  <a:pt x="1222" y="156"/>
                </a:lnTo>
                <a:lnTo>
                  <a:pt x="1227" y="158"/>
                </a:lnTo>
                <a:lnTo>
                  <a:pt x="1231" y="154"/>
                </a:lnTo>
                <a:lnTo>
                  <a:pt x="1236" y="155"/>
                </a:lnTo>
                <a:lnTo>
                  <a:pt x="1239" y="151"/>
                </a:lnTo>
                <a:lnTo>
                  <a:pt x="1245" y="150"/>
                </a:lnTo>
                <a:lnTo>
                  <a:pt x="1252" y="152"/>
                </a:lnTo>
                <a:lnTo>
                  <a:pt x="1259" y="156"/>
                </a:lnTo>
                <a:lnTo>
                  <a:pt x="1266" y="156"/>
                </a:lnTo>
                <a:lnTo>
                  <a:pt x="1269" y="155"/>
                </a:lnTo>
                <a:lnTo>
                  <a:pt x="1277" y="143"/>
                </a:lnTo>
                <a:lnTo>
                  <a:pt x="1278" y="142"/>
                </a:lnTo>
                <a:lnTo>
                  <a:pt x="1282" y="143"/>
                </a:lnTo>
                <a:lnTo>
                  <a:pt x="1286" y="138"/>
                </a:lnTo>
                <a:lnTo>
                  <a:pt x="1289" y="138"/>
                </a:lnTo>
                <a:lnTo>
                  <a:pt x="1294" y="143"/>
                </a:lnTo>
                <a:lnTo>
                  <a:pt x="1305" y="150"/>
                </a:lnTo>
                <a:lnTo>
                  <a:pt x="1309" y="150"/>
                </a:lnTo>
                <a:lnTo>
                  <a:pt x="1313" y="152"/>
                </a:lnTo>
                <a:lnTo>
                  <a:pt x="1317" y="152"/>
                </a:lnTo>
                <a:lnTo>
                  <a:pt x="1325" y="159"/>
                </a:lnTo>
                <a:lnTo>
                  <a:pt x="1327" y="161"/>
                </a:lnTo>
                <a:lnTo>
                  <a:pt x="1325" y="162"/>
                </a:lnTo>
                <a:lnTo>
                  <a:pt x="1325" y="166"/>
                </a:lnTo>
                <a:lnTo>
                  <a:pt x="1331" y="174"/>
                </a:lnTo>
                <a:lnTo>
                  <a:pt x="1332" y="178"/>
                </a:lnTo>
                <a:lnTo>
                  <a:pt x="1334" y="180"/>
                </a:lnTo>
                <a:lnTo>
                  <a:pt x="1327" y="192"/>
                </a:lnTo>
                <a:lnTo>
                  <a:pt x="1327" y="194"/>
                </a:lnTo>
                <a:lnTo>
                  <a:pt x="1330" y="200"/>
                </a:lnTo>
                <a:lnTo>
                  <a:pt x="1332" y="200"/>
                </a:lnTo>
                <a:lnTo>
                  <a:pt x="1334" y="203"/>
                </a:lnTo>
                <a:lnTo>
                  <a:pt x="1344" y="203"/>
                </a:lnTo>
                <a:lnTo>
                  <a:pt x="1346" y="206"/>
                </a:lnTo>
                <a:lnTo>
                  <a:pt x="1348" y="209"/>
                </a:lnTo>
                <a:lnTo>
                  <a:pt x="1352" y="211"/>
                </a:lnTo>
                <a:lnTo>
                  <a:pt x="1367" y="211"/>
                </a:lnTo>
                <a:lnTo>
                  <a:pt x="1374" y="213"/>
                </a:lnTo>
                <a:lnTo>
                  <a:pt x="1380" y="211"/>
                </a:lnTo>
                <a:lnTo>
                  <a:pt x="1388" y="214"/>
                </a:lnTo>
                <a:lnTo>
                  <a:pt x="1395" y="214"/>
                </a:lnTo>
                <a:lnTo>
                  <a:pt x="1402" y="218"/>
                </a:lnTo>
                <a:lnTo>
                  <a:pt x="1410" y="218"/>
                </a:lnTo>
                <a:lnTo>
                  <a:pt x="1419" y="217"/>
                </a:lnTo>
                <a:lnTo>
                  <a:pt x="1419" y="209"/>
                </a:lnTo>
                <a:lnTo>
                  <a:pt x="1420" y="206"/>
                </a:lnTo>
                <a:lnTo>
                  <a:pt x="1426" y="206"/>
                </a:lnTo>
                <a:lnTo>
                  <a:pt x="1430" y="203"/>
                </a:lnTo>
                <a:lnTo>
                  <a:pt x="1431" y="199"/>
                </a:lnTo>
                <a:lnTo>
                  <a:pt x="1435" y="196"/>
                </a:lnTo>
                <a:lnTo>
                  <a:pt x="1435" y="192"/>
                </a:lnTo>
                <a:lnTo>
                  <a:pt x="1438" y="188"/>
                </a:lnTo>
                <a:lnTo>
                  <a:pt x="1452" y="184"/>
                </a:lnTo>
                <a:lnTo>
                  <a:pt x="1459" y="175"/>
                </a:lnTo>
                <a:lnTo>
                  <a:pt x="1463" y="172"/>
                </a:lnTo>
                <a:lnTo>
                  <a:pt x="1463" y="168"/>
                </a:lnTo>
                <a:lnTo>
                  <a:pt x="1467" y="168"/>
                </a:lnTo>
                <a:lnTo>
                  <a:pt x="1470" y="169"/>
                </a:lnTo>
                <a:lnTo>
                  <a:pt x="1476" y="169"/>
                </a:lnTo>
                <a:lnTo>
                  <a:pt x="1479" y="166"/>
                </a:lnTo>
                <a:lnTo>
                  <a:pt x="1479" y="164"/>
                </a:lnTo>
                <a:lnTo>
                  <a:pt x="1480" y="162"/>
                </a:lnTo>
                <a:lnTo>
                  <a:pt x="1484" y="162"/>
                </a:lnTo>
                <a:lnTo>
                  <a:pt x="1487" y="162"/>
                </a:lnTo>
                <a:lnTo>
                  <a:pt x="1490" y="162"/>
                </a:lnTo>
                <a:lnTo>
                  <a:pt x="1494" y="155"/>
                </a:lnTo>
                <a:lnTo>
                  <a:pt x="1499" y="151"/>
                </a:lnTo>
                <a:lnTo>
                  <a:pt x="1502" y="147"/>
                </a:lnTo>
                <a:lnTo>
                  <a:pt x="1510" y="143"/>
                </a:lnTo>
                <a:lnTo>
                  <a:pt x="1510" y="139"/>
                </a:lnTo>
                <a:lnTo>
                  <a:pt x="1517" y="135"/>
                </a:lnTo>
                <a:lnTo>
                  <a:pt x="1537" y="131"/>
                </a:lnTo>
                <a:lnTo>
                  <a:pt x="1540" y="133"/>
                </a:lnTo>
                <a:lnTo>
                  <a:pt x="1544" y="133"/>
                </a:lnTo>
                <a:lnTo>
                  <a:pt x="1551" y="129"/>
                </a:lnTo>
                <a:lnTo>
                  <a:pt x="1554" y="129"/>
                </a:lnTo>
                <a:lnTo>
                  <a:pt x="1559" y="131"/>
                </a:lnTo>
                <a:lnTo>
                  <a:pt x="1563" y="131"/>
                </a:lnTo>
                <a:lnTo>
                  <a:pt x="1570" y="138"/>
                </a:lnTo>
                <a:lnTo>
                  <a:pt x="1571" y="143"/>
                </a:lnTo>
                <a:lnTo>
                  <a:pt x="1577" y="146"/>
                </a:lnTo>
                <a:lnTo>
                  <a:pt x="1580" y="147"/>
                </a:lnTo>
                <a:lnTo>
                  <a:pt x="1583" y="150"/>
                </a:lnTo>
                <a:lnTo>
                  <a:pt x="1587" y="147"/>
                </a:lnTo>
                <a:lnTo>
                  <a:pt x="1596" y="155"/>
                </a:lnTo>
                <a:lnTo>
                  <a:pt x="1601" y="155"/>
                </a:lnTo>
                <a:lnTo>
                  <a:pt x="1583" y="178"/>
                </a:lnTo>
                <a:lnTo>
                  <a:pt x="1577" y="178"/>
                </a:lnTo>
                <a:lnTo>
                  <a:pt x="1576" y="172"/>
                </a:lnTo>
                <a:lnTo>
                  <a:pt x="1569" y="176"/>
                </a:lnTo>
                <a:lnTo>
                  <a:pt x="1555" y="176"/>
                </a:lnTo>
                <a:lnTo>
                  <a:pt x="1552" y="180"/>
                </a:lnTo>
                <a:lnTo>
                  <a:pt x="1551" y="187"/>
                </a:lnTo>
                <a:lnTo>
                  <a:pt x="1556" y="200"/>
                </a:lnTo>
                <a:lnTo>
                  <a:pt x="1558" y="206"/>
                </a:lnTo>
                <a:lnTo>
                  <a:pt x="1552" y="214"/>
                </a:lnTo>
                <a:lnTo>
                  <a:pt x="1535" y="218"/>
                </a:lnTo>
                <a:lnTo>
                  <a:pt x="1531" y="222"/>
                </a:lnTo>
                <a:lnTo>
                  <a:pt x="1527" y="231"/>
                </a:lnTo>
                <a:lnTo>
                  <a:pt x="1530" y="245"/>
                </a:lnTo>
                <a:lnTo>
                  <a:pt x="1527" y="249"/>
                </a:lnTo>
                <a:lnTo>
                  <a:pt x="1524" y="250"/>
                </a:lnTo>
                <a:lnTo>
                  <a:pt x="1519" y="246"/>
                </a:lnTo>
                <a:lnTo>
                  <a:pt x="1513" y="248"/>
                </a:lnTo>
                <a:lnTo>
                  <a:pt x="1492" y="301"/>
                </a:lnTo>
                <a:lnTo>
                  <a:pt x="1499" y="312"/>
                </a:lnTo>
                <a:lnTo>
                  <a:pt x="1516" y="346"/>
                </a:lnTo>
                <a:lnTo>
                  <a:pt x="1499" y="378"/>
                </a:lnTo>
                <a:lnTo>
                  <a:pt x="1498" y="386"/>
                </a:lnTo>
                <a:lnTo>
                  <a:pt x="1520" y="441"/>
                </a:lnTo>
                <a:lnTo>
                  <a:pt x="1562" y="504"/>
                </a:lnTo>
                <a:lnTo>
                  <a:pt x="1567" y="514"/>
                </a:lnTo>
                <a:lnTo>
                  <a:pt x="1596" y="539"/>
                </a:lnTo>
                <a:lnTo>
                  <a:pt x="1638" y="556"/>
                </a:lnTo>
                <a:lnTo>
                  <a:pt x="1631" y="577"/>
                </a:lnTo>
                <a:lnTo>
                  <a:pt x="1626" y="583"/>
                </a:lnTo>
                <a:lnTo>
                  <a:pt x="1624" y="587"/>
                </a:lnTo>
                <a:lnTo>
                  <a:pt x="1626" y="598"/>
                </a:lnTo>
                <a:lnTo>
                  <a:pt x="1624" y="602"/>
                </a:lnTo>
                <a:lnTo>
                  <a:pt x="1630" y="607"/>
                </a:lnTo>
                <a:lnTo>
                  <a:pt x="1629" y="611"/>
                </a:lnTo>
                <a:lnTo>
                  <a:pt x="1627" y="615"/>
                </a:lnTo>
                <a:lnTo>
                  <a:pt x="1629" y="620"/>
                </a:lnTo>
                <a:lnTo>
                  <a:pt x="1633" y="624"/>
                </a:lnTo>
                <a:lnTo>
                  <a:pt x="1643" y="626"/>
                </a:lnTo>
                <a:lnTo>
                  <a:pt x="1645" y="629"/>
                </a:lnTo>
                <a:lnTo>
                  <a:pt x="1647" y="633"/>
                </a:lnTo>
                <a:lnTo>
                  <a:pt x="1649" y="636"/>
                </a:lnTo>
                <a:lnTo>
                  <a:pt x="1649" y="638"/>
                </a:lnTo>
                <a:lnTo>
                  <a:pt x="1652" y="641"/>
                </a:lnTo>
                <a:lnTo>
                  <a:pt x="1651" y="648"/>
                </a:lnTo>
                <a:lnTo>
                  <a:pt x="1654" y="653"/>
                </a:lnTo>
                <a:lnTo>
                  <a:pt x="1655" y="656"/>
                </a:lnTo>
                <a:lnTo>
                  <a:pt x="1654" y="660"/>
                </a:lnTo>
                <a:lnTo>
                  <a:pt x="1655" y="664"/>
                </a:lnTo>
                <a:lnTo>
                  <a:pt x="1654" y="669"/>
                </a:lnTo>
                <a:lnTo>
                  <a:pt x="1652" y="673"/>
                </a:lnTo>
                <a:lnTo>
                  <a:pt x="1649" y="676"/>
                </a:lnTo>
                <a:lnTo>
                  <a:pt x="1637" y="676"/>
                </a:lnTo>
                <a:lnTo>
                  <a:pt x="1635" y="677"/>
                </a:lnTo>
                <a:lnTo>
                  <a:pt x="1635" y="685"/>
                </a:lnTo>
                <a:lnTo>
                  <a:pt x="1638" y="694"/>
                </a:lnTo>
                <a:lnTo>
                  <a:pt x="1635" y="699"/>
                </a:lnTo>
                <a:lnTo>
                  <a:pt x="1634" y="705"/>
                </a:lnTo>
                <a:lnTo>
                  <a:pt x="1635" y="708"/>
                </a:lnTo>
                <a:lnTo>
                  <a:pt x="1633" y="713"/>
                </a:lnTo>
                <a:lnTo>
                  <a:pt x="1631" y="722"/>
                </a:lnTo>
                <a:lnTo>
                  <a:pt x="1626" y="727"/>
                </a:lnTo>
                <a:lnTo>
                  <a:pt x="1626" y="733"/>
                </a:lnTo>
                <a:lnTo>
                  <a:pt x="1627" y="735"/>
                </a:lnTo>
                <a:lnTo>
                  <a:pt x="1627" y="743"/>
                </a:lnTo>
                <a:lnTo>
                  <a:pt x="1629" y="744"/>
                </a:lnTo>
                <a:lnTo>
                  <a:pt x="1627" y="747"/>
                </a:lnTo>
                <a:lnTo>
                  <a:pt x="1629" y="750"/>
                </a:lnTo>
                <a:lnTo>
                  <a:pt x="1637" y="753"/>
                </a:lnTo>
                <a:lnTo>
                  <a:pt x="1648" y="763"/>
                </a:lnTo>
                <a:lnTo>
                  <a:pt x="1658" y="764"/>
                </a:lnTo>
                <a:lnTo>
                  <a:pt x="1662" y="770"/>
                </a:lnTo>
                <a:lnTo>
                  <a:pt x="1662" y="775"/>
                </a:lnTo>
                <a:lnTo>
                  <a:pt x="1659" y="776"/>
                </a:lnTo>
                <a:lnTo>
                  <a:pt x="1662" y="778"/>
                </a:lnTo>
                <a:lnTo>
                  <a:pt x="1662" y="780"/>
                </a:lnTo>
                <a:lnTo>
                  <a:pt x="1659" y="782"/>
                </a:lnTo>
                <a:lnTo>
                  <a:pt x="1656" y="785"/>
                </a:lnTo>
                <a:lnTo>
                  <a:pt x="1656" y="788"/>
                </a:lnTo>
                <a:lnTo>
                  <a:pt x="1648" y="802"/>
                </a:lnTo>
                <a:lnTo>
                  <a:pt x="1648" y="809"/>
                </a:lnTo>
                <a:lnTo>
                  <a:pt x="1649" y="812"/>
                </a:lnTo>
                <a:lnTo>
                  <a:pt x="1652" y="813"/>
                </a:lnTo>
                <a:lnTo>
                  <a:pt x="1652" y="818"/>
                </a:lnTo>
                <a:lnTo>
                  <a:pt x="1652" y="825"/>
                </a:lnTo>
                <a:lnTo>
                  <a:pt x="1654" y="832"/>
                </a:lnTo>
                <a:lnTo>
                  <a:pt x="1658" y="838"/>
                </a:lnTo>
                <a:lnTo>
                  <a:pt x="1656" y="842"/>
                </a:lnTo>
                <a:lnTo>
                  <a:pt x="1663" y="847"/>
                </a:lnTo>
                <a:lnTo>
                  <a:pt x="1665" y="855"/>
                </a:lnTo>
                <a:lnTo>
                  <a:pt x="1672" y="859"/>
                </a:lnTo>
                <a:lnTo>
                  <a:pt x="1672" y="860"/>
                </a:lnTo>
                <a:lnTo>
                  <a:pt x="1670" y="863"/>
                </a:lnTo>
                <a:lnTo>
                  <a:pt x="1666" y="864"/>
                </a:lnTo>
                <a:lnTo>
                  <a:pt x="1662" y="860"/>
                </a:lnTo>
                <a:lnTo>
                  <a:pt x="1655" y="860"/>
                </a:lnTo>
                <a:lnTo>
                  <a:pt x="1647" y="855"/>
                </a:lnTo>
                <a:lnTo>
                  <a:pt x="1644" y="855"/>
                </a:lnTo>
                <a:lnTo>
                  <a:pt x="1640" y="856"/>
                </a:lnTo>
                <a:lnTo>
                  <a:pt x="1629" y="864"/>
                </a:lnTo>
                <a:lnTo>
                  <a:pt x="1626" y="864"/>
                </a:lnTo>
                <a:lnTo>
                  <a:pt x="1621" y="860"/>
                </a:lnTo>
                <a:lnTo>
                  <a:pt x="1617" y="862"/>
                </a:lnTo>
                <a:lnTo>
                  <a:pt x="1617" y="863"/>
                </a:lnTo>
                <a:lnTo>
                  <a:pt x="1619" y="865"/>
                </a:lnTo>
                <a:lnTo>
                  <a:pt x="1616" y="868"/>
                </a:lnTo>
                <a:lnTo>
                  <a:pt x="1617" y="869"/>
                </a:lnTo>
                <a:lnTo>
                  <a:pt x="1612" y="877"/>
                </a:lnTo>
                <a:lnTo>
                  <a:pt x="1612" y="881"/>
                </a:lnTo>
                <a:lnTo>
                  <a:pt x="1608" y="885"/>
                </a:lnTo>
                <a:lnTo>
                  <a:pt x="1613" y="892"/>
                </a:lnTo>
                <a:lnTo>
                  <a:pt x="1615" y="894"/>
                </a:lnTo>
                <a:lnTo>
                  <a:pt x="1609" y="902"/>
                </a:lnTo>
                <a:lnTo>
                  <a:pt x="1609" y="904"/>
                </a:lnTo>
                <a:lnTo>
                  <a:pt x="1609" y="907"/>
                </a:lnTo>
                <a:lnTo>
                  <a:pt x="1613" y="912"/>
                </a:lnTo>
                <a:lnTo>
                  <a:pt x="1609" y="914"/>
                </a:lnTo>
                <a:lnTo>
                  <a:pt x="1610" y="917"/>
                </a:lnTo>
                <a:lnTo>
                  <a:pt x="1608" y="918"/>
                </a:lnTo>
                <a:lnTo>
                  <a:pt x="1609" y="922"/>
                </a:lnTo>
                <a:lnTo>
                  <a:pt x="1606" y="927"/>
                </a:lnTo>
                <a:lnTo>
                  <a:pt x="1605" y="937"/>
                </a:lnTo>
                <a:lnTo>
                  <a:pt x="1602" y="939"/>
                </a:lnTo>
                <a:lnTo>
                  <a:pt x="1601" y="944"/>
                </a:lnTo>
                <a:lnTo>
                  <a:pt x="1596" y="952"/>
                </a:lnTo>
                <a:lnTo>
                  <a:pt x="1598" y="956"/>
                </a:lnTo>
                <a:lnTo>
                  <a:pt x="1596" y="960"/>
                </a:lnTo>
                <a:lnTo>
                  <a:pt x="1592" y="963"/>
                </a:lnTo>
                <a:lnTo>
                  <a:pt x="1594" y="971"/>
                </a:lnTo>
                <a:lnTo>
                  <a:pt x="1590" y="975"/>
                </a:lnTo>
                <a:lnTo>
                  <a:pt x="1591" y="980"/>
                </a:lnTo>
                <a:lnTo>
                  <a:pt x="1585" y="984"/>
                </a:lnTo>
                <a:lnTo>
                  <a:pt x="1588" y="989"/>
                </a:lnTo>
                <a:lnTo>
                  <a:pt x="1583" y="989"/>
                </a:lnTo>
                <a:lnTo>
                  <a:pt x="1580" y="996"/>
                </a:lnTo>
                <a:lnTo>
                  <a:pt x="1581" y="1000"/>
                </a:lnTo>
                <a:lnTo>
                  <a:pt x="1577" y="1003"/>
                </a:lnTo>
                <a:lnTo>
                  <a:pt x="1584" y="1008"/>
                </a:lnTo>
                <a:lnTo>
                  <a:pt x="1590" y="1012"/>
                </a:lnTo>
                <a:lnTo>
                  <a:pt x="1588" y="1019"/>
                </a:lnTo>
                <a:lnTo>
                  <a:pt x="1590" y="1025"/>
                </a:lnTo>
                <a:lnTo>
                  <a:pt x="1592" y="1025"/>
                </a:lnTo>
                <a:lnTo>
                  <a:pt x="1594" y="1025"/>
                </a:lnTo>
                <a:lnTo>
                  <a:pt x="1592" y="1028"/>
                </a:lnTo>
                <a:lnTo>
                  <a:pt x="1596" y="1028"/>
                </a:lnTo>
                <a:lnTo>
                  <a:pt x="1596" y="1031"/>
                </a:lnTo>
                <a:lnTo>
                  <a:pt x="1599" y="1033"/>
                </a:lnTo>
                <a:lnTo>
                  <a:pt x="1599" y="1038"/>
                </a:lnTo>
                <a:lnTo>
                  <a:pt x="1602" y="1042"/>
                </a:lnTo>
                <a:lnTo>
                  <a:pt x="1604" y="1046"/>
                </a:lnTo>
                <a:lnTo>
                  <a:pt x="1606" y="1047"/>
                </a:lnTo>
                <a:lnTo>
                  <a:pt x="1606" y="1054"/>
                </a:lnTo>
                <a:lnTo>
                  <a:pt x="1609" y="1055"/>
                </a:lnTo>
                <a:lnTo>
                  <a:pt x="1609" y="1054"/>
                </a:lnTo>
                <a:lnTo>
                  <a:pt x="1610" y="1054"/>
                </a:lnTo>
                <a:lnTo>
                  <a:pt x="1612" y="1056"/>
                </a:lnTo>
                <a:lnTo>
                  <a:pt x="1615" y="1059"/>
                </a:lnTo>
                <a:lnTo>
                  <a:pt x="1617" y="1063"/>
                </a:lnTo>
                <a:lnTo>
                  <a:pt x="1617" y="1066"/>
                </a:lnTo>
                <a:lnTo>
                  <a:pt x="1621" y="1072"/>
                </a:lnTo>
                <a:lnTo>
                  <a:pt x="1623" y="1083"/>
                </a:lnTo>
                <a:lnTo>
                  <a:pt x="1626" y="1090"/>
                </a:lnTo>
                <a:lnTo>
                  <a:pt x="1629" y="1090"/>
                </a:lnTo>
                <a:lnTo>
                  <a:pt x="1634" y="1085"/>
                </a:lnTo>
                <a:lnTo>
                  <a:pt x="1651" y="1083"/>
                </a:lnTo>
                <a:lnTo>
                  <a:pt x="1655" y="1093"/>
                </a:lnTo>
                <a:lnTo>
                  <a:pt x="1666" y="1096"/>
                </a:lnTo>
                <a:lnTo>
                  <a:pt x="1675" y="1100"/>
                </a:lnTo>
                <a:lnTo>
                  <a:pt x="1681" y="1105"/>
                </a:lnTo>
                <a:lnTo>
                  <a:pt x="1689" y="1108"/>
                </a:lnTo>
                <a:lnTo>
                  <a:pt x="1695" y="1113"/>
                </a:lnTo>
                <a:lnTo>
                  <a:pt x="1701" y="1120"/>
                </a:lnTo>
                <a:lnTo>
                  <a:pt x="1711" y="1121"/>
                </a:lnTo>
                <a:lnTo>
                  <a:pt x="1723" y="1121"/>
                </a:lnTo>
                <a:lnTo>
                  <a:pt x="1729" y="1124"/>
                </a:lnTo>
                <a:lnTo>
                  <a:pt x="1730" y="1128"/>
                </a:lnTo>
                <a:lnTo>
                  <a:pt x="1729" y="1132"/>
                </a:lnTo>
                <a:lnTo>
                  <a:pt x="1733" y="1141"/>
                </a:lnTo>
                <a:lnTo>
                  <a:pt x="1733" y="1143"/>
                </a:lnTo>
                <a:lnTo>
                  <a:pt x="1739" y="1150"/>
                </a:lnTo>
                <a:lnTo>
                  <a:pt x="1740" y="1153"/>
                </a:lnTo>
                <a:lnTo>
                  <a:pt x="1744" y="1154"/>
                </a:lnTo>
                <a:lnTo>
                  <a:pt x="1756" y="1158"/>
                </a:lnTo>
                <a:lnTo>
                  <a:pt x="1761" y="1162"/>
                </a:lnTo>
                <a:lnTo>
                  <a:pt x="1758" y="1166"/>
                </a:lnTo>
                <a:lnTo>
                  <a:pt x="1753" y="1171"/>
                </a:lnTo>
                <a:lnTo>
                  <a:pt x="1753" y="1179"/>
                </a:lnTo>
                <a:lnTo>
                  <a:pt x="1755" y="1183"/>
                </a:lnTo>
                <a:lnTo>
                  <a:pt x="1764" y="1180"/>
                </a:lnTo>
                <a:lnTo>
                  <a:pt x="1766" y="1184"/>
                </a:lnTo>
                <a:lnTo>
                  <a:pt x="1769" y="1188"/>
                </a:lnTo>
                <a:lnTo>
                  <a:pt x="1766" y="1193"/>
                </a:lnTo>
                <a:lnTo>
                  <a:pt x="1766" y="1196"/>
                </a:lnTo>
                <a:lnTo>
                  <a:pt x="1769" y="1202"/>
                </a:lnTo>
                <a:lnTo>
                  <a:pt x="1786" y="1215"/>
                </a:lnTo>
                <a:lnTo>
                  <a:pt x="1794" y="1215"/>
                </a:lnTo>
                <a:lnTo>
                  <a:pt x="1804" y="1225"/>
                </a:lnTo>
                <a:lnTo>
                  <a:pt x="1822" y="1233"/>
                </a:lnTo>
                <a:lnTo>
                  <a:pt x="1830" y="1246"/>
                </a:lnTo>
                <a:lnTo>
                  <a:pt x="1829" y="1252"/>
                </a:lnTo>
                <a:lnTo>
                  <a:pt x="1830" y="1255"/>
                </a:lnTo>
                <a:lnTo>
                  <a:pt x="1843" y="1263"/>
                </a:lnTo>
                <a:lnTo>
                  <a:pt x="1848" y="1274"/>
                </a:lnTo>
                <a:lnTo>
                  <a:pt x="1865" y="1278"/>
                </a:lnTo>
                <a:lnTo>
                  <a:pt x="1869" y="1277"/>
                </a:lnTo>
                <a:lnTo>
                  <a:pt x="1879" y="1270"/>
                </a:lnTo>
                <a:lnTo>
                  <a:pt x="1880" y="1270"/>
                </a:lnTo>
                <a:lnTo>
                  <a:pt x="1883" y="1270"/>
                </a:lnTo>
                <a:lnTo>
                  <a:pt x="1886" y="1278"/>
                </a:lnTo>
                <a:lnTo>
                  <a:pt x="1883" y="1282"/>
                </a:lnTo>
                <a:lnTo>
                  <a:pt x="1881" y="1286"/>
                </a:lnTo>
                <a:lnTo>
                  <a:pt x="1884" y="1291"/>
                </a:lnTo>
                <a:lnTo>
                  <a:pt x="1894" y="1296"/>
                </a:lnTo>
                <a:lnTo>
                  <a:pt x="1898" y="1307"/>
                </a:lnTo>
                <a:lnTo>
                  <a:pt x="1904" y="1314"/>
                </a:lnTo>
                <a:lnTo>
                  <a:pt x="1909" y="1315"/>
                </a:lnTo>
                <a:lnTo>
                  <a:pt x="1911" y="1317"/>
                </a:lnTo>
                <a:lnTo>
                  <a:pt x="1911" y="1319"/>
                </a:lnTo>
                <a:lnTo>
                  <a:pt x="1908" y="1322"/>
                </a:lnTo>
                <a:lnTo>
                  <a:pt x="1909" y="1328"/>
                </a:lnTo>
                <a:lnTo>
                  <a:pt x="1911" y="1329"/>
                </a:lnTo>
                <a:lnTo>
                  <a:pt x="1915" y="1331"/>
                </a:lnTo>
                <a:lnTo>
                  <a:pt x="1915" y="1333"/>
                </a:lnTo>
                <a:lnTo>
                  <a:pt x="1912" y="1340"/>
                </a:lnTo>
                <a:lnTo>
                  <a:pt x="1914" y="1341"/>
                </a:lnTo>
                <a:lnTo>
                  <a:pt x="1916" y="1345"/>
                </a:lnTo>
                <a:lnTo>
                  <a:pt x="1919" y="1348"/>
                </a:lnTo>
                <a:lnTo>
                  <a:pt x="1921" y="1354"/>
                </a:lnTo>
                <a:lnTo>
                  <a:pt x="1923" y="1358"/>
                </a:lnTo>
                <a:lnTo>
                  <a:pt x="1921" y="1359"/>
                </a:lnTo>
                <a:lnTo>
                  <a:pt x="1919" y="1361"/>
                </a:lnTo>
                <a:lnTo>
                  <a:pt x="1918" y="1367"/>
                </a:lnTo>
                <a:lnTo>
                  <a:pt x="1919" y="1370"/>
                </a:lnTo>
                <a:lnTo>
                  <a:pt x="1916" y="1373"/>
                </a:lnTo>
                <a:lnTo>
                  <a:pt x="1916" y="1376"/>
                </a:lnTo>
                <a:lnTo>
                  <a:pt x="1919" y="1379"/>
                </a:lnTo>
                <a:lnTo>
                  <a:pt x="1923" y="1379"/>
                </a:lnTo>
                <a:lnTo>
                  <a:pt x="1930" y="1384"/>
                </a:lnTo>
                <a:lnTo>
                  <a:pt x="1936" y="1386"/>
                </a:lnTo>
                <a:lnTo>
                  <a:pt x="1939" y="1389"/>
                </a:lnTo>
                <a:lnTo>
                  <a:pt x="1941" y="1393"/>
                </a:lnTo>
                <a:lnTo>
                  <a:pt x="1941" y="1398"/>
                </a:lnTo>
                <a:lnTo>
                  <a:pt x="1943" y="1399"/>
                </a:lnTo>
                <a:lnTo>
                  <a:pt x="1944" y="1403"/>
                </a:lnTo>
                <a:lnTo>
                  <a:pt x="1955" y="1408"/>
                </a:lnTo>
                <a:lnTo>
                  <a:pt x="1954" y="1412"/>
                </a:lnTo>
                <a:lnTo>
                  <a:pt x="1954" y="1416"/>
                </a:lnTo>
                <a:lnTo>
                  <a:pt x="1957" y="1419"/>
                </a:lnTo>
                <a:lnTo>
                  <a:pt x="1955" y="1424"/>
                </a:lnTo>
                <a:lnTo>
                  <a:pt x="1957" y="1428"/>
                </a:lnTo>
                <a:lnTo>
                  <a:pt x="1961" y="1431"/>
                </a:lnTo>
                <a:lnTo>
                  <a:pt x="1966" y="1427"/>
                </a:lnTo>
                <a:lnTo>
                  <a:pt x="1972" y="1424"/>
                </a:lnTo>
                <a:lnTo>
                  <a:pt x="1976" y="1426"/>
                </a:lnTo>
                <a:lnTo>
                  <a:pt x="1982" y="1423"/>
                </a:lnTo>
                <a:lnTo>
                  <a:pt x="1985" y="1424"/>
                </a:lnTo>
                <a:lnTo>
                  <a:pt x="1990" y="1433"/>
                </a:lnTo>
                <a:lnTo>
                  <a:pt x="1989" y="1437"/>
                </a:lnTo>
                <a:lnTo>
                  <a:pt x="1983" y="1443"/>
                </a:lnTo>
                <a:lnTo>
                  <a:pt x="1985" y="1446"/>
                </a:lnTo>
                <a:lnTo>
                  <a:pt x="1988" y="1448"/>
                </a:lnTo>
                <a:lnTo>
                  <a:pt x="2007" y="1456"/>
                </a:lnTo>
                <a:lnTo>
                  <a:pt x="2007" y="1460"/>
                </a:lnTo>
                <a:lnTo>
                  <a:pt x="2008" y="1464"/>
                </a:lnTo>
                <a:lnTo>
                  <a:pt x="2007" y="1469"/>
                </a:lnTo>
                <a:lnTo>
                  <a:pt x="2013" y="1476"/>
                </a:lnTo>
                <a:lnTo>
                  <a:pt x="2016" y="1477"/>
                </a:lnTo>
                <a:lnTo>
                  <a:pt x="2028" y="1480"/>
                </a:lnTo>
                <a:lnTo>
                  <a:pt x="2029" y="1483"/>
                </a:lnTo>
                <a:lnTo>
                  <a:pt x="2032" y="1486"/>
                </a:lnTo>
                <a:lnTo>
                  <a:pt x="2032" y="1489"/>
                </a:lnTo>
                <a:lnTo>
                  <a:pt x="2028" y="1491"/>
                </a:lnTo>
                <a:lnTo>
                  <a:pt x="2025" y="1495"/>
                </a:lnTo>
                <a:lnTo>
                  <a:pt x="2025" y="1498"/>
                </a:lnTo>
                <a:lnTo>
                  <a:pt x="2025" y="1502"/>
                </a:lnTo>
                <a:lnTo>
                  <a:pt x="2032" y="1505"/>
                </a:lnTo>
                <a:lnTo>
                  <a:pt x="2035" y="1506"/>
                </a:lnTo>
                <a:lnTo>
                  <a:pt x="2038" y="1506"/>
                </a:lnTo>
                <a:lnTo>
                  <a:pt x="2040" y="1505"/>
                </a:lnTo>
                <a:lnTo>
                  <a:pt x="2044" y="1505"/>
                </a:lnTo>
                <a:lnTo>
                  <a:pt x="2046" y="1506"/>
                </a:lnTo>
                <a:lnTo>
                  <a:pt x="2041" y="1510"/>
                </a:lnTo>
                <a:lnTo>
                  <a:pt x="2046" y="1516"/>
                </a:lnTo>
                <a:lnTo>
                  <a:pt x="2043" y="1519"/>
                </a:lnTo>
                <a:lnTo>
                  <a:pt x="2043" y="1522"/>
                </a:lnTo>
                <a:lnTo>
                  <a:pt x="2047" y="1522"/>
                </a:lnTo>
                <a:lnTo>
                  <a:pt x="2047" y="1523"/>
                </a:lnTo>
                <a:lnTo>
                  <a:pt x="2043" y="1527"/>
                </a:lnTo>
                <a:lnTo>
                  <a:pt x="2043" y="1535"/>
                </a:lnTo>
                <a:lnTo>
                  <a:pt x="2046" y="1539"/>
                </a:lnTo>
                <a:lnTo>
                  <a:pt x="2043" y="1545"/>
                </a:lnTo>
                <a:lnTo>
                  <a:pt x="2040" y="1548"/>
                </a:lnTo>
                <a:lnTo>
                  <a:pt x="2041" y="1551"/>
                </a:lnTo>
                <a:lnTo>
                  <a:pt x="2044" y="1555"/>
                </a:lnTo>
                <a:lnTo>
                  <a:pt x="2049" y="1555"/>
                </a:lnTo>
                <a:lnTo>
                  <a:pt x="2053" y="1555"/>
                </a:lnTo>
                <a:lnTo>
                  <a:pt x="2055" y="1555"/>
                </a:lnTo>
                <a:lnTo>
                  <a:pt x="2057" y="1558"/>
                </a:lnTo>
                <a:lnTo>
                  <a:pt x="2060" y="1561"/>
                </a:lnTo>
                <a:lnTo>
                  <a:pt x="2063" y="1568"/>
                </a:lnTo>
                <a:lnTo>
                  <a:pt x="2068" y="1573"/>
                </a:lnTo>
                <a:lnTo>
                  <a:pt x="2066" y="1577"/>
                </a:lnTo>
                <a:lnTo>
                  <a:pt x="2063" y="1577"/>
                </a:lnTo>
                <a:lnTo>
                  <a:pt x="2063" y="1581"/>
                </a:lnTo>
                <a:lnTo>
                  <a:pt x="2064" y="1585"/>
                </a:lnTo>
                <a:lnTo>
                  <a:pt x="2060" y="1589"/>
                </a:lnTo>
                <a:lnTo>
                  <a:pt x="2058" y="1594"/>
                </a:lnTo>
                <a:lnTo>
                  <a:pt x="2060" y="1599"/>
                </a:lnTo>
                <a:lnTo>
                  <a:pt x="2064" y="1603"/>
                </a:lnTo>
                <a:lnTo>
                  <a:pt x="2063" y="1611"/>
                </a:lnTo>
                <a:lnTo>
                  <a:pt x="2066" y="1614"/>
                </a:lnTo>
                <a:lnTo>
                  <a:pt x="2066" y="1615"/>
                </a:lnTo>
                <a:lnTo>
                  <a:pt x="2064" y="1615"/>
                </a:lnTo>
                <a:lnTo>
                  <a:pt x="2064" y="1618"/>
                </a:lnTo>
                <a:lnTo>
                  <a:pt x="2069" y="1622"/>
                </a:lnTo>
                <a:lnTo>
                  <a:pt x="2076" y="1620"/>
                </a:lnTo>
                <a:lnTo>
                  <a:pt x="2083" y="1619"/>
                </a:lnTo>
                <a:lnTo>
                  <a:pt x="2086" y="1619"/>
                </a:lnTo>
                <a:lnTo>
                  <a:pt x="2088" y="1620"/>
                </a:lnTo>
                <a:lnTo>
                  <a:pt x="2086" y="1630"/>
                </a:lnTo>
                <a:lnTo>
                  <a:pt x="2079" y="1635"/>
                </a:lnTo>
                <a:lnTo>
                  <a:pt x="2075" y="1636"/>
                </a:lnTo>
                <a:lnTo>
                  <a:pt x="2068" y="1634"/>
                </a:lnTo>
                <a:lnTo>
                  <a:pt x="2065" y="1632"/>
                </a:lnTo>
                <a:lnTo>
                  <a:pt x="2064" y="1632"/>
                </a:lnTo>
                <a:lnTo>
                  <a:pt x="2061" y="1638"/>
                </a:lnTo>
                <a:lnTo>
                  <a:pt x="2066" y="1640"/>
                </a:lnTo>
                <a:lnTo>
                  <a:pt x="2066" y="1642"/>
                </a:lnTo>
                <a:lnTo>
                  <a:pt x="2064" y="1643"/>
                </a:lnTo>
                <a:lnTo>
                  <a:pt x="2063" y="1647"/>
                </a:lnTo>
                <a:lnTo>
                  <a:pt x="2061" y="1648"/>
                </a:lnTo>
                <a:lnTo>
                  <a:pt x="2054" y="1648"/>
                </a:lnTo>
                <a:lnTo>
                  <a:pt x="2053" y="1643"/>
                </a:lnTo>
                <a:lnTo>
                  <a:pt x="2050" y="1640"/>
                </a:lnTo>
                <a:lnTo>
                  <a:pt x="2044" y="1640"/>
                </a:lnTo>
                <a:lnTo>
                  <a:pt x="2041" y="1643"/>
                </a:lnTo>
                <a:lnTo>
                  <a:pt x="2040" y="1644"/>
                </a:lnTo>
                <a:lnTo>
                  <a:pt x="2040" y="1648"/>
                </a:lnTo>
                <a:lnTo>
                  <a:pt x="2041" y="1654"/>
                </a:lnTo>
                <a:lnTo>
                  <a:pt x="2044" y="1656"/>
                </a:lnTo>
                <a:lnTo>
                  <a:pt x="2043" y="1659"/>
                </a:lnTo>
                <a:lnTo>
                  <a:pt x="2044" y="1661"/>
                </a:lnTo>
                <a:lnTo>
                  <a:pt x="2040" y="1670"/>
                </a:lnTo>
                <a:lnTo>
                  <a:pt x="2039" y="1674"/>
                </a:lnTo>
                <a:lnTo>
                  <a:pt x="2041" y="1677"/>
                </a:lnTo>
                <a:lnTo>
                  <a:pt x="2051" y="1677"/>
                </a:lnTo>
                <a:lnTo>
                  <a:pt x="2054" y="1680"/>
                </a:lnTo>
                <a:lnTo>
                  <a:pt x="2061" y="1682"/>
                </a:lnTo>
                <a:lnTo>
                  <a:pt x="2061" y="1684"/>
                </a:lnTo>
                <a:lnTo>
                  <a:pt x="2061" y="1685"/>
                </a:lnTo>
                <a:lnTo>
                  <a:pt x="2058" y="1686"/>
                </a:lnTo>
                <a:lnTo>
                  <a:pt x="2058" y="1688"/>
                </a:lnTo>
                <a:lnTo>
                  <a:pt x="2060" y="1690"/>
                </a:lnTo>
                <a:lnTo>
                  <a:pt x="2055" y="1693"/>
                </a:lnTo>
                <a:lnTo>
                  <a:pt x="2055" y="1697"/>
                </a:lnTo>
                <a:lnTo>
                  <a:pt x="2058" y="1699"/>
                </a:lnTo>
                <a:lnTo>
                  <a:pt x="2057" y="1704"/>
                </a:lnTo>
                <a:lnTo>
                  <a:pt x="2057" y="1705"/>
                </a:lnTo>
                <a:lnTo>
                  <a:pt x="2060" y="1709"/>
                </a:lnTo>
                <a:lnTo>
                  <a:pt x="2064" y="1709"/>
                </a:lnTo>
                <a:lnTo>
                  <a:pt x="2065" y="1711"/>
                </a:lnTo>
                <a:lnTo>
                  <a:pt x="2066" y="1711"/>
                </a:lnTo>
                <a:lnTo>
                  <a:pt x="2069" y="1709"/>
                </a:lnTo>
                <a:lnTo>
                  <a:pt x="2072" y="1711"/>
                </a:lnTo>
                <a:lnTo>
                  <a:pt x="2072" y="1715"/>
                </a:lnTo>
                <a:lnTo>
                  <a:pt x="2075" y="1715"/>
                </a:lnTo>
                <a:lnTo>
                  <a:pt x="2074" y="1719"/>
                </a:lnTo>
                <a:lnTo>
                  <a:pt x="2078" y="1726"/>
                </a:lnTo>
                <a:lnTo>
                  <a:pt x="2078" y="1729"/>
                </a:lnTo>
                <a:lnTo>
                  <a:pt x="2075" y="1731"/>
                </a:lnTo>
                <a:lnTo>
                  <a:pt x="2076" y="1738"/>
                </a:lnTo>
                <a:lnTo>
                  <a:pt x="2078" y="1741"/>
                </a:lnTo>
                <a:lnTo>
                  <a:pt x="2076" y="1742"/>
                </a:lnTo>
                <a:lnTo>
                  <a:pt x="2078" y="1748"/>
                </a:lnTo>
                <a:lnTo>
                  <a:pt x="2083" y="1749"/>
                </a:lnTo>
                <a:lnTo>
                  <a:pt x="2090" y="1748"/>
                </a:lnTo>
                <a:lnTo>
                  <a:pt x="2090" y="1747"/>
                </a:lnTo>
                <a:lnTo>
                  <a:pt x="2090" y="1746"/>
                </a:lnTo>
                <a:lnTo>
                  <a:pt x="2093" y="1744"/>
                </a:lnTo>
                <a:lnTo>
                  <a:pt x="2097" y="1747"/>
                </a:lnTo>
                <a:lnTo>
                  <a:pt x="2101" y="1746"/>
                </a:lnTo>
                <a:lnTo>
                  <a:pt x="2107" y="1748"/>
                </a:lnTo>
                <a:lnTo>
                  <a:pt x="2110" y="1757"/>
                </a:lnTo>
                <a:lnTo>
                  <a:pt x="2108" y="1759"/>
                </a:lnTo>
                <a:lnTo>
                  <a:pt x="2105" y="1760"/>
                </a:lnTo>
                <a:lnTo>
                  <a:pt x="2105" y="1764"/>
                </a:lnTo>
                <a:lnTo>
                  <a:pt x="2107" y="1767"/>
                </a:lnTo>
                <a:lnTo>
                  <a:pt x="2111" y="1768"/>
                </a:lnTo>
                <a:lnTo>
                  <a:pt x="2113" y="1774"/>
                </a:lnTo>
                <a:lnTo>
                  <a:pt x="2111" y="1777"/>
                </a:lnTo>
                <a:lnTo>
                  <a:pt x="2113" y="1777"/>
                </a:lnTo>
                <a:lnTo>
                  <a:pt x="2115" y="1776"/>
                </a:lnTo>
                <a:lnTo>
                  <a:pt x="2115" y="1779"/>
                </a:lnTo>
                <a:lnTo>
                  <a:pt x="2117" y="1780"/>
                </a:lnTo>
                <a:lnTo>
                  <a:pt x="2115" y="1784"/>
                </a:lnTo>
                <a:lnTo>
                  <a:pt x="2114" y="1784"/>
                </a:lnTo>
                <a:lnTo>
                  <a:pt x="2113" y="1784"/>
                </a:lnTo>
                <a:lnTo>
                  <a:pt x="2111" y="1783"/>
                </a:lnTo>
                <a:lnTo>
                  <a:pt x="2110" y="1785"/>
                </a:lnTo>
                <a:lnTo>
                  <a:pt x="2111" y="1786"/>
                </a:lnTo>
                <a:lnTo>
                  <a:pt x="2113" y="1786"/>
                </a:lnTo>
                <a:lnTo>
                  <a:pt x="2114" y="1789"/>
                </a:lnTo>
                <a:lnTo>
                  <a:pt x="2114" y="1791"/>
                </a:lnTo>
                <a:lnTo>
                  <a:pt x="2117" y="1791"/>
                </a:lnTo>
                <a:lnTo>
                  <a:pt x="2121" y="1797"/>
                </a:lnTo>
                <a:lnTo>
                  <a:pt x="2125" y="1797"/>
                </a:lnTo>
                <a:lnTo>
                  <a:pt x="2126" y="1799"/>
                </a:lnTo>
                <a:lnTo>
                  <a:pt x="2126" y="1801"/>
                </a:lnTo>
                <a:lnTo>
                  <a:pt x="2122" y="1804"/>
                </a:lnTo>
                <a:lnTo>
                  <a:pt x="2122" y="1808"/>
                </a:lnTo>
                <a:lnTo>
                  <a:pt x="2119" y="1809"/>
                </a:lnTo>
                <a:lnTo>
                  <a:pt x="2115" y="1811"/>
                </a:lnTo>
                <a:lnTo>
                  <a:pt x="2114" y="1811"/>
                </a:lnTo>
                <a:lnTo>
                  <a:pt x="2114" y="1813"/>
                </a:lnTo>
                <a:lnTo>
                  <a:pt x="2108" y="1818"/>
                </a:lnTo>
                <a:lnTo>
                  <a:pt x="2107" y="1823"/>
                </a:lnTo>
                <a:lnTo>
                  <a:pt x="2111" y="1823"/>
                </a:lnTo>
                <a:lnTo>
                  <a:pt x="2114" y="1827"/>
                </a:lnTo>
                <a:lnTo>
                  <a:pt x="2121" y="1827"/>
                </a:lnTo>
                <a:lnTo>
                  <a:pt x="2124" y="1827"/>
                </a:lnTo>
                <a:lnTo>
                  <a:pt x="2122" y="1831"/>
                </a:lnTo>
                <a:lnTo>
                  <a:pt x="2117" y="1838"/>
                </a:lnTo>
                <a:lnTo>
                  <a:pt x="2110" y="1841"/>
                </a:lnTo>
                <a:lnTo>
                  <a:pt x="2108" y="1844"/>
                </a:lnTo>
                <a:lnTo>
                  <a:pt x="2108" y="1851"/>
                </a:lnTo>
                <a:lnTo>
                  <a:pt x="2113" y="1855"/>
                </a:lnTo>
                <a:lnTo>
                  <a:pt x="2110" y="1856"/>
                </a:lnTo>
                <a:lnTo>
                  <a:pt x="2110" y="1860"/>
                </a:lnTo>
                <a:lnTo>
                  <a:pt x="2105" y="1861"/>
                </a:lnTo>
                <a:lnTo>
                  <a:pt x="2103" y="1864"/>
                </a:lnTo>
                <a:lnTo>
                  <a:pt x="2101" y="1866"/>
                </a:lnTo>
                <a:lnTo>
                  <a:pt x="2100" y="1864"/>
                </a:lnTo>
                <a:lnTo>
                  <a:pt x="2099" y="1867"/>
                </a:lnTo>
                <a:lnTo>
                  <a:pt x="2094" y="1870"/>
                </a:lnTo>
                <a:lnTo>
                  <a:pt x="2096" y="1872"/>
                </a:lnTo>
                <a:lnTo>
                  <a:pt x="2093" y="1876"/>
                </a:lnTo>
                <a:lnTo>
                  <a:pt x="2096" y="1876"/>
                </a:lnTo>
                <a:lnTo>
                  <a:pt x="2096" y="1880"/>
                </a:lnTo>
                <a:lnTo>
                  <a:pt x="2093" y="1880"/>
                </a:lnTo>
                <a:lnTo>
                  <a:pt x="2090" y="1880"/>
                </a:lnTo>
                <a:lnTo>
                  <a:pt x="2089" y="1880"/>
                </a:lnTo>
                <a:lnTo>
                  <a:pt x="2089" y="1884"/>
                </a:lnTo>
                <a:lnTo>
                  <a:pt x="2086" y="1886"/>
                </a:lnTo>
                <a:lnTo>
                  <a:pt x="2085" y="1888"/>
                </a:lnTo>
                <a:lnTo>
                  <a:pt x="2079" y="1889"/>
                </a:lnTo>
                <a:lnTo>
                  <a:pt x="2079" y="1892"/>
                </a:lnTo>
                <a:lnTo>
                  <a:pt x="2086" y="1893"/>
                </a:lnTo>
                <a:lnTo>
                  <a:pt x="2088" y="1896"/>
                </a:lnTo>
                <a:lnTo>
                  <a:pt x="2091" y="1896"/>
                </a:lnTo>
                <a:lnTo>
                  <a:pt x="2101" y="1892"/>
                </a:lnTo>
                <a:lnTo>
                  <a:pt x="2107" y="1884"/>
                </a:lnTo>
                <a:lnTo>
                  <a:pt x="2113" y="1884"/>
                </a:lnTo>
                <a:lnTo>
                  <a:pt x="2114" y="1895"/>
                </a:lnTo>
                <a:lnTo>
                  <a:pt x="2119" y="1901"/>
                </a:lnTo>
                <a:lnTo>
                  <a:pt x="2118" y="1903"/>
                </a:lnTo>
                <a:lnTo>
                  <a:pt x="2117" y="1909"/>
                </a:lnTo>
                <a:lnTo>
                  <a:pt x="2121" y="1910"/>
                </a:lnTo>
                <a:lnTo>
                  <a:pt x="2126" y="1909"/>
                </a:lnTo>
                <a:lnTo>
                  <a:pt x="2126" y="1914"/>
                </a:lnTo>
                <a:lnTo>
                  <a:pt x="2125" y="1917"/>
                </a:lnTo>
                <a:lnTo>
                  <a:pt x="2124" y="1917"/>
                </a:lnTo>
                <a:lnTo>
                  <a:pt x="2122" y="1920"/>
                </a:lnTo>
                <a:lnTo>
                  <a:pt x="2124" y="1920"/>
                </a:lnTo>
                <a:lnTo>
                  <a:pt x="2125" y="1921"/>
                </a:lnTo>
                <a:lnTo>
                  <a:pt x="2129" y="1922"/>
                </a:lnTo>
                <a:lnTo>
                  <a:pt x="2130" y="1923"/>
                </a:lnTo>
                <a:lnTo>
                  <a:pt x="2130" y="1926"/>
                </a:lnTo>
                <a:lnTo>
                  <a:pt x="2128" y="1928"/>
                </a:lnTo>
                <a:lnTo>
                  <a:pt x="2121" y="1928"/>
                </a:lnTo>
                <a:lnTo>
                  <a:pt x="2118" y="1929"/>
                </a:lnTo>
                <a:lnTo>
                  <a:pt x="2118" y="1933"/>
                </a:lnTo>
                <a:lnTo>
                  <a:pt x="2113" y="1934"/>
                </a:lnTo>
                <a:lnTo>
                  <a:pt x="2110" y="1937"/>
                </a:lnTo>
                <a:lnTo>
                  <a:pt x="2114" y="1940"/>
                </a:lnTo>
                <a:lnTo>
                  <a:pt x="2113" y="1946"/>
                </a:lnTo>
                <a:lnTo>
                  <a:pt x="2115" y="1950"/>
                </a:lnTo>
                <a:lnTo>
                  <a:pt x="2110" y="1955"/>
                </a:lnTo>
                <a:lnTo>
                  <a:pt x="2108" y="1960"/>
                </a:lnTo>
                <a:lnTo>
                  <a:pt x="2110" y="1963"/>
                </a:lnTo>
                <a:lnTo>
                  <a:pt x="2110" y="1966"/>
                </a:lnTo>
                <a:lnTo>
                  <a:pt x="2107" y="1968"/>
                </a:lnTo>
                <a:lnTo>
                  <a:pt x="2107" y="1973"/>
                </a:lnTo>
                <a:lnTo>
                  <a:pt x="2100" y="1980"/>
                </a:lnTo>
                <a:lnTo>
                  <a:pt x="2100" y="1982"/>
                </a:lnTo>
                <a:lnTo>
                  <a:pt x="2100" y="1984"/>
                </a:lnTo>
                <a:lnTo>
                  <a:pt x="2104" y="1985"/>
                </a:lnTo>
                <a:lnTo>
                  <a:pt x="2105" y="1990"/>
                </a:lnTo>
                <a:lnTo>
                  <a:pt x="2107" y="1991"/>
                </a:lnTo>
                <a:lnTo>
                  <a:pt x="2107" y="1993"/>
                </a:lnTo>
                <a:lnTo>
                  <a:pt x="2110" y="1996"/>
                </a:lnTo>
                <a:lnTo>
                  <a:pt x="2108" y="2000"/>
                </a:lnTo>
                <a:lnTo>
                  <a:pt x="2111" y="2004"/>
                </a:lnTo>
                <a:lnTo>
                  <a:pt x="2108" y="2008"/>
                </a:lnTo>
                <a:lnTo>
                  <a:pt x="2108" y="2010"/>
                </a:lnTo>
                <a:lnTo>
                  <a:pt x="2105" y="2013"/>
                </a:lnTo>
                <a:lnTo>
                  <a:pt x="2108" y="2016"/>
                </a:lnTo>
                <a:lnTo>
                  <a:pt x="2110" y="2015"/>
                </a:lnTo>
                <a:lnTo>
                  <a:pt x="2110" y="2017"/>
                </a:lnTo>
                <a:lnTo>
                  <a:pt x="2111" y="2018"/>
                </a:lnTo>
                <a:lnTo>
                  <a:pt x="2107" y="2020"/>
                </a:lnTo>
                <a:lnTo>
                  <a:pt x="2105" y="2025"/>
                </a:lnTo>
                <a:lnTo>
                  <a:pt x="2103" y="2027"/>
                </a:lnTo>
                <a:lnTo>
                  <a:pt x="2101" y="2025"/>
                </a:lnTo>
                <a:lnTo>
                  <a:pt x="2099" y="2029"/>
                </a:lnTo>
                <a:lnTo>
                  <a:pt x="2103" y="2034"/>
                </a:lnTo>
                <a:lnTo>
                  <a:pt x="2104" y="2034"/>
                </a:lnTo>
                <a:lnTo>
                  <a:pt x="2107" y="2037"/>
                </a:lnTo>
                <a:lnTo>
                  <a:pt x="2104" y="2040"/>
                </a:lnTo>
                <a:lnTo>
                  <a:pt x="2104" y="2044"/>
                </a:lnTo>
                <a:lnTo>
                  <a:pt x="2108" y="2044"/>
                </a:lnTo>
                <a:lnTo>
                  <a:pt x="2110" y="2045"/>
                </a:lnTo>
                <a:lnTo>
                  <a:pt x="2114" y="2047"/>
                </a:lnTo>
                <a:lnTo>
                  <a:pt x="2114" y="2049"/>
                </a:lnTo>
                <a:lnTo>
                  <a:pt x="2119" y="2049"/>
                </a:lnTo>
                <a:lnTo>
                  <a:pt x="2121" y="2054"/>
                </a:lnTo>
                <a:lnTo>
                  <a:pt x="2118" y="2057"/>
                </a:lnTo>
                <a:lnTo>
                  <a:pt x="2113" y="2059"/>
                </a:lnTo>
                <a:lnTo>
                  <a:pt x="2103" y="2062"/>
                </a:lnTo>
                <a:lnTo>
                  <a:pt x="2103" y="2065"/>
                </a:lnTo>
                <a:lnTo>
                  <a:pt x="2099" y="2063"/>
                </a:lnTo>
                <a:lnTo>
                  <a:pt x="2097" y="2065"/>
                </a:lnTo>
                <a:lnTo>
                  <a:pt x="2099" y="2066"/>
                </a:lnTo>
                <a:lnTo>
                  <a:pt x="2097" y="2067"/>
                </a:lnTo>
                <a:lnTo>
                  <a:pt x="2096" y="2067"/>
                </a:lnTo>
                <a:lnTo>
                  <a:pt x="2094" y="2067"/>
                </a:lnTo>
                <a:lnTo>
                  <a:pt x="2097" y="2071"/>
                </a:lnTo>
                <a:lnTo>
                  <a:pt x="2097" y="2077"/>
                </a:lnTo>
                <a:lnTo>
                  <a:pt x="2101" y="2079"/>
                </a:lnTo>
                <a:lnTo>
                  <a:pt x="2104" y="2079"/>
                </a:lnTo>
                <a:lnTo>
                  <a:pt x="2103" y="2083"/>
                </a:lnTo>
                <a:lnTo>
                  <a:pt x="2100" y="2087"/>
                </a:lnTo>
                <a:lnTo>
                  <a:pt x="2103" y="2092"/>
                </a:lnTo>
                <a:lnTo>
                  <a:pt x="2111" y="2099"/>
                </a:lnTo>
                <a:lnTo>
                  <a:pt x="2108" y="2103"/>
                </a:lnTo>
                <a:lnTo>
                  <a:pt x="2107" y="2104"/>
                </a:lnTo>
                <a:lnTo>
                  <a:pt x="2104" y="2107"/>
                </a:lnTo>
                <a:lnTo>
                  <a:pt x="2105" y="2109"/>
                </a:lnTo>
                <a:lnTo>
                  <a:pt x="2103" y="2112"/>
                </a:lnTo>
                <a:lnTo>
                  <a:pt x="2107" y="2115"/>
                </a:lnTo>
                <a:lnTo>
                  <a:pt x="2110" y="2116"/>
                </a:lnTo>
                <a:lnTo>
                  <a:pt x="2110" y="2124"/>
                </a:lnTo>
                <a:lnTo>
                  <a:pt x="2113" y="2132"/>
                </a:lnTo>
                <a:lnTo>
                  <a:pt x="2110" y="2138"/>
                </a:lnTo>
                <a:lnTo>
                  <a:pt x="2105" y="2142"/>
                </a:lnTo>
                <a:lnTo>
                  <a:pt x="2104" y="2145"/>
                </a:lnTo>
                <a:lnTo>
                  <a:pt x="2105" y="2149"/>
                </a:lnTo>
                <a:lnTo>
                  <a:pt x="2108" y="2150"/>
                </a:lnTo>
                <a:lnTo>
                  <a:pt x="2111" y="2150"/>
                </a:lnTo>
                <a:lnTo>
                  <a:pt x="2114" y="2149"/>
                </a:lnTo>
                <a:lnTo>
                  <a:pt x="2117" y="2152"/>
                </a:lnTo>
                <a:lnTo>
                  <a:pt x="2113" y="2158"/>
                </a:lnTo>
                <a:lnTo>
                  <a:pt x="2111" y="2159"/>
                </a:lnTo>
                <a:lnTo>
                  <a:pt x="2107" y="2161"/>
                </a:lnTo>
                <a:lnTo>
                  <a:pt x="2104" y="2163"/>
                </a:lnTo>
                <a:lnTo>
                  <a:pt x="2105" y="2165"/>
                </a:lnTo>
                <a:lnTo>
                  <a:pt x="2107" y="2169"/>
                </a:lnTo>
                <a:lnTo>
                  <a:pt x="2111" y="2170"/>
                </a:lnTo>
                <a:lnTo>
                  <a:pt x="2113" y="2174"/>
                </a:lnTo>
                <a:lnTo>
                  <a:pt x="2110" y="2179"/>
                </a:lnTo>
                <a:lnTo>
                  <a:pt x="2104" y="2179"/>
                </a:lnTo>
                <a:lnTo>
                  <a:pt x="2104" y="2183"/>
                </a:lnTo>
                <a:lnTo>
                  <a:pt x="2107" y="2187"/>
                </a:lnTo>
                <a:lnTo>
                  <a:pt x="2108" y="2195"/>
                </a:lnTo>
                <a:lnTo>
                  <a:pt x="2114" y="2206"/>
                </a:lnTo>
                <a:lnTo>
                  <a:pt x="2113" y="2208"/>
                </a:lnTo>
                <a:lnTo>
                  <a:pt x="2115" y="2209"/>
                </a:lnTo>
                <a:lnTo>
                  <a:pt x="2115" y="2213"/>
                </a:lnTo>
                <a:lnTo>
                  <a:pt x="2117" y="2213"/>
                </a:lnTo>
                <a:lnTo>
                  <a:pt x="2117" y="2221"/>
                </a:lnTo>
                <a:lnTo>
                  <a:pt x="2118" y="2224"/>
                </a:lnTo>
                <a:lnTo>
                  <a:pt x="2124" y="2224"/>
                </a:lnTo>
                <a:lnTo>
                  <a:pt x="2129" y="2220"/>
                </a:lnTo>
                <a:lnTo>
                  <a:pt x="2136" y="2223"/>
                </a:lnTo>
                <a:lnTo>
                  <a:pt x="2144" y="2219"/>
                </a:lnTo>
                <a:lnTo>
                  <a:pt x="2153" y="2224"/>
                </a:lnTo>
                <a:lnTo>
                  <a:pt x="2155" y="2232"/>
                </a:lnTo>
                <a:lnTo>
                  <a:pt x="2163" y="2234"/>
                </a:lnTo>
                <a:lnTo>
                  <a:pt x="2165" y="2320"/>
                </a:lnTo>
                <a:lnTo>
                  <a:pt x="2167" y="2362"/>
                </a:lnTo>
                <a:lnTo>
                  <a:pt x="2165" y="2445"/>
                </a:lnTo>
                <a:lnTo>
                  <a:pt x="2182" y="2464"/>
                </a:lnTo>
                <a:lnTo>
                  <a:pt x="2200" y="2490"/>
                </a:lnTo>
                <a:lnTo>
                  <a:pt x="2207" y="2497"/>
                </a:lnTo>
                <a:lnTo>
                  <a:pt x="2208" y="2502"/>
                </a:lnTo>
                <a:lnTo>
                  <a:pt x="2214" y="2509"/>
                </a:lnTo>
                <a:lnTo>
                  <a:pt x="2227" y="2524"/>
                </a:lnTo>
                <a:lnTo>
                  <a:pt x="2243" y="2539"/>
                </a:lnTo>
                <a:lnTo>
                  <a:pt x="2281" y="2593"/>
                </a:lnTo>
                <a:lnTo>
                  <a:pt x="2282" y="2594"/>
                </a:lnTo>
                <a:lnTo>
                  <a:pt x="2286" y="2591"/>
                </a:lnTo>
                <a:lnTo>
                  <a:pt x="2290" y="2588"/>
                </a:lnTo>
                <a:lnTo>
                  <a:pt x="2298" y="2588"/>
                </a:lnTo>
                <a:lnTo>
                  <a:pt x="2304" y="2584"/>
                </a:lnTo>
                <a:lnTo>
                  <a:pt x="2307" y="2580"/>
                </a:lnTo>
                <a:lnTo>
                  <a:pt x="2315" y="2580"/>
                </a:lnTo>
                <a:lnTo>
                  <a:pt x="2317" y="2579"/>
                </a:lnTo>
                <a:lnTo>
                  <a:pt x="2323" y="2577"/>
                </a:lnTo>
                <a:lnTo>
                  <a:pt x="2325" y="2580"/>
                </a:lnTo>
                <a:lnTo>
                  <a:pt x="2329" y="2580"/>
                </a:lnTo>
                <a:lnTo>
                  <a:pt x="2331" y="2577"/>
                </a:lnTo>
                <a:lnTo>
                  <a:pt x="2339" y="2576"/>
                </a:lnTo>
                <a:lnTo>
                  <a:pt x="2340" y="2571"/>
                </a:lnTo>
                <a:lnTo>
                  <a:pt x="2343" y="2568"/>
                </a:lnTo>
                <a:lnTo>
                  <a:pt x="2364" y="2561"/>
                </a:lnTo>
                <a:lnTo>
                  <a:pt x="2371" y="2560"/>
                </a:lnTo>
                <a:lnTo>
                  <a:pt x="2381" y="2554"/>
                </a:lnTo>
                <a:lnTo>
                  <a:pt x="2385" y="2554"/>
                </a:lnTo>
                <a:lnTo>
                  <a:pt x="2390" y="2556"/>
                </a:lnTo>
                <a:lnTo>
                  <a:pt x="2393" y="2556"/>
                </a:lnTo>
                <a:lnTo>
                  <a:pt x="2402" y="2551"/>
                </a:lnTo>
                <a:lnTo>
                  <a:pt x="2409" y="2549"/>
                </a:lnTo>
                <a:lnTo>
                  <a:pt x="2413" y="2549"/>
                </a:lnTo>
                <a:lnTo>
                  <a:pt x="2417" y="2552"/>
                </a:lnTo>
                <a:lnTo>
                  <a:pt x="2418" y="2552"/>
                </a:lnTo>
                <a:lnTo>
                  <a:pt x="2429" y="2549"/>
                </a:lnTo>
                <a:lnTo>
                  <a:pt x="2431" y="2547"/>
                </a:lnTo>
                <a:lnTo>
                  <a:pt x="2434" y="2543"/>
                </a:lnTo>
                <a:lnTo>
                  <a:pt x="2445" y="2537"/>
                </a:lnTo>
                <a:lnTo>
                  <a:pt x="2457" y="2536"/>
                </a:lnTo>
                <a:lnTo>
                  <a:pt x="2464" y="2536"/>
                </a:lnTo>
                <a:lnTo>
                  <a:pt x="2474" y="2532"/>
                </a:lnTo>
                <a:lnTo>
                  <a:pt x="2485" y="2532"/>
                </a:lnTo>
                <a:lnTo>
                  <a:pt x="2499" y="2526"/>
                </a:lnTo>
                <a:lnTo>
                  <a:pt x="2508" y="2527"/>
                </a:lnTo>
                <a:lnTo>
                  <a:pt x="2510" y="2530"/>
                </a:lnTo>
                <a:lnTo>
                  <a:pt x="2510" y="2532"/>
                </a:lnTo>
                <a:lnTo>
                  <a:pt x="2449" y="2594"/>
                </a:lnTo>
                <a:lnTo>
                  <a:pt x="2449" y="2596"/>
                </a:lnTo>
                <a:lnTo>
                  <a:pt x="2464" y="2597"/>
                </a:lnTo>
                <a:lnTo>
                  <a:pt x="2468" y="2601"/>
                </a:lnTo>
                <a:lnTo>
                  <a:pt x="2473" y="2610"/>
                </a:lnTo>
                <a:lnTo>
                  <a:pt x="2477" y="2617"/>
                </a:lnTo>
                <a:lnTo>
                  <a:pt x="2488" y="2630"/>
                </a:lnTo>
                <a:lnTo>
                  <a:pt x="2498" y="2638"/>
                </a:lnTo>
                <a:lnTo>
                  <a:pt x="2527" y="2672"/>
                </a:lnTo>
                <a:lnTo>
                  <a:pt x="2406" y="2733"/>
                </a:lnTo>
                <a:lnTo>
                  <a:pt x="2407" y="2758"/>
                </a:lnTo>
                <a:lnTo>
                  <a:pt x="2407" y="2801"/>
                </a:lnTo>
                <a:lnTo>
                  <a:pt x="2516" y="2810"/>
                </a:lnTo>
                <a:lnTo>
                  <a:pt x="2547" y="2855"/>
                </a:lnTo>
                <a:lnTo>
                  <a:pt x="2539" y="2855"/>
                </a:lnTo>
                <a:lnTo>
                  <a:pt x="2489" y="287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127" name="Freeform 126"/>
          <p:cNvSpPr>
            <a:spLocks/>
          </p:cNvSpPr>
          <p:nvPr/>
        </p:nvSpPr>
        <p:spPr bwMode="auto">
          <a:xfrm>
            <a:off x="6328362" y="3424830"/>
            <a:ext cx="525202" cy="1341350"/>
          </a:xfrm>
          <a:custGeom>
            <a:avLst/>
            <a:gdLst>
              <a:gd name="T0" fmla="*/ 1527 w 1748"/>
              <a:gd name="T1" fmla="*/ 539 h 4174"/>
              <a:gd name="T2" fmla="*/ 1461 w 1748"/>
              <a:gd name="T3" fmla="*/ 888 h 4174"/>
              <a:gd name="T4" fmla="*/ 1481 w 1748"/>
              <a:gd name="T5" fmla="*/ 1191 h 4174"/>
              <a:gd name="T6" fmla="*/ 1535 w 1748"/>
              <a:gd name="T7" fmla="*/ 1228 h 4174"/>
              <a:gd name="T8" fmla="*/ 1499 w 1748"/>
              <a:gd name="T9" fmla="*/ 1464 h 4174"/>
              <a:gd name="T10" fmla="*/ 1364 w 1748"/>
              <a:gd name="T11" fmla="*/ 1476 h 4174"/>
              <a:gd name="T12" fmla="*/ 1335 w 1748"/>
              <a:gd name="T13" fmla="*/ 1399 h 4174"/>
              <a:gd name="T14" fmla="*/ 1167 w 1748"/>
              <a:gd name="T15" fmla="*/ 1515 h 4174"/>
              <a:gd name="T16" fmla="*/ 1181 w 1748"/>
              <a:gd name="T17" fmla="*/ 1597 h 4174"/>
              <a:gd name="T18" fmla="*/ 1204 w 1748"/>
              <a:gd name="T19" fmla="*/ 1657 h 4174"/>
              <a:gd name="T20" fmla="*/ 1192 w 1748"/>
              <a:gd name="T21" fmla="*/ 1707 h 4174"/>
              <a:gd name="T22" fmla="*/ 1090 w 1748"/>
              <a:gd name="T23" fmla="*/ 1846 h 4174"/>
              <a:gd name="T24" fmla="*/ 1214 w 1748"/>
              <a:gd name="T25" fmla="*/ 1928 h 4174"/>
              <a:gd name="T26" fmla="*/ 1304 w 1748"/>
              <a:gd name="T27" fmla="*/ 2028 h 4174"/>
              <a:gd name="T28" fmla="*/ 1263 w 1748"/>
              <a:gd name="T29" fmla="*/ 2388 h 4174"/>
              <a:gd name="T30" fmla="*/ 1122 w 1748"/>
              <a:gd name="T31" fmla="*/ 2617 h 4174"/>
              <a:gd name="T32" fmla="*/ 1175 w 1748"/>
              <a:gd name="T33" fmla="*/ 2750 h 4174"/>
              <a:gd name="T34" fmla="*/ 1103 w 1748"/>
              <a:gd name="T35" fmla="*/ 2896 h 4174"/>
              <a:gd name="T36" fmla="*/ 990 w 1748"/>
              <a:gd name="T37" fmla="*/ 2843 h 4174"/>
              <a:gd name="T38" fmla="*/ 944 w 1748"/>
              <a:gd name="T39" fmla="*/ 2887 h 4174"/>
              <a:gd name="T40" fmla="*/ 883 w 1748"/>
              <a:gd name="T41" fmla="*/ 2924 h 4174"/>
              <a:gd name="T42" fmla="*/ 821 w 1748"/>
              <a:gd name="T43" fmla="*/ 2971 h 4174"/>
              <a:gd name="T44" fmla="*/ 891 w 1748"/>
              <a:gd name="T45" fmla="*/ 3141 h 4174"/>
              <a:gd name="T46" fmla="*/ 1054 w 1748"/>
              <a:gd name="T47" fmla="*/ 3404 h 4174"/>
              <a:gd name="T48" fmla="*/ 1171 w 1748"/>
              <a:gd name="T49" fmla="*/ 3497 h 4174"/>
              <a:gd name="T50" fmla="*/ 1342 w 1748"/>
              <a:gd name="T51" fmla="*/ 3882 h 4174"/>
              <a:gd name="T52" fmla="*/ 1263 w 1748"/>
              <a:gd name="T53" fmla="*/ 3995 h 4174"/>
              <a:gd name="T54" fmla="*/ 1209 w 1748"/>
              <a:gd name="T55" fmla="*/ 4037 h 4174"/>
              <a:gd name="T56" fmla="*/ 1124 w 1748"/>
              <a:gd name="T57" fmla="*/ 4036 h 4174"/>
              <a:gd name="T58" fmla="*/ 1014 w 1748"/>
              <a:gd name="T59" fmla="*/ 4021 h 4174"/>
              <a:gd name="T60" fmla="*/ 908 w 1748"/>
              <a:gd name="T61" fmla="*/ 4023 h 4174"/>
              <a:gd name="T62" fmla="*/ 812 w 1748"/>
              <a:gd name="T63" fmla="*/ 4083 h 4174"/>
              <a:gd name="T64" fmla="*/ 709 w 1748"/>
              <a:gd name="T65" fmla="*/ 4087 h 4174"/>
              <a:gd name="T66" fmla="*/ 616 w 1748"/>
              <a:gd name="T67" fmla="*/ 4125 h 4174"/>
              <a:gd name="T68" fmla="*/ 520 w 1748"/>
              <a:gd name="T69" fmla="*/ 4169 h 4174"/>
              <a:gd name="T70" fmla="*/ 455 w 1748"/>
              <a:gd name="T71" fmla="*/ 4106 h 4174"/>
              <a:gd name="T72" fmla="*/ 357 w 1748"/>
              <a:gd name="T73" fmla="*/ 4103 h 4174"/>
              <a:gd name="T74" fmla="*/ 259 w 1748"/>
              <a:gd name="T75" fmla="*/ 4035 h 4174"/>
              <a:gd name="T76" fmla="*/ 149 w 1748"/>
              <a:gd name="T77" fmla="*/ 4015 h 4174"/>
              <a:gd name="T78" fmla="*/ 13 w 1748"/>
              <a:gd name="T79" fmla="*/ 3792 h 4174"/>
              <a:gd name="T80" fmla="*/ 225 w 1748"/>
              <a:gd name="T81" fmla="*/ 3354 h 4174"/>
              <a:gd name="T82" fmla="*/ 405 w 1748"/>
              <a:gd name="T83" fmla="*/ 3048 h 4174"/>
              <a:gd name="T84" fmla="*/ 553 w 1748"/>
              <a:gd name="T85" fmla="*/ 2741 h 4174"/>
              <a:gd name="T86" fmla="*/ 391 w 1748"/>
              <a:gd name="T87" fmla="*/ 2542 h 4174"/>
              <a:gd name="T88" fmla="*/ 390 w 1748"/>
              <a:gd name="T89" fmla="*/ 2277 h 4174"/>
              <a:gd name="T90" fmla="*/ 271 w 1748"/>
              <a:gd name="T91" fmla="*/ 2048 h 4174"/>
              <a:gd name="T92" fmla="*/ 473 w 1748"/>
              <a:gd name="T93" fmla="*/ 1856 h 4174"/>
              <a:gd name="T94" fmla="*/ 547 w 1748"/>
              <a:gd name="T95" fmla="*/ 1601 h 4174"/>
              <a:gd name="T96" fmla="*/ 485 w 1748"/>
              <a:gd name="T97" fmla="*/ 1399 h 4174"/>
              <a:gd name="T98" fmla="*/ 522 w 1748"/>
              <a:gd name="T99" fmla="*/ 1120 h 4174"/>
              <a:gd name="T100" fmla="*/ 477 w 1748"/>
              <a:gd name="T101" fmla="*/ 907 h 4174"/>
              <a:gd name="T102" fmla="*/ 569 w 1748"/>
              <a:gd name="T103" fmla="*/ 696 h 4174"/>
              <a:gd name="T104" fmla="*/ 611 w 1748"/>
              <a:gd name="T105" fmla="*/ 598 h 4174"/>
              <a:gd name="T106" fmla="*/ 637 w 1748"/>
              <a:gd name="T107" fmla="*/ 514 h 4174"/>
              <a:gd name="T108" fmla="*/ 704 w 1748"/>
              <a:gd name="T109" fmla="*/ 412 h 4174"/>
              <a:gd name="T110" fmla="*/ 759 w 1748"/>
              <a:gd name="T111" fmla="*/ 283 h 4174"/>
              <a:gd name="T112" fmla="*/ 827 w 1748"/>
              <a:gd name="T113" fmla="*/ 212 h 4174"/>
              <a:gd name="T114" fmla="*/ 876 w 1748"/>
              <a:gd name="T115" fmla="*/ 105 h 4174"/>
              <a:gd name="T116" fmla="*/ 1004 w 1748"/>
              <a:gd name="T117" fmla="*/ 34 h 4174"/>
              <a:gd name="T118" fmla="*/ 1125 w 1748"/>
              <a:gd name="T119" fmla="*/ 6 h 4174"/>
              <a:gd name="T120" fmla="*/ 1303 w 1748"/>
              <a:gd name="T121" fmla="*/ 149 h 4174"/>
              <a:gd name="T122" fmla="*/ 1483 w 1748"/>
              <a:gd name="T123" fmla="*/ 262 h 4174"/>
              <a:gd name="T124" fmla="*/ 1713 w 1748"/>
              <a:gd name="T125" fmla="*/ 315 h 417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748"/>
              <a:gd name="T190" fmla="*/ 0 h 4174"/>
              <a:gd name="T191" fmla="*/ 1748 w 1748"/>
              <a:gd name="T192" fmla="*/ 4174 h 4174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748" h="4174">
                <a:moveTo>
                  <a:pt x="1743" y="341"/>
                </a:moveTo>
                <a:lnTo>
                  <a:pt x="1741" y="348"/>
                </a:lnTo>
                <a:lnTo>
                  <a:pt x="1731" y="360"/>
                </a:lnTo>
                <a:lnTo>
                  <a:pt x="1729" y="362"/>
                </a:lnTo>
                <a:lnTo>
                  <a:pt x="1723" y="363"/>
                </a:lnTo>
                <a:lnTo>
                  <a:pt x="1720" y="371"/>
                </a:lnTo>
                <a:lnTo>
                  <a:pt x="1721" y="385"/>
                </a:lnTo>
                <a:lnTo>
                  <a:pt x="1729" y="386"/>
                </a:lnTo>
                <a:lnTo>
                  <a:pt x="1744" y="386"/>
                </a:lnTo>
                <a:lnTo>
                  <a:pt x="1743" y="388"/>
                </a:lnTo>
                <a:lnTo>
                  <a:pt x="1731" y="407"/>
                </a:lnTo>
                <a:lnTo>
                  <a:pt x="1727" y="416"/>
                </a:lnTo>
                <a:lnTo>
                  <a:pt x="1724" y="423"/>
                </a:lnTo>
                <a:lnTo>
                  <a:pt x="1719" y="431"/>
                </a:lnTo>
                <a:lnTo>
                  <a:pt x="1691" y="482"/>
                </a:lnTo>
                <a:lnTo>
                  <a:pt x="1638" y="498"/>
                </a:lnTo>
                <a:lnTo>
                  <a:pt x="1616" y="504"/>
                </a:lnTo>
                <a:lnTo>
                  <a:pt x="1591" y="510"/>
                </a:lnTo>
                <a:lnTo>
                  <a:pt x="1563" y="514"/>
                </a:lnTo>
                <a:lnTo>
                  <a:pt x="1527" y="539"/>
                </a:lnTo>
                <a:lnTo>
                  <a:pt x="1453" y="673"/>
                </a:lnTo>
                <a:lnTo>
                  <a:pt x="1470" y="681"/>
                </a:lnTo>
                <a:lnTo>
                  <a:pt x="1483" y="685"/>
                </a:lnTo>
                <a:lnTo>
                  <a:pt x="1484" y="689"/>
                </a:lnTo>
                <a:lnTo>
                  <a:pt x="1485" y="693"/>
                </a:lnTo>
                <a:lnTo>
                  <a:pt x="1486" y="693"/>
                </a:lnTo>
                <a:lnTo>
                  <a:pt x="1491" y="693"/>
                </a:lnTo>
                <a:lnTo>
                  <a:pt x="1496" y="697"/>
                </a:lnTo>
                <a:lnTo>
                  <a:pt x="1498" y="701"/>
                </a:lnTo>
                <a:lnTo>
                  <a:pt x="1499" y="705"/>
                </a:lnTo>
                <a:lnTo>
                  <a:pt x="1492" y="715"/>
                </a:lnTo>
                <a:lnTo>
                  <a:pt x="1478" y="730"/>
                </a:lnTo>
                <a:lnTo>
                  <a:pt x="1477" y="746"/>
                </a:lnTo>
                <a:lnTo>
                  <a:pt x="1467" y="786"/>
                </a:lnTo>
                <a:lnTo>
                  <a:pt x="1463" y="798"/>
                </a:lnTo>
                <a:lnTo>
                  <a:pt x="1463" y="801"/>
                </a:lnTo>
                <a:lnTo>
                  <a:pt x="1469" y="815"/>
                </a:lnTo>
                <a:lnTo>
                  <a:pt x="1475" y="826"/>
                </a:lnTo>
                <a:lnTo>
                  <a:pt x="1474" y="839"/>
                </a:lnTo>
                <a:lnTo>
                  <a:pt x="1461" y="888"/>
                </a:lnTo>
                <a:lnTo>
                  <a:pt x="1453" y="910"/>
                </a:lnTo>
                <a:lnTo>
                  <a:pt x="1424" y="970"/>
                </a:lnTo>
                <a:lnTo>
                  <a:pt x="1444" y="1000"/>
                </a:lnTo>
                <a:lnTo>
                  <a:pt x="1445" y="1007"/>
                </a:lnTo>
                <a:lnTo>
                  <a:pt x="1442" y="1047"/>
                </a:lnTo>
                <a:lnTo>
                  <a:pt x="1442" y="1051"/>
                </a:lnTo>
                <a:lnTo>
                  <a:pt x="1445" y="1053"/>
                </a:lnTo>
                <a:lnTo>
                  <a:pt x="1475" y="1071"/>
                </a:lnTo>
                <a:lnTo>
                  <a:pt x="1477" y="1075"/>
                </a:lnTo>
                <a:lnTo>
                  <a:pt x="1477" y="1082"/>
                </a:lnTo>
                <a:lnTo>
                  <a:pt x="1481" y="1092"/>
                </a:lnTo>
                <a:lnTo>
                  <a:pt x="1478" y="1104"/>
                </a:lnTo>
                <a:lnTo>
                  <a:pt x="1480" y="1114"/>
                </a:lnTo>
                <a:lnTo>
                  <a:pt x="1477" y="1124"/>
                </a:lnTo>
                <a:lnTo>
                  <a:pt x="1475" y="1137"/>
                </a:lnTo>
                <a:lnTo>
                  <a:pt x="1471" y="1151"/>
                </a:lnTo>
                <a:lnTo>
                  <a:pt x="1470" y="1165"/>
                </a:lnTo>
                <a:lnTo>
                  <a:pt x="1461" y="1191"/>
                </a:lnTo>
                <a:lnTo>
                  <a:pt x="1471" y="1193"/>
                </a:lnTo>
                <a:lnTo>
                  <a:pt x="1481" y="1191"/>
                </a:lnTo>
                <a:lnTo>
                  <a:pt x="1484" y="1191"/>
                </a:lnTo>
                <a:lnTo>
                  <a:pt x="1484" y="1195"/>
                </a:lnTo>
                <a:lnTo>
                  <a:pt x="1488" y="1196"/>
                </a:lnTo>
                <a:lnTo>
                  <a:pt x="1491" y="1200"/>
                </a:lnTo>
                <a:lnTo>
                  <a:pt x="1498" y="1198"/>
                </a:lnTo>
                <a:lnTo>
                  <a:pt x="1506" y="1199"/>
                </a:lnTo>
                <a:lnTo>
                  <a:pt x="1508" y="1201"/>
                </a:lnTo>
                <a:lnTo>
                  <a:pt x="1506" y="1204"/>
                </a:lnTo>
                <a:lnTo>
                  <a:pt x="1506" y="1205"/>
                </a:lnTo>
                <a:lnTo>
                  <a:pt x="1508" y="1205"/>
                </a:lnTo>
                <a:lnTo>
                  <a:pt x="1513" y="1213"/>
                </a:lnTo>
                <a:lnTo>
                  <a:pt x="1517" y="1213"/>
                </a:lnTo>
                <a:lnTo>
                  <a:pt x="1523" y="1217"/>
                </a:lnTo>
                <a:lnTo>
                  <a:pt x="1525" y="1224"/>
                </a:lnTo>
                <a:lnTo>
                  <a:pt x="1530" y="1224"/>
                </a:lnTo>
                <a:lnTo>
                  <a:pt x="1531" y="1224"/>
                </a:lnTo>
                <a:lnTo>
                  <a:pt x="1536" y="1227"/>
                </a:lnTo>
                <a:lnTo>
                  <a:pt x="1536" y="1228"/>
                </a:lnTo>
                <a:lnTo>
                  <a:pt x="1534" y="1228"/>
                </a:lnTo>
                <a:lnTo>
                  <a:pt x="1535" y="1228"/>
                </a:lnTo>
                <a:lnTo>
                  <a:pt x="1535" y="1236"/>
                </a:lnTo>
                <a:lnTo>
                  <a:pt x="1541" y="1242"/>
                </a:lnTo>
                <a:lnTo>
                  <a:pt x="1544" y="1243"/>
                </a:lnTo>
                <a:lnTo>
                  <a:pt x="1545" y="1246"/>
                </a:lnTo>
                <a:lnTo>
                  <a:pt x="1548" y="1246"/>
                </a:lnTo>
                <a:lnTo>
                  <a:pt x="1524" y="1277"/>
                </a:lnTo>
                <a:lnTo>
                  <a:pt x="1530" y="1280"/>
                </a:lnTo>
                <a:lnTo>
                  <a:pt x="1539" y="1299"/>
                </a:lnTo>
                <a:lnTo>
                  <a:pt x="1538" y="1307"/>
                </a:lnTo>
                <a:lnTo>
                  <a:pt x="1541" y="1322"/>
                </a:lnTo>
                <a:lnTo>
                  <a:pt x="1544" y="1340"/>
                </a:lnTo>
                <a:lnTo>
                  <a:pt x="1546" y="1354"/>
                </a:lnTo>
                <a:lnTo>
                  <a:pt x="1542" y="1361"/>
                </a:lnTo>
                <a:lnTo>
                  <a:pt x="1517" y="1471"/>
                </a:lnTo>
                <a:lnTo>
                  <a:pt x="1516" y="1471"/>
                </a:lnTo>
                <a:lnTo>
                  <a:pt x="1513" y="1464"/>
                </a:lnTo>
                <a:lnTo>
                  <a:pt x="1509" y="1462"/>
                </a:lnTo>
                <a:lnTo>
                  <a:pt x="1503" y="1462"/>
                </a:lnTo>
                <a:lnTo>
                  <a:pt x="1502" y="1464"/>
                </a:lnTo>
                <a:lnTo>
                  <a:pt x="1499" y="1464"/>
                </a:lnTo>
                <a:lnTo>
                  <a:pt x="1496" y="1460"/>
                </a:lnTo>
                <a:lnTo>
                  <a:pt x="1492" y="1460"/>
                </a:lnTo>
                <a:lnTo>
                  <a:pt x="1489" y="1460"/>
                </a:lnTo>
                <a:lnTo>
                  <a:pt x="1485" y="1456"/>
                </a:lnTo>
                <a:lnTo>
                  <a:pt x="1485" y="1453"/>
                </a:lnTo>
                <a:lnTo>
                  <a:pt x="1478" y="1449"/>
                </a:lnTo>
                <a:lnTo>
                  <a:pt x="1474" y="1449"/>
                </a:lnTo>
                <a:lnTo>
                  <a:pt x="1470" y="1448"/>
                </a:lnTo>
                <a:lnTo>
                  <a:pt x="1464" y="1449"/>
                </a:lnTo>
                <a:lnTo>
                  <a:pt x="1456" y="1459"/>
                </a:lnTo>
                <a:lnTo>
                  <a:pt x="1434" y="1502"/>
                </a:lnTo>
                <a:lnTo>
                  <a:pt x="1420" y="1507"/>
                </a:lnTo>
                <a:lnTo>
                  <a:pt x="1411" y="1507"/>
                </a:lnTo>
                <a:lnTo>
                  <a:pt x="1406" y="1504"/>
                </a:lnTo>
                <a:lnTo>
                  <a:pt x="1395" y="1497"/>
                </a:lnTo>
                <a:lnTo>
                  <a:pt x="1392" y="1490"/>
                </a:lnTo>
                <a:lnTo>
                  <a:pt x="1384" y="1486"/>
                </a:lnTo>
                <a:lnTo>
                  <a:pt x="1374" y="1472"/>
                </a:lnTo>
                <a:lnTo>
                  <a:pt x="1370" y="1471"/>
                </a:lnTo>
                <a:lnTo>
                  <a:pt x="1364" y="1476"/>
                </a:lnTo>
                <a:lnTo>
                  <a:pt x="1361" y="1474"/>
                </a:lnTo>
                <a:lnTo>
                  <a:pt x="1360" y="1472"/>
                </a:lnTo>
                <a:lnTo>
                  <a:pt x="1360" y="1464"/>
                </a:lnTo>
                <a:lnTo>
                  <a:pt x="1356" y="1460"/>
                </a:lnTo>
                <a:lnTo>
                  <a:pt x="1354" y="1457"/>
                </a:lnTo>
                <a:lnTo>
                  <a:pt x="1353" y="1449"/>
                </a:lnTo>
                <a:lnTo>
                  <a:pt x="1352" y="1448"/>
                </a:lnTo>
                <a:lnTo>
                  <a:pt x="1348" y="1448"/>
                </a:lnTo>
                <a:lnTo>
                  <a:pt x="1348" y="1445"/>
                </a:lnTo>
                <a:lnTo>
                  <a:pt x="1349" y="1441"/>
                </a:lnTo>
                <a:lnTo>
                  <a:pt x="1353" y="1437"/>
                </a:lnTo>
                <a:lnTo>
                  <a:pt x="1352" y="1429"/>
                </a:lnTo>
                <a:lnTo>
                  <a:pt x="1338" y="1426"/>
                </a:lnTo>
                <a:lnTo>
                  <a:pt x="1336" y="1423"/>
                </a:lnTo>
                <a:lnTo>
                  <a:pt x="1336" y="1422"/>
                </a:lnTo>
                <a:lnTo>
                  <a:pt x="1339" y="1415"/>
                </a:lnTo>
                <a:lnTo>
                  <a:pt x="1338" y="1411"/>
                </a:lnTo>
                <a:lnTo>
                  <a:pt x="1334" y="1410"/>
                </a:lnTo>
                <a:lnTo>
                  <a:pt x="1336" y="1403"/>
                </a:lnTo>
                <a:lnTo>
                  <a:pt x="1335" y="1399"/>
                </a:lnTo>
                <a:lnTo>
                  <a:pt x="1324" y="1395"/>
                </a:lnTo>
                <a:lnTo>
                  <a:pt x="1320" y="1395"/>
                </a:lnTo>
                <a:lnTo>
                  <a:pt x="1317" y="1397"/>
                </a:lnTo>
                <a:lnTo>
                  <a:pt x="1313" y="1403"/>
                </a:lnTo>
                <a:lnTo>
                  <a:pt x="1304" y="1401"/>
                </a:lnTo>
                <a:lnTo>
                  <a:pt x="1296" y="1401"/>
                </a:lnTo>
                <a:lnTo>
                  <a:pt x="1274" y="1397"/>
                </a:lnTo>
                <a:lnTo>
                  <a:pt x="1272" y="1392"/>
                </a:lnTo>
                <a:lnTo>
                  <a:pt x="1265" y="1410"/>
                </a:lnTo>
                <a:lnTo>
                  <a:pt x="1250" y="1432"/>
                </a:lnTo>
                <a:lnTo>
                  <a:pt x="1235" y="1466"/>
                </a:lnTo>
                <a:lnTo>
                  <a:pt x="1229" y="1471"/>
                </a:lnTo>
                <a:lnTo>
                  <a:pt x="1211" y="1472"/>
                </a:lnTo>
                <a:lnTo>
                  <a:pt x="1203" y="1478"/>
                </a:lnTo>
                <a:lnTo>
                  <a:pt x="1193" y="1482"/>
                </a:lnTo>
                <a:lnTo>
                  <a:pt x="1187" y="1486"/>
                </a:lnTo>
                <a:lnTo>
                  <a:pt x="1185" y="1502"/>
                </a:lnTo>
                <a:lnTo>
                  <a:pt x="1179" y="1511"/>
                </a:lnTo>
                <a:lnTo>
                  <a:pt x="1174" y="1513"/>
                </a:lnTo>
                <a:lnTo>
                  <a:pt x="1167" y="1515"/>
                </a:lnTo>
                <a:lnTo>
                  <a:pt x="1162" y="1516"/>
                </a:lnTo>
                <a:lnTo>
                  <a:pt x="1162" y="1521"/>
                </a:lnTo>
                <a:lnTo>
                  <a:pt x="1157" y="1524"/>
                </a:lnTo>
                <a:lnTo>
                  <a:pt x="1157" y="1527"/>
                </a:lnTo>
                <a:lnTo>
                  <a:pt x="1162" y="1534"/>
                </a:lnTo>
                <a:lnTo>
                  <a:pt x="1170" y="1531"/>
                </a:lnTo>
                <a:lnTo>
                  <a:pt x="1171" y="1531"/>
                </a:lnTo>
                <a:lnTo>
                  <a:pt x="1174" y="1535"/>
                </a:lnTo>
                <a:lnTo>
                  <a:pt x="1175" y="1539"/>
                </a:lnTo>
                <a:lnTo>
                  <a:pt x="1175" y="1546"/>
                </a:lnTo>
                <a:lnTo>
                  <a:pt x="1172" y="1549"/>
                </a:lnTo>
                <a:lnTo>
                  <a:pt x="1172" y="1553"/>
                </a:lnTo>
                <a:lnTo>
                  <a:pt x="1168" y="1560"/>
                </a:lnTo>
                <a:lnTo>
                  <a:pt x="1170" y="1561"/>
                </a:lnTo>
                <a:lnTo>
                  <a:pt x="1174" y="1565"/>
                </a:lnTo>
                <a:lnTo>
                  <a:pt x="1174" y="1575"/>
                </a:lnTo>
                <a:lnTo>
                  <a:pt x="1172" y="1580"/>
                </a:lnTo>
                <a:lnTo>
                  <a:pt x="1175" y="1584"/>
                </a:lnTo>
                <a:lnTo>
                  <a:pt x="1175" y="1590"/>
                </a:lnTo>
                <a:lnTo>
                  <a:pt x="1181" y="1597"/>
                </a:lnTo>
                <a:lnTo>
                  <a:pt x="1187" y="1597"/>
                </a:lnTo>
                <a:lnTo>
                  <a:pt x="1189" y="1598"/>
                </a:lnTo>
                <a:lnTo>
                  <a:pt x="1181" y="1606"/>
                </a:lnTo>
                <a:lnTo>
                  <a:pt x="1182" y="1618"/>
                </a:lnTo>
                <a:lnTo>
                  <a:pt x="1181" y="1623"/>
                </a:lnTo>
                <a:lnTo>
                  <a:pt x="1178" y="1625"/>
                </a:lnTo>
                <a:lnTo>
                  <a:pt x="1178" y="1627"/>
                </a:lnTo>
                <a:lnTo>
                  <a:pt x="1182" y="1632"/>
                </a:lnTo>
                <a:lnTo>
                  <a:pt x="1186" y="1632"/>
                </a:lnTo>
                <a:lnTo>
                  <a:pt x="1192" y="1631"/>
                </a:lnTo>
                <a:lnTo>
                  <a:pt x="1193" y="1623"/>
                </a:lnTo>
                <a:lnTo>
                  <a:pt x="1197" y="1621"/>
                </a:lnTo>
                <a:lnTo>
                  <a:pt x="1200" y="1622"/>
                </a:lnTo>
                <a:lnTo>
                  <a:pt x="1203" y="1627"/>
                </a:lnTo>
                <a:lnTo>
                  <a:pt x="1197" y="1632"/>
                </a:lnTo>
                <a:lnTo>
                  <a:pt x="1201" y="1636"/>
                </a:lnTo>
                <a:lnTo>
                  <a:pt x="1197" y="1640"/>
                </a:lnTo>
                <a:lnTo>
                  <a:pt x="1199" y="1651"/>
                </a:lnTo>
                <a:lnTo>
                  <a:pt x="1195" y="1655"/>
                </a:lnTo>
                <a:lnTo>
                  <a:pt x="1204" y="1657"/>
                </a:lnTo>
                <a:lnTo>
                  <a:pt x="1206" y="1665"/>
                </a:lnTo>
                <a:lnTo>
                  <a:pt x="1210" y="1668"/>
                </a:lnTo>
                <a:lnTo>
                  <a:pt x="1206" y="1672"/>
                </a:lnTo>
                <a:lnTo>
                  <a:pt x="1207" y="1677"/>
                </a:lnTo>
                <a:lnTo>
                  <a:pt x="1206" y="1681"/>
                </a:lnTo>
                <a:lnTo>
                  <a:pt x="1209" y="1685"/>
                </a:lnTo>
                <a:lnTo>
                  <a:pt x="1207" y="1694"/>
                </a:lnTo>
                <a:lnTo>
                  <a:pt x="1211" y="1696"/>
                </a:lnTo>
                <a:lnTo>
                  <a:pt x="1214" y="1704"/>
                </a:lnTo>
                <a:lnTo>
                  <a:pt x="1220" y="1707"/>
                </a:lnTo>
                <a:lnTo>
                  <a:pt x="1221" y="1712"/>
                </a:lnTo>
                <a:lnTo>
                  <a:pt x="1215" y="1714"/>
                </a:lnTo>
                <a:lnTo>
                  <a:pt x="1214" y="1715"/>
                </a:lnTo>
                <a:lnTo>
                  <a:pt x="1212" y="1717"/>
                </a:lnTo>
                <a:lnTo>
                  <a:pt x="1211" y="1714"/>
                </a:lnTo>
                <a:lnTo>
                  <a:pt x="1210" y="1710"/>
                </a:lnTo>
                <a:lnTo>
                  <a:pt x="1206" y="1712"/>
                </a:lnTo>
                <a:lnTo>
                  <a:pt x="1200" y="1704"/>
                </a:lnTo>
                <a:lnTo>
                  <a:pt x="1193" y="1707"/>
                </a:lnTo>
                <a:lnTo>
                  <a:pt x="1192" y="1707"/>
                </a:lnTo>
                <a:lnTo>
                  <a:pt x="1179" y="1714"/>
                </a:lnTo>
                <a:lnTo>
                  <a:pt x="1162" y="1718"/>
                </a:lnTo>
                <a:lnTo>
                  <a:pt x="1149" y="1718"/>
                </a:lnTo>
                <a:lnTo>
                  <a:pt x="1136" y="1713"/>
                </a:lnTo>
                <a:lnTo>
                  <a:pt x="1134" y="1713"/>
                </a:lnTo>
                <a:lnTo>
                  <a:pt x="1134" y="1729"/>
                </a:lnTo>
                <a:lnTo>
                  <a:pt x="1132" y="1740"/>
                </a:lnTo>
                <a:lnTo>
                  <a:pt x="1134" y="1771"/>
                </a:lnTo>
                <a:lnTo>
                  <a:pt x="1132" y="1775"/>
                </a:lnTo>
                <a:lnTo>
                  <a:pt x="1131" y="1777"/>
                </a:lnTo>
                <a:lnTo>
                  <a:pt x="1125" y="1779"/>
                </a:lnTo>
                <a:lnTo>
                  <a:pt x="1100" y="1782"/>
                </a:lnTo>
                <a:lnTo>
                  <a:pt x="1096" y="1785"/>
                </a:lnTo>
                <a:lnTo>
                  <a:pt x="1100" y="1806"/>
                </a:lnTo>
                <a:lnTo>
                  <a:pt x="1103" y="1812"/>
                </a:lnTo>
                <a:lnTo>
                  <a:pt x="1103" y="1816"/>
                </a:lnTo>
                <a:lnTo>
                  <a:pt x="1099" y="1826"/>
                </a:lnTo>
                <a:lnTo>
                  <a:pt x="1099" y="1830"/>
                </a:lnTo>
                <a:lnTo>
                  <a:pt x="1092" y="1841"/>
                </a:lnTo>
                <a:lnTo>
                  <a:pt x="1090" y="1846"/>
                </a:lnTo>
                <a:lnTo>
                  <a:pt x="1099" y="1861"/>
                </a:lnTo>
                <a:lnTo>
                  <a:pt x="1104" y="1863"/>
                </a:lnTo>
                <a:lnTo>
                  <a:pt x="1109" y="1868"/>
                </a:lnTo>
                <a:lnTo>
                  <a:pt x="1115" y="1871"/>
                </a:lnTo>
                <a:lnTo>
                  <a:pt x="1117" y="1868"/>
                </a:lnTo>
                <a:lnTo>
                  <a:pt x="1120" y="1868"/>
                </a:lnTo>
                <a:lnTo>
                  <a:pt x="1134" y="1879"/>
                </a:lnTo>
                <a:lnTo>
                  <a:pt x="1136" y="1880"/>
                </a:lnTo>
                <a:lnTo>
                  <a:pt x="1139" y="1883"/>
                </a:lnTo>
                <a:lnTo>
                  <a:pt x="1159" y="1894"/>
                </a:lnTo>
                <a:lnTo>
                  <a:pt x="1157" y="1897"/>
                </a:lnTo>
                <a:lnTo>
                  <a:pt x="1157" y="1903"/>
                </a:lnTo>
                <a:lnTo>
                  <a:pt x="1159" y="1905"/>
                </a:lnTo>
                <a:lnTo>
                  <a:pt x="1167" y="1913"/>
                </a:lnTo>
                <a:lnTo>
                  <a:pt x="1178" y="1917"/>
                </a:lnTo>
                <a:lnTo>
                  <a:pt x="1185" y="1928"/>
                </a:lnTo>
                <a:lnTo>
                  <a:pt x="1193" y="1928"/>
                </a:lnTo>
                <a:lnTo>
                  <a:pt x="1199" y="1921"/>
                </a:lnTo>
                <a:lnTo>
                  <a:pt x="1207" y="1926"/>
                </a:lnTo>
                <a:lnTo>
                  <a:pt x="1214" y="1928"/>
                </a:lnTo>
                <a:lnTo>
                  <a:pt x="1217" y="1928"/>
                </a:lnTo>
                <a:lnTo>
                  <a:pt x="1221" y="1924"/>
                </a:lnTo>
                <a:lnTo>
                  <a:pt x="1222" y="1925"/>
                </a:lnTo>
                <a:lnTo>
                  <a:pt x="1225" y="1929"/>
                </a:lnTo>
                <a:lnTo>
                  <a:pt x="1231" y="1931"/>
                </a:lnTo>
                <a:lnTo>
                  <a:pt x="1236" y="1949"/>
                </a:lnTo>
                <a:lnTo>
                  <a:pt x="1239" y="1950"/>
                </a:lnTo>
                <a:lnTo>
                  <a:pt x="1243" y="1951"/>
                </a:lnTo>
                <a:lnTo>
                  <a:pt x="1250" y="1965"/>
                </a:lnTo>
                <a:lnTo>
                  <a:pt x="1251" y="1970"/>
                </a:lnTo>
                <a:lnTo>
                  <a:pt x="1251" y="1979"/>
                </a:lnTo>
                <a:lnTo>
                  <a:pt x="1256" y="1991"/>
                </a:lnTo>
                <a:lnTo>
                  <a:pt x="1257" y="1992"/>
                </a:lnTo>
                <a:lnTo>
                  <a:pt x="1267" y="1996"/>
                </a:lnTo>
                <a:lnTo>
                  <a:pt x="1267" y="2001"/>
                </a:lnTo>
                <a:lnTo>
                  <a:pt x="1271" y="2007"/>
                </a:lnTo>
                <a:lnTo>
                  <a:pt x="1278" y="2009"/>
                </a:lnTo>
                <a:lnTo>
                  <a:pt x="1292" y="2018"/>
                </a:lnTo>
                <a:lnTo>
                  <a:pt x="1295" y="2018"/>
                </a:lnTo>
                <a:lnTo>
                  <a:pt x="1304" y="2028"/>
                </a:lnTo>
                <a:lnTo>
                  <a:pt x="1313" y="2032"/>
                </a:lnTo>
                <a:lnTo>
                  <a:pt x="1317" y="2037"/>
                </a:lnTo>
                <a:lnTo>
                  <a:pt x="1320" y="2041"/>
                </a:lnTo>
                <a:lnTo>
                  <a:pt x="1322" y="2043"/>
                </a:lnTo>
                <a:lnTo>
                  <a:pt x="1325" y="2041"/>
                </a:lnTo>
                <a:lnTo>
                  <a:pt x="1325" y="2037"/>
                </a:lnTo>
                <a:lnTo>
                  <a:pt x="1327" y="2036"/>
                </a:lnTo>
                <a:lnTo>
                  <a:pt x="1332" y="2036"/>
                </a:lnTo>
                <a:lnTo>
                  <a:pt x="1334" y="2037"/>
                </a:lnTo>
                <a:lnTo>
                  <a:pt x="1336" y="2041"/>
                </a:lnTo>
                <a:lnTo>
                  <a:pt x="1339" y="2036"/>
                </a:lnTo>
                <a:lnTo>
                  <a:pt x="1352" y="2045"/>
                </a:lnTo>
                <a:lnTo>
                  <a:pt x="1354" y="2048"/>
                </a:lnTo>
                <a:lnTo>
                  <a:pt x="1356" y="2052"/>
                </a:lnTo>
                <a:lnTo>
                  <a:pt x="1360" y="2055"/>
                </a:lnTo>
                <a:lnTo>
                  <a:pt x="1354" y="2055"/>
                </a:lnTo>
                <a:lnTo>
                  <a:pt x="1350" y="2060"/>
                </a:lnTo>
                <a:lnTo>
                  <a:pt x="1304" y="2190"/>
                </a:lnTo>
                <a:lnTo>
                  <a:pt x="1263" y="2303"/>
                </a:lnTo>
                <a:lnTo>
                  <a:pt x="1263" y="2388"/>
                </a:lnTo>
                <a:lnTo>
                  <a:pt x="1267" y="2389"/>
                </a:lnTo>
                <a:lnTo>
                  <a:pt x="1261" y="2415"/>
                </a:lnTo>
                <a:lnTo>
                  <a:pt x="1261" y="2580"/>
                </a:lnTo>
                <a:lnTo>
                  <a:pt x="1234" y="2580"/>
                </a:lnTo>
                <a:lnTo>
                  <a:pt x="1111" y="2579"/>
                </a:lnTo>
                <a:lnTo>
                  <a:pt x="1111" y="2582"/>
                </a:lnTo>
                <a:lnTo>
                  <a:pt x="1109" y="2582"/>
                </a:lnTo>
                <a:lnTo>
                  <a:pt x="1109" y="2581"/>
                </a:lnTo>
                <a:lnTo>
                  <a:pt x="1106" y="2582"/>
                </a:lnTo>
                <a:lnTo>
                  <a:pt x="1106" y="2588"/>
                </a:lnTo>
                <a:lnTo>
                  <a:pt x="1101" y="2590"/>
                </a:lnTo>
                <a:lnTo>
                  <a:pt x="1104" y="2593"/>
                </a:lnTo>
                <a:lnTo>
                  <a:pt x="1110" y="2593"/>
                </a:lnTo>
                <a:lnTo>
                  <a:pt x="1110" y="2594"/>
                </a:lnTo>
                <a:lnTo>
                  <a:pt x="1106" y="2594"/>
                </a:lnTo>
                <a:lnTo>
                  <a:pt x="1106" y="2597"/>
                </a:lnTo>
                <a:lnTo>
                  <a:pt x="1107" y="2601"/>
                </a:lnTo>
                <a:lnTo>
                  <a:pt x="1112" y="2601"/>
                </a:lnTo>
                <a:lnTo>
                  <a:pt x="1115" y="2612"/>
                </a:lnTo>
                <a:lnTo>
                  <a:pt x="1122" y="2617"/>
                </a:lnTo>
                <a:lnTo>
                  <a:pt x="1128" y="2625"/>
                </a:lnTo>
                <a:lnTo>
                  <a:pt x="1128" y="2629"/>
                </a:lnTo>
                <a:lnTo>
                  <a:pt x="1125" y="2632"/>
                </a:lnTo>
                <a:lnTo>
                  <a:pt x="1128" y="2638"/>
                </a:lnTo>
                <a:lnTo>
                  <a:pt x="1139" y="2643"/>
                </a:lnTo>
                <a:lnTo>
                  <a:pt x="1147" y="2646"/>
                </a:lnTo>
                <a:lnTo>
                  <a:pt x="1151" y="2647"/>
                </a:lnTo>
                <a:lnTo>
                  <a:pt x="1160" y="2651"/>
                </a:lnTo>
                <a:lnTo>
                  <a:pt x="1162" y="2655"/>
                </a:lnTo>
                <a:lnTo>
                  <a:pt x="1165" y="2664"/>
                </a:lnTo>
                <a:lnTo>
                  <a:pt x="1170" y="2672"/>
                </a:lnTo>
                <a:lnTo>
                  <a:pt x="1178" y="2681"/>
                </a:lnTo>
                <a:lnTo>
                  <a:pt x="1178" y="2696"/>
                </a:lnTo>
                <a:lnTo>
                  <a:pt x="1178" y="2699"/>
                </a:lnTo>
                <a:lnTo>
                  <a:pt x="1192" y="2718"/>
                </a:lnTo>
                <a:lnTo>
                  <a:pt x="1189" y="2722"/>
                </a:lnTo>
                <a:lnTo>
                  <a:pt x="1187" y="2728"/>
                </a:lnTo>
                <a:lnTo>
                  <a:pt x="1179" y="2739"/>
                </a:lnTo>
                <a:lnTo>
                  <a:pt x="1178" y="2745"/>
                </a:lnTo>
                <a:lnTo>
                  <a:pt x="1175" y="2750"/>
                </a:lnTo>
                <a:lnTo>
                  <a:pt x="1168" y="2781"/>
                </a:lnTo>
                <a:lnTo>
                  <a:pt x="1170" y="2792"/>
                </a:lnTo>
                <a:lnTo>
                  <a:pt x="1168" y="2806"/>
                </a:lnTo>
                <a:lnTo>
                  <a:pt x="1172" y="2820"/>
                </a:lnTo>
                <a:lnTo>
                  <a:pt x="1175" y="2837"/>
                </a:lnTo>
                <a:lnTo>
                  <a:pt x="1175" y="2845"/>
                </a:lnTo>
                <a:lnTo>
                  <a:pt x="1174" y="2847"/>
                </a:lnTo>
                <a:lnTo>
                  <a:pt x="1167" y="2849"/>
                </a:lnTo>
                <a:lnTo>
                  <a:pt x="1161" y="2855"/>
                </a:lnTo>
                <a:lnTo>
                  <a:pt x="1151" y="2857"/>
                </a:lnTo>
                <a:lnTo>
                  <a:pt x="1147" y="2859"/>
                </a:lnTo>
                <a:lnTo>
                  <a:pt x="1140" y="2868"/>
                </a:lnTo>
                <a:lnTo>
                  <a:pt x="1131" y="2875"/>
                </a:lnTo>
                <a:lnTo>
                  <a:pt x="1128" y="2883"/>
                </a:lnTo>
                <a:lnTo>
                  <a:pt x="1128" y="2887"/>
                </a:lnTo>
                <a:lnTo>
                  <a:pt x="1125" y="2893"/>
                </a:lnTo>
                <a:lnTo>
                  <a:pt x="1122" y="2896"/>
                </a:lnTo>
                <a:lnTo>
                  <a:pt x="1120" y="2897"/>
                </a:lnTo>
                <a:lnTo>
                  <a:pt x="1111" y="2897"/>
                </a:lnTo>
                <a:lnTo>
                  <a:pt x="1103" y="2896"/>
                </a:lnTo>
                <a:lnTo>
                  <a:pt x="1093" y="2888"/>
                </a:lnTo>
                <a:lnTo>
                  <a:pt x="1086" y="2885"/>
                </a:lnTo>
                <a:lnTo>
                  <a:pt x="1081" y="2878"/>
                </a:lnTo>
                <a:lnTo>
                  <a:pt x="1064" y="2866"/>
                </a:lnTo>
                <a:lnTo>
                  <a:pt x="1053" y="2851"/>
                </a:lnTo>
                <a:lnTo>
                  <a:pt x="1047" y="2849"/>
                </a:lnTo>
                <a:lnTo>
                  <a:pt x="1039" y="2853"/>
                </a:lnTo>
                <a:lnTo>
                  <a:pt x="1037" y="2851"/>
                </a:lnTo>
                <a:lnTo>
                  <a:pt x="1036" y="2849"/>
                </a:lnTo>
                <a:lnTo>
                  <a:pt x="1032" y="2849"/>
                </a:lnTo>
                <a:lnTo>
                  <a:pt x="1030" y="2849"/>
                </a:lnTo>
                <a:lnTo>
                  <a:pt x="1026" y="2857"/>
                </a:lnTo>
                <a:lnTo>
                  <a:pt x="1024" y="2859"/>
                </a:lnTo>
                <a:lnTo>
                  <a:pt x="1016" y="2860"/>
                </a:lnTo>
                <a:lnTo>
                  <a:pt x="1012" y="2860"/>
                </a:lnTo>
                <a:lnTo>
                  <a:pt x="1004" y="2857"/>
                </a:lnTo>
                <a:lnTo>
                  <a:pt x="1000" y="2853"/>
                </a:lnTo>
                <a:lnTo>
                  <a:pt x="994" y="2841"/>
                </a:lnTo>
                <a:lnTo>
                  <a:pt x="991" y="2841"/>
                </a:lnTo>
                <a:lnTo>
                  <a:pt x="990" y="2843"/>
                </a:lnTo>
                <a:lnTo>
                  <a:pt x="991" y="2849"/>
                </a:lnTo>
                <a:lnTo>
                  <a:pt x="989" y="2853"/>
                </a:lnTo>
                <a:lnTo>
                  <a:pt x="987" y="2860"/>
                </a:lnTo>
                <a:lnTo>
                  <a:pt x="986" y="2863"/>
                </a:lnTo>
                <a:lnTo>
                  <a:pt x="982" y="2865"/>
                </a:lnTo>
                <a:lnTo>
                  <a:pt x="977" y="2868"/>
                </a:lnTo>
                <a:lnTo>
                  <a:pt x="966" y="2871"/>
                </a:lnTo>
                <a:lnTo>
                  <a:pt x="962" y="2871"/>
                </a:lnTo>
                <a:lnTo>
                  <a:pt x="958" y="2870"/>
                </a:lnTo>
                <a:lnTo>
                  <a:pt x="957" y="2868"/>
                </a:lnTo>
                <a:lnTo>
                  <a:pt x="955" y="2868"/>
                </a:lnTo>
                <a:lnTo>
                  <a:pt x="955" y="2871"/>
                </a:lnTo>
                <a:lnTo>
                  <a:pt x="952" y="2874"/>
                </a:lnTo>
                <a:lnTo>
                  <a:pt x="952" y="2871"/>
                </a:lnTo>
                <a:lnTo>
                  <a:pt x="951" y="2871"/>
                </a:lnTo>
                <a:lnTo>
                  <a:pt x="951" y="2875"/>
                </a:lnTo>
                <a:lnTo>
                  <a:pt x="949" y="2878"/>
                </a:lnTo>
                <a:lnTo>
                  <a:pt x="949" y="2879"/>
                </a:lnTo>
                <a:lnTo>
                  <a:pt x="943" y="2883"/>
                </a:lnTo>
                <a:lnTo>
                  <a:pt x="944" y="2887"/>
                </a:lnTo>
                <a:lnTo>
                  <a:pt x="941" y="2890"/>
                </a:lnTo>
                <a:lnTo>
                  <a:pt x="940" y="2893"/>
                </a:lnTo>
                <a:lnTo>
                  <a:pt x="930" y="2896"/>
                </a:lnTo>
                <a:lnTo>
                  <a:pt x="929" y="2892"/>
                </a:lnTo>
                <a:lnTo>
                  <a:pt x="926" y="2893"/>
                </a:lnTo>
                <a:lnTo>
                  <a:pt x="921" y="2893"/>
                </a:lnTo>
                <a:lnTo>
                  <a:pt x="921" y="2897"/>
                </a:lnTo>
                <a:lnTo>
                  <a:pt x="921" y="2902"/>
                </a:lnTo>
                <a:lnTo>
                  <a:pt x="919" y="2905"/>
                </a:lnTo>
                <a:lnTo>
                  <a:pt x="911" y="2905"/>
                </a:lnTo>
                <a:lnTo>
                  <a:pt x="910" y="2902"/>
                </a:lnTo>
                <a:lnTo>
                  <a:pt x="907" y="2897"/>
                </a:lnTo>
                <a:lnTo>
                  <a:pt x="900" y="2900"/>
                </a:lnTo>
                <a:lnTo>
                  <a:pt x="896" y="2902"/>
                </a:lnTo>
                <a:lnTo>
                  <a:pt x="893" y="2902"/>
                </a:lnTo>
                <a:lnTo>
                  <a:pt x="889" y="2905"/>
                </a:lnTo>
                <a:lnTo>
                  <a:pt x="889" y="2910"/>
                </a:lnTo>
                <a:lnTo>
                  <a:pt x="886" y="2912"/>
                </a:lnTo>
                <a:lnTo>
                  <a:pt x="886" y="2920"/>
                </a:lnTo>
                <a:lnTo>
                  <a:pt x="883" y="2924"/>
                </a:lnTo>
                <a:lnTo>
                  <a:pt x="883" y="2930"/>
                </a:lnTo>
                <a:lnTo>
                  <a:pt x="882" y="2934"/>
                </a:lnTo>
                <a:lnTo>
                  <a:pt x="874" y="2940"/>
                </a:lnTo>
                <a:lnTo>
                  <a:pt x="875" y="2942"/>
                </a:lnTo>
                <a:lnTo>
                  <a:pt x="871" y="2942"/>
                </a:lnTo>
                <a:lnTo>
                  <a:pt x="868" y="2942"/>
                </a:lnTo>
                <a:lnTo>
                  <a:pt x="865" y="2941"/>
                </a:lnTo>
                <a:lnTo>
                  <a:pt x="861" y="2942"/>
                </a:lnTo>
                <a:lnTo>
                  <a:pt x="857" y="2942"/>
                </a:lnTo>
                <a:lnTo>
                  <a:pt x="852" y="2945"/>
                </a:lnTo>
                <a:lnTo>
                  <a:pt x="850" y="2945"/>
                </a:lnTo>
                <a:lnTo>
                  <a:pt x="847" y="2946"/>
                </a:lnTo>
                <a:lnTo>
                  <a:pt x="844" y="2950"/>
                </a:lnTo>
                <a:lnTo>
                  <a:pt x="840" y="2954"/>
                </a:lnTo>
                <a:lnTo>
                  <a:pt x="840" y="2958"/>
                </a:lnTo>
                <a:lnTo>
                  <a:pt x="836" y="2959"/>
                </a:lnTo>
                <a:lnTo>
                  <a:pt x="833" y="2962"/>
                </a:lnTo>
                <a:lnTo>
                  <a:pt x="823" y="2963"/>
                </a:lnTo>
                <a:lnTo>
                  <a:pt x="821" y="2965"/>
                </a:lnTo>
                <a:lnTo>
                  <a:pt x="821" y="2971"/>
                </a:lnTo>
                <a:lnTo>
                  <a:pt x="818" y="2977"/>
                </a:lnTo>
                <a:lnTo>
                  <a:pt x="819" y="2980"/>
                </a:lnTo>
                <a:lnTo>
                  <a:pt x="823" y="2986"/>
                </a:lnTo>
                <a:lnTo>
                  <a:pt x="832" y="2987"/>
                </a:lnTo>
                <a:lnTo>
                  <a:pt x="833" y="2995"/>
                </a:lnTo>
                <a:lnTo>
                  <a:pt x="877" y="3039"/>
                </a:lnTo>
                <a:lnTo>
                  <a:pt x="882" y="3054"/>
                </a:lnTo>
                <a:lnTo>
                  <a:pt x="891" y="3062"/>
                </a:lnTo>
                <a:lnTo>
                  <a:pt x="904" y="3093"/>
                </a:lnTo>
                <a:lnTo>
                  <a:pt x="904" y="3102"/>
                </a:lnTo>
                <a:lnTo>
                  <a:pt x="907" y="3106"/>
                </a:lnTo>
                <a:lnTo>
                  <a:pt x="910" y="3111"/>
                </a:lnTo>
                <a:lnTo>
                  <a:pt x="918" y="3115"/>
                </a:lnTo>
                <a:lnTo>
                  <a:pt x="922" y="3119"/>
                </a:lnTo>
                <a:lnTo>
                  <a:pt x="918" y="3121"/>
                </a:lnTo>
                <a:lnTo>
                  <a:pt x="908" y="3123"/>
                </a:lnTo>
                <a:lnTo>
                  <a:pt x="900" y="3128"/>
                </a:lnTo>
                <a:lnTo>
                  <a:pt x="897" y="3137"/>
                </a:lnTo>
                <a:lnTo>
                  <a:pt x="889" y="3137"/>
                </a:lnTo>
                <a:lnTo>
                  <a:pt x="891" y="3141"/>
                </a:lnTo>
                <a:lnTo>
                  <a:pt x="889" y="3145"/>
                </a:lnTo>
                <a:lnTo>
                  <a:pt x="889" y="3148"/>
                </a:lnTo>
                <a:lnTo>
                  <a:pt x="887" y="3149"/>
                </a:lnTo>
                <a:lnTo>
                  <a:pt x="887" y="3151"/>
                </a:lnTo>
                <a:lnTo>
                  <a:pt x="886" y="3152"/>
                </a:lnTo>
                <a:lnTo>
                  <a:pt x="908" y="3182"/>
                </a:lnTo>
                <a:lnTo>
                  <a:pt x="904" y="3186"/>
                </a:lnTo>
                <a:lnTo>
                  <a:pt x="889" y="3238"/>
                </a:lnTo>
                <a:lnTo>
                  <a:pt x="926" y="3269"/>
                </a:lnTo>
                <a:lnTo>
                  <a:pt x="977" y="3315"/>
                </a:lnTo>
                <a:lnTo>
                  <a:pt x="996" y="3331"/>
                </a:lnTo>
                <a:lnTo>
                  <a:pt x="1043" y="3334"/>
                </a:lnTo>
                <a:lnTo>
                  <a:pt x="1036" y="3347"/>
                </a:lnTo>
                <a:lnTo>
                  <a:pt x="1029" y="3381"/>
                </a:lnTo>
                <a:lnTo>
                  <a:pt x="1033" y="3386"/>
                </a:lnTo>
                <a:lnTo>
                  <a:pt x="1036" y="3388"/>
                </a:lnTo>
                <a:lnTo>
                  <a:pt x="1036" y="3390"/>
                </a:lnTo>
                <a:lnTo>
                  <a:pt x="1036" y="3392"/>
                </a:lnTo>
                <a:lnTo>
                  <a:pt x="1046" y="3399"/>
                </a:lnTo>
                <a:lnTo>
                  <a:pt x="1054" y="3404"/>
                </a:lnTo>
                <a:lnTo>
                  <a:pt x="1055" y="3406"/>
                </a:lnTo>
                <a:lnTo>
                  <a:pt x="1061" y="3407"/>
                </a:lnTo>
                <a:lnTo>
                  <a:pt x="1072" y="3414"/>
                </a:lnTo>
                <a:lnTo>
                  <a:pt x="1089" y="3421"/>
                </a:lnTo>
                <a:lnTo>
                  <a:pt x="1092" y="3469"/>
                </a:lnTo>
                <a:lnTo>
                  <a:pt x="1096" y="3473"/>
                </a:lnTo>
                <a:lnTo>
                  <a:pt x="1100" y="3474"/>
                </a:lnTo>
                <a:lnTo>
                  <a:pt x="1103" y="3479"/>
                </a:lnTo>
                <a:lnTo>
                  <a:pt x="1107" y="3479"/>
                </a:lnTo>
                <a:lnTo>
                  <a:pt x="1109" y="3480"/>
                </a:lnTo>
                <a:lnTo>
                  <a:pt x="1115" y="3481"/>
                </a:lnTo>
                <a:lnTo>
                  <a:pt x="1124" y="3484"/>
                </a:lnTo>
                <a:lnTo>
                  <a:pt x="1125" y="3485"/>
                </a:lnTo>
                <a:lnTo>
                  <a:pt x="1134" y="3488"/>
                </a:lnTo>
                <a:lnTo>
                  <a:pt x="1135" y="3489"/>
                </a:lnTo>
                <a:lnTo>
                  <a:pt x="1147" y="3489"/>
                </a:lnTo>
                <a:lnTo>
                  <a:pt x="1153" y="3492"/>
                </a:lnTo>
                <a:lnTo>
                  <a:pt x="1156" y="3496"/>
                </a:lnTo>
                <a:lnTo>
                  <a:pt x="1161" y="3497"/>
                </a:lnTo>
                <a:lnTo>
                  <a:pt x="1171" y="3497"/>
                </a:lnTo>
                <a:lnTo>
                  <a:pt x="1176" y="3493"/>
                </a:lnTo>
                <a:lnTo>
                  <a:pt x="1179" y="3493"/>
                </a:lnTo>
                <a:lnTo>
                  <a:pt x="1187" y="3497"/>
                </a:lnTo>
                <a:lnTo>
                  <a:pt x="1190" y="3499"/>
                </a:lnTo>
                <a:lnTo>
                  <a:pt x="1195" y="3508"/>
                </a:lnTo>
                <a:lnTo>
                  <a:pt x="1210" y="3518"/>
                </a:lnTo>
                <a:lnTo>
                  <a:pt x="1211" y="3525"/>
                </a:lnTo>
                <a:lnTo>
                  <a:pt x="1220" y="3530"/>
                </a:lnTo>
                <a:lnTo>
                  <a:pt x="1222" y="3538"/>
                </a:lnTo>
                <a:lnTo>
                  <a:pt x="1225" y="3541"/>
                </a:lnTo>
                <a:lnTo>
                  <a:pt x="1231" y="3542"/>
                </a:lnTo>
                <a:lnTo>
                  <a:pt x="1235" y="3597"/>
                </a:lnTo>
                <a:lnTo>
                  <a:pt x="1226" y="3707"/>
                </a:lnTo>
                <a:lnTo>
                  <a:pt x="1297" y="3707"/>
                </a:lnTo>
                <a:lnTo>
                  <a:pt x="1306" y="3707"/>
                </a:lnTo>
                <a:lnTo>
                  <a:pt x="1403" y="3766"/>
                </a:lnTo>
                <a:lnTo>
                  <a:pt x="1394" y="3809"/>
                </a:lnTo>
                <a:lnTo>
                  <a:pt x="1348" y="3837"/>
                </a:lnTo>
                <a:lnTo>
                  <a:pt x="1342" y="3870"/>
                </a:lnTo>
                <a:lnTo>
                  <a:pt x="1342" y="3882"/>
                </a:lnTo>
                <a:lnTo>
                  <a:pt x="1332" y="3890"/>
                </a:lnTo>
                <a:lnTo>
                  <a:pt x="1327" y="3899"/>
                </a:lnTo>
                <a:lnTo>
                  <a:pt x="1322" y="3911"/>
                </a:lnTo>
                <a:lnTo>
                  <a:pt x="1320" y="3952"/>
                </a:lnTo>
                <a:lnTo>
                  <a:pt x="1321" y="3956"/>
                </a:lnTo>
                <a:lnTo>
                  <a:pt x="1314" y="3957"/>
                </a:lnTo>
                <a:lnTo>
                  <a:pt x="1290" y="3957"/>
                </a:lnTo>
                <a:lnTo>
                  <a:pt x="1286" y="3953"/>
                </a:lnTo>
                <a:lnTo>
                  <a:pt x="1284" y="3953"/>
                </a:lnTo>
                <a:lnTo>
                  <a:pt x="1281" y="3953"/>
                </a:lnTo>
                <a:lnTo>
                  <a:pt x="1276" y="3957"/>
                </a:lnTo>
                <a:lnTo>
                  <a:pt x="1270" y="3960"/>
                </a:lnTo>
                <a:lnTo>
                  <a:pt x="1268" y="3965"/>
                </a:lnTo>
                <a:lnTo>
                  <a:pt x="1263" y="3966"/>
                </a:lnTo>
                <a:lnTo>
                  <a:pt x="1261" y="3969"/>
                </a:lnTo>
                <a:lnTo>
                  <a:pt x="1261" y="3975"/>
                </a:lnTo>
                <a:lnTo>
                  <a:pt x="1263" y="3979"/>
                </a:lnTo>
                <a:lnTo>
                  <a:pt x="1263" y="3983"/>
                </a:lnTo>
                <a:lnTo>
                  <a:pt x="1264" y="3987"/>
                </a:lnTo>
                <a:lnTo>
                  <a:pt x="1263" y="3995"/>
                </a:lnTo>
                <a:lnTo>
                  <a:pt x="1260" y="3998"/>
                </a:lnTo>
                <a:lnTo>
                  <a:pt x="1259" y="4004"/>
                </a:lnTo>
                <a:lnTo>
                  <a:pt x="1256" y="4006"/>
                </a:lnTo>
                <a:lnTo>
                  <a:pt x="1251" y="4006"/>
                </a:lnTo>
                <a:lnTo>
                  <a:pt x="1250" y="4008"/>
                </a:lnTo>
                <a:lnTo>
                  <a:pt x="1250" y="4012"/>
                </a:lnTo>
                <a:lnTo>
                  <a:pt x="1253" y="4013"/>
                </a:lnTo>
                <a:lnTo>
                  <a:pt x="1254" y="4015"/>
                </a:lnTo>
                <a:lnTo>
                  <a:pt x="1253" y="4016"/>
                </a:lnTo>
                <a:lnTo>
                  <a:pt x="1250" y="4019"/>
                </a:lnTo>
                <a:lnTo>
                  <a:pt x="1250" y="4023"/>
                </a:lnTo>
                <a:lnTo>
                  <a:pt x="1246" y="4024"/>
                </a:lnTo>
                <a:lnTo>
                  <a:pt x="1243" y="4028"/>
                </a:lnTo>
                <a:lnTo>
                  <a:pt x="1240" y="4028"/>
                </a:lnTo>
                <a:lnTo>
                  <a:pt x="1237" y="4027"/>
                </a:lnTo>
                <a:lnTo>
                  <a:pt x="1234" y="4027"/>
                </a:lnTo>
                <a:lnTo>
                  <a:pt x="1229" y="4032"/>
                </a:lnTo>
                <a:lnTo>
                  <a:pt x="1222" y="4032"/>
                </a:lnTo>
                <a:lnTo>
                  <a:pt x="1218" y="4035"/>
                </a:lnTo>
                <a:lnTo>
                  <a:pt x="1209" y="4037"/>
                </a:lnTo>
                <a:lnTo>
                  <a:pt x="1204" y="4040"/>
                </a:lnTo>
                <a:lnTo>
                  <a:pt x="1199" y="4037"/>
                </a:lnTo>
                <a:lnTo>
                  <a:pt x="1199" y="4035"/>
                </a:lnTo>
                <a:lnTo>
                  <a:pt x="1190" y="4032"/>
                </a:lnTo>
                <a:lnTo>
                  <a:pt x="1182" y="4024"/>
                </a:lnTo>
                <a:lnTo>
                  <a:pt x="1176" y="4024"/>
                </a:lnTo>
                <a:lnTo>
                  <a:pt x="1175" y="4020"/>
                </a:lnTo>
                <a:lnTo>
                  <a:pt x="1170" y="4020"/>
                </a:lnTo>
                <a:lnTo>
                  <a:pt x="1168" y="4021"/>
                </a:lnTo>
                <a:lnTo>
                  <a:pt x="1167" y="4021"/>
                </a:lnTo>
                <a:lnTo>
                  <a:pt x="1161" y="4018"/>
                </a:lnTo>
                <a:lnTo>
                  <a:pt x="1154" y="4019"/>
                </a:lnTo>
                <a:lnTo>
                  <a:pt x="1146" y="4018"/>
                </a:lnTo>
                <a:lnTo>
                  <a:pt x="1145" y="4015"/>
                </a:lnTo>
                <a:lnTo>
                  <a:pt x="1139" y="4016"/>
                </a:lnTo>
                <a:lnTo>
                  <a:pt x="1137" y="4021"/>
                </a:lnTo>
                <a:lnTo>
                  <a:pt x="1128" y="4024"/>
                </a:lnTo>
                <a:lnTo>
                  <a:pt x="1128" y="4027"/>
                </a:lnTo>
                <a:lnTo>
                  <a:pt x="1128" y="4032"/>
                </a:lnTo>
                <a:lnTo>
                  <a:pt x="1124" y="4036"/>
                </a:lnTo>
                <a:lnTo>
                  <a:pt x="1117" y="4040"/>
                </a:lnTo>
                <a:lnTo>
                  <a:pt x="1112" y="4038"/>
                </a:lnTo>
                <a:lnTo>
                  <a:pt x="1104" y="4045"/>
                </a:lnTo>
                <a:lnTo>
                  <a:pt x="1101" y="4047"/>
                </a:lnTo>
                <a:lnTo>
                  <a:pt x="1096" y="4043"/>
                </a:lnTo>
                <a:lnTo>
                  <a:pt x="1090" y="4041"/>
                </a:lnTo>
                <a:lnTo>
                  <a:pt x="1083" y="4036"/>
                </a:lnTo>
                <a:lnTo>
                  <a:pt x="1078" y="4037"/>
                </a:lnTo>
                <a:lnTo>
                  <a:pt x="1075" y="4032"/>
                </a:lnTo>
                <a:lnTo>
                  <a:pt x="1069" y="4032"/>
                </a:lnTo>
                <a:lnTo>
                  <a:pt x="1065" y="4035"/>
                </a:lnTo>
                <a:lnTo>
                  <a:pt x="1060" y="4027"/>
                </a:lnTo>
                <a:lnTo>
                  <a:pt x="1053" y="4024"/>
                </a:lnTo>
                <a:lnTo>
                  <a:pt x="1044" y="4021"/>
                </a:lnTo>
                <a:lnTo>
                  <a:pt x="1043" y="4020"/>
                </a:lnTo>
                <a:lnTo>
                  <a:pt x="1044" y="4015"/>
                </a:lnTo>
                <a:lnTo>
                  <a:pt x="1039" y="4012"/>
                </a:lnTo>
                <a:lnTo>
                  <a:pt x="1029" y="4012"/>
                </a:lnTo>
                <a:lnTo>
                  <a:pt x="1024" y="4019"/>
                </a:lnTo>
                <a:lnTo>
                  <a:pt x="1014" y="4021"/>
                </a:lnTo>
                <a:lnTo>
                  <a:pt x="1012" y="4021"/>
                </a:lnTo>
                <a:lnTo>
                  <a:pt x="1008" y="4019"/>
                </a:lnTo>
                <a:lnTo>
                  <a:pt x="1005" y="4018"/>
                </a:lnTo>
                <a:lnTo>
                  <a:pt x="1002" y="4019"/>
                </a:lnTo>
                <a:lnTo>
                  <a:pt x="999" y="4021"/>
                </a:lnTo>
                <a:lnTo>
                  <a:pt x="987" y="4021"/>
                </a:lnTo>
                <a:lnTo>
                  <a:pt x="983" y="4020"/>
                </a:lnTo>
                <a:lnTo>
                  <a:pt x="975" y="4019"/>
                </a:lnTo>
                <a:lnTo>
                  <a:pt x="969" y="4013"/>
                </a:lnTo>
                <a:lnTo>
                  <a:pt x="957" y="4015"/>
                </a:lnTo>
                <a:lnTo>
                  <a:pt x="954" y="4013"/>
                </a:lnTo>
                <a:lnTo>
                  <a:pt x="951" y="4010"/>
                </a:lnTo>
                <a:lnTo>
                  <a:pt x="944" y="4010"/>
                </a:lnTo>
                <a:lnTo>
                  <a:pt x="941" y="4008"/>
                </a:lnTo>
                <a:lnTo>
                  <a:pt x="940" y="4008"/>
                </a:lnTo>
                <a:lnTo>
                  <a:pt x="929" y="4010"/>
                </a:lnTo>
                <a:lnTo>
                  <a:pt x="927" y="4012"/>
                </a:lnTo>
                <a:lnTo>
                  <a:pt x="921" y="4013"/>
                </a:lnTo>
                <a:lnTo>
                  <a:pt x="910" y="4019"/>
                </a:lnTo>
                <a:lnTo>
                  <a:pt x="908" y="4023"/>
                </a:lnTo>
                <a:lnTo>
                  <a:pt x="904" y="4024"/>
                </a:lnTo>
                <a:lnTo>
                  <a:pt x="899" y="4035"/>
                </a:lnTo>
                <a:lnTo>
                  <a:pt x="893" y="4038"/>
                </a:lnTo>
                <a:lnTo>
                  <a:pt x="887" y="4038"/>
                </a:lnTo>
                <a:lnTo>
                  <a:pt x="882" y="4044"/>
                </a:lnTo>
                <a:lnTo>
                  <a:pt x="880" y="4047"/>
                </a:lnTo>
                <a:lnTo>
                  <a:pt x="882" y="4050"/>
                </a:lnTo>
                <a:lnTo>
                  <a:pt x="877" y="4062"/>
                </a:lnTo>
                <a:lnTo>
                  <a:pt x="875" y="4062"/>
                </a:lnTo>
                <a:lnTo>
                  <a:pt x="872" y="4061"/>
                </a:lnTo>
                <a:lnTo>
                  <a:pt x="862" y="4069"/>
                </a:lnTo>
                <a:lnTo>
                  <a:pt x="861" y="4069"/>
                </a:lnTo>
                <a:lnTo>
                  <a:pt x="858" y="4066"/>
                </a:lnTo>
                <a:lnTo>
                  <a:pt x="857" y="4068"/>
                </a:lnTo>
                <a:lnTo>
                  <a:pt x="847" y="4073"/>
                </a:lnTo>
                <a:lnTo>
                  <a:pt x="841" y="4075"/>
                </a:lnTo>
                <a:lnTo>
                  <a:pt x="832" y="4080"/>
                </a:lnTo>
                <a:lnTo>
                  <a:pt x="822" y="4087"/>
                </a:lnTo>
                <a:lnTo>
                  <a:pt x="818" y="4087"/>
                </a:lnTo>
                <a:lnTo>
                  <a:pt x="812" y="4083"/>
                </a:lnTo>
                <a:lnTo>
                  <a:pt x="808" y="4086"/>
                </a:lnTo>
                <a:lnTo>
                  <a:pt x="802" y="4087"/>
                </a:lnTo>
                <a:lnTo>
                  <a:pt x="800" y="4087"/>
                </a:lnTo>
                <a:lnTo>
                  <a:pt x="797" y="4085"/>
                </a:lnTo>
                <a:lnTo>
                  <a:pt x="794" y="4083"/>
                </a:lnTo>
                <a:lnTo>
                  <a:pt x="790" y="4083"/>
                </a:lnTo>
                <a:lnTo>
                  <a:pt x="786" y="4085"/>
                </a:lnTo>
                <a:lnTo>
                  <a:pt x="775" y="4090"/>
                </a:lnTo>
                <a:lnTo>
                  <a:pt x="770" y="4102"/>
                </a:lnTo>
                <a:lnTo>
                  <a:pt x="767" y="4103"/>
                </a:lnTo>
                <a:lnTo>
                  <a:pt x="759" y="4108"/>
                </a:lnTo>
                <a:lnTo>
                  <a:pt x="747" y="4111"/>
                </a:lnTo>
                <a:lnTo>
                  <a:pt x="742" y="4111"/>
                </a:lnTo>
                <a:lnTo>
                  <a:pt x="733" y="4103"/>
                </a:lnTo>
                <a:lnTo>
                  <a:pt x="729" y="4106"/>
                </a:lnTo>
                <a:lnTo>
                  <a:pt x="726" y="4103"/>
                </a:lnTo>
                <a:lnTo>
                  <a:pt x="723" y="4102"/>
                </a:lnTo>
                <a:lnTo>
                  <a:pt x="717" y="4099"/>
                </a:lnTo>
                <a:lnTo>
                  <a:pt x="716" y="4094"/>
                </a:lnTo>
                <a:lnTo>
                  <a:pt x="709" y="4087"/>
                </a:lnTo>
                <a:lnTo>
                  <a:pt x="705" y="4087"/>
                </a:lnTo>
                <a:lnTo>
                  <a:pt x="700" y="4085"/>
                </a:lnTo>
                <a:lnTo>
                  <a:pt x="697" y="4085"/>
                </a:lnTo>
                <a:lnTo>
                  <a:pt x="690" y="4089"/>
                </a:lnTo>
                <a:lnTo>
                  <a:pt x="686" y="4089"/>
                </a:lnTo>
                <a:lnTo>
                  <a:pt x="683" y="4087"/>
                </a:lnTo>
                <a:lnTo>
                  <a:pt x="663" y="4091"/>
                </a:lnTo>
                <a:lnTo>
                  <a:pt x="656" y="4095"/>
                </a:lnTo>
                <a:lnTo>
                  <a:pt x="656" y="4099"/>
                </a:lnTo>
                <a:lnTo>
                  <a:pt x="648" y="4103"/>
                </a:lnTo>
                <a:lnTo>
                  <a:pt x="645" y="4107"/>
                </a:lnTo>
                <a:lnTo>
                  <a:pt x="640" y="4111"/>
                </a:lnTo>
                <a:lnTo>
                  <a:pt x="636" y="4118"/>
                </a:lnTo>
                <a:lnTo>
                  <a:pt x="633" y="4118"/>
                </a:lnTo>
                <a:lnTo>
                  <a:pt x="630" y="4118"/>
                </a:lnTo>
                <a:lnTo>
                  <a:pt x="626" y="4118"/>
                </a:lnTo>
                <a:lnTo>
                  <a:pt x="625" y="4120"/>
                </a:lnTo>
                <a:lnTo>
                  <a:pt x="625" y="4122"/>
                </a:lnTo>
                <a:lnTo>
                  <a:pt x="622" y="4125"/>
                </a:lnTo>
                <a:lnTo>
                  <a:pt x="616" y="4125"/>
                </a:lnTo>
                <a:lnTo>
                  <a:pt x="613" y="4124"/>
                </a:lnTo>
                <a:lnTo>
                  <a:pt x="609" y="4124"/>
                </a:lnTo>
                <a:lnTo>
                  <a:pt x="609" y="4128"/>
                </a:lnTo>
                <a:lnTo>
                  <a:pt x="605" y="4131"/>
                </a:lnTo>
                <a:lnTo>
                  <a:pt x="598" y="4140"/>
                </a:lnTo>
                <a:lnTo>
                  <a:pt x="584" y="4144"/>
                </a:lnTo>
                <a:lnTo>
                  <a:pt x="581" y="4148"/>
                </a:lnTo>
                <a:lnTo>
                  <a:pt x="581" y="4152"/>
                </a:lnTo>
                <a:lnTo>
                  <a:pt x="577" y="4155"/>
                </a:lnTo>
                <a:lnTo>
                  <a:pt x="576" y="4159"/>
                </a:lnTo>
                <a:lnTo>
                  <a:pt x="572" y="4162"/>
                </a:lnTo>
                <a:lnTo>
                  <a:pt x="566" y="4162"/>
                </a:lnTo>
                <a:lnTo>
                  <a:pt x="565" y="4165"/>
                </a:lnTo>
                <a:lnTo>
                  <a:pt x="565" y="4173"/>
                </a:lnTo>
                <a:lnTo>
                  <a:pt x="556" y="4174"/>
                </a:lnTo>
                <a:lnTo>
                  <a:pt x="548" y="4174"/>
                </a:lnTo>
                <a:lnTo>
                  <a:pt x="541" y="4170"/>
                </a:lnTo>
                <a:lnTo>
                  <a:pt x="534" y="4170"/>
                </a:lnTo>
                <a:lnTo>
                  <a:pt x="526" y="4167"/>
                </a:lnTo>
                <a:lnTo>
                  <a:pt x="520" y="4169"/>
                </a:lnTo>
                <a:lnTo>
                  <a:pt x="513" y="4167"/>
                </a:lnTo>
                <a:lnTo>
                  <a:pt x="498" y="4167"/>
                </a:lnTo>
                <a:lnTo>
                  <a:pt x="494" y="4165"/>
                </a:lnTo>
                <a:lnTo>
                  <a:pt x="492" y="4162"/>
                </a:lnTo>
                <a:lnTo>
                  <a:pt x="490" y="4159"/>
                </a:lnTo>
                <a:lnTo>
                  <a:pt x="480" y="4159"/>
                </a:lnTo>
                <a:lnTo>
                  <a:pt x="478" y="4156"/>
                </a:lnTo>
                <a:lnTo>
                  <a:pt x="476" y="4156"/>
                </a:lnTo>
                <a:lnTo>
                  <a:pt x="473" y="4150"/>
                </a:lnTo>
                <a:lnTo>
                  <a:pt x="473" y="4148"/>
                </a:lnTo>
                <a:lnTo>
                  <a:pt x="480" y="4136"/>
                </a:lnTo>
                <a:lnTo>
                  <a:pt x="478" y="4134"/>
                </a:lnTo>
                <a:lnTo>
                  <a:pt x="477" y="4130"/>
                </a:lnTo>
                <a:lnTo>
                  <a:pt x="471" y="4122"/>
                </a:lnTo>
                <a:lnTo>
                  <a:pt x="471" y="4118"/>
                </a:lnTo>
                <a:lnTo>
                  <a:pt x="473" y="4117"/>
                </a:lnTo>
                <a:lnTo>
                  <a:pt x="471" y="4115"/>
                </a:lnTo>
                <a:lnTo>
                  <a:pt x="463" y="4108"/>
                </a:lnTo>
                <a:lnTo>
                  <a:pt x="459" y="4108"/>
                </a:lnTo>
                <a:lnTo>
                  <a:pt x="455" y="4106"/>
                </a:lnTo>
                <a:lnTo>
                  <a:pt x="451" y="4106"/>
                </a:lnTo>
                <a:lnTo>
                  <a:pt x="440" y="4099"/>
                </a:lnTo>
                <a:lnTo>
                  <a:pt x="435" y="4094"/>
                </a:lnTo>
                <a:lnTo>
                  <a:pt x="432" y="4094"/>
                </a:lnTo>
                <a:lnTo>
                  <a:pt x="428" y="4099"/>
                </a:lnTo>
                <a:lnTo>
                  <a:pt x="424" y="4098"/>
                </a:lnTo>
                <a:lnTo>
                  <a:pt x="423" y="4099"/>
                </a:lnTo>
                <a:lnTo>
                  <a:pt x="415" y="4111"/>
                </a:lnTo>
                <a:lnTo>
                  <a:pt x="412" y="4112"/>
                </a:lnTo>
                <a:lnTo>
                  <a:pt x="405" y="4112"/>
                </a:lnTo>
                <a:lnTo>
                  <a:pt x="398" y="4108"/>
                </a:lnTo>
                <a:lnTo>
                  <a:pt x="391" y="4106"/>
                </a:lnTo>
                <a:lnTo>
                  <a:pt x="385" y="4107"/>
                </a:lnTo>
                <a:lnTo>
                  <a:pt x="382" y="4111"/>
                </a:lnTo>
                <a:lnTo>
                  <a:pt x="377" y="4110"/>
                </a:lnTo>
                <a:lnTo>
                  <a:pt x="373" y="4114"/>
                </a:lnTo>
                <a:lnTo>
                  <a:pt x="368" y="4112"/>
                </a:lnTo>
                <a:lnTo>
                  <a:pt x="363" y="4108"/>
                </a:lnTo>
                <a:lnTo>
                  <a:pt x="363" y="4106"/>
                </a:lnTo>
                <a:lnTo>
                  <a:pt x="357" y="4103"/>
                </a:lnTo>
                <a:lnTo>
                  <a:pt x="355" y="4099"/>
                </a:lnTo>
                <a:lnTo>
                  <a:pt x="351" y="4095"/>
                </a:lnTo>
                <a:lnTo>
                  <a:pt x="349" y="4094"/>
                </a:lnTo>
                <a:lnTo>
                  <a:pt x="345" y="4091"/>
                </a:lnTo>
                <a:lnTo>
                  <a:pt x="340" y="4093"/>
                </a:lnTo>
                <a:lnTo>
                  <a:pt x="332" y="4090"/>
                </a:lnTo>
                <a:lnTo>
                  <a:pt x="332" y="4087"/>
                </a:lnTo>
                <a:lnTo>
                  <a:pt x="334" y="4085"/>
                </a:lnTo>
                <a:lnTo>
                  <a:pt x="328" y="4075"/>
                </a:lnTo>
                <a:lnTo>
                  <a:pt x="309" y="4065"/>
                </a:lnTo>
                <a:lnTo>
                  <a:pt x="303" y="4063"/>
                </a:lnTo>
                <a:lnTo>
                  <a:pt x="296" y="4063"/>
                </a:lnTo>
                <a:lnTo>
                  <a:pt x="284" y="4060"/>
                </a:lnTo>
                <a:lnTo>
                  <a:pt x="278" y="4053"/>
                </a:lnTo>
                <a:lnTo>
                  <a:pt x="278" y="4050"/>
                </a:lnTo>
                <a:lnTo>
                  <a:pt x="280" y="4049"/>
                </a:lnTo>
                <a:lnTo>
                  <a:pt x="280" y="4045"/>
                </a:lnTo>
                <a:lnTo>
                  <a:pt x="273" y="4041"/>
                </a:lnTo>
                <a:lnTo>
                  <a:pt x="267" y="4037"/>
                </a:lnTo>
                <a:lnTo>
                  <a:pt x="259" y="4035"/>
                </a:lnTo>
                <a:lnTo>
                  <a:pt x="253" y="4036"/>
                </a:lnTo>
                <a:lnTo>
                  <a:pt x="252" y="4032"/>
                </a:lnTo>
                <a:lnTo>
                  <a:pt x="250" y="4035"/>
                </a:lnTo>
                <a:lnTo>
                  <a:pt x="249" y="4035"/>
                </a:lnTo>
                <a:lnTo>
                  <a:pt x="245" y="4035"/>
                </a:lnTo>
                <a:lnTo>
                  <a:pt x="239" y="4032"/>
                </a:lnTo>
                <a:lnTo>
                  <a:pt x="235" y="4031"/>
                </a:lnTo>
                <a:lnTo>
                  <a:pt x="232" y="4028"/>
                </a:lnTo>
                <a:lnTo>
                  <a:pt x="231" y="4021"/>
                </a:lnTo>
                <a:lnTo>
                  <a:pt x="228" y="4021"/>
                </a:lnTo>
                <a:lnTo>
                  <a:pt x="213" y="4024"/>
                </a:lnTo>
                <a:lnTo>
                  <a:pt x="205" y="4027"/>
                </a:lnTo>
                <a:lnTo>
                  <a:pt x="185" y="4020"/>
                </a:lnTo>
                <a:lnTo>
                  <a:pt x="177" y="4023"/>
                </a:lnTo>
                <a:lnTo>
                  <a:pt x="171" y="4023"/>
                </a:lnTo>
                <a:lnTo>
                  <a:pt x="167" y="4024"/>
                </a:lnTo>
                <a:lnTo>
                  <a:pt x="161" y="4024"/>
                </a:lnTo>
                <a:lnTo>
                  <a:pt x="157" y="4024"/>
                </a:lnTo>
                <a:lnTo>
                  <a:pt x="153" y="4020"/>
                </a:lnTo>
                <a:lnTo>
                  <a:pt x="149" y="4015"/>
                </a:lnTo>
                <a:lnTo>
                  <a:pt x="143" y="4012"/>
                </a:lnTo>
                <a:lnTo>
                  <a:pt x="138" y="4006"/>
                </a:lnTo>
                <a:lnTo>
                  <a:pt x="127" y="4002"/>
                </a:lnTo>
                <a:lnTo>
                  <a:pt x="121" y="3994"/>
                </a:lnTo>
                <a:lnTo>
                  <a:pt x="120" y="3987"/>
                </a:lnTo>
                <a:lnTo>
                  <a:pt x="117" y="3987"/>
                </a:lnTo>
                <a:lnTo>
                  <a:pt x="111" y="3983"/>
                </a:lnTo>
                <a:lnTo>
                  <a:pt x="107" y="3982"/>
                </a:lnTo>
                <a:lnTo>
                  <a:pt x="102" y="3975"/>
                </a:lnTo>
                <a:lnTo>
                  <a:pt x="92" y="3970"/>
                </a:lnTo>
                <a:lnTo>
                  <a:pt x="88" y="3957"/>
                </a:lnTo>
                <a:lnTo>
                  <a:pt x="68" y="3928"/>
                </a:lnTo>
                <a:lnTo>
                  <a:pt x="53" y="3908"/>
                </a:lnTo>
                <a:lnTo>
                  <a:pt x="44" y="3890"/>
                </a:lnTo>
                <a:lnTo>
                  <a:pt x="27" y="3873"/>
                </a:lnTo>
                <a:lnTo>
                  <a:pt x="22" y="3862"/>
                </a:lnTo>
                <a:lnTo>
                  <a:pt x="32" y="3849"/>
                </a:lnTo>
                <a:lnTo>
                  <a:pt x="32" y="3844"/>
                </a:lnTo>
                <a:lnTo>
                  <a:pt x="0" y="3817"/>
                </a:lnTo>
                <a:lnTo>
                  <a:pt x="13" y="3792"/>
                </a:lnTo>
                <a:lnTo>
                  <a:pt x="29" y="3777"/>
                </a:lnTo>
                <a:lnTo>
                  <a:pt x="53" y="3750"/>
                </a:lnTo>
                <a:lnTo>
                  <a:pt x="58" y="3744"/>
                </a:lnTo>
                <a:lnTo>
                  <a:pt x="63" y="3740"/>
                </a:lnTo>
                <a:lnTo>
                  <a:pt x="92" y="3701"/>
                </a:lnTo>
                <a:lnTo>
                  <a:pt x="121" y="3634"/>
                </a:lnTo>
                <a:lnTo>
                  <a:pt x="121" y="3631"/>
                </a:lnTo>
                <a:lnTo>
                  <a:pt x="122" y="3618"/>
                </a:lnTo>
                <a:lnTo>
                  <a:pt x="122" y="3617"/>
                </a:lnTo>
                <a:lnTo>
                  <a:pt x="106" y="3547"/>
                </a:lnTo>
                <a:lnTo>
                  <a:pt x="104" y="3498"/>
                </a:lnTo>
                <a:lnTo>
                  <a:pt x="100" y="3459"/>
                </a:lnTo>
                <a:lnTo>
                  <a:pt x="96" y="3444"/>
                </a:lnTo>
                <a:lnTo>
                  <a:pt x="96" y="3440"/>
                </a:lnTo>
                <a:lnTo>
                  <a:pt x="95" y="3432"/>
                </a:lnTo>
                <a:lnTo>
                  <a:pt x="102" y="3399"/>
                </a:lnTo>
                <a:lnTo>
                  <a:pt x="153" y="3357"/>
                </a:lnTo>
                <a:lnTo>
                  <a:pt x="161" y="3354"/>
                </a:lnTo>
                <a:lnTo>
                  <a:pt x="216" y="3354"/>
                </a:lnTo>
                <a:lnTo>
                  <a:pt x="225" y="3354"/>
                </a:lnTo>
                <a:lnTo>
                  <a:pt x="234" y="3355"/>
                </a:lnTo>
                <a:lnTo>
                  <a:pt x="249" y="3343"/>
                </a:lnTo>
                <a:lnTo>
                  <a:pt x="260" y="3324"/>
                </a:lnTo>
                <a:lnTo>
                  <a:pt x="274" y="3298"/>
                </a:lnTo>
                <a:lnTo>
                  <a:pt x="298" y="3261"/>
                </a:lnTo>
                <a:lnTo>
                  <a:pt x="316" y="3239"/>
                </a:lnTo>
                <a:lnTo>
                  <a:pt x="331" y="3223"/>
                </a:lnTo>
                <a:lnTo>
                  <a:pt x="338" y="3215"/>
                </a:lnTo>
                <a:lnTo>
                  <a:pt x="346" y="3205"/>
                </a:lnTo>
                <a:lnTo>
                  <a:pt x="349" y="3186"/>
                </a:lnTo>
                <a:lnTo>
                  <a:pt x="355" y="3176"/>
                </a:lnTo>
                <a:lnTo>
                  <a:pt x="371" y="3160"/>
                </a:lnTo>
                <a:lnTo>
                  <a:pt x="399" y="3133"/>
                </a:lnTo>
                <a:lnTo>
                  <a:pt x="396" y="3124"/>
                </a:lnTo>
                <a:lnTo>
                  <a:pt x="402" y="3096"/>
                </a:lnTo>
                <a:lnTo>
                  <a:pt x="388" y="3089"/>
                </a:lnTo>
                <a:lnTo>
                  <a:pt x="380" y="3079"/>
                </a:lnTo>
                <a:lnTo>
                  <a:pt x="387" y="3065"/>
                </a:lnTo>
                <a:lnTo>
                  <a:pt x="406" y="3056"/>
                </a:lnTo>
                <a:lnTo>
                  <a:pt x="405" y="3048"/>
                </a:lnTo>
                <a:lnTo>
                  <a:pt x="393" y="3029"/>
                </a:lnTo>
                <a:lnTo>
                  <a:pt x="403" y="2991"/>
                </a:lnTo>
                <a:lnTo>
                  <a:pt x="405" y="2991"/>
                </a:lnTo>
                <a:lnTo>
                  <a:pt x="413" y="2986"/>
                </a:lnTo>
                <a:lnTo>
                  <a:pt x="418" y="2986"/>
                </a:lnTo>
                <a:lnTo>
                  <a:pt x="424" y="2995"/>
                </a:lnTo>
                <a:lnTo>
                  <a:pt x="437" y="2999"/>
                </a:lnTo>
                <a:lnTo>
                  <a:pt x="445" y="2995"/>
                </a:lnTo>
                <a:lnTo>
                  <a:pt x="443" y="2962"/>
                </a:lnTo>
                <a:lnTo>
                  <a:pt x="440" y="2950"/>
                </a:lnTo>
                <a:lnTo>
                  <a:pt x="445" y="2942"/>
                </a:lnTo>
                <a:lnTo>
                  <a:pt x="452" y="2938"/>
                </a:lnTo>
                <a:lnTo>
                  <a:pt x="473" y="2935"/>
                </a:lnTo>
                <a:lnTo>
                  <a:pt x="510" y="2922"/>
                </a:lnTo>
                <a:lnTo>
                  <a:pt x="517" y="2919"/>
                </a:lnTo>
                <a:lnTo>
                  <a:pt x="530" y="2871"/>
                </a:lnTo>
                <a:lnTo>
                  <a:pt x="531" y="2849"/>
                </a:lnTo>
                <a:lnTo>
                  <a:pt x="548" y="2770"/>
                </a:lnTo>
                <a:lnTo>
                  <a:pt x="547" y="2759"/>
                </a:lnTo>
                <a:lnTo>
                  <a:pt x="553" y="2741"/>
                </a:lnTo>
                <a:lnTo>
                  <a:pt x="552" y="2729"/>
                </a:lnTo>
                <a:lnTo>
                  <a:pt x="547" y="2722"/>
                </a:lnTo>
                <a:lnTo>
                  <a:pt x="540" y="2714"/>
                </a:lnTo>
                <a:lnTo>
                  <a:pt x="496" y="2696"/>
                </a:lnTo>
                <a:lnTo>
                  <a:pt x="476" y="2681"/>
                </a:lnTo>
                <a:lnTo>
                  <a:pt x="474" y="2672"/>
                </a:lnTo>
                <a:lnTo>
                  <a:pt x="492" y="2655"/>
                </a:lnTo>
                <a:lnTo>
                  <a:pt x="492" y="2639"/>
                </a:lnTo>
                <a:lnTo>
                  <a:pt x="484" y="2625"/>
                </a:lnTo>
                <a:lnTo>
                  <a:pt x="478" y="2625"/>
                </a:lnTo>
                <a:lnTo>
                  <a:pt x="466" y="2635"/>
                </a:lnTo>
                <a:lnTo>
                  <a:pt x="452" y="2639"/>
                </a:lnTo>
                <a:lnTo>
                  <a:pt x="420" y="2650"/>
                </a:lnTo>
                <a:lnTo>
                  <a:pt x="388" y="2650"/>
                </a:lnTo>
                <a:lnTo>
                  <a:pt x="377" y="2643"/>
                </a:lnTo>
                <a:lnTo>
                  <a:pt x="377" y="2635"/>
                </a:lnTo>
                <a:lnTo>
                  <a:pt x="390" y="2606"/>
                </a:lnTo>
                <a:lnTo>
                  <a:pt x="391" y="2601"/>
                </a:lnTo>
                <a:lnTo>
                  <a:pt x="387" y="2589"/>
                </a:lnTo>
                <a:lnTo>
                  <a:pt x="391" y="2542"/>
                </a:lnTo>
                <a:lnTo>
                  <a:pt x="390" y="2535"/>
                </a:lnTo>
                <a:lnTo>
                  <a:pt x="381" y="2523"/>
                </a:lnTo>
                <a:lnTo>
                  <a:pt x="381" y="2512"/>
                </a:lnTo>
                <a:lnTo>
                  <a:pt x="384" y="2490"/>
                </a:lnTo>
                <a:lnTo>
                  <a:pt x="384" y="2482"/>
                </a:lnTo>
                <a:lnTo>
                  <a:pt x="343" y="2481"/>
                </a:lnTo>
                <a:lnTo>
                  <a:pt x="330" y="2468"/>
                </a:lnTo>
                <a:lnTo>
                  <a:pt x="332" y="2445"/>
                </a:lnTo>
                <a:lnTo>
                  <a:pt x="331" y="2428"/>
                </a:lnTo>
                <a:lnTo>
                  <a:pt x="337" y="2416"/>
                </a:lnTo>
                <a:lnTo>
                  <a:pt x="337" y="2407"/>
                </a:lnTo>
                <a:lnTo>
                  <a:pt x="332" y="2402"/>
                </a:lnTo>
                <a:lnTo>
                  <a:pt x="331" y="2399"/>
                </a:lnTo>
                <a:lnTo>
                  <a:pt x="328" y="2397"/>
                </a:lnTo>
                <a:lnTo>
                  <a:pt x="330" y="2389"/>
                </a:lnTo>
                <a:lnTo>
                  <a:pt x="356" y="2369"/>
                </a:lnTo>
                <a:lnTo>
                  <a:pt x="388" y="2336"/>
                </a:lnTo>
                <a:lnTo>
                  <a:pt x="391" y="2323"/>
                </a:lnTo>
                <a:lnTo>
                  <a:pt x="388" y="2286"/>
                </a:lnTo>
                <a:lnTo>
                  <a:pt x="390" y="2277"/>
                </a:lnTo>
                <a:lnTo>
                  <a:pt x="391" y="2276"/>
                </a:lnTo>
                <a:lnTo>
                  <a:pt x="398" y="2242"/>
                </a:lnTo>
                <a:lnTo>
                  <a:pt x="410" y="2190"/>
                </a:lnTo>
                <a:lnTo>
                  <a:pt x="410" y="2178"/>
                </a:lnTo>
                <a:lnTo>
                  <a:pt x="406" y="2166"/>
                </a:lnTo>
                <a:lnTo>
                  <a:pt x="395" y="2161"/>
                </a:lnTo>
                <a:lnTo>
                  <a:pt x="390" y="2152"/>
                </a:lnTo>
                <a:lnTo>
                  <a:pt x="385" y="2119"/>
                </a:lnTo>
                <a:lnTo>
                  <a:pt x="376" y="2112"/>
                </a:lnTo>
                <a:lnTo>
                  <a:pt x="366" y="2113"/>
                </a:lnTo>
                <a:lnTo>
                  <a:pt x="356" y="2113"/>
                </a:lnTo>
                <a:lnTo>
                  <a:pt x="351" y="2113"/>
                </a:lnTo>
                <a:lnTo>
                  <a:pt x="342" y="2115"/>
                </a:lnTo>
                <a:lnTo>
                  <a:pt x="320" y="2123"/>
                </a:lnTo>
                <a:lnTo>
                  <a:pt x="302" y="2123"/>
                </a:lnTo>
                <a:lnTo>
                  <a:pt x="287" y="2119"/>
                </a:lnTo>
                <a:lnTo>
                  <a:pt x="281" y="2115"/>
                </a:lnTo>
                <a:lnTo>
                  <a:pt x="276" y="2100"/>
                </a:lnTo>
                <a:lnTo>
                  <a:pt x="268" y="2052"/>
                </a:lnTo>
                <a:lnTo>
                  <a:pt x="271" y="2048"/>
                </a:lnTo>
                <a:lnTo>
                  <a:pt x="273" y="2048"/>
                </a:lnTo>
                <a:lnTo>
                  <a:pt x="288" y="2043"/>
                </a:lnTo>
                <a:lnTo>
                  <a:pt x="292" y="2040"/>
                </a:lnTo>
                <a:lnTo>
                  <a:pt x="288" y="2011"/>
                </a:lnTo>
                <a:lnTo>
                  <a:pt x="271" y="1984"/>
                </a:lnTo>
                <a:lnTo>
                  <a:pt x="271" y="1975"/>
                </a:lnTo>
                <a:lnTo>
                  <a:pt x="278" y="1966"/>
                </a:lnTo>
                <a:lnTo>
                  <a:pt x="299" y="1953"/>
                </a:lnTo>
                <a:lnTo>
                  <a:pt x="306" y="1953"/>
                </a:lnTo>
                <a:lnTo>
                  <a:pt x="316" y="1950"/>
                </a:lnTo>
                <a:lnTo>
                  <a:pt x="330" y="1938"/>
                </a:lnTo>
                <a:lnTo>
                  <a:pt x="370" y="1921"/>
                </a:lnTo>
                <a:lnTo>
                  <a:pt x="382" y="1921"/>
                </a:lnTo>
                <a:lnTo>
                  <a:pt x="410" y="1936"/>
                </a:lnTo>
                <a:lnTo>
                  <a:pt x="423" y="1936"/>
                </a:lnTo>
                <a:lnTo>
                  <a:pt x="445" y="1920"/>
                </a:lnTo>
                <a:lnTo>
                  <a:pt x="451" y="1912"/>
                </a:lnTo>
                <a:lnTo>
                  <a:pt x="455" y="1894"/>
                </a:lnTo>
                <a:lnTo>
                  <a:pt x="468" y="1864"/>
                </a:lnTo>
                <a:lnTo>
                  <a:pt x="473" y="1856"/>
                </a:lnTo>
                <a:lnTo>
                  <a:pt x="471" y="1850"/>
                </a:lnTo>
                <a:lnTo>
                  <a:pt x="437" y="1796"/>
                </a:lnTo>
                <a:lnTo>
                  <a:pt x="428" y="1771"/>
                </a:lnTo>
                <a:lnTo>
                  <a:pt x="417" y="1762"/>
                </a:lnTo>
                <a:lnTo>
                  <a:pt x="426" y="1744"/>
                </a:lnTo>
                <a:lnTo>
                  <a:pt x="424" y="1732"/>
                </a:lnTo>
                <a:lnTo>
                  <a:pt x="416" y="1715"/>
                </a:lnTo>
                <a:lnTo>
                  <a:pt x="421" y="1704"/>
                </a:lnTo>
                <a:lnTo>
                  <a:pt x="428" y="1702"/>
                </a:lnTo>
                <a:lnTo>
                  <a:pt x="432" y="1696"/>
                </a:lnTo>
                <a:lnTo>
                  <a:pt x="441" y="1700"/>
                </a:lnTo>
                <a:lnTo>
                  <a:pt x="465" y="1690"/>
                </a:lnTo>
                <a:lnTo>
                  <a:pt x="477" y="1680"/>
                </a:lnTo>
                <a:lnTo>
                  <a:pt x="492" y="1689"/>
                </a:lnTo>
                <a:lnTo>
                  <a:pt x="520" y="1677"/>
                </a:lnTo>
                <a:lnTo>
                  <a:pt x="527" y="1663"/>
                </a:lnTo>
                <a:lnTo>
                  <a:pt x="527" y="1653"/>
                </a:lnTo>
                <a:lnTo>
                  <a:pt x="522" y="1643"/>
                </a:lnTo>
                <a:lnTo>
                  <a:pt x="528" y="1610"/>
                </a:lnTo>
                <a:lnTo>
                  <a:pt x="547" y="1601"/>
                </a:lnTo>
                <a:lnTo>
                  <a:pt x="548" y="1600"/>
                </a:lnTo>
                <a:lnTo>
                  <a:pt x="549" y="1596"/>
                </a:lnTo>
                <a:lnTo>
                  <a:pt x="553" y="1586"/>
                </a:lnTo>
                <a:lnTo>
                  <a:pt x="540" y="1572"/>
                </a:lnTo>
                <a:lnTo>
                  <a:pt x="541" y="1564"/>
                </a:lnTo>
                <a:lnTo>
                  <a:pt x="534" y="1557"/>
                </a:lnTo>
                <a:lnTo>
                  <a:pt x="519" y="1552"/>
                </a:lnTo>
                <a:lnTo>
                  <a:pt x="510" y="1539"/>
                </a:lnTo>
                <a:lnTo>
                  <a:pt x="508" y="1515"/>
                </a:lnTo>
                <a:lnTo>
                  <a:pt x="516" y="1489"/>
                </a:lnTo>
                <a:lnTo>
                  <a:pt x="516" y="1479"/>
                </a:lnTo>
                <a:lnTo>
                  <a:pt x="508" y="1460"/>
                </a:lnTo>
                <a:lnTo>
                  <a:pt x="508" y="1459"/>
                </a:lnTo>
                <a:lnTo>
                  <a:pt x="508" y="1456"/>
                </a:lnTo>
                <a:lnTo>
                  <a:pt x="506" y="1449"/>
                </a:lnTo>
                <a:lnTo>
                  <a:pt x="508" y="1434"/>
                </a:lnTo>
                <a:lnTo>
                  <a:pt x="499" y="1422"/>
                </a:lnTo>
                <a:lnTo>
                  <a:pt x="491" y="1419"/>
                </a:lnTo>
                <a:lnTo>
                  <a:pt x="487" y="1410"/>
                </a:lnTo>
                <a:lnTo>
                  <a:pt x="485" y="1399"/>
                </a:lnTo>
                <a:lnTo>
                  <a:pt x="488" y="1382"/>
                </a:lnTo>
                <a:lnTo>
                  <a:pt x="477" y="1352"/>
                </a:lnTo>
                <a:lnTo>
                  <a:pt x="476" y="1339"/>
                </a:lnTo>
                <a:lnTo>
                  <a:pt x="468" y="1322"/>
                </a:lnTo>
                <a:lnTo>
                  <a:pt x="463" y="1275"/>
                </a:lnTo>
                <a:lnTo>
                  <a:pt x="467" y="1266"/>
                </a:lnTo>
                <a:lnTo>
                  <a:pt x="470" y="1262"/>
                </a:lnTo>
                <a:lnTo>
                  <a:pt x="478" y="1266"/>
                </a:lnTo>
                <a:lnTo>
                  <a:pt x="484" y="1258"/>
                </a:lnTo>
                <a:lnTo>
                  <a:pt x="491" y="1228"/>
                </a:lnTo>
                <a:lnTo>
                  <a:pt x="474" y="1224"/>
                </a:lnTo>
                <a:lnTo>
                  <a:pt x="471" y="1213"/>
                </a:lnTo>
                <a:lnTo>
                  <a:pt x="471" y="1201"/>
                </a:lnTo>
                <a:lnTo>
                  <a:pt x="478" y="1179"/>
                </a:lnTo>
                <a:lnTo>
                  <a:pt x="477" y="1149"/>
                </a:lnTo>
                <a:lnTo>
                  <a:pt x="484" y="1137"/>
                </a:lnTo>
                <a:lnTo>
                  <a:pt x="501" y="1138"/>
                </a:lnTo>
                <a:lnTo>
                  <a:pt x="517" y="1137"/>
                </a:lnTo>
                <a:lnTo>
                  <a:pt x="519" y="1129"/>
                </a:lnTo>
                <a:lnTo>
                  <a:pt x="522" y="1120"/>
                </a:lnTo>
                <a:lnTo>
                  <a:pt x="520" y="1111"/>
                </a:lnTo>
                <a:lnTo>
                  <a:pt x="530" y="1105"/>
                </a:lnTo>
                <a:lnTo>
                  <a:pt x="530" y="1101"/>
                </a:lnTo>
                <a:lnTo>
                  <a:pt x="523" y="1096"/>
                </a:lnTo>
                <a:lnTo>
                  <a:pt x="510" y="1086"/>
                </a:lnTo>
                <a:lnTo>
                  <a:pt x="510" y="1075"/>
                </a:lnTo>
                <a:lnTo>
                  <a:pt x="512" y="1071"/>
                </a:lnTo>
                <a:lnTo>
                  <a:pt x="519" y="1074"/>
                </a:lnTo>
                <a:lnTo>
                  <a:pt x="526" y="1071"/>
                </a:lnTo>
                <a:lnTo>
                  <a:pt x="520" y="1066"/>
                </a:lnTo>
                <a:lnTo>
                  <a:pt x="519" y="1057"/>
                </a:lnTo>
                <a:lnTo>
                  <a:pt x="523" y="1030"/>
                </a:lnTo>
                <a:lnTo>
                  <a:pt x="530" y="1013"/>
                </a:lnTo>
                <a:lnTo>
                  <a:pt x="541" y="1004"/>
                </a:lnTo>
                <a:lnTo>
                  <a:pt x="544" y="977"/>
                </a:lnTo>
                <a:lnTo>
                  <a:pt x="516" y="950"/>
                </a:lnTo>
                <a:lnTo>
                  <a:pt x="494" y="943"/>
                </a:lnTo>
                <a:lnTo>
                  <a:pt x="488" y="929"/>
                </a:lnTo>
                <a:lnTo>
                  <a:pt x="481" y="920"/>
                </a:lnTo>
                <a:lnTo>
                  <a:pt x="477" y="907"/>
                </a:lnTo>
                <a:lnTo>
                  <a:pt x="478" y="879"/>
                </a:lnTo>
                <a:lnTo>
                  <a:pt x="495" y="858"/>
                </a:lnTo>
                <a:lnTo>
                  <a:pt x="508" y="856"/>
                </a:lnTo>
                <a:lnTo>
                  <a:pt x="510" y="826"/>
                </a:lnTo>
                <a:lnTo>
                  <a:pt x="515" y="813"/>
                </a:lnTo>
                <a:lnTo>
                  <a:pt x="526" y="794"/>
                </a:lnTo>
                <a:lnTo>
                  <a:pt x="545" y="771"/>
                </a:lnTo>
                <a:lnTo>
                  <a:pt x="549" y="763"/>
                </a:lnTo>
                <a:lnTo>
                  <a:pt x="552" y="756"/>
                </a:lnTo>
                <a:lnTo>
                  <a:pt x="553" y="752"/>
                </a:lnTo>
                <a:lnTo>
                  <a:pt x="551" y="750"/>
                </a:lnTo>
                <a:lnTo>
                  <a:pt x="549" y="741"/>
                </a:lnTo>
                <a:lnTo>
                  <a:pt x="548" y="738"/>
                </a:lnTo>
                <a:lnTo>
                  <a:pt x="549" y="734"/>
                </a:lnTo>
                <a:lnTo>
                  <a:pt x="555" y="726"/>
                </a:lnTo>
                <a:lnTo>
                  <a:pt x="562" y="719"/>
                </a:lnTo>
                <a:lnTo>
                  <a:pt x="562" y="711"/>
                </a:lnTo>
                <a:lnTo>
                  <a:pt x="565" y="707"/>
                </a:lnTo>
                <a:lnTo>
                  <a:pt x="566" y="699"/>
                </a:lnTo>
                <a:lnTo>
                  <a:pt x="569" y="696"/>
                </a:lnTo>
                <a:lnTo>
                  <a:pt x="569" y="691"/>
                </a:lnTo>
                <a:lnTo>
                  <a:pt x="573" y="688"/>
                </a:lnTo>
                <a:lnTo>
                  <a:pt x="581" y="684"/>
                </a:lnTo>
                <a:lnTo>
                  <a:pt x="583" y="684"/>
                </a:lnTo>
                <a:lnTo>
                  <a:pt x="583" y="669"/>
                </a:lnTo>
                <a:lnTo>
                  <a:pt x="584" y="661"/>
                </a:lnTo>
                <a:lnTo>
                  <a:pt x="584" y="656"/>
                </a:lnTo>
                <a:lnTo>
                  <a:pt x="581" y="652"/>
                </a:lnTo>
                <a:lnTo>
                  <a:pt x="583" y="648"/>
                </a:lnTo>
                <a:lnTo>
                  <a:pt x="581" y="644"/>
                </a:lnTo>
                <a:lnTo>
                  <a:pt x="583" y="640"/>
                </a:lnTo>
                <a:lnTo>
                  <a:pt x="583" y="636"/>
                </a:lnTo>
                <a:lnTo>
                  <a:pt x="586" y="634"/>
                </a:lnTo>
                <a:lnTo>
                  <a:pt x="594" y="626"/>
                </a:lnTo>
                <a:lnTo>
                  <a:pt x="595" y="624"/>
                </a:lnTo>
                <a:lnTo>
                  <a:pt x="595" y="618"/>
                </a:lnTo>
                <a:lnTo>
                  <a:pt x="597" y="614"/>
                </a:lnTo>
                <a:lnTo>
                  <a:pt x="612" y="602"/>
                </a:lnTo>
                <a:lnTo>
                  <a:pt x="612" y="599"/>
                </a:lnTo>
                <a:lnTo>
                  <a:pt x="611" y="598"/>
                </a:lnTo>
                <a:lnTo>
                  <a:pt x="602" y="595"/>
                </a:lnTo>
                <a:lnTo>
                  <a:pt x="601" y="595"/>
                </a:lnTo>
                <a:lnTo>
                  <a:pt x="600" y="585"/>
                </a:lnTo>
                <a:lnTo>
                  <a:pt x="594" y="581"/>
                </a:lnTo>
                <a:lnTo>
                  <a:pt x="592" y="577"/>
                </a:lnTo>
                <a:lnTo>
                  <a:pt x="594" y="576"/>
                </a:lnTo>
                <a:lnTo>
                  <a:pt x="605" y="572"/>
                </a:lnTo>
                <a:lnTo>
                  <a:pt x="606" y="565"/>
                </a:lnTo>
                <a:lnTo>
                  <a:pt x="613" y="564"/>
                </a:lnTo>
                <a:lnTo>
                  <a:pt x="613" y="554"/>
                </a:lnTo>
                <a:lnTo>
                  <a:pt x="615" y="550"/>
                </a:lnTo>
                <a:lnTo>
                  <a:pt x="625" y="549"/>
                </a:lnTo>
                <a:lnTo>
                  <a:pt x="626" y="543"/>
                </a:lnTo>
                <a:lnTo>
                  <a:pt x="625" y="540"/>
                </a:lnTo>
                <a:lnTo>
                  <a:pt x="626" y="532"/>
                </a:lnTo>
                <a:lnTo>
                  <a:pt x="625" y="524"/>
                </a:lnTo>
                <a:lnTo>
                  <a:pt x="626" y="520"/>
                </a:lnTo>
                <a:lnTo>
                  <a:pt x="633" y="516"/>
                </a:lnTo>
                <a:lnTo>
                  <a:pt x="633" y="514"/>
                </a:lnTo>
                <a:lnTo>
                  <a:pt x="637" y="514"/>
                </a:lnTo>
                <a:lnTo>
                  <a:pt x="638" y="510"/>
                </a:lnTo>
                <a:lnTo>
                  <a:pt x="645" y="510"/>
                </a:lnTo>
                <a:lnTo>
                  <a:pt x="647" y="506"/>
                </a:lnTo>
                <a:lnTo>
                  <a:pt x="662" y="497"/>
                </a:lnTo>
                <a:lnTo>
                  <a:pt x="666" y="493"/>
                </a:lnTo>
                <a:lnTo>
                  <a:pt x="672" y="487"/>
                </a:lnTo>
                <a:lnTo>
                  <a:pt x="675" y="487"/>
                </a:lnTo>
                <a:lnTo>
                  <a:pt x="673" y="486"/>
                </a:lnTo>
                <a:lnTo>
                  <a:pt x="679" y="483"/>
                </a:lnTo>
                <a:lnTo>
                  <a:pt x="680" y="483"/>
                </a:lnTo>
                <a:lnTo>
                  <a:pt x="684" y="479"/>
                </a:lnTo>
                <a:lnTo>
                  <a:pt x="687" y="475"/>
                </a:lnTo>
                <a:lnTo>
                  <a:pt x="686" y="472"/>
                </a:lnTo>
                <a:lnTo>
                  <a:pt x="681" y="465"/>
                </a:lnTo>
                <a:lnTo>
                  <a:pt x="683" y="461"/>
                </a:lnTo>
                <a:lnTo>
                  <a:pt x="691" y="449"/>
                </a:lnTo>
                <a:lnTo>
                  <a:pt x="692" y="438"/>
                </a:lnTo>
                <a:lnTo>
                  <a:pt x="700" y="427"/>
                </a:lnTo>
                <a:lnTo>
                  <a:pt x="700" y="423"/>
                </a:lnTo>
                <a:lnTo>
                  <a:pt x="704" y="412"/>
                </a:lnTo>
                <a:lnTo>
                  <a:pt x="706" y="408"/>
                </a:lnTo>
                <a:lnTo>
                  <a:pt x="712" y="399"/>
                </a:lnTo>
                <a:lnTo>
                  <a:pt x="717" y="393"/>
                </a:lnTo>
                <a:lnTo>
                  <a:pt x="727" y="388"/>
                </a:lnTo>
                <a:lnTo>
                  <a:pt x="731" y="382"/>
                </a:lnTo>
                <a:lnTo>
                  <a:pt x="736" y="378"/>
                </a:lnTo>
                <a:lnTo>
                  <a:pt x="738" y="375"/>
                </a:lnTo>
                <a:lnTo>
                  <a:pt x="741" y="362"/>
                </a:lnTo>
                <a:lnTo>
                  <a:pt x="737" y="356"/>
                </a:lnTo>
                <a:lnTo>
                  <a:pt x="741" y="348"/>
                </a:lnTo>
                <a:lnTo>
                  <a:pt x="742" y="341"/>
                </a:lnTo>
                <a:lnTo>
                  <a:pt x="741" y="333"/>
                </a:lnTo>
                <a:lnTo>
                  <a:pt x="742" y="332"/>
                </a:lnTo>
                <a:lnTo>
                  <a:pt x="747" y="321"/>
                </a:lnTo>
                <a:lnTo>
                  <a:pt x="747" y="315"/>
                </a:lnTo>
                <a:lnTo>
                  <a:pt x="748" y="307"/>
                </a:lnTo>
                <a:lnTo>
                  <a:pt x="752" y="303"/>
                </a:lnTo>
                <a:lnTo>
                  <a:pt x="752" y="295"/>
                </a:lnTo>
                <a:lnTo>
                  <a:pt x="761" y="288"/>
                </a:lnTo>
                <a:lnTo>
                  <a:pt x="759" y="283"/>
                </a:lnTo>
                <a:lnTo>
                  <a:pt x="763" y="276"/>
                </a:lnTo>
                <a:lnTo>
                  <a:pt x="767" y="274"/>
                </a:lnTo>
                <a:lnTo>
                  <a:pt x="769" y="274"/>
                </a:lnTo>
                <a:lnTo>
                  <a:pt x="769" y="270"/>
                </a:lnTo>
                <a:lnTo>
                  <a:pt x="767" y="266"/>
                </a:lnTo>
                <a:lnTo>
                  <a:pt x="772" y="258"/>
                </a:lnTo>
                <a:lnTo>
                  <a:pt x="780" y="251"/>
                </a:lnTo>
                <a:lnTo>
                  <a:pt x="780" y="254"/>
                </a:lnTo>
                <a:lnTo>
                  <a:pt x="780" y="250"/>
                </a:lnTo>
                <a:lnTo>
                  <a:pt x="781" y="247"/>
                </a:lnTo>
                <a:lnTo>
                  <a:pt x="786" y="247"/>
                </a:lnTo>
                <a:lnTo>
                  <a:pt x="793" y="247"/>
                </a:lnTo>
                <a:lnTo>
                  <a:pt x="795" y="247"/>
                </a:lnTo>
                <a:lnTo>
                  <a:pt x="801" y="247"/>
                </a:lnTo>
                <a:lnTo>
                  <a:pt x="809" y="242"/>
                </a:lnTo>
                <a:lnTo>
                  <a:pt x="812" y="228"/>
                </a:lnTo>
                <a:lnTo>
                  <a:pt x="818" y="224"/>
                </a:lnTo>
                <a:lnTo>
                  <a:pt x="826" y="221"/>
                </a:lnTo>
                <a:lnTo>
                  <a:pt x="827" y="217"/>
                </a:lnTo>
                <a:lnTo>
                  <a:pt x="827" y="212"/>
                </a:lnTo>
                <a:lnTo>
                  <a:pt x="825" y="207"/>
                </a:lnTo>
                <a:lnTo>
                  <a:pt x="825" y="201"/>
                </a:lnTo>
                <a:lnTo>
                  <a:pt x="833" y="195"/>
                </a:lnTo>
                <a:lnTo>
                  <a:pt x="839" y="189"/>
                </a:lnTo>
                <a:lnTo>
                  <a:pt x="848" y="184"/>
                </a:lnTo>
                <a:lnTo>
                  <a:pt x="851" y="175"/>
                </a:lnTo>
                <a:lnTo>
                  <a:pt x="855" y="172"/>
                </a:lnTo>
                <a:lnTo>
                  <a:pt x="857" y="171"/>
                </a:lnTo>
                <a:lnTo>
                  <a:pt x="860" y="162"/>
                </a:lnTo>
                <a:lnTo>
                  <a:pt x="868" y="160"/>
                </a:lnTo>
                <a:lnTo>
                  <a:pt x="869" y="157"/>
                </a:lnTo>
                <a:lnTo>
                  <a:pt x="866" y="152"/>
                </a:lnTo>
                <a:lnTo>
                  <a:pt x="861" y="146"/>
                </a:lnTo>
                <a:lnTo>
                  <a:pt x="864" y="132"/>
                </a:lnTo>
                <a:lnTo>
                  <a:pt x="862" y="126"/>
                </a:lnTo>
                <a:lnTo>
                  <a:pt x="858" y="120"/>
                </a:lnTo>
                <a:lnTo>
                  <a:pt x="858" y="113"/>
                </a:lnTo>
                <a:lnTo>
                  <a:pt x="860" y="112"/>
                </a:lnTo>
                <a:lnTo>
                  <a:pt x="868" y="112"/>
                </a:lnTo>
                <a:lnTo>
                  <a:pt x="876" y="105"/>
                </a:lnTo>
                <a:lnTo>
                  <a:pt x="877" y="101"/>
                </a:lnTo>
                <a:lnTo>
                  <a:pt x="885" y="90"/>
                </a:lnTo>
                <a:lnTo>
                  <a:pt x="886" y="79"/>
                </a:lnTo>
                <a:lnTo>
                  <a:pt x="887" y="77"/>
                </a:lnTo>
                <a:lnTo>
                  <a:pt x="893" y="73"/>
                </a:lnTo>
                <a:lnTo>
                  <a:pt x="901" y="75"/>
                </a:lnTo>
                <a:lnTo>
                  <a:pt x="912" y="71"/>
                </a:lnTo>
                <a:lnTo>
                  <a:pt x="919" y="56"/>
                </a:lnTo>
                <a:lnTo>
                  <a:pt x="925" y="48"/>
                </a:lnTo>
                <a:lnTo>
                  <a:pt x="930" y="46"/>
                </a:lnTo>
                <a:lnTo>
                  <a:pt x="944" y="42"/>
                </a:lnTo>
                <a:lnTo>
                  <a:pt x="952" y="34"/>
                </a:lnTo>
                <a:lnTo>
                  <a:pt x="957" y="30"/>
                </a:lnTo>
                <a:lnTo>
                  <a:pt x="961" y="30"/>
                </a:lnTo>
                <a:lnTo>
                  <a:pt x="968" y="34"/>
                </a:lnTo>
                <a:lnTo>
                  <a:pt x="974" y="30"/>
                </a:lnTo>
                <a:lnTo>
                  <a:pt x="982" y="29"/>
                </a:lnTo>
                <a:lnTo>
                  <a:pt x="991" y="33"/>
                </a:lnTo>
                <a:lnTo>
                  <a:pt x="994" y="34"/>
                </a:lnTo>
                <a:lnTo>
                  <a:pt x="1004" y="34"/>
                </a:lnTo>
                <a:lnTo>
                  <a:pt x="1012" y="37"/>
                </a:lnTo>
                <a:lnTo>
                  <a:pt x="1018" y="34"/>
                </a:lnTo>
                <a:lnTo>
                  <a:pt x="1021" y="34"/>
                </a:lnTo>
                <a:lnTo>
                  <a:pt x="1027" y="34"/>
                </a:lnTo>
                <a:lnTo>
                  <a:pt x="1030" y="30"/>
                </a:lnTo>
                <a:lnTo>
                  <a:pt x="1040" y="29"/>
                </a:lnTo>
                <a:lnTo>
                  <a:pt x="1053" y="26"/>
                </a:lnTo>
                <a:lnTo>
                  <a:pt x="1061" y="30"/>
                </a:lnTo>
                <a:lnTo>
                  <a:pt x="1069" y="26"/>
                </a:lnTo>
                <a:lnTo>
                  <a:pt x="1074" y="29"/>
                </a:lnTo>
                <a:lnTo>
                  <a:pt x="1078" y="34"/>
                </a:lnTo>
                <a:lnTo>
                  <a:pt x="1083" y="37"/>
                </a:lnTo>
                <a:lnTo>
                  <a:pt x="1087" y="33"/>
                </a:lnTo>
                <a:lnTo>
                  <a:pt x="1089" y="29"/>
                </a:lnTo>
                <a:lnTo>
                  <a:pt x="1092" y="26"/>
                </a:lnTo>
                <a:lnTo>
                  <a:pt x="1093" y="15"/>
                </a:lnTo>
                <a:lnTo>
                  <a:pt x="1103" y="10"/>
                </a:lnTo>
                <a:lnTo>
                  <a:pt x="1109" y="8"/>
                </a:lnTo>
                <a:lnTo>
                  <a:pt x="1112" y="10"/>
                </a:lnTo>
                <a:lnTo>
                  <a:pt x="1125" y="6"/>
                </a:lnTo>
                <a:lnTo>
                  <a:pt x="1129" y="6"/>
                </a:lnTo>
                <a:lnTo>
                  <a:pt x="1135" y="6"/>
                </a:lnTo>
                <a:lnTo>
                  <a:pt x="1146" y="0"/>
                </a:lnTo>
                <a:lnTo>
                  <a:pt x="1156" y="8"/>
                </a:lnTo>
                <a:lnTo>
                  <a:pt x="1164" y="14"/>
                </a:lnTo>
                <a:lnTo>
                  <a:pt x="1184" y="46"/>
                </a:lnTo>
                <a:lnTo>
                  <a:pt x="1190" y="60"/>
                </a:lnTo>
                <a:lnTo>
                  <a:pt x="1197" y="70"/>
                </a:lnTo>
                <a:lnTo>
                  <a:pt x="1210" y="77"/>
                </a:lnTo>
                <a:lnTo>
                  <a:pt x="1220" y="85"/>
                </a:lnTo>
                <a:lnTo>
                  <a:pt x="1229" y="97"/>
                </a:lnTo>
                <a:lnTo>
                  <a:pt x="1234" y="108"/>
                </a:lnTo>
                <a:lnTo>
                  <a:pt x="1240" y="113"/>
                </a:lnTo>
                <a:lnTo>
                  <a:pt x="1242" y="118"/>
                </a:lnTo>
                <a:lnTo>
                  <a:pt x="1246" y="122"/>
                </a:lnTo>
                <a:lnTo>
                  <a:pt x="1263" y="134"/>
                </a:lnTo>
                <a:lnTo>
                  <a:pt x="1271" y="145"/>
                </a:lnTo>
                <a:lnTo>
                  <a:pt x="1278" y="150"/>
                </a:lnTo>
                <a:lnTo>
                  <a:pt x="1285" y="150"/>
                </a:lnTo>
                <a:lnTo>
                  <a:pt x="1303" y="149"/>
                </a:lnTo>
                <a:lnTo>
                  <a:pt x="1311" y="150"/>
                </a:lnTo>
                <a:lnTo>
                  <a:pt x="1313" y="154"/>
                </a:lnTo>
                <a:lnTo>
                  <a:pt x="1310" y="169"/>
                </a:lnTo>
                <a:lnTo>
                  <a:pt x="1310" y="172"/>
                </a:lnTo>
                <a:lnTo>
                  <a:pt x="1315" y="179"/>
                </a:lnTo>
                <a:lnTo>
                  <a:pt x="1321" y="183"/>
                </a:lnTo>
                <a:lnTo>
                  <a:pt x="1328" y="184"/>
                </a:lnTo>
                <a:lnTo>
                  <a:pt x="1352" y="184"/>
                </a:lnTo>
                <a:lnTo>
                  <a:pt x="1364" y="176"/>
                </a:lnTo>
                <a:lnTo>
                  <a:pt x="1368" y="175"/>
                </a:lnTo>
                <a:lnTo>
                  <a:pt x="1381" y="184"/>
                </a:lnTo>
                <a:lnTo>
                  <a:pt x="1385" y="187"/>
                </a:lnTo>
                <a:lnTo>
                  <a:pt x="1406" y="187"/>
                </a:lnTo>
                <a:lnTo>
                  <a:pt x="1417" y="191"/>
                </a:lnTo>
                <a:lnTo>
                  <a:pt x="1424" y="202"/>
                </a:lnTo>
                <a:lnTo>
                  <a:pt x="1436" y="216"/>
                </a:lnTo>
                <a:lnTo>
                  <a:pt x="1452" y="239"/>
                </a:lnTo>
                <a:lnTo>
                  <a:pt x="1463" y="251"/>
                </a:lnTo>
                <a:lnTo>
                  <a:pt x="1477" y="258"/>
                </a:lnTo>
                <a:lnTo>
                  <a:pt x="1483" y="262"/>
                </a:lnTo>
                <a:lnTo>
                  <a:pt x="1516" y="262"/>
                </a:lnTo>
                <a:lnTo>
                  <a:pt x="1520" y="261"/>
                </a:lnTo>
                <a:lnTo>
                  <a:pt x="1523" y="254"/>
                </a:lnTo>
                <a:lnTo>
                  <a:pt x="1538" y="250"/>
                </a:lnTo>
                <a:lnTo>
                  <a:pt x="1544" y="251"/>
                </a:lnTo>
                <a:lnTo>
                  <a:pt x="1552" y="258"/>
                </a:lnTo>
                <a:lnTo>
                  <a:pt x="1573" y="261"/>
                </a:lnTo>
                <a:lnTo>
                  <a:pt x="1594" y="278"/>
                </a:lnTo>
                <a:lnTo>
                  <a:pt x="1602" y="281"/>
                </a:lnTo>
                <a:lnTo>
                  <a:pt x="1617" y="281"/>
                </a:lnTo>
                <a:lnTo>
                  <a:pt x="1671" y="270"/>
                </a:lnTo>
                <a:lnTo>
                  <a:pt x="1677" y="270"/>
                </a:lnTo>
                <a:lnTo>
                  <a:pt x="1683" y="270"/>
                </a:lnTo>
                <a:lnTo>
                  <a:pt x="1690" y="276"/>
                </a:lnTo>
                <a:lnTo>
                  <a:pt x="1698" y="284"/>
                </a:lnTo>
                <a:lnTo>
                  <a:pt x="1706" y="288"/>
                </a:lnTo>
                <a:lnTo>
                  <a:pt x="1708" y="299"/>
                </a:lnTo>
                <a:lnTo>
                  <a:pt x="1706" y="307"/>
                </a:lnTo>
                <a:lnTo>
                  <a:pt x="1709" y="313"/>
                </a:lnTo>
                <a:lnTo>
                  <a:pt x="1713" y="315"/>
                </a:lnTo>
                <a:lnTo>
                  <a:pt x="1721" y="313"/>
                </a:lnTo>
                <a:lnTo>
                  <a:pt x="1730" y="313"/>
                </a:lnTo>
                <a:lnTo>
                  <a:pt x="1745" y="326"/>
                </a:lnTo>
                <a:lnTo>
                  <a:pt x="1748" y="329"/>
                </a:lnTo>
                <a:lnTo>
                  <a:pt x="1743" y="341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128" name="Freeform 127"/>
          <p:cNvSpPr>
            <a:spLocks/>
          </p:cNvSpPr>
          <p:nvPr/>
        </p:nvSpPr>
        <p:spPr bwMode="auto">
          <a:xfrm>
            <a:off x="6799266" y="2175540"/>
            <a:ext cx="996921" cy="1089083"/>
          </a:xfrm>
          <a:custGeom>
            <a:avLst/>
            <a:gdLst>
              <a:gd name="T0" fmla="*/ 3256 w 3320"/>
              <a:gd name="T1" fmla="*/ 378 h 3392"/>
              <a:gd name="T2" fmla="*/ 3215 w 3320"/>
              <a:gd name="T3" fmla="*/ 686 h 3392"/>
              <a:gd name="T4" fmla="*/ 3094 w 3320"/>
              <a:gd name="T5" fmla="*/ 846 h 3392"/>
              <a:gd name="T6" fmla="*/ 2989 w 3320"/>
              <a:gd name="T7" fmla="*/ 966 h 3392"/>
              <a:gd name="T8" fmla="*/ 2957 w 3320"/>
              <a:gd name="T9" fmla="*/ 1091 h 3392"/>
              <a:gd name="T10" fmla="*/ 2970 w 3320"/>
              <a:gd name="T11" fmla="*/ 1212 h 3392"/>
              <a:gd name="T12" fmla="*/ 2930 w 3320"/>
              <a:gd name="T13" fmla="*/ 1364 h 3392"/>
              <a:gd name="T14" fmla="*/ 2995 w 3320"/>
              <a:gd name="T15" fmla="*/ 1501 h 3392"/>
              <a:gd name="T16" fmla="*/ 3107 w 3320"/>
              <a:gd name="T17" fmla="*/ 1535 h 3392"/>
              <a:gd name="T18" fmla="*/ 3076 w 3320"/>
              <a:gd name="T19" fmla="*/ 1608 h 3392"/>
              <a:gd name="T20" fmla="*/ 3006 w 3320"/>
              <a:gd name="T21" fmla="*/ 1692 h 3392"/>
              <a:gd name="T22" fmla="*/ 3057 w 3320"/>
              <a:gd name="T23" fmla="*/ 1933 h 3392"/>
              <a:gd name="T24" fmla="*/ 3099 w 3320"/>
              <a:gd name="T25" fmla="*/ 2068 h 3392"/>
              <a:gd name="T26" fmla="*/ 3163 w 3320"/>
              <a:gd name="T27" fmla="*/ 2181 h 3392"/>
              <a:gd name="T28" fmla="*/ 3240 w 3320"/>
              <a:gd name="T29" fmla="*/ 2289 h 3392"/>
              <a:gd name="T30" fmla="*/ 3096 w 3320"/>
              <a:gd name="T31" fmla="*/ 2374 h 3392"/>
              <a:gd name="T32" fmla="*/ 2878 w 3320"/>
              <a:gd name="T33" fmla="*/ 2459 h 3392"/>
              <a:gd name="T34" fmla="*/ 2686 w 3320"/>
              <a:gd name="T35" fmla="*/ 2423 h 3392"/>
              <a:gd name="T36" fmla="*/ 2575 w 3320"/>
              <a:gd name="T37" fmla="*/ 2526 h 3392"/>
              <a:gd name="T38" fmla="*/ 2423 w 3320"/>
              <a:gd name="T39" fmla="*/ 2619 h 3392"/>
              <a:gd name="T40" fmla="*/ 2254 w 3320"/>
              <a:gd name="T41" fmla="*/ 2679 h 3392"/>
              <a:gd name="T42" fmla="*/ 2066 w 3320"/>
              <a:gd name="T43" fmla="*/ 2805 h 3392"/>
              <a:gd name="T44" fmla="*/ 1969 w 3320"/>
              <a:gd name="T45" fmla="*/ 2912 h 3392"/>
              <a:gd name="T46" fmla="*/ 1888 w 3320"/>
              <a:gd name="T47" fmla="*/ 3041 h 3392"/>
              <a:gd name="T48" fmla="*/ 1821 w 3320"/>
              <a:gd name="T49" fmla="*/ 3133 h 3392"/>
              <a:gd name="T50" fmla="*/ 1710 w 3320"/>
              <a:gd name="T51" fmla="*/ 3207 h 3392"/>
              <a:gd name="T52" fmla="*/ 1652 w 3320"/>
              <a:gd name="T53" fmla="*/ 3230 h 3392"/>
              <a:gd name="T54" fmla="*/ 1616 w 3320"/>
              <a:gd name="T55" fmla="*/ 3238 h 3392"/>
              <a:gd name="T56" fmla="*/ 1606 w 3320"/>
              <a:gd name="T57" fmla="*/ 3256 h 3392"/>
              <a:gd name="T58" fmla="*/ 1588 w 3320"/>
              <a:gd name="T59" fmla="*/ 3277 h 3392"/>
              <a:gd name="T60" fmla="*/ 1577 w 3320"/>
              <a:gd name="T61" fmla="*/ 3295 h 3392"/>
              <a:gd name="T62" fmla="*/ 1558 w 3320"/>
              <a:gd name="T63" fmla="*/ 3314 h 3392"/>
              <a:gd name="T64" fmla="*/ 1540 w 3320"/>
              <a:gd name="T65" fmla="*/ 3339 h 3392"/>
              <a:gd name="T66" fmla="*/ 1557 w 3320"/>
              <a:gd name="T67" fmla="*/ 3370 h 3392"/>
              <a:gd name="T68" fmla="*/ 1458 w 3320"/>
              <a:gd name="T69" fmla="*/ 3367 h 3392"/>
              <a:gd name="T70" fmla="*/ 1429 w 3320"/>
              <a:gd name="T71" fmla="*/ 3356 h 3392"/>
              <a:gd name="T72" fmla="*/ 1141 w 3320"/>
              <a:gd name="T73" fmla="*/ 2647 h 3392"/>
              <a:gd name="T74" fmla="*/ 100 w 3320"/>
              <a:gd name="T75" fmla="*/ 1107 h 3392"/>
              <a:gd name="T76" fmla="*/ 859 w 3320"/>
              <a:gd name="T77" fmla="*/ 244 h 3392"/>
              <a:gd name="T78" fmla="*/ 926 w 3320"/>
              <a:gd name="T79" fmla="*/ 250 h 3392"/>
              <a:gd name="T80" fmla="*/ 984 w 3320"/>
              <a:gd name="T81" fmla="*/ 232 h 3392"/>
              <a:gd name="T82" fmla="*/ 1093 w 3320"/>
              <a:gd name="T83" fmla="*/ 174 h 3392"/>
              <a:gd name="T84" fmla="*/ 1168 w 3320"/>
              <a:gd name="T85" fmla="*/ 143 h 3392"/>
              <a:gd name="T86" fmla="*/ 1278 w 3320"/>
              <a:gd name="T87" fmla="*/ 133 h 3392"/>
              <a:gd name="T88" fmla="*/ 1359 w 3320"/>
              <a:gd name="T89" fmla="*/ 196 h 3392"/>
              <a:gd name="T90" fmla="*/ 1472 w 3320"/>
              <a:gd name="T91" fmla="*/ 230 h 3392"/>
              <a:gd name="T92" fmla="*/ 1489 w 3320"/>
              <a:gd name="T93" fmla="*/ 351 h 3392"/>
              <a:gd name="T94" fmla="*/ 1590 w 3320"/>
              <a:gd name="T95" fmla="*/ 360 h 3392"/>
              <a:gd name="T96" fmla="*/ 1729 w 3320"/>
              <a:gd name="T97" fmla="*/ 374 h 3392"/>
              <a:gd name="T98" fmla="*/ 1837 w 3320"/>
              <a:gd name="T99" fmla="*/ 378 h 3392"/>
              <a:gd name="T100" fmla="*/ 1985 w 3320"/>
              <a:gd name="T101" fmla="*/ 237 h 3392"/>
              <a:gd name="T102" fmla="*/ 2084 w 3320"/>
              <a:gd name="T103" fmla="*/ 267 h 3392"/>
              <a:gd name="T104" fmla="*/ 2215 w 3320"/>
              <a:gd name="T105" fmla="*/ 294 h 3392"/>
              <a:gd name="T106" fmla="*/ 2347 w 3320"/>
              <a:gd name="T107" fmla="*/ 301 h 3392"/>
              <a:gd name="T108" fmla="*/ 2465 w 3320"/>
              <a:gd name="T109" fmla="*/ 338 h 3392"/>
              <a:gd name="T110" fmla="*/ 2604 w 3320"/>
              <a:gd name="T111" fmla="*/ 289 h 3392"/>
              <a:gd name="T112" fmla="*/ 2754 w 3320"/>
              <a:gd name="T113" fmla="*/ 205 h 3392"/>
              <a:gd name="T114" fmla="*/ 2796 w 3320"/>
              <a:gd name="T115" fmla="*/ 41 h 3392"/>
              <a:gd name="T116" fmla="*/ 2909 w 3320"/>
              <a:gd name="T117" fmla="*/ 9 h 3392"/>
              <a:gd name="T118" fmla="*/ 3052 w 3320"/>
              <a:gd name="T119" fmla="*/ 22 h 3392"/>
              <a:gd name="T120" fmla="*/ 3152 w 3320"/>
              <a:gd name="T121" fmla="*/ 41 h 3392"/>
              <a:gd name="T122" fmla="*/ 3276 w 3320"/>
              <a:gd name="T123" fmla="*/ 112 h 339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320"/>
              <a:gd name="T187" fmla="*/ 0 h 3392"/>
              <a:gd name="T188" fmla="*/ 3320 w 3320"/>
              <a:gd name="T189" fmla="*/ 3392 h 339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320" h="3392">
                <a:moveTo>
                  <a:pt x="3312" y="147"/>
                </a:moveTo>
                <a:lnTo>
                  <a:pt x="3309" y="150"/>
                </a:lnTo>
                <a:lnTo>
                  <a:pt x="3299" y="163"/>
                </a:lnTo>
                <a:lnTo>
                  <a:pt x="3291" y="182"/>
                </a:lnTo>
                <a:lnTo>
                  <a:pt x="3285" y="200"/>
                </a:lnTo>
                <a:lnTo>
                  <a:pt x="3280" y="217"/>
                </a:lnTo>
                <a:lnTo>
                  <a:pt x="3274" y="228"/>
                </a:lnTo>
                <a:lnTo>
                  <a:pt x="3276" y="228"/>
                </a:lnTo>
                <a:lnTo>
                  <a:pt x="3274" y="228"/>
                </a:lnTo>
                <a:lnTo>
                  <a:pt x="3274" y="230"/>
                </a:lnTo>
                <a:lnTo>
                  <a:pt x="3273" y="232"/>
                </a:lnTo>
                <a:lnTo>
                  <a:pt x="3271" y="232"/>
                </a:lnTo>
                <a:lnTo>
                  <a:pt x="3271" y="236"/>
                </a:lnTo>
                <a:lnTo>
                  <a:pt x="3271" y="237"/>
                </a:lnTo>
                <a:lnTo>
                  <a:pt x="3269" y="241"/>
                </a:lnTo>
                <a:lnTo>
                  <a:pt x="3269" y="245"/>
                </a:lnTo>
                <a:lnTo>
                  <a:pt x="3267" y="258"/>
                </a:lnTo>
                <a:lnTo>
                  <a:pt x="3265" y="273"/>
                </a:lnTo>
                <a:lnTo>
                  <a:pt x="3260" y="281"/>
                </a:lnTo>
                <a:lnTo>
                  <a:pt x="3260" y="289"/>
                </a:lnTo>
                <a:lnTo>
                  <a:pt x="3265" y="301"/>
                </a:lnTo>
                <a:lnTo>
                  <a:pt x="3265" y="308"/>
                </a:lnTo>
                <a:lnTo>
                  <a:pt x="3265" y="312"/>
                </a:lnTo>
                <a:lnTo>
                  <a:pt x="3260" y="324"/>
                </a:lnTo>
                <a:lnTo>
                  <a:pt x="3259" y="333"/>
                </a:lnTo>
                <a:lnTo>
                  <a:pt x="3260" y="346"/>
                </a:lnTo>
                <a:lnTo>
                  <a:pt x="3260" y="361"/>
                </a:lnTo>
                <a:lnTo>
                  <a:pt x="3259" y="366"/>
                </a:lnTo>
                <a:lnTo>
                  <a:pt x="3258" y="370"/>
                </a:lnTo>
                <a:lnTo>
                  <a:pt x="3256" y="374"/>
                </a:lnTo>
                <a:lnTo>
                  <a:pt x="3256" y="378"/>
                </a:lnTo>
                <a:lnTo>
                  <a:pt x="3256" y="382"/>
                </a:lnTo>
                <a:lnTo>
                  <a:pt x="3262" y="387"/>
                </a:lnTo>
                <a:lnTo>
                  <a:pt x="3263" y="395"/>
                </a:lnTo>
                <a:lnTo>
                  <a:pt x="3263" y="396"/>
                </a:lnTo>
                <a:lnTo>
                  <a:pt x="3265" y="396"/>
                </a:lnTo>
                <a:lnTo>
                  <a:pt x="3262" y="413"/>
                </a:lnTo>
                <a:lnTo>
                  <a:pt x="3263" y="421"/>
                </a:lnTo>
                <a:lnTo>
                  <a:pt x="3263" y="423"/>
                </a:lnTo>
                <a:lnTo>
                  <a:pt x="3265" y="428"/>
                </a:lnTo>
                <a:lnTo>
                  <a:pt x="3267" y="441"/>
                </a:lnTo>
                <a:lnTo>
                  <a:pt x="3273" y="453"/>
                </a:lnTo>
                <a:lnTo>
                  <a:pt x="3273" y="462"/>
                </a:lnTo>
                <a:lnTo>
                  <a:pt x="3266" y="477"/>
                </a:lnTo>
                <a:lnTo>
                  <a:pt x="3267" y="485"/>
                </a:lnTo>
                <a:lnTo>
                  <a:pt x="3273" y="507"/>
                </a:lnTo>
                <a:lnTo>
                  <a:pt x="3267" y="535"/>
                </a:lnTo>
                <a:lnTo>
                  <a:pt x="3260" y="552"/>
                </a:lnTo>
                <a:lnTo>
                  <a:pt x="3256" y="573"/>
                </a:lnTo>
                <a:lnTo>
                  <a:pt x="3254" y="587"/>
                </a:lnTo>
                <a:lnTo>
                  <a:pt x="3255" y="597"/>
                </a:lnTo>
                <a:lnTo>
                  <a:pt x="3249" y="610"/>
                </a:lnTo>
                <a:lnTo>
                  <a:pt x="3246" y="619"/>
                </a:lnTo>
                <a:lnTo>
                  <a:pt x="3248" y="632"/>
                </a:lnTo>
                <a:lnTo>
                  <a:pt x="3241" y="640"/>
                </a:lnTo>
                <a:lnTo>
                  <a:pt x="3235" y="651"/>
                </a:lnTo>
                <a:lnTo>
                  <a:pt x="3235" y="655"/>
                </a:lnTo>
                <a:lnTo>
                  <a:pt x="3238" y="659"/>
                </a:lnTo>
                <a:lnTo>
                  <a:pt x="3238" y="672"/>
                </a:lnTo>
                <a:lnTo>
                  <a:pt x="3229" y="681"/>
                </a:lnTo>
                <a:lnTo>
                  <a:pt x="3217" y="685"/>
                </a:lnTo>
                <a:lnTo>
                  <a:pt x="3215" y="686"/>
                </a:lnTo>
                <a:lnTo>
                  <a:pt x="3212" y="690"/>
                </a:lnTo>
                <a:lnTo>
                  <a:pt x="3205" y="690"/>
                </a:lnTo>
                <a:lnTo>
                  <a:pt x="3196" y="690"/>
                </a:lnTo>
                <a:lnTo>
                  <a:pt x="3180" y="702"/>
                </a:lnTo>
                <a:lnTo>
                  <a:pt x="3167" y="703"/>
                </a:lnTo>
                <a:lnTo>
                  <a:pt x="3159" y="713"/>
                </a:lnTo>
                <a:lnTo>
                  <a:pt x="3142" y="721"/>
                </a:lnTo>
                <a:lnTo>
                  <a:pt x="3119" y="740"/>
                </a:lnTo>
                <a:lnTo>
                  <a:pt x="3110" y="744"/>
                </a:lnTo>
                <a:lnTo>
                  <a:pt x="3113" y="751"/>
                </a:lnTo>
                <a:lnTo>
                  <a:pt x="3115" y="753"/>
                </a:lnTo>
                <a:lnTo>
                  <a:pt x="3115" y="756"/>
                </a:lnTo>
                <a:lnTo>
                  <a:pt x="3117" y="758"/>
                </a:lnTo>
                <a:lnTo>
                  <a:pt x="3116" y="763"/>
                </a:lnTo>
                <a:lnTo>
                  <a:pt x="3120" y="766"/>
                </a:lnTo>
                <a:lnTo>
                  <a:pt x="3120" y="771"/>
                </a:lnTo>
                <a:lnTo>
                  <a:pt x="3117" y="780"/>
                </a:lnTo>
                <a:lnTo>
                  <a:pt x="3110" y="789"/>
                </a:lnTo>
                <a:lnTo>
                  <a:pt x="3110" y="797"/>
                </a:lnTo>
                <a:lnTo>
                  <a:pt x="3113" y="797"/>
                </a:lnTo>
                <a:lnTo>
                  <a:pt x="3113" y="801"/>
                </a:lnTo>
                <a:lnTo>
                  <a:pt x="3109" y="802"/>
                </a:lnTo>
                <a:lnTo>
                  <a:pt x="3104" y="805"/>
                </a:lnTo>
                <a:lnTo>
                  <a:pt x="3102" y="814"/>
                </a:lnTo>
                <a:lnTo>
                  <a:pt x="3098" y="815"/>
                </a:lnTo>
                <a:lnTo>
                  <a:pt x="3095" y="823"/>
                </a:lnTo>
                <a:lnTo>
                  <a:pt x="3096" y="827"/>
                </a:lnTo>
                <a:lnTo>
                  <a:pt x="3094" y="831"/>
                </a:lnTo>
                <a:lnTo>
                  <a:pt x="3092" y="833"/>
                </a:lnTo>
                <a:lnTo>
                  <a:pt x="3094" y="838"/>
                </a:lnTo>
                <a:lnTo>
                  <a:pt x="3094" y="846"/>
                </a:lnTo>
                <a:lnTo>
                  <a:pt x="3095" y="847"/>
                </a:lnTo>
                <a:lnTo>
                  <a:pt x="3098" y="847"/>
                </a:lnTo>
                <a:lnTo>
                  <a:pt x="3098" y="850"/>
                </a:lnTo>
                <a:lnTo>
                  <a:pt x="3091" y="855"/>
                </a:lnTo>
                <a:lnTo>
                  <a:pt x="3088" y="864"/>
                </a:lnTo>
                <a:lnTo>
                  <a:pt x="3084" y="868"/>
                </a:lnTo>
                <a:lnTo>
                  <a:pt x="3076" y="873"/>
                </a:lnTo>
                <a:lnTo>
                  <a:pt x="3073" y="881"/>
                </a:lnTo>
                <a:lnTo>
                  <a:pt x="3070" y="883"/>
                </a:lnTo>
                <a:lnTo>
                  <a:pt x="3070" y="887"/>
                </a:lnTo>
                <a:lnTo>
                  <a:pt x="3064" y="890"/>
                </a:lnTo>
                <a:lnTo>
                  <a:pt x="3062" y="890"/>
                </a:lnTo>
                <a:lnTo>
                  <a:pt x="3057" y="898"/>
                </a:lnTo>
                <a:lnTo>
                  <a:pt x="3055" y="898"/>
                </a:lnTo>
                <a:lnTo>
                  <a:pt x="3049" y="902"/>
                </a:lnTo>
                <a:lnTo>
                  <a:pt x="3041" y="904"/>
                </a:lnTo>
                <a:lnTo>
                  <a:pt x="3038" y="912"/>
                </a:lnTo>
                <a:lnTo>
                  <a:pt x="3034" y="915"/>
                </a:lnTo>
                <a:lnTo>
                  <a:pt x="3031" y="918"/>
                </a:lnTo>
                <a:lnTo>
                  <a:pt x="3032" y="921"/>
                </a:lnTo>
                <a:lnTo>
                  <a:pt x="3024" y="926"/>
                </a:lnTo>
                <a:lnTo>
                  <a:pt x="3019" y="934"/>
                </a:lnTo>
                <a:lnTo>
                  <a:pt x="3011" y="935"/>
                </a:lnTo>
                <a:lnTo>
                  <a:pt x="3009" y="938"/>
                </a:lnTo>
                <a:lnTo>
                  <a:pt x="3000" y="939"/>
                </a:lnTo>
                <a:lnTo>
                  <a:pt x="2999" y="945"/>
                </a:lnTo>
                <a:lnTo>
                  <a:pt x="3000" y="949"/>
                </a:lnTo>
                <a:lnTo>
                  <a:pt x="2997" y="954"/>
                </a:lnTo>
                <a:lnTo>
                  <a:pt x="2997" y="957"/>
                </a:lnTo>
                <a:lnTo>
                  <a:pt x="2995" y="962"/>
                </a:lnTo>
                <a:lnTo>
                  <a:pt x="2989" y="966"/>
                </a:lnTo>
                <a:lnTo>
                  <a:pt x="2989" y="970"/>
                </a:lnTo>
                <a:lnTo>
                  <a:pt x="2992" y="970"/>
                </a:lnTo>
                <a:lnTo>
                  <a:pt x="2991" y="976"/>
                </a:lnTo>
                <a:lnTo>
                  <a:pt x="2994" y="976"/>
                </a:lnTo>
                <a:lnTo>
                  <a:pt x="2994" y="980"/>
                </a:lnTo>
                <a:lnTo>
                  <a:pt x="2996" y="979"/>
                </a:lnTo>
                <a:lnTo>
                  <a:pt x="2997" y="983"/>
                </a:lnTo>
                <a:lnTo>
                  <a:pt x="2997" y="992"/>
                </a:lnTo>
                <a:lnTo>
                  <a:pt x="2995" y="996"/>
                </a:lnTo>
                <a:lnTo>
                  <a:pt x="2996" y="997"/>
                </a:lnTo>
                <a:lnTo>
                  <a:pt x="2992" y="1001"/>
                </a:lnTo>
                <a:lnTo>
                  <a:pt x="2991" y="1011"/>
                </a:lnTo>
                <a:lnTo>
                  <a:pt x="2984" y="1016"/>
                </a:lnTo>
                <a:lnTo>
                  <a:pt x="2986" y="1020"/>
                </a:lnTo>
                <a:lnTo>
                  <a:pt x="2982" y="1025"/>
                </a:lnTo>
                <a:lnTo>
                  <a:pt x="2978" y="1032"/>
                </a:lnTo>
                <a:lnTo>
                  <a:pt x="2975" y="1033"/>
                </a:lnTo>
                <a:lnTo>
                  <a:pt x="2972" y="1033"/>
                </a:lnTo>
                <a:lnTo>
                  <a:pt x="2970" y="1037"/>
                </a:lnTo>
                <a:lnTo>
                  <a:pt x="2970" y="1045"/>
                </a:lnTo>
                <a:lnTo>
                  <a:pt x="2967" y="1051"/>
                </a:lnTo>
                <a:lnTo>
                  <a:pt x="2971" y="1059"/>
                </a:lnTo>
                <a:lnTo>
                  <a:pt x="2974" y="1061"/>
                </a:lnTo>
                <a:lnTo>
                  <a:pt x="2972" y="1064"/>
                </a:lnTo>
                <a:lnTo>
                  <a:pt x="2971" y="1067"/>
                </a:lnTo>
                <a:lnTo>
                  <a:pt x="2969" y="1069"/>
                </a:lnTo>
                <a:lnTo>
                  <a:pt x="2966" y="1074"/>
                </a:lnTo>
                <a:lnTo>
                  <a:pt x="2960" y="1078"/>
                </a:lnTo>
                <a:lnTo>
                  <a:pt x="2961" y="1083"/>
                </a:lnTo>
                <a:lnTo>
                  <a:pt x="2959" y="1084"/>
                </a:lnTo>
                <a:lnTo>
                  <a:pt x="2957" y="1091"/>
                </a:lnTo>
                <a:lnTo>
                  <a:pt x="2955" y="1096"/>
                </a:lnTo>
                <a:lnTo>
                  <a:pt x="2955" y="1099"/>
                </a:lnTo>
                <a:lnTo>
                  <a:pt x="2953" y="1100"/>
                </a:lnTo>
                <a:lnTo>
                  <a:pt x="2955" y="1103"/>
                </a:lnTo>
                <a:lnTo>
                  <a:pt x="2952" y="1113"/>
                </a:lnTo>
                <a:lnTo>
                  <a:pt x="2953" y="1117"/>
                </a:lnTo>
                <a:lnTo>
                  <a:pt x="2952" y="1119"/>
                </a:lnTo>
                <a:lnTo>
                  <a:pt x="2952" y="1121"/>
                </a:lnTo>
                <a:lnTo>
                  <a:pt x="2950" y="1125"/>
                </a:lnTo>
                <a:lnTo>
                  <a:pt x="2955" y="1126"/>
                </a:lnTo>
                <a:lnTo>
                  <a:pt x="2956" y="1125"/>
                </a:lnTo>
                <a:lnTo>
                  <a:pt x="2957" y="1126"/>
                </a:lnTo>
                <a:lnTo>
                  <a:pt x="2959" y="1129"/>
                </a:lnTo>
                <a:lnTo>
                  <a:pt x="2959" y="1132"/>
                </a:lnTo>
                <a:lnTo>
                  <a:pt x="2963" y="1136"/>
                </a:lnTo>
                <a:lnTo>
                  <a:pt x="2964" y="1145"/>
                </a:lnTo>
                <a:lnTo>
                  <a:pt x="2966" y="1148"/>
                </a:lnTo>
                <a:lnTo>
                  <a:pt x="2963" y="1154"/>
                </a:lnTo>
                <a:lnTo>
                  <a:pt x="2964" y="1158"/>
                </a:lnTo>
                <a:lnTo>
                  <a:pt x="2961" y="1162"/>
                </a:lnTo>
                <a:lnTo>
                  <a:pt x="2963" y="1166"/>
                </a:lnTo>
                <a:lnTo>
                  <a:pt x="2961" y="1167"/>
                </a:lnTo>
                <a:lnTo>
                  <a:pt x="2960" y="1171"/>
                </a:lnTo>
                <a:lnTo>
                  <a:pt x="2963" y="1181"/>
                </a:lnTo>
                <a:lnTo>
                  <a:pt x="2960" y="1184"/>
                </a:lnTo>
                <a:lnTo>
                  <a:pt x="2959" y="1184"/>
                </a:lnTo>
                <a:lnTo>
                  <a:pt x="2964" y="1194"/>
                </a:lnTo>
                <a:lnTo>
                  <a:pt x="2964" y="1198"/>
                </a:lnTo>
                <a:lnTo>
                  <a:pt x="2966" y="1203"/>
                </a:lnTo>
                <a:lnTo>
                  <a:pt x="2970" y="1207"/>
                </a:lnTo>
                <a:lnTo>
                  <a:pt x="2970" y="1212"/>
                </a:lnTo>
                <a:lnTo>
                  <a:pt x="2970" y="1216"/>
                </a:lnTo>
                <a:lnTo>
                  <a:pt x="2964" y="1225"/>
                </a:lnTo>
                <a:lnTo>
                  <a:pt x="2961" y="1232"/>
                </a:lnTo>
                <a:lnTo>
                  <a:pt x="2959" y="1235"/>
                </a:lnTo>
                <a:lnTo>
                  <a:pt x="2960" y="1242"/>
                </a:lnTo>
                <a:lnTo>
                  <a:pt x="2956" y="1246"/>
                </a:lnTo>
                <a:lnTo>
                  <a:pt x="2953" y="1250"/>
                </a:lnTo>
                <a:lnTo>
                  <a:pt x="2953" y="1252"/>
                </a:lnTo>
                <a:lnTo>
                  <a:pt x="2956" y="1261"/>
                </a:lnTo>
                <a:lnTo>
                  <a:pt x="2963" y="1260"/>
                </a:lnTo>
                <a:lnTo>
                  <a:pt x="2964" y="1265"/>
                </a:lnTo>
                <a:lnTo>
                  <a:pt x="2969" y="1267"/>
                </a:lnTo>
                <a:lnTo>
                  <a:pt x="2969" y="1273"/>
                </a:lnTo>
                <a:lnTo>
                  <a:pt x="2963" y="1278"/>
                </a:lnTo>
                <a:lnTo>
                  <a:pt x="2959" y="1287"/>
                </a:lnTo>
                <a:lnTo>
                  <a:pt x="2955" y="1291"/>
                </a:lnTo>
                <a:lnTo>
                  <a:pt x="2953" y="1297"/>
                </a:lnTo>
                <a:lnTo>
                  <a:pt x="2949" y="1299"/>
                </a:lnTo>
                <a:lnTo>
                  <a:pt x="2949" y="1304"/>
                </a:lnTo>
                <a:lnTo>
                  <a:pt x="2953" y="1306"/>
                </a:lnTo>
                <a:lnTo>
                  <a:pt x="2955" y="1310"/>
                </a:lnTo>
                <a:lnTo>
                  <a:pt x="2955" y="1314"/>
                </a:lnTo>
                <a:lnTo>
                  <a:pt x="2942" y="1327"/>
                </a:lnTo>
                <a:lnTo>
                  <a:pt x="2941" y="1335"/>
                </a:lnTo>
                <a:lnTo>
                  <a:pt x="2938" y="1336"/>
                </a:lnTo>
                <a:lnTo>
                  <a:pt x="2936" y="1341"/>
                </a:lnTo>
                <a:lnTo>
                  <a:pt x="2934" y="1345"/>
                </a:lnTo>
                <a:lnTo>
                  <a:pt x="2932" y="1349"/>
                </a:lnTo>
                <a:lnTo>
                  <a:pt x="2928" y="1357"/>
                </a:lnTo>
                <a:lnTo>
                  <a:pt x="2930" y="1358"/>
                </a:lnTo>
                <a:lnTo>
                  <a:pt x="2930" y="1364"/>
                </a:lnTo>
                <a:lnTo>
                  <a:pt x="2931" y="1367"/>
                </a:lnTo>
                <a:lnTo>
                  <a:pt x="2930" y="1370"/>
                </a:lnTo>
                <a:lnTo>
                  <a:pt x="2931" y="1375"/>
                </a:lnTo>
                <a:lnTo>
                  <a:pt x="2931" y="1379"/>
                </a:lnTo>
                <a:lnTo>
                  <a:pt x="2927" y="1381"/>
                </a:lnTo>
                <a:lnTo>
                  <a:pt x="2922" y="1390"/>
                </a:lnTo>
                <a:lnTo>
                  <a:pt x="2919" y="1394"/>
                </a:lnTo>
                <a:lnTo>
                  <a:pt x="2910" y="1399"/>
                </a:lnTo>
                <a:lnTo>
                  <a:pt x="2905" y="1406"/>
                </a:lnTo>
                <a:lnTo>
                  <a:pt x="2899" y="1406"/>
                </a:lnTo>
                <a:lnTo>
                  <a:pt x="2888" y="1419"/>
                </a:lnTo>
                <a:lnTo>
                  <a:pt x="2885" y="1420"/>
                </a:lnTo>
                <a:lnTo>
                  <a:pt x="2882" y="1429"/>
                </a:lnTo>
                <a:lnTo>
                  <a:pt x="2884" y="1435"/>
                </a:lnTo>
                <a:lnTo>
                  <a:pt x="2896" y="1443"/>
                </a:lnTo>
                <a:lnTo>
                  <a:pt x="2919" y="1468"/>
                </a:lnTo>
                <a:lnTo>
                  <a:pt x="2927" y="1471"/>
                </a:lnTo>
                <a:lnTo>
                  <a:pt x="2932" y="1469"/>
                </a:lnTo>
                <a:lnTo>
                  <a:pt x="2935" y="1471"/>
                </a:lnTo>
                <a:lnTo>
                  <a:pt x="2945" y="1474"/>
                </a:lnTo>
                <a:lnTo>
                  <a:pt x="2947" y="1477"/>
                </a:lnTo>
                <a:lnTo>
                  <a:pt x="2953" y="1474"/>
                </a:lnTo>
                <a:lnTo>
                  <a:pt x="2960" y="1477"/>
                </a:lnTo>
                <a:lnTo>
                  <a:pt x="2963" y="1478"/>
                </a:lnTo>
                <a:lnTo>
                  <a:pt x="2967" y="1482"/>
                </a:lnTo>
                <a:lnTo>
                  <a:pt x="2981" y="1484"/>
                </a:lnTo>
                <a:lnTo>
                  <a:pt x="2985" y="1488"/>
                </a:lnTo>
                <a:lnTo>
                  <a:pt x="2985" y="1493"/>
                </a:lnTo>
                <a:lnTo>
                  <a:pt x="2991" y="1493"/>
                </a:lnTo>
                <a:lnTo>
                  <a:pt x="2992" y="1497"/>
                </a:lnTo>
                <a:lnTo>
                  <a:pt x="2995" y="1501"/>
                </a:lnTo>
                <a:lnTo>
                  <a:pt x="3002" y="1501"/>
                </a:lnTo>
                <a:lnTo>
                  <a:pt x="3003" y="1501"/>
                </a:lnTo>
                <a:lnTo>
                  <a:pt x="3009" y="1503"/>
                </a:lnTo>
                <a:lnTo>
                  <a:pt x="3024" y="1510"/>
                </a:lnTo>
                <a:lnTo>
                  <a:pt x="3030" y="1509"/>
                </a:lnTo>
                <a:lnTo>
                  <a:pt x="3031" y="1510"/>
                </a:lnTo>
                <a:lnTo>
                  <a:pt x="3041" y="1510"/>
                </a:lnTo>
                <a:lnTo>
                  <a:pt x="3052" y="1506"/>
                </a:lnTo>
                <a:lnTo>
                  <a:pt x="3057" y="1497"/>
                </a:lnTo>
                <a:lnTo>
                  <a:pt x="3064" y="1493"/>
                </a:lnTo>
                <a:lnTo>
                  <a:pt x="3071" y="1491"/>
                </a:lnTo>
                <a:lnTo>
                  <a:pt x="3077" y="1493"/>
                </a:lnTo>
                <a:lnTo>
                  <a:pt x="3080" y="1491"/>
                </a:lnTo>
                <a:lnTo>
                  <a:pt x="3082" y="1488"/>
                </a:lnTo>
                <a:lnTo>
                  <a:pt x="3084" y="1488"/>
                </a:lnTo>
                <a:lnTo>
                  <a:pt x="3091" y="1490"/>
                </a:lnTo>
                <a:lnTo>
                  <a:pt x="3102" y="1493"/>
                </a:lnTo>
                <a:lnTo>
                  <a:pt x="3102" y="1496"/>
                </a:lnTo>
                <a:lnTo>
                  <a:pt x="3104" y="1496"/>
                </a:lnTo>
                <a:lnTo>
                  <a:pt x="3104" y="1497"/>
                </a:lnTo>
                <a:lnTo>
                  <a:pt x="3106" y="1501"/>
                </a:lnTo>
                <a:lnTo>
                  <a:pt x="3106" y="1503"/>
                </a:lnTo>
                <a:lnTo>
                  <a:pt x="3104" y="1503"/>
                </a:lnTo>
                <a:lnTo>
                  <a:pt x="3104" y="1504"/>
                </a:lnTo>
                <a:lnTo>
                  <a:pt x="3106" y="1510"/>
                </a:lnTo>
                <a:lnTo>
                  <a:pt x="3106" y="1514"/>
                </a:lnTo>
                <a:lnTo>
                  <a:pt x="3107" y="1514"/>
                </a:lnTo>
                <a:lnTo>
                  <a:pt x="3109" y="1514"/>
                </a:lnTo>
                <a:lnTo>
                  <a:pt x="3107" y="1523"/>
                </a:lnTo>
                <a:lnTo>
                  <a:pt x="3110" y="1528"/>
                </a:lnTo>
                <a:lnTo>
                  <a:pt x="3107" y="1535"/>
                </a:lnTo>
                <a:lnTo>
                  <a:pt x="3107" y="1536"/>
                </a:lnTo>
                <a:lnTo>
                  <a:pt x="3105" y="1540"/>
                </a:lnTo>
                <a:lnTo>
                  <a:pt x="3104" y="1541"/>
                </a:lnTo>
                <a:lnTo>
                  <a:pt x="3099" y="1541"/>
                </a:lnTo>
                <a:lnTo>
                  <a:pt x="3101" y="1546"/>
                </a:lnTo>
                <a:lnTo>
                  <a:pt x="3101" y="1549"/>
                </a:lnTo>
                <a:lnTo>
                  <a:pt x="3099" y="1549"/>
                </a:lnTo>
                <a:lnTo>
                  <a:pt x="3099" y="1553"/>
                </a:lnTo>
                <a:lnTo>
                  <a:pt x="3096" y="1555"/>
                </a:lnTo>
                <a:lnTo>
                  <a:pt x="3096" y="1558"/>
                </a:lnTo>
                <a:lnTo>
                  <a:pt x="3094" y="1559"/>
                </a:lnTo>
                <a:lnTo>
                  <a:pt x="3095" y="1563"/>
                </a:lnTo>
                <a:lnTo>
                  <a:pt x="3092" y="1564"/>
                </a:lnTo>
                <a:lnTo>
                  <a:pt x="3092" y="1572"/>
                </a:lnTo>
                <a:lnTo>
                  <a:pt x="3094" y="1576"/>
                </a:lnTo>
                <a:lnTo>
                  <a:pt x="3094" y="1577"/>
                </a:lnTo>
                <a:lnTo>
                  <a:pt x="3091" y="1581"/>
                </a:lnTo>
                <a:lnTo>
                  <a:pt x="3090" y="1584"/>
                </a:lnTo>
                <a:lnTo>
                  <a:pt x="3090" y="1585"/>
                </a:lnTo>
                <a:lnTo>
                  <a:pt x="3090" y="1586"/>
                </a:lnTo>
                <a:lnTo>
                  <a:pt x="3087" y="1586"/>
                </a:lnTo>
                <a:lnTo>
                  <a:pt x="3087" y="1590"/>
                </a:lnTo>
                <a:lnTo>
                  <a:pt x="3084" y="1590"/>
                </a:lnTo>
                <a:lnTo>
                  <a:pt x="3085" y="1594"/>
                </a:lnTo>
                <a:lnTo>
                  <a:pt x="3084" y="1600"/>
                </a:lnTo>
                <a:lnTo>
                  <a:pt x="3082" y="1600"/>
                </a:lnTo>
                <a:lnTo>
                  <a:pt x="3078" y="1600"/>
                </a:lnTo>
                <a:lnTo>
                  <a:pt x="3078" y="1603"/>
                </a:lnTo>
                <a:lnTo>
                  <a:pt x="3077" y="1603"/>
                </a:lnTo>
                <a:lnTo>
                  <a:pt x="3078" y="1608"/>
                </a:lnTo>
                <a:lnTo>
                  <a:pt x="3076" y="1608"/>
                </a:lnTo>
                <a:lnTo>
                  <a:pt x="3074" y="1613"/>
                </a:lnTo>
                <a:lnTo>
                  <a:pt x="3074" y="1617"/>
                </a:lnTo>
                <a:lnTo>
                  <a:pt x="3071" y="1621"/>
                </a:lnTo>
                <a:lnTo>
                  <a:pt x="3073" y="1622"/>
                </a:lnTo>
                <a:lnTo>
                  <a:pt x="3077" y="1621"/>
                </a:lnTo>
                <a:lnTo>
                  <a:pt x="3078" y="1622"/>
                </a:lnTo>
                <a:lnTo>
                  <a:pt x="3074" y="1625"/>
                </a:lnTo>
                <a:lnTo>
                  <a:pt x="3076" y="1630"/>
                </a:lnTo>
                <a:lnTo>
                  <a:pt x="3073" y="1634"/>
                </a:lnTo>
                <a:lnTo>
                  <a:pt x="3074" y="1635"/>
                </a:lnTo>
                <a:lnTo>
                  <a:pt x="3078" y="1635"/>
                </a:lnTo>
                <a:lnTo>
                  <a:pt x="3078" y="1639"/>
                </a:lnTo>
                <a:lnTo>
                  <a:pt x="3081" y="1639"/>
                </a:lnTo>
                <a:lnTo>
                  <a:pt x="3078" y="1642"/>
                </a:lnTo>
                <a:lnTo>
                  <a:pt x="3077" y="1642"/>
                </a:lnTo>
                <a:lnTo>
                  <a:pt x="3076" y="1643"/>
                </a:lnTo>
                <a:lnTo>
                  <a:pt x="3071" y="1648"/>
                </a:lnTo>
                <a:lnTo>
                  <a:pt x="3069" y="1652"/>
                </a:lnTo>
                <a:lnTo>
                  <a:pt x="3064" y="1655"/>
                </a:lnTo>
                <a:lnTo>
                  <a:pt x="3063" y="1658"/>
                </a:lnTo>
                <a:lnTo>
                  <a:pt x="3060" y="1660"/>
                </a:lnTo>
                <a:lnTo>
                  <a:pt x="3052" y="1670"/>
                </a:lnTo>
                <a:lnTo>
                  <a:pt x="3050" y="1671"/>
                </a:lnTo>
                <a:lnTo>
                  <a:pt x="3052" y="1677"/>
                </a:lnTo>
                <a:lnTo>
                  <a:pt x="3049" y="1678"/>
                </a:lnTo>
                <a:lnTo>
                  <a:pt x="3042" y="1684"/>
                </a:lnTo>
                <a:lnTo>
                  <a:pt x="3031" y="1684"/>
                </a:lnTo>
                <a:lnTo>
                  <a:pt x="3019" y="1687"/>
                </a:lnTo>
                <a:lnTo>
                  <a:pt x="3013" y="1684"/>
                </a:lnTo>
                <a:lnTo>
                  <a:pt x="3009" y="1684"/>
                </a:lnTo>
                <a:lnTo>
                  <a:pt x="3006" y="1692"/>
                </a:lnTo>
                <a:lnTo>
                  <a:pt x="3006" y="1696"/>
                </a:lnTo>
                <a:lnTo>
                  <a:pt x="3002" y="1696"/>
                </a:lnTo>
                <a:lnTo>
                  <a:pt x="2997" y="1701"/>
                </a:lnTo>
                <a:lnTo>
                  <a:pt x="2981" y="1710"/>
                </a:lnTo>
                <a:lnTo>
                  <a:pt x="2972" y="1720"/>
                </a:lnTo>
                <a:lnTo>
                  <a:pt x="2967" y="1723"/>
                </a:lnTo>
                <a:lnTo>
                  <a:pt x="2966" y="1729"/>
                </a:lnTo>
                <a:lnTo>
                  <a:pt x="2961" y="1733"/>
                </a:lnTo>
                <a:lnTo>
                  <a:pt x="2982" y="1806"/>
                </a:lnTo>
                <a:lnTo>
                  <a:pt x="2995" y="1800"/>
                </a:lnTo>
                <a:lnTo>
                  <a:pt x="3016" y="1795"/>
                </a:lnTo>
                <a:lnTo>
                  <a:pt x="3017" y="1799"/>
                </a:lnTo>
                <a:lnTo>
                  <a:pt x="3020" y="1806"/>
                </a:lnTo>
                <a:lnTo>
                  <a:pt x="3021" y="1812"/>
                </a:lnTo>
                <a:lnTo>
                  <a:pt x="3024" y="1812"/>
                </a:lnTo>
                <a:lnTo>
                  <a:pt x="3035" y="1817"/>
                </a:lnTo>
                <a:lnTo>
                  <a:pt x="3039" y="1821"/>
                </a:lnTo>
                <a:lnTo>
                  <a:pt x="3041" y="1826"/>
                </a:lnTo>
                <a:lnTo>
                  <a:pt x="3041" y="1830"/>
                </a:lnTo>
                <a:lnTo>
                  <a:pt x="3048" y="1839"/>
                </a:lnTo>
                <a:lnTo>
                  <a:pt x="3046" y="1856"/>
                </a:lnTo>
                <a:lnTo>
                  <a:pt x="3049" y="1874"/>
                </a:lnTo>
                <a:lnTo>
                  <a:pt x="3052" y="1875"/>
                </a:lnTo>
                <a:lnTo>
                  <a:pt x="3053" y="1878"/>
                </a:lnTo>
                <a:lnTo>
                  <a:pt x="3049" y="1905"/>
                </a:lnTo>
                <a:lnTo>
                  <a:pt x="3050" y="1911"/>
                </a:lnTo>
                <a:lnTo>
                  <a:pt x="3049" y="1918"/>
                </a:lnTo>
                <a:lnTo>
                  <a:pt x="3053" y="1920"/>
                </a:lnTo>
                <a:lnTo>
                  <a:pt x="3055" y="1924"/>
                </a:lnTo>
                <a:lnTo>
                  <a:pt x="3057" y="1929"/>
                </a:lnTo>
                <a:lnTo>
                  <a:pt x="3057" y="1933"/>
                </a:lnTo>
                <a:lnTo>
                  <a:pt x="3059" y="1937"/>
                </a:lnTo>
                <a:lnTo>
                  <a:pt x="3063" y="1937"/>
                </a:lnTo>
                <a:lnTo>
                  <a:pt x="3070" y="1941"/>
                </a:lnTo>
                <a:lnTo>
                  <a:pt x="3071" y="1945"/>
                </a:lnTo>
                <a:lnTo>
                  <a:pt x="3069" y="1950"/>
                </a:lnTo>
                <a:lnTo>
                  <a:pt x="3067" y="1951"/>
                </a:lnTo>
                <a:lnTo>
                  <a:pt x="3069" y="1962"/>
                </a:lnTo>
                <a:lnTo>
                  <a:pt x="3066" y="1968"/>
                </a:lnTo>
                <a:lnTo>
                  <a:pt x="3066" y="1978"/>
                </a:lnTo>
                <a:lnTo>
                  <a:pt x="3063" y="1981"/>
                </a:lnTo>
                <a:lnTo>
                  <a:pt x="3063" y="1991"/>
                </a:lnTo>
                <a:lnTo>
                  <a:pt x="3062" y="1998"/>
                </a:lnTo>
                <a:lnTo>
                  <a:pt x="3062" y="2003"/>
                </a:lnTo>
                <a:lnTo>
                  <a:pt x="3067" y="2004"/>
                </a:lnTo>
                <a:lnTo>
                  <a:pt x="3069" y="2008"/>
                </a:lnTo>
                <a:lnTo>
                  <a:pt x="3067" y="2020"/>
                </a:lnTo>
                <a:lnTo>
                  <a:pt x="3071" y="2017"/>
                </a:lnTo>
                <a:lnTo>
                  <a:pt x="3078" y="2023"/>
                </a:lnTo>
                <a:lnTo>
                  <a:pt x="3078" y="2025"/>
                </a:lnTo>
                <a:lnTo>
                  <a:pt x="3078" y="2030"/>
                </a:lnTo>
                <a:lnTo>
                  <a:pt x="3085" y="2036"/>
                </a:lnTo>
                <a:lnTo>
                  <a:pt x="3085" y="2038"/>
                </a:lnTo>
                <a:lnTo>
                  <a:pt x="3088" y="2040"/>
                </a:lnTo>
                <a:lnTo>
                  <a:pt x="3090" y="2042"/>
                </a:lnTo>
                <a:lnTo>
                  <a:pt x="3095" y="2045"/>
                </a:lnTo>
                <a:lnTo>
                  <a:pt x="3094" y="2055"/>
                </a:lnTo>
                <a:lnTo>
                  <a:pt x="3094" y="2058"/>
                </a:lnTo>
                <a:lnTo>
                  <a:pt x="3092" y="2062"/>
                </a:lnTo>
                <a:lnTo>
                  <a:pt x="3094" y="2065"/>
                </a:lnTo>
                <a:lnTo>
                  <a:pt x="3098" y="2066"/>
                </a:lnTo>
                <a:lnTo>
                  <a:pt x="3099" y="2068"/>
                </a:lnTo>
                <a:lnTo>
                  <a:pt x="3105" y="2070"/>
                </a:lnTo>
                <a:lnTo>
                  <a:pt x="3104" y="2070"/>
                </a:lnTo>
                <a:lnTo>
                  <a:pt x="3102" y="2074"/>
                </a:lnTo>
                <a:lnTo>
                  <a:pt x="3102" y="2075"/>
                </a:lnTo>
                <a:lnTo>
                  <a:pt x="3105" y="2078"/>
                </a:lnTo>
                <a:lnTo>
                  <a:pt x="3104" y="2080"/>
                </a:lnTo>
                <a:lnTo>
                  <a:pt x="3107" y="2085"/>
                </a:lnTo>
                <a:lnTo>
                  <a:pt x="3115" y="2092"/>
                </a:lnTo>
                <a:lnTo>
                  <a:pt x="3117" y="2092"/>
                </a:lnTo>
                <a:lnTo>
                  <a:pt x="3119" y="2098"/>
                </a:lnTo>
                <a:lnTo>
                  <a:pt x="3126" y="2103"/>
                </a:lnTo>
                <a:lnTo>
                  <a:pt x="3127" y="2111"/>
                </a:lnTo>
                <a:lnTo>
                  <a:pt x="3134" y="2116"/>
                </a:lnTo>
                <a:lnTo>
                  <a:pt x="3134" y="2120"/>
                </a:lnTo>
                <a:lnTo>
                  <a:pt x="3135" y="2127"/>
                </a:lnTo>
                <a:lnTo>
                  <a:pt x="3140" y="2128"/>
                </a:lnTo>
                <a:lnTo>
                  <a:pt x="3141" y="2133"/>
                </a:lnTo>
                <a:lnTo>
                  <a:pt x="3142" y="2136"/>
                </a:lnTo>
                <a:lnTo>
                  <a:pt x="3141" y="2141"/>
                </a:lnTo>
                <a:lnTo>
                  <a:pt x="3140" y="2142"/>
                </a:lnTo>
                <a:lnTo>
                  <a:pt x="3141" y="2149"/>
                </a:lnTo>
                <a:lnTo>
                  <a:pt x="3141" y="2152"/>
                </a:lnTo>
                <a:lnTo>
                  <a:pt x="3146" y="2155"/>
                </a:lnTo>
                <a:lnTo>
                  <a:pt x="3149" y="2154"/>
                </a:lnTo>
                <a:lnTo>
                  <a:pt x="3156" y="2160"/>
                </a:lnTo>
                <a:lnTo>
                  <a:pt x="3157" y="2169"/>
                </a:lnTo>
                <a:lnTo>
                  <a:pt x="3155" y="2169"/>
                </a:lnTo>
                <a:lnTo>
                  <a:pt x="3155" y="2173"/>
                </a:lnTo>
                <a:lnTo>
                  <a:pt x="3159" y="2173"/>
                </a:lnTo>
                <a:lnTo>
                  <a:pt x="3162" y="2178"/>
                </a:lnTo>
                <a:lnTo>
                  <a:pt x="3163" y="2181"/>
                </a:lnTo>
                <a:lnTo>
                  <a:pt x="3163" y="2182"/>
                </a:lnTo>
                <a:lnTo>
                  <a:pt x="3166" y="2185"/>
                </a:lnTo>
                <a:lnTo>
                  <a:pt x="3163" y="2186"/>
                </a:lnTo>
                <a:lnTo>
                  <a:pt x="3157" y="2199"/>
                </a:lnTo>
                <a:lnTo>
                  <a:pt x="3157" y="2200"/>
                </a:lnTo>
                <a:lnTo>
                  <a:pt x="3162" y="2207"/>
                </a:lnTo>
                <a:lnTo>
                  <a:pt x="3167" y="2209"/>
                </a:lnTo>
                <a:lnTo>
                  <a:pt x="3169" y="2214"/>
                </a:lnTo>
                <a:lnTo>
                  <a:pt x="3179" y="2222"/>
                </a:lnTo>
                <a:lnTo>
                  <a:pt x="3179" y="2223"/>
                </a:lnTo>
                <a:lnTo>
                  <a:pt x="3180" y="2227"/>
                </a:lnTo>
                <a:lnTo>
                  <a:pt x="3185" y="2234"/>
                </a:lnTo>
                <a:lnTo>
                  <a:pt x="3190" y="2234"/>
                </a:lnTo>
                <a:lnTo>
                  <a:pt x="3190" y="2236"/>
                </a:lnTo>
                <a:lnTo>
                  <a:pt x="3192" y="2240"/>
                </a:lnTo>
                <a:lnTo>
                  <a:pt x="3195" y="2244"/>
                </a:lnTo>
                <a:lnTo>
                  <a:pt x="3199" y="2242"/>
                </a:lnTo>
                <a:lnTo>
                  <a:pt x="3201" y="2244"/>
                </a:lnTo>
                <a:lnTo>
                  <a:pt x="3198" y="2245"/>
                </a:lnTo>
                <a:lnTo>
                  <a:pt x="3202" y="2249"/>
                </a:lnTo>
                <a:lnTo>
                  <a:pt x="3202" y="2253"/>
                </a:lnTo>
                <a:lnTo>
                  <a:pt x="3205" y="2253"/>
                </a:lnTo>
                <a:lnTo>
                  <a:pt x="3210" y="2249"/>
                </a:lnTo>
                <a:lnTo>
                  <a:pt x="3212" y="2252"/>
                </a:lnTo>
                <a:lnTo>
                  <a:pt x="3210" y="2259"/>
                </a:lnTo>
                <a:lnTo>
                  <a:pt x="3223" y="2276"/>
                </a:lnTo>
                <a:lnTo>
                  <a:pt x="3223" y="2285"/>
                </a:lnTo>
                <a:lnTo>
                  <a:pt x="3224" y="2289"/>
                </a:lnTo>
                <a:lnTo>
                  <a:pt x="3230" y="2291"/>
                </a:lnTo>
                <a:lnTo>
                  <a:pt x="3238" y="2289"/>
                </a:lnTo>
                <a:lnTo>
                  <a:pt x="3240" y="2289"/>
                </a:lnTo>
                <a:lnTo>
                  <a:pt x="3245" y="2294"/>
                </a:lnTo>
                <a:lnTo>
                  <a:pt x="3248" y="2301"/>
                </a:lnTo>
                <a:lnTo>
                  <a:pt x="3249" y="2303"/>
                </a:lnTo>
                <a:lnTo>
                  <a:pt x="3252" y="2306"/>
                </a:lnTo>
                <a:lnTo>
                  <a:pt x="3256" y="2306"/>
                </a:lnTo>
                <a:lnTo>
                  <a:pt x="3240" y="2315"/>
                </a:lnTo>
                <a:lnTo>
                  <a:pt x="3231" y="2316"/>
                </a:lnTo>
                <a:lnTo>
                  <a:pt x="3226" y="2316"/>
                </a:lnTo>
                <a:lnTo>
                  <a:pt x="3223" y="2319"/>
                </a:lnTo>
                <a:lnTo>
                  <a:pt x="3217" y="2320"/>
                </a:lnTo>
                <a:lnTo>
                  <a:pt x="3213" y="2324"/>
                </a:lnTo>
                <a:lnTo>
                  <a:pt x="3212" y="2329"/>
                </a:lnTo>
                <a:lnTo>
                  <a:pt x="3207" y="2334"/>
                </a:lnTo>
                <a:lnTo>
                  <a:pt x="3202" y="2334"/>
                </a:lnTo>
                <a:lnTo>
                  <a:pt x="3184" y="2323"/>
                </a:lnTo>
                <a:lnTo>
                  <a:pt x="3180" y="2323"/>
                </a:lnTo>
                <a:lnTo>
                  <a:pt x="3171" y="2329"/>
                </a:lnTo>
                <a:lnTo>
                  <a:pt x="3162" y="2329"/>
                </a:lnTo>
                <a:lnTo>
                  <a:pt x="3159" y="2329"/>
                </a:lnTo>
                <a:lnTo>
                  <a:pt x="3156" y="2334"/>
                </a:lnTo>
                <a:lnTo>
                  <a:pt x="3152" y="2338"/>
                </a:lnTo>
                <a:lnTo>
                  <a:pt x="3146" y="2336"/>
                </a:lnTo>
                <a:lnTo>
                  <a:pt x="3144" y="2338"/>
                </a:lnTo>
                <a:lnTo>
                  <a:pt x="3135" y="2339"/>
                </a:lnTo>
                <a:lnTo>
                  <a:pt x="3129" y="2343"/>
                </a:lnTo>
                <a:lnTo>
                  <a:pt x="3120" y="2355"/>
                </a:lnTo>
                <a:lnTo>
                  <a:pt x="3115" y="2355"/>
                </a:lnTo>
                <a:lnTo>
                  <a:pt x="3113" y="2356"/>
                </a:lnTo>
                <a:lnTo>
                  <a:pt x="3107" y="2361"/>
                </a:lnTo>
                <a:lnTo>
                  <a:pt x="3106" y="2365"/>
                </a:lnTo>
                <a:lnTo>
                  <a:pt x="3096" y="2374"/>
                </a:lnTo>
                <a:lnTo>
                  <a:pt x="3090" y="2385"/>
                </a:lnTo>
                <a:lnTo>
                  <a:pt x="3084" y="2388"/>
                </a:lnTo>
                <a:lnTo>
                  <a:pt x="3080" y="2390"/>
                </a:lnTo>
                <a:lnTo>
                  <a:pt x="3060" y="2391"/>
                </a:lnTo>
                <a:lnTo>
                  <a:pt x="3052" y="2395"/>
                </a:lnTo>
                <a:lnTo>
                  <a:pt x="3041" y="2403"/>
                </a:lnTo>
                <a:lnTo>
                  <a:pt x="3032" y="2414"/>
                </a:lnTo>
                <a:lnTo>
                  <a:pt x="3024" y="2413"/>
                </a:lnTo>
                <a:lnTo>
                  <a:pt x="3020" y="2409"/>
                </a:lnTo>
                <a:lnTo>
                  <a:pt x="3013" y="2405"/>
                </a:lnTo>
                <a:lnTo>
                  <a:pt x="3011" y="2409"/>
                </a:lnTo>
                <a:lnTo>
                  <a:pt x="3003" y="2414"/>
                </a:lnTo>
                <a:lnTo>
                  <a:pt x="2995" y="2416"/>
                </a:lnTo>
                <a:lnTo>
                  <a:pt x="2988" y="2414"/>
                </a:lnTo>
                <a:lnTo>
                  <a:pt x="2984" y="2409"/>
                </a:lnTo>
                <a:lnTo>
                  <a:pt x="2974" y="2409"/>
                </a:lnTo>
                <a:lnTo>
                  <a:pt x="2966" y="2407"/>
                </a:lnTo>
                <a:lnTo>
                  <a:pt x="2961" y="2405"/>
                </a:lnTo>
                <a:lnTo>
                  <a:pt x="2959" y="2405"/>
                </a:lnTo>
                <a:lnTo>
                  <a:pt x="2950" y="2405"/>
                </a:lnTo>
                <a:lnTo>
                  <a:pt x="2947" y="2405"/>
                </a:lnTo>
                <a:lnTo>
                  <a:pt x="2939" y="2410"/>
                </a:lnTo>
                <a:lnTo>
                  <a:pt x="2927" y="2418"/>
                </a:lnTo>
                <a:lnTo>
                  <a:pt x="2910" y="2427"/>
                </a:lnTo>
                <a:lnTo>
                  <a:pt x="2906" y="2432"/>
                </a:lnTo>
                <a:lnTo>
                  <a:pt x="2906" y="2436"/>
                </a:lnTo>
                <a:lnTo>
                  <a:pt x="2899" y="2442"/>
                </a:lnTo>
                <a:lnTo>
                  <a:pt x="2894" y="2448"/>
                </a:lnTo>
                <a:lnTo>
                  <a:pt x="2888" y="2453"/>
                </a:lnTo>
                <a:lnTo>
                  <a:pt x="2881" y="2456"/>
                </a:lnTo>
                <a:lnTo>
                  <a:pt x="2878" y="2459"/>
                </a:lnTo>
                <a:lnTo>
                  <a:pt x="2874" y="2459"/>
                </a:lnTo>
                <a:lnTo>
                  <a:pt x="2866" y="2455"/>
                </a:lnTo>
                <a:lnTo>
                  <a:pt x="2853" y="2443"/>
                </a:lnTo>
                <a:lnTo>
                  <a:pt x="2846" y="2432"/>
                </a:lnTo>
                <a:lnTo>
                  <a:pt x="2834" y="2427"/>
                </a:lnTo>
                <a:lnTo>
                  <a:pt x="2835" y="2422"/>
                </a:lnTo>
                <a:lnTo>
                  <a:pt x="2831" y="2416"/>
                </a:lnTo>
                <a:lnTo>
                  <a:pt x="2817" y="2403"/>
                </a:lnTo>
                <a:lnTo>
                  <a:pt x="2810" y="2405"/>
                </a:lnTo>
                <a:lnTo>
                  <a:pt x="2800" y="2409"/>
                </a:lnTo>
                <a:lnTo>
                  <a:pt x="2788" y="2405"/>
                </a:lnTo>
                <a:lnTo>
                  <a:pt x="2781" y="2405"/>
                </a:lnTo>
                <a:lnTo>
                  <a:pt x="2774" y="2403"/>
                </a:lnTo>
                <a:lnTo>
                  <a:pt x="2771" y="2401"/>
                </a:lnTo>
                <a:lnTo>
                  <a:pt x="2764" y="2401"/>
                </a:lnTo>
                <a:lnTo>
                  <a:pt x="2760" y="2405"/>
                </a:lnTo>
                <a:lnTo>
                  <a:pt x="2758" y="2410"/>
                </a:lnTo>
                <a:lnTo>
                  <a:pt x="2754" y="2416"/>
                </a:lnTo>
                <a:lnTo>
                  <a:pt x="2754" y="2418"/>
                </a:lnTo>
                <a:lnTo>
                  <a:pt x="2749" y="2423"/>
                </a:lnTo>
                <a:lnTo>
                  <a:pt x="2742" y="2423"/>
                </a:lnTo>
                <a:lnTo>
                  <a:pt x="2737" y="2430"/>
                </a:lnTo>
                <a:lnTo>
                  <a:pt x="2731" y="2430"/>
                </a:lnTo>
                <a:lnTo>
                  <a:pt x="2726" y="2432"/>
                </a:lnTo>
                <a:lnTo>
                  <a:pt x="2725" y="2436"/>
                </a:lnTo>
                <a:lnTo>
                  <a:pt x="2717" y="2444"/>
                </a:lnTo>
                <a:lnTo>
                  <a:pt x="2708" y="2444"/>
                </a:lnTo>
                <a:lnTo>
                  <a:pt x="2703" y="2445"/>
                </a:lnTo>
                <a:lnTo>
                  <a:pt x="2701" y="2444"/>
                </a:lnTo>
                <a:lnTo>
                  <a:pt x="2690" y="2427"/>
                </a:lnTo>
                <a:lnTo>
                  <a:pt x="2686" y="2423"/>
                </a:lnTo>
                <a:lnTo>
                  <a:pt x="2683" y="2423"/>
                </a:lnTo>
                <a:lnTo>
                  <a:pt x="2671" y="2423"/>
                </a:lnTo>
                <a:lnTo>
                  <a:pt x="2661" y="2427"/>
                </a:lnTo>
                <a:lnTo>
                  <a:pt x="2658" y="2427"/>
                </a:lnTo>
                <a:lnTo>
                  <a:pt x="2654" y="2427"/>
                </a:lnTo>
                <a:lnTo>
                  <a:pt x="2653" y="2431"/>
                </a:lnTo>
                <a:lnTo>
                  <a:pt x="2645" y="2436"/>
                </a:lnTo>
                <a:lnTo>
                  <a:pt x="2639" y="2436"/>
                </a:lnTo>
                <a:lnTo>
                  <a:pt x="2633" y="2435"/>
                </a:lnTo>
                <a:lnTo>
                  <a:pt x="2625" y="2432"/>
                </a:lnTo>
                <a:lnTo>
                  <a:pt x="2617" y="2436"/>
                </a:lnTo>
                <a:lnTo>
                  <a:pt x="2614" y="2440"/>
                </a:lnTo>
                <a:lnTo>
                  <a:pt x="2615" y="2445"/>
                </a:lnTo>
                <a:lnTo>
                  <a:pt x="2614" y="2450"/>
                </a:lnTo>
                <a:lnTo>
                  <a:pt x="2615" y="2453"/>
                </a:lnTo>
                <a:lnTo>
                  <a:pt x="2620" y="2461"/>
                </a:lnTo>
                <a:lnTo>
                  <a:pt x="2620" y="2468"/>
                </a:lnTo>
                <a:lnTo>
                  <a:pt x="2625" y="2478"/>
                </a:lnTo>
                <a:lnTo>
                  <a:pt x="2625" y="2481"/>
                </a:lnTo>
                <a:lnTo>
                  <a:pt x="2623" y="2485"/>
                </a:lnTo>
                <a:lnTo>
                  <a:pt x="2617" y="2488"/>
                </a:lnTo>
                <a:lnTo>
                  <a:pt x="2606" y="2497"/>
                </a:lnTo>
                <a:lnTo>
                  <a:pt x="2598" y="2503"/>
                </a:lnTo>
                <a:lnTo>
                  <a:pt x="2595" y="2503"/>
                </a:lnTo>
                <a:lnTo>
                  <a:pt x="2592" y="2506"/>
                </a:lnTo>
                <a:lnTo>
                  <a:pt x="2592" y="2509"/>
                </a:lnTo>
                <a:lnTo>
                  <a:pt x="2585" y="2515"/>
                </a:lnTo>
                <a:lnTo>
                  <a:pt x="2585" y="2519"/>
                </a:lnTo>
                <a:lnTo>
                  <a:pt x="2585" y="2520"/>
                </a:lnTo>
                <a:lnTo>
                  <a:pt x="2579" y="2520"/>
                </a:lnTo>
                <a:lnTo>
                  <a:pt x="2575" y="2526"/>
                </a:lnTo>
                <a:lnTo>
                  <a:pt x="2571" y="2527"/>
                </a:lnTo>
                <a:lnTo>
                  <a:pt x="2562" y="2526"/>
                </a:lnTo>
                <a:lnTo>
                  <a:pt x="2558" y="2525"/>
                </a:lnTo>
                <a:lnTo>
                  <a:pt x="2554" y="2519"/>
                </a:lnTo>
                <a:lnTo>
                  <a:pt x="2548" y="2515"/>
                </a:lnTo>
                <a:lnTo>
                  <a:pt x="2539" y="2512"/>
                </a:lnTo>
                <a:lnTo>
                  <a:pt x="2529" y="2512"/>
                </a:lnTo>
                <a:lnTo>
                  <a:pt x="2525" y="2510"/>
                </a:lnTo>
                <a:lnTo>
                  <a:pt x="2519" y="2512"/>
                </a:lnTo>
                <a:lnTo>
                  <a:pt x="2517" y="2517"/>
                </a:lnTo>
                <a:lnTo>
                  <a:pt x="2512" y="2517"/>
                </a:lnTo>
                <a:lnTo>
                  <a:pt x="2511" y="2520"/>
                </a:lnTo>
                <a:lnTo>
                  <a:pt x="2510" y="2527"/>
                </a:lnTo>
                <a:lnTo>
                  <a:pt x="2507" y="2530"/>
                </a:lnTo>
                <a:lnTo>
                  <a:pt x="2507" y="2537"/>
                </a:lnTo>
                <a:lnTo>
                  <a:pt x="2497" y="2542"/>
                </a:lnTo>
                <a:lnTo>
                  <a:pt x="2485" y="2547"/>
                </a:lnTo>
                <a:lnTo>
                  <a:pt x="2477" y="2552"/>
                </a:lnTo>
                <a:lnTo>
                  <a:pt x="2466" y="2563"/>
                </a:lnTo>
                <a:lnTo>
                  <a:pt x="2466" y="2565"/>
                </a:lnTo>
                <a:lnTo>
                  <a:pt x="2468" y="2569"/>
                </a:lnTo>
                <a:lnTo>
                  <a:pt x="2465" y="2579"/>
                </a:lnTo>
                <a:lnTo>
                  <a:pt x="2465" y="2587"/>
                </a:lnTo>
                <a:lnTo>
                  <a:pt x="2461" y="2587"/>
                </a:lnTo>
                <a:lnTo>
                  <a:pt x="2454" y="2592"/>
                </a:lnTo>
                <a:lnTo>
                  <a:pt x="2447" y="2592"/>
                </a:lnTo>
                <a:lnTo>
                  <a:pt x="2446" y="2596"/>
                </a:lnTo>
                <a:lnTo>
                  <a:pt x="2440" y="2600"/>
                </a:lnTo>
                <a:lnTo>
                  <a:pt x="2436" y="2605"/>
                </a:lnTo>
                <a:lnTo>
                  <a:pt x="2427" y="2610"/>
                </a:lnTo>
                <a:lnTo>
                  <a:pt x="2423" y="2619"/>
                </a:lnTo>
                <a:lnTo>
                  <a:pt x="2421" y="2622"/>
                </a:lnTo>
                <a:lnTo>
                  <a:pt x="2412" y="2625"/>
                </a:lnTo>
                <a:lnTo>
                  <a:pt x="2407" y="2630"/>
                </a:lnTo>
                <a:lnTo>
                  <a:pt x="2401" y="2632"/>
                </a:lnTo>
                <a:lnTo>
                  <a:pt x="2400" y="2635"/>
                </a:lnTo>
                <a:lnTo>
                  <a:pt x="2402" y="2637"/>
                </a:lnTo>
                <a:lnTo>
                  <a:pt x="2404" y="2641"/>
                </a:lnTo>
                <a:lnTo>
                  <a:pt x="2400" y="2646"/>
                </a:lnTo>
                <a:lnTo>
                  <a:pt x="2387" y="2654"/>
                </a:lnTo>
                <a:lnTo>
                  <a:pt x="2382" y="2655"/>
                </a:lnTo>
                <a:lnTo>
                  <a:pt x="2377" y="2658"/>
                </a:lnTo>
                <a:lnTo>
                  <a:pt x="2363" y="2663"/>
                </a:lnTo>
                <a:lnTo>
                  <a:pt x="2352" y="2668"/>
                </a:lnTo>
                <a:lnTo>
                  <a:pt x="2344" y="2669"/>
                </a:lnTo>
                <a:lnTo>
                  <a:pt x="2336" y="2675"/>
                </a:lnTo>
                <a:lnTo>
                  <a:pt x="2332" y="2680"/>
                </a:lnTo>
                <a:lnTo>
                  <a:pt x="2329" y="2680"/>
                </a:lnTo>
                <a:lnTo>
                  <a:pt x="2326" y="2681"/>
                </a:lnTo>
                <a:lnTo>
                  <a:pt x="2319" y="2681"/>
                </a:lnTo>
                <a:lnTo>
                  <a:pt x="2318" y="2689"/>
                </a:lnTo>
                <a:lnTo>
                  <a:pt x="2315" y="2692"/>
                </a:lnTo>
                <a:lnTo>
                  <a:pt x="2307" y="2689"/>
                </a:lnTo>
                <a:lnTo>
                  <a:pt x="2304" y="2691"/>
                </a:lnTo>
                <a:lnTo>
                  <a:pt x="2300" y="2694"/>
                </a:lnTo>
                <a:lnTo>
                  <a:pt x="2297" y="2694"/>
                </a:lnTo>
                <a:lnTo>
                  <a:pt x="2294" y="2694"/>
                </a:lnTo>
                <a:lnTo>
                  <a:pt x="2285" y="2688"/>
                </a:lnTo>
                <a:lnTo>
                  <a:pt x="2276" y="2676"/>
                </a:lnTo>
                <a:lnTo>
                  <a:pt x="2266" y="2681"/>
                </a:lnTo>
                <a:lnTo>
                  <a:pt x="2259" y="2681"/>
                </a:lnTo>
                <a:lnTo>
                  <a:pt x="2254" y="2679"/>
                </a:lnTo>
                <a:lnTo>
                  <a:pt x="2251" y="2679"/>
                </a:lnTo>
                <a:lnTo>
                  <a:pt x="2247" y="2681"/>
                </a:lnTo>
                <a:lnTo>
                  <a:pt x="2240" y="2691"/>
                </a:lnTo>
                <a:lnTo>
                  <a:pt x="2226" y="2697"/>
                </a:lnTo>
                <a:lnTo>
                  <a:pt x="2219" y="2704"/>
                </a:lnTo>
                <a:lnTo>
                  <a:pt x="2215" y="2708"/>
                </a:lnTo>
                <a:lnTo>
                  <a:pt x="2203" y="2717"/>
                </a:lnTo>
                <a:lnTo>
                  <a:pt x="2201" y="2719"/>
                </a:lnTo>
                <a:lnTo>
                  <a:pt x="2198" y="2719"/>
                </a:lnTo>
                <a:lnTo>
                  <a:pt x="2195" y="2719"/>
                </a:lnTo>
                <a:lnTo>
                  <a:pt x="2190" y="2721"/>
                </a:lnTo>
                <a:lnTo>
                  <a:pt x="2184" y="2729"/>
                </a:lnTo>
                <a:lnTo>
                  <a:pt x="2174" y="2734"/>
                </a:lnTo>
                <a:lnTo>
                  <a:pt x="2166" y="2739"/>
                </a:lnTo>
                <a:lnTo>
                  <a:pt x="2159" y="2739"/>
                </a:lnTo>
                <a:lnTo>
                  <a:pt x="2155" y="2739"/>
                </a:lnTo>
                <a:lnTo>
                  <a:pt x="2140" y="2746"/>
                </a:lnTo>
                <a:lnTo>
                  <a:pt x="2131" y="2747"/>
                </a:lnTo>
                <a:lnTo>
                  <a:pt x="2117" y="2762"/>
                </a:lnTo>
                <a:lnTo>
                  <a:pt x="2108" y="2768"/>
                </a:lnTo>
                <a:lnTo>
                  <a:pt x="2101" y="2770"/>
                </a:lnTo>
                <a:lnTo>
                  <a:pt x="2098" y="2775"/>
                </a:lnTo>
                <a:lnTo>
                  <a:pt x="2094" y="2774"/>
                </a:lnTo>
                <a:lnTo>
                  <a:pt x="2087" y="2778"/>
                </a:lnTo>
                <a:lnTo>
                  <a:pt x="2083" y="2784"/>
                </a:lnTo>
                <a:lnTo>
                  <a:pt x="2084" y="2791"/>
                </a:lnTo>
                <a:lnTo>
                  <a:pt x="2083" y="2792"/>
                </a:lnTo>
                <a:lnTo>
                  <a:pt x="2080" y="2800"/>
                </a:lnTo>
                <a:lnTo>
                  <a:pt x="2076" y="2801"/>
                </a:lnTo>
                <a:lnTo>
                  <a:pt x="2072" y="2805"/>
                </a:lnTo>
                <a:lnTo>
                  <a:pt x="2066" y="2805"/>
                </a:lnTo>
                <a:lnTo>
                  <a:pt x="2058" y="2808"/>
                </a:lnTo>
                <a:lnTo>
                  <a:pt x="2051" y="2815"/>
                </a:lnTo>
                <a:lnTo>
                  <a:pt x="2036" y="2820"/>
                </a:lnTo>
                <a:lnTo>
                  <a:pt x="2034" y="2824"/>
                </a:lnTo>
                <a:lnTo>
                  <a:pt x="2036" y="2828"/>
                </a:lnTo>
                <a:lnTo>
                  <a:pt x="2033" y="2830"/>
                </a:lnTo>
                <a:lnTo>
                  <a:pt x="2026" y="2836"/>
                </a:lnTo>
                <a:lnTo>
                  <a:pt x="2020" y="2837"/>
                </a:lnTo>
                <a:lnTo>
                  <a:pt x="2014" y="2841"/>
                </a:lnTo>
                <a:lnTo>
                  <a:pt x="2011" y="2843"/>
                </a:lnTo>
                <a:lnTo>
                  <a:pt x="2008" y="2849"/>
                </a:lnTo>
                <a:lnTo>
                  <a:pt x="1999" y="2858"/>
                </a:lnTo>
                <a:lnTo>
                  <a:pt x="1997" y="2863"/>
                </a:lnTo>
                <a:lnTo>
                  <a:pt x="1997" y="2868"/>
                </a:lnTo>
                <a:lnTo>
                  <a:pt x="2001" y="2873"/>
                </a:lnTo>
                <a:lnTo>
                  <a:pt x="2003" y="2871"/>
                </a:lnTo>
                <a:lnTo>
                  <a:pt x="2005" y="2873"/>
                </a:lnTo>
                <a:lnTo>
                  <a:pt x="2003" y="2876"/>
                </a:lnTo>
                <a:lnTo>
                  <a:pt x="2001" y="2878"/>
                </a:lnTo>
                <a:lnTo>
                  <a:pt x="1998" y="2878"/>
                </a:lnTo>
                <a:lnTo>
                  <a:pt x="1995" y="2875"/>
                </a:lnTo>
                <a:lnTo>
                  <a:pt x="1992" y="2876"/>
                </a:lnTo>
                <a:lnTo>
                  <a:pt x="1991" y="2888"/>
                </a:lnTo>
                <a:lnTo>
                  <a:pt x="1991" y="2891"/>
                </a:lnTo>
                <a:lnTo>
                  <a:pt x="1997" y="2892"/>
                </a:lnTo>
                <a:lnTo>
                  <a:pt x="1997" y="2895"/>
                </a:lnTo>
                <a:lnTo>
                  <a:pt x="1989" y="2899"/>
                </a:lnTo>
                <a:lnTo>
                  <a:pt x="1984" y="2899"/>
                </a:lnTo>
                <a:lnTo>
                  <a:pt x="1978" y="2899"/>
                </a:lnTo>
                <a:lnTo>
                  <a:pt x="1976" y="2904"/>
                </a:lnTo>
                <a:lnTo>
                  <a:pt x="1969" y="2912"/>
                </a:lnTo>
                <a:lnTo>
                  <a:pt x="1967" y="2917"/>
                </a:lnTo>
                <a:lnTo>
                  <a:pt x="1960" y="2920"/>
                </a:lnTo>
                <a:lnTo>
                  <a:pt x="1960" y="2921"/>
                </a:lnTo>
                <a:lnTo>
                  <a:pt x="1955" y="2929"/>
                </a:lnTo>
                <a:lnTo>
                  <a:pt x="1953" y="2929"/>
                </a:lnTo>
                <a:lnTo>
                  <a:pt x="1944" y="2930"/>
                </a:lnTo>
                <a:lnTo>
                  <a:pt x="1939" y="2933"/>
                </a:lnTo>
                <a:lnTo>
                  <a:pt x="1941" y="2934"/>
                </a:lnTo>
                <a:lnTo>
                  <a:pt x="1944" y="2938"/>
                </a:lnTo>
                <a:lnTo>
                  <a:pt x="1939" y="2946"/>
                </a:lnTo>
                <a:lnTo>
                  <a:pt x="1941" y="2952"/>
                </a:lnTo>
                <a:lnTo>
                  <a:pt x="1934" y="2957"/>
                </a:lnTo>
                <a:lnTo>
                  <a:pt x="1926" y="2962"/>
                </a:lnTo>
                <a:lnTo>
                  <a:pt x="1921" y="2974"/>
                </a:lnTo>
                <a:lnTo>
                  <a:pt x="1918" y="2978"/>
                </a:lnTo>
                <a:lnTo>
                  <a:pt x="1913" y="2979"/>
                </a:lnTo>
                <a:lnTo>
                  <a:pt x="1906" y="2989"/>
                </a:lnTo>
                <a:lnTo>
                  <a:pt x="1903" y="2992"/>
                </a:lnTo>
                <a:lnTo>
                  <a:pt x="1896" y="2998"/>
                </a:lnTo>
                <a:lnTo>
                  <a:pt x="1893" y="3000"/>
                </a:lnTo>
                <a:lnTo>
                  <a:pt x="1892" y="3002"/>
                </a:lnTo>
                <a:lnTo>
                  <a:pt x="1887" y="3002"/>
                </a:lnTo>
                <a:lnTo>
                  <a:pt x="1884" y="3007"/>
                </a:lnTo>
                <a:lnTo>
                  <a:pt x="1887" y="3009"/>
                </a:lnTo>
                <a:lnTo>
                  <a:pt x="1889" y="3011"/>
                </a:lnTo>
                <a:lnTo>
                  <a:pt x="1891" y="3011"/>
                </a:lnTo>
                <a:lnTo>
                  <a:pt x="1891" y="3015"/>
                </a:lnTo>
                <a:lnTo>
                  <a:pt x="1887" y="3021"/>
                </a:lnTo>
                <a:lnTo>
                  <a:pt x="1889" y="3024"/>
                </a:lnTo>
                <a:lnTo>
                  <a:pt x="1885" y="3027"/>
                </a:lnTo>
                <a:lnTo>
                  <a:pt x="1888" y="3041"/>
                </a:lnTo>
                <a:lnTo>
                  <a:pt x="1887" y="3044"/>
                </a:lnTo>
                <a:lnTo>
                  <a:pt x="1879" y="3046"/>
                </a:lnTo>
                <a:lnTo>
                  <a:pt x="1878" y="3053"/>
                </a:lnTo>
                <a:lnTo>
                  <a:pt x="1879" y="3056"/>
                </a:lnTo>
                <a:lnTo>
                  <a:pt x="1871" y="3059"/>
                </a:lnTo>
                <a:lnTo>
                  <a:pt x="1871" y="3066"/>
                </a:lnTo>
                <a:lnTo>
                  <a:pt x="1866" y="3069"/>
                </a:lnTo>
                <a:lnTo>
                  <a:pt x="1864" y="3067"/>
                </a:lnTo>
                <a:lnTo>
                  <a:pt x="1860" y="3069"/>
                </a:lnTo>
                <a:lnTo>
                  <a:pt x="1859" y="3077"/>
                </a:lnTo>
                <a:lnTo>
                  <a:pt x="1860" y="3078"/>
                </a:lnTo>
                <a:lnTo>
                  <a:pt x="1860" y="3081"/>
                </a:lnTo>
                <a:lnTo>
                  <a:pt x="1859" y="3081"/>
                </a:lnTo>
                <a:lnTo>
                  <a:pt x="1860" y="3082"/>
                </a:lnTo>
                <a:lnTo>
                  <a:pt x="1857" y="3082"/>
                </a:lnTo>
                <a:lnTo>
                  <a:pt x="1856" y="3094"/>
                </a:lnTo>
                <a:lnTo>
                  <a:pt x="1851" y="3095"/>
                </a:lnTo>
                <a:lnTo>
                  <a:pt x="1845" y="3091"/>
                </a:lnTo>
                <a:lnTo>
                  <a:pt x="1841" y="3091"/>
                </a:lnTo>
                <a:lnTo>
                  <a:pt x="1839" y="3091"/>
                </a:lnTo>
                <a:lnTo>
                  <a:pt x="1838" y="3091"/>
                </a:lnTo>
                <a:lnTo>
                  <a:pt x="1832" y="3101"/>
                </a:lnTo>
                <a:lnTo>
                  <a:pt x="1829" y="3103"/>
                </a:lnTo>
                <a:lnTo>
                  <a:pt x="1827" y="3112"/>
                </a:lnTo>
                <a:lnTo>
                  <a:pt x="1827" y="3120"/>
                </a:lnTo>
                <a:lnTo>
                  <a:pt x="1826" y="3124"/>
                </a:lnTo>
                <a:lnTo>
                  <a:pt x="1823" y="3126"/>
                </a:lnTo>
                <a:lnTo>
                  <a:pt x="1824" y="3129"/>
                </a:lnTo>
                <a:lnTo>
                  <a:pt x="1821" y="3129"/>
                </a:lnTo>
                <a:lnTo>
                  <a:pt x="1820" y="3131"/>
                </a:lnTo>
                <a:lnTo>
                  <a:pt x="1821" y="3133"/>
                </a:lnTo>
                <a:lnTo>
                  <a:pt x="1818" y="3135"/>
                </a:lnTo>
                <a:lnTo>
                  <a:pt x="1812" y="3136"/>
                </a:lnTo>
                <a:lnTo>
                  <a:pt x="1807" y="3144"/>
                </a:lnTo>
                <a:lnTo>
                  <a:pt x="1806" y="3144"/>
                </a:lnTo>
                <a:lnTo>
                  <a:pt x="1802" y="3144"/>
                </a:lnTo>
                <a:lnTo>
                  <a:pt x="1795" y="3144"/>
                </a:lnTo>
                <a:lnTo>
                  <a:pt x="1796" y="3148"/>
                </a:lnTo>
                <a:lnTo>
                  <a:pt x="1791" y="3149"/>
                </a:lnTo>
                <a:lnTo>
                  <a:pt x="1787" y="3157"/>
                </a:lnTo>
                <a:lnTo>
                  <a:pt x="1784" y="3160"/>
                </a:lnTo>
                <a:lnTo>
                  <a:pt x="1782" y="3169"/>
                </a:lnTo>
                <a:lnTo>
                  <a:pt x="1774" y="3173"/>
                </a:lnTo>
                <a:lnTo>
                  <a:pt x="1771" y="3178"/>
                </a:lnTo>
                <a:lnTo>
                  <a:pt x="1767" y="3178"/>
                </a:lnTo>
                <a:lnTo>
                  <a:pt x="1766" y="3178"/>
                </a:lnTo>
                <a:lnTo>
                  <a:pt x="1763" y="3180"/>
                </a:lnTo>
                <a:lnTo>
                  <a:pt x="1763" y="3176"/>
                </a:lnTo>
                <a:lnTo>
                  <a:pt x="1759" y="3180"/>
                </a:lnTo>
                <a:lnTo>
                  <a:pt x="1759" y="3186"/>
                </a:lnTo>
                <a:lnTo>
                  <a:pt x="1756" y="3189"/>
                </a:lnTo>
                <a:lnTo>
                  <a:pt x="1751" y="3189"/>
                </a:lnTo>
                <a:lnTo>
                  <a:pt x="1746" y="3189"/>
                </a:lnTo>
                <a:lnTo>
                  <a:pt x="1739" y="3191"/>
                </a:lnTo>
                <a:lnTo>
                  <a:pt x="1739" y="3196"/>
                </a:lnTo>
                <a:lnTo>
                  <a:pt x="1735" y="3198"/>
                </a:lnTo>
                <a:lnTo>
                  <a:pt x="1737" y="3202"/>
                </a:lnTo>
                <a:lnTo>
                  <a:pt x="1735" y="3205"/>
                </a:lnTo>
                <a:lnTo>
                  <a:pt x="1727" y="3206"/>
                </a:lnTo>
                <a:lnTo>
                  <a:pt x="1725" y="3205"/>
                </a:lnTo>
                <a:lnTo>
                  <a:pt x="1717" y="3210"/>
                </a:lnTo>
                <a:lnTo>
                  <a:pt x="1710" y="3207"/>
                </a:lnTo>
                <a:lnTo>
                  <a:pt x="1704" y="3208"/>
                </a:lnTo>
                <a:lnTo>
                  <a:pt x="1702" y="3210"/>
                </a:lnTo>
                <a:lnTo>
                  <a:pt x="1700" y="3215"/>
                </a:lnTo>
                <a:lnTo>
                  <a:pt x="1699" y="3220"/>
                </a:lnTo>
                <a:lnTo>
                  <a:pt x="1693" y="3222"/>
                </a:lnTo>
                <a:lnTo>
                  <a:pt x="1688" y="3224"/>
                </a:lnTo>
                <a:lnTo>
                  <a:pt x="1681" y="3222"/>
                </a:lnTo>
                <a:lnTo>
                  <a:pt x="1675" y="3224"/>
                </a:lnTo>
                <a:lnTo>
                  <a:pt x="1674" y="3222"/>
                </a:lnTo>
                <a:lnTo>
                  <a:pt x="1674" y="3224"/>
                </a:lnTo>
                <a:lnTo>
                  <a:pt x="1672" y="3224"/>
                </a:lnTo>
                <a:lnTo>
                  <a:pt x="1674" y="3224"/>
                </a:lnTo>
                <a:lnTo>
                  <a:pt x="1672" y="3224"/>
                </a:lnTo>
                <a:lnTo>
                  <a:pt x="1671" y="3224"/>
                </a:lnTo>
                <a:lnTo>
                  <a:pt x="1670" y="3224"/>
                </a:lnTo>
                <a:lnTo>
                  <a:pt x="1670" y="3227"/>
                </a:lnTo>
                <a:lnTo>
                  <a:pt x="1668" y="3227"/>
                </a:lnTo>
                <a:lnTo>
                  <a:pt x="1667" y="3227"/>
                </a:lnTo>
                <a:lnTo>
                  <a:pt x="1666" y="3227"/>
                </a:lnTo>
                <a:lnTo>
                  <a:pt x="1666" y="3228"/>
                </a:lnTo>
                <a:lnTo>
                  <a:pt x="1664" y="3230"/>
                </a:lnTo>
                <a:lnTo>
                  <a:pt x="1663" y="3230"/>
                </a:lnTo>
                <a:lnTo>
                  <a:pt x="1661" y="3228"/>
                </a:lnTo>
                <a:lnTo>
                  <a:pt x="1660" y="3228"/>
                </a:lnTo>
                <a:lnTo>
                  <a:pt x="1658" y="3228"/>
                </a:lnTo>
                <a:lnTo>
                  <a:pt x="1657" y="3228"/>
                </a:lnTo>
                <a:lnTo>
                  <a:pt x="1657" y="3230"/>
                </a:lnTo>
                <a:lnTo>
                  <a:pt x="1656" y="3230"/>
                </a:lnTo>
                <a:lnTo>
                  <a:pt x="1654" y="3230"/>
                </a:lnTo>
                <a:lnTo>
                  <a:pt x="1653" y="3230"/>
                </a:lnTo>
                <a:lnTo>
                  <a:pt x="1652" y="3230"/>
                </a:lnTo>
                <a:lnTo>
                  <a:pt x="1650" y="3230"/>
                </a:lnTo>
                <a:lnTo>
                  <a:pt x="1649" y="3230"/>
                </a:lnTo>
                <a:lnTo>
                  <a:pt x="1649" y="3231"/>
                </a:lnTo>
                <a:lnTo>
                  <a:pt x="1649" y="3232"/>
                </a:lnTo>
                <a:lnTo>
                  <a:pt x="1647" y="3232"/>
                </a:lnTo>
                <a:lnTo>
                  <a:pt x="1647" y="3231"/>
                </a:lnTo>
                <a:lnTo>
                  <a:pt x="1644" y="3231"/>
                </a:lnTo>
                <a:lnTo>
                  <a:pt x="1643" y="3231"/>
                </a:lnTo>
                <a:lnTo>
                  <a:pt x="1642" y="3232"/>
                </a:lnTo>
                <a:lnTo>
                  <a:pt x="1641" y="3232"/>
                </a:lnTo>
                <a:lnTo>
                  <a:pt x="1639" y="3232"/>
                </a:lnTo>
                <a:lnTo>
                  <a:pt x="1638" y="3232"/>
                </a:lnTo>
                <a:lnTo>
                  <a:pt x="1638" y="3233"/>
                </a:lnTo>
                <a:lnTo>
                  <a:pt x="1636" y="3233"/>
                </a:lnTo>
                <a:lnTo>
                  <a:pt x="1635" y="3233"/>
                </a:lnTo>
                <a:lnTo>
                  <a:pt x="1633" y="3233"/>
                </a:lnTo>
                <a:lnTo>
                  <a:pt x="1632" y="3233"/>
                </a:lnTo>
                <a:lnTo>
                  <a:pt x="1631" y="3233"/>
                </a:lnTo>
                <a:lnTo>
                  <a:pt x="1631" y="3236"/>
                </a:lnTo>
                <a:lnTo>
                  <a:pt x="1629" y="3233"/>
                </a:lnTo>
                <a:lnTo>
                  <a:pt x="1629" y="3236"/>
                </a:lnTo>
                <a:lnTo>
                  <a:pt x="1628" y="3236"/>
                </a:lnTo>
                <a:lnTo>
                  <a:pt x="1627" y="3236"/>
                </a:lnTo>
                <a:lnTo>
                  <a:pt x="1625" y="3236"/>
                </a:lnTo>
                <a:lnTo>
                  <a:pt x="1624" y="3236"/>
                </a:lnTo>
                <a:lnTo>
                  <a:pt x="1624" y="3238"/>
                </a:lnTo>
                <a:lnTo>
                  <a:pt x="1622" y="3238"/>
                </a:lnTo>
                <a:lnTo>
                  <a:pt x="1621" y="3238"/>
                </a:lnTo>
                <a:lnTo>
                  <a:pt x="1619" y="3238"/>
                </a:lnTo>
                <a:lnTo>
                  <a:pt x="1617" y="3238"/>
                </a:lnTo>
                <a:lnTo>
                  <a:pt x="1616" y="3238"/>
                </a:lnTo>
                <a:lnTo>
                  <a:pt x="1614" y="3238"/>
                </a:lnTo>
                <a:lnTo>
                  <a:pt x="1613" y="3238"/>
                </a:lnTo>
                <a:lnTo>
                  <a:pt x="1611" y="3238"/>
                </a:lnTo>
                <a:lnTo>
                  <a:pt x="1611" y="3240"/>
                </a:lnTo>
                <a:lnTo>
                  <a:pt x="1613" y="3240"/>
                </a:lnTo>
                <a:lnTo>
                  <a:pt x="1613" y="3241"/>
                </a:lnTo>
                <a:lnTo>
                  <a:pt x="1611" y="3241"/>
                </a:lnTo>
                <a:lnTo>
                  <a:pt x="1613" y="3241"/>
                </a:lnTo>
                <a:lnTo>
                  <a:pt x="1613" y="3243"/>
                </a:lnTo>
                <a:lnTo>
                  <a:pt x="1611" y="3243"/>
                </a:lnTo>
                <a:lnTo>
                  <a:pt x="1611" y="3241"/>
                </a:lnTo>
                <a:lnTo>
                  <a:pt x="1610" y="3241"/>
                </a:lnTo>
                <a:lnTo>
                  <a:pt x="1610" y="3243"/>
                </a:lnTo>
                <a:lnTo>
                  <a:pt x="1610" y="3244"/>
                </a:lnTo>
                <a:lnTo>
                  <a:pt x="1608" y="3244"/>
                </a:lnTo>
                <a:lnTo>
                  <a:pt x="1608" y="3243"/>
                </a:lnTo>
                <a:lnTo>
                  <a:pt x="1608" y="3244"/>
                </a:lnTo>
                <a:lnTo>
                  <a:pt x="1607" y="3244"/>
                </a:lnTo>
                <a:lnTo>
                  <a:pt x="1608" y="3244"/>
                </a:lnTo>
                <a:lnTo>
                  <a:pt x="1610" y="3244"/>
                </a:lnTo>
                <a:lnTo>
                  <a:pt x="1608" y="3244"/>
                </a:lnTo>
                <a:lnTo>
                  <a:pt x="1607" y="3244"/>
                </a:lnTo>
                <a:lnTo>
                  <a:pt x="1607" y="3247"/>
                </a:lnTo>
                <a:lnTo>
                  <a:pt x="1607" y="3250"/>
                </a:lnTo>
                <a:lnTo>
                  <a:pt x="1607" y="3251"/>
                </a:lnTo>
                <a:lnTo>
                  <a:pt x="1607" y="3253"/>
                </a:lnTo>
                <a:lnTo>
                  <a:pt x="1606" y="3253"/>
                </a:lnTo>
                <a:lnTo>
                  <a:pt x="1607" y="3253"/>
                </a:lnTo>
                <a:lnTo>
                  <a:pt x="1607" y="3255"/>
                </a:lnTo>
                <a:lnTo>
                  <a:pt x="1607" y="3256"/>
                </a:lnTo>
                <a:lnTo>
                  <a:pt x="1606" y="3256"/>
                </a:lnTo>
                <a:lnTo>
                  <a:pt x="1604" y="3256"/>
                </a:lnTo>
                <a:lnTo>
                  <a:pt x="1604" y="3258"/>
                </a:lnTo>
                <a:lnTo>
                  <a:pt x="1604" y="3256"/>
                </a:lnTo>
                <a:lnTo>
                  <a:pt x="1603" y="3256"/>
                </a:lnTo>
                <a:lnTo>
                  <a:pt x="1603" y="3258"/>
                </a:lnTo>
                <a:lnTo>
                  <a:pt x="1603" y="3260"/>
                </a:lnTo>
                <a:lnTo>
                  <a:pt x="1602" y="3258"/>
                </a:lnTo>
                <a:lnTo>
                  <a:pt x="1600" y="3258"/>
                </a:lnTo>
                <a:lnTo>
                  <a:pt x="1600" y="3260"/>
                </a:lnTo>
                <a:lnTo>
                  <a:pt x="1602" y="3260"/>
                </a:lnTo>
                <a:lnTo>
                  <a:pt x="1599" y="3260"/>
                </a:lnTo>
                <a:lnTo>
                  <a:pt x="1599" y="3263"/>
                </a:lnTo>
                <a:lnTo>
                  <a:pt x="1597" y="3263"/>
                </a:lnTo>
                <a:lnTo>
                  <a:pt x="1597" y="3264"/>
                </a:lnTo>
                <a:lnTo>
                  <a:pt x="1596" y="3265"/>
                </a:lnTo>
                <a:lnTo>
                  <a:pt x="1594" y="3267"/>
                </a:lnTo>
                <a:lnTo>
                  <a:pt x="1593" y="3267"/>
                </a:lnTo>
                <a:lnTo>
                  <a:pt x="1594" y="3267"/>
                </a:lnTo>
                <a:lnTo>
                  <a:pt x="1594" y="3269"/>
                </a:lnTo>
                <a:lnTo>
                  <a:pt x="1593" y="3269"/>
                </a:lnTo>
                <a:lnTo>
                  <a:pt x="1592" y="3269"/>
                </a:lnTo>
                <a:lnTo>
                  <a:pt x="1592" y="3272"/>
                </a:lnTo>
                <a:lnTo>
                  <a:pt x="1593" y="3272"/>
                </a:lnTo>
                <a:lnTo>
                  <a:pt x="1592" y="3272"/>
                </a:lnTo>
                <a:lnTo>
                  <a:pt x="1592" y="3273"/>
                </a:lnTo>
                <a:lnTo>
                  <a:pt x="1590" y="3273"/>
                </a:lnTo>
                <a:lnTo>
                  <a:pt x="1590" y="3276"/>
                </a:lnTo>
                <a:lnTo>
                  <a:pt x="1589" y="3276"/>
                </a:lnTo>
                <a:lnTo>
                  <a:pt x="1588" y="3276"/>
                </a:lnTo>
                <a:lnTo>
                  <a:pt x="1589" y="3277"/>
                </a:lnTo>
                <a:lnTo>
                  <a:pt x="1588" y="3277"/>
                </a:lnTo>
                <a:lnTo>
                  <a:pt x="1588" y="3278"/>
                </a:lnTo>
                <a:lnTo>
                  <a:pt x="1589" y="3278"/>
                </a:lnTo>
                <a:lnTo>
                  <a:pt x="1588" y="3280"/>
                </a:lnTo>
                <a:lnTo>
                  <a:pt x="1588" y="3281"/>
                </a:lnTo>
                <a:lnTo>
                  <a:pt x="1589" y="3281"/>
                </a:lnTo>
                <a:lnTo>
                  <a:pt x="1588" y="3281"/>
                </a:lnTo>
                <a:lnTo>
                  <a:pt x="1588" y="3282"/>
                </a:lnTo>
                <a:lnTo>
                  <a:pt x="1586" y="3282"/>
                </a:lnTo>
                <a:lnTo>
                  <a:pt x="1585" y="3282"/>
                </a:lnTo>
                <a:lnTo>
                  <a:pt x="1583" y="3282"/>
                </a:lnTo>
                <a:lnTo>
                  <a:pt x="1582" y="3282"/>
                </a:lnTo>
                <a:lnTo>
                  <a:pt x="1581" y="3282"/>
                </a:lnTo>
                <a:lnTo>
                  <a:pt x="1581" y="3285"/>
                </a:lnTo>
                <a:lnTo>
                  <a:pt x="1579" y="3285"/>
                </a:lnTo>
                <a:lnTo>
                  <a:pt x="1581" y="3286"/>
                </a:lnTo>
                <a:lnTo>
                  <a:pt x="1582" y="3286"/>
                </a:lnTo>
                <a:lnTo>
                  <a:pt x="1581" y="3286"/>
                </a:lnTo>
                <a:lnTo>
                  <a:pt x="1579" y="3286"/>
                </a:lnTo>
                <a:lnTo>
                  <a:pt x="1579" y="3289"/>
                </a:lnTo>
                <a:lnTo>
                  <a:pt x="1581" y="3289"/>
                </a:lnTo>
                <a:lnTo>
                  <a:pt x="1581" y="3290"/>
                </a:lnTo>
                <a:lnTo>
                  <a:pt x="1579" y="3290"/>
                </a:lnTo>
                <a:lnTo>
                  <a:pt x="1579" y="3292"/>
                </a:lnTo>
                <a:lnTo>
                  <a:pt x="1578" y="3292"/>
                </a:lnTo>
                <a:lnTo>
                  <a:pt x="1577" y="3292"/>
                </a:lnTo>
                <a:lnTo>
                  <a:pt x="1577" y="3294"/>
                </a:lnTo>
                <a:lnTo>
                  <a:pt x="1575" y="3294"/>
                </a:lnTo>
                <a:lnTo>
                  <a:pt x="1577" y="3294"/>
                </a:lnTo>
                <a:lnTo>
                  <a:pt x="1577" y="3295"/>
                </a:lnTo>
                <a:lnTo>
                  <a:pt x="1575" y="3295"/>
                </a:lnTo>
                <a:lnTo>
                  <a:pt x="1574" y="3295"/>
                </a:lnTo>
                <a:lnTo>
                  <a:pt x="1575" y="3295"/>
                </a:lnTo>
                <a:lnTo>
                  <a:pt x="1575" y="3298"/>
                </a:lnTo>
                <a:lnTo>
                  <a:pt x="1574" y="3298"/>
                </a:lnTo>
                <a:lnTo>
                  <a:pt x="1574" y="3300"/>
                </a:lnTo>
                <a:lnTo>
                  <a:pt x="1572" y="3300"/>
                </a:lnTo>
                <a:lnTo>
                  <a:pt x="1571" y="3300"/>
                </a:lnTo>
                <a:lnTo>
                  <a:pt x="1569" y="3300"/>
                </a:lnTo>
                <a:lnTo>
                  <a:pt x="1568" y="3300"/>
                </a:lnTo>
                <a:lnTo>
                  <a:pt x="1568" y="3301"/>
                </a:lnTo>
                <a:lnTo>
                  <a:pt x="1568" y="3302"/>
                </a:lnTo>
                <a:lnTo>
                  <a:pt x="1567" y="3302"/>
                </a:lnTo>
                <a:lnTo>
                  <a:pt x="1567" y="3301"/>
                </a:lnTo>
                <a:lnTo>
                  <a:pt x="1567" y="3302"/>
                </a:lnTo>
                <a:lnTo>
                  <a:pt x="1568" y="3302"/>
                </a:lnTo>
                <a:lnTo>
                  <a:pt x="1568" y="3303"/>
                </a:lnTo>
                <a:lnTo>
                  <a:pt x="1567" y="3303"/>
                </a:lnTo>
                <a:lnTo>
                  <a:pt x="1567" y="3302"/>
                </a:lnTo>
                <a:lnTo>
                  <a:pt x="1567" y="3303"/>
                </a:lnTo>
                <a:lnTo>
                  <a:pt x="1567" y="3305"/>
                </a:lnTo>
                <a:lnTo>
                  <a:pt x="1565" y="3305"/>
                </a:lnTo>
                <a:lnTo>
                  <a:pt x="1564" y="3305"/>
                </a:lnTo>
                <a:lnTo>
                  <a:pt x="1564" y="3307"/>
                </a:lnTo>
                <a:lnTo>
                  <a:pt x="1564" y="3309"/>
                </a:lnTo>
                <a:lnTo>
                  <a:pt x="1563" y="3309"/>
                </a:lnTo>
                <a:lnTo>
                  <a:pt x="1561" y="3309"/>
                </a:lnTo>
                <a:lnTo>
                  <a:pt x="1560" y="3311"/>
                </a:lnTo>
                <a:lnTo>
                  <a:pt x="1558" y="3313"/>
                </a:lnTo>
                <a:lnTo>
                  <a:pt x="1558" y="3314"/>
                </a:lnTo>
                <a:lnTo>
                  <a:pt x="1557" y="3315"/>
                </a:lnTo>
                <a:lnTo>
                  <a:pt x="1557" y="3317"/>
                </a:lnTo>
                <a:lnTo>
                  <a:pt x="1556" y="3317"/>
                </a:lnTo>
                <a:lnTo>
                  <a:pt x="1556" y="3318"/>
                </a:lnTo>
                <a:lnTo>
                  <a:pt x="1556" y="3320"/>
                </a:lnTo>
                <a:lnTo>
                  <a:pt x="1554" y="3320"/>
                </a:lnTo>
                <a:lnTo>
                  <a:pt x="1554" y="3322"/>
                </a:lnTo>
                <a:lnTo>
                  <a:pt x="1553" y="3322"/>
                </a:lnTo>
                <a:lnTo>
                  <a:pt x="1552" y="3322"/>
                </a:lnTo>
                <a:lnTo>
                  <a:pt x="1550" y="3322"/>
                </a:lnTo>
                <a:lnTo>
                  <a:pt x="1549" y="3322"/>
                </a:lnTo>
                <a:lnTo>
                  <a:pt x="1549" y="3323"/>
                </a:lnTo>
                <a:lnTo>
                  <a:pt x="1547" y="3323"/>
                </a:lnTo>
                <a:lnTo>
                  <a:pt x="1546" y="3323"/>
                </a:lnTo>
                <a:lnTo>
                  <a:pt x="1546" y="3322"/>
                </a:lnTo>
                <a:lnTo>
                  <a:pt x="1544" y="3322"/>
                </a:lnTo>
                <a:lnTo>
                  <a:pt x="1543" y="3322"/>
                </a:lnTo>
                <a:lnTo>
                  <a:pt x="1542" y="3322"/>
                </a:lnTo>
                <a:lnTo>
                  <a:pt x="1542" y="3323"/>
                </a:lnTo>
                <a:lnTo>
                  <a:pt x="1540" y="3323"/>
                </a:lnTo>
                <a:lnTo>
                  <a:pt x="1540" y="3322"/>
                </a:lnTo>
                <a:lnTo>
                  <a:pt x="1540" y="3323"/>
                </a:lnTo>
                <a:lnTo>
                  <a:pt x="1540" y="3326"/>
                </a:lnTo>
                <a:lnTo>
                  <a:pt x="1540" y="3327"/>
                </a:lnTo>
                <a:lnTo>
                  <a:pt x="1540" y="3330"/>
                </a:lnTo>
                <a:lnTo>
                  <a:pt x="1540" y="3331"/>
                </a:lnTo>
                <a:lnTo>
                  <a:pt x="1540" y="3334"/>
                </a:lnTo>
                <a:lnTo>
                  <a:pt x="1540" y="3335"/>
                </a:lnTo>
                <a:lnTo>
                  <a:pt x="1540" y="3337"/>
                </a:lnTo>
                <a:lnTo>
                  <a:pt x="1540" y="3338"/>
                </a:lnTo>
                <a:lnTo>
                  <a:pt x="1540" y="3339"/>
                </a:lnTo>
                <a:lnTo>
                  <a:pt x="1542" y="3339"/>
                </a:lnTo>
                <a:lnTo>
                  <a:pt x="1542" y="3340"/>
                </a:lnTo>
                <a:lnTo>
                  <a:pt x="1540" y="3340"/>
                </a:lnTo>
                <a:lnTo>
                  <a:pt x="1540" y="3343"/>
                </a:lnTo>
                <a:lnTo>
                  <a:pt x="1540" y="3344"/>
                </a:lnTo>
                <a:lnTo>
                  <a:pt x="1542" y="3344"/>
                </a:lnTo>
                <a:lnTo>
                  <a:pt x="1542" y="3347"/>
                </a:lnTo>
                <a:lnTo>
                  <a:pt x="1543" y="3347"/>
                </a:lnTo>
                <a:lnTo>
                  <a:pt x="1543" y="3348"/>
                </a:lnTo>
                <a:lnTo>
                  <a:pt x="1543" y="3350"/>
                </a:lnTo>
                <a:lnTo>
                  <a:pt x="1542" y="3350"/>
                </a:lnTo>
                <a:lnTo>
                  <a:pt x="1542" y="3351"/>
                </a:lnTo>
                <a:lnTo>
                  <a:pt x="1542" y="3352"/>
                </a:lnTo>
                <a:lnTo>
                  <a:pt x="1540" y="3352"/>
                </a:lnTo>
                <a:lnTo>
                  <a:pt x="1542" y="3354"/>
                </a:lnTo>
                <a:lnTo>
                  <a:pt x="1543" y="3357"/>
                </a:lnTo>
                <a:lnTo>
                  <a:pt x="1544" y="3359"/>
                </a:lnTo>
                <a:lnTo>
                  <a:pt x="1546" y="3359"/>
                </a:lnTo>
                <a:lnTo>
                  <a:pt x="1547" y="3360"/>
                </a:lnTo>
                <a:lnTo>
                  <a:pt x="1549" y="3360"/>
                </a:lnTo>
                <a:lnTo>
                  <a:pt x="1549" y="3363"/>
                </a:lnTo>
                <a:lnTo>
                  <a:pt x="1550" y="3363"/>
                </a:lnTo>
                <a:lnTo>
                  <a:pt x="1552" y="3363"/>
                </a:lnTo>
                <a:lnTo>
                  <a:pt x="1552" y="3365"/>
                </a:lnTo>
                <a:lnTo>
                  <a:pt x="1553" y="3365"/>
                </a:lnTo>
                <a:lnTo>
                  <a:pt x="1553" y="3367"/>
                </a:lnTo>
                <a:lnTo>
                  <a:pt x="1554" y="3367"/>
                </a:lnTo>
                <a:lnTo>
                  <a:pt x="1556" y="3367"/>
                </a:lnTo>
                <a:lnTo>
                  <a:pt x="1557" y="3367"/>
                </a:lnTo>
                <a:lnTo>
                  <a:pt x="1558" y="3369"/>
                </a:lnTo>
                <a:lnTo>
                  <a:pt x="1557" y="3370"/>
                </a:lnTo>
                <a:lnTo>
                  <a:pt x="1557" y="3372"/>
                </a:lnTo>
                <a:lnTo>
                  <a:pt x="1558" y="3372"/>
                </a:lnTo>
                <a:lnTo>
                  <a:pt x="1558" y="3373"/>
                </a:lnTo>
                <a:lnTo>
                  <a:pt x="1557" y="3375"/>
                </a:lnTo>
                <a:lnTo>
                  <a:pt x="1557" y="3376"/>
                </a:lnTo>
                <a:lnTo>
                  <a:pt x="1556" y="3376"/>
                </a:lnTo>
                <a:lnTo>
                  <a:pt x="1554" y="3376"/>
                </a:lnTo>
                <a:lnTo>
                  <a:pt x="1554" y="3379"/>
                </a:lnTo>
                <a:lnTo>
                  <a:pt x="1554" y="3380"/>
                </a:lnTo>
                <a:lnTo>
                  <a:pt x="1550" y="3388"/>
                </a:lnTo>
                <a:lnTo>
                  <a:pt x="1547" y="3392"/>
                </a:lnTo>
                <a:lnTo>
                  <a:pt x="1525" y="3388"/>
                </a:lnTo>
                <a:lnTo>
                  <a:pt x="1477" y="3370"/>
                </a:lnTo>
                <a:lnTo>
                  <a:pt x="1475" y="3370"/>
                </a:lnTo>
                <a:lnTo>
                  <a:pt x="1474" y="3372"/>
                </a:lnTo>
                <a:lnTo>
                  <a:pt x="1472" y="3372"/>
                </a:lnTo>
                <a:lnTo>
                  <a:pt x="1471" y="3372"/>
                </a:lnTo>
                <a:lnTo>
                  <a:pt x="1471" y="3373"/>
                </a:lnTo>
                <a:lnTo>
                  <a:pt x="1469" y="3373"/>
                </a:lnTo>
                <a:lnTo>
                  <a:pt x="1468" y="3373"/>
                </a:lnTo>
                <a:lnTo>
                  <a:pt x="1468" y="3372"/>
                </a:lnTo>
                <a:lnTo>
                  <a:pt x="1467" y="3372"/>
                </a:lnTo>
                <a:lnTo>
                  <a:pt x="1465" y="3372"/>
                </a:lnTo>
                <a:lnTo>
                  <a:pt x="1464" y="3372"/>
                </a:lnTo>
                <a:lnTo>
                  <a:pt x="1464" y="3370"/>
                </a:lnTo>
                <a:lnTo>
                  <a:pt x="1463" y="3370"/>
                </a:lnTo>
                <a:lnTo>
                  <a:pt x="1463" y="3369"/>
                </a:lnTo>
                <a:lnTo>
                  <a:pt x="1461" y="3369"/>
                </a:lnTo>
                <a:lnTo>
                  <a:pt x="1461" y="3367"/>
                </a:lnTo>
                <a:lnTo>
                  <a:pt x="1460" y="3367"/>
                </a:lnTo>
                <a:lnTo>
                  <a:pt x="1458" y="3367"/>
                </a:lnTo>
                <a:lnTo>
                  <a:pt x="1457" y="3367"/>
                </a:lnTo>
                <a:lnTo>
                  <a:pt x="1458" y="3365"/>
                </a:lnTo>
                <a:lnTo>
                  <a:pt x="1457" y="3365"/>
                </a:lnTo>
                <a:lnTo>
                  <a:pt x="1455" y="3365"/>
                </a:lnTo>
                <a:lnTo>
                  <a:pt x="1455" y="3363"/>
                </a:lnTo>
                <a:lnTo>
                  <a:pt x="1454" y="3363"/>
                </a:lnTo>
                <a:lnTo>
                  <a:pt x="1453" y="3363"/>
                </a:lnTo>
                <a:lnTo>
                  <a:pt x="1453" y="3362"/>
                </a:lnTo>
                <a:lnTo>
                  <a:pt x="1452" y="3362"/>
                </a:lnTo>
                <a:lnTo>
                  <a:pt x="1450" y="3362"/>
                </a:lnTo>
                <a:lnTo>
                  <a:pt x="1449" y="3362"/>
                </a:lnTo>
                <a:lnTo>
                  <a:pt x="1447" y="3362"/>
                </a:lnTo>
                <a:lnTo>
                  <a:pt x="1446" y="3362"/>
                </a:lnTo>
                <a:lnTo>
                  <a:pt x="1444" y="3362"/>
                </a:lnTo>
                <a:lnTo>
                  <a:pt x="1443" y="3362"/>
                </a:lnTo>
                <a:lnTo>
                  <a:pt x="1442" y="3362"/>
                </a:lnTo>
                <a:lnTo>
                  <a:pt x="1440" y="3362"/>
                </a:lnTo>
                <a:lnTo>
                  <a:pt x="1440" y="3363"/>
                </a:lnTo>
                <a:lnTo>
                  <a:pt x="1439" y="3363"/>
                </a:lnTo>
                <a:lnTo>
                  <a:pt x="1438" y="3363"/>
                </a:lnTo>
                <a:lnTo>
                  <a:pt x="1438" y="3362"/>
                </a:lnTo>
                <a:lnTo>
                  <a:pt x="1436" y="3362"/>
                </a:lnTo>
                <a:lnTo>
                  <a:pt x="1436" y="3360"/>
                </a:lnTo>
                <a:lnTo>
                  <a:pt x="1435" y="3360"/>
                </a:lnTo>
                <a:lnTo>
                  <a:pt x="1435" y="3359"/>
                </a:lnTo>
                <a:lnTo>
                  <a:pt x="1433" y="3359"/>
                </a:lnTo>
                <a:lnTo>
                  <a:pt x="1432" y="3359"/>
                </a:lnTo>
                <a:lnTo>
                  <a:pt x="1430" y="3359"/>
                </a:lnTo>
                <a:lnTo>
                  <a:pt x="1430" y="3357"/>
                </a:lnTo>
                <a:lnTo>
                  <a:pt x="1430" y="3356"/>
                </a:lnTo>
                <a:lnTo>
                  <a:pt x="1429" y="3356"/>
                </a:lnTo>
                <a:lnTo>
                  <a:pt x="1428" y="3356"/>
                </a:lnTo>
                <a:lnTo>
                  <a:pt x="1428" y="3354"/>
                </a:lnTo>
                <a:lnTo>
                  <a:pt x="1426" y="3356"/>
                </a:lnTo>
                <a:lnTo>
                  <a:pt x="1425" y="3356"/>
                </a:lnTo>
                <a:lnTo>
                  <a:pt x="1425" y="3354"/>
                </a:lnTo>
                <a:lnTo>
                  <a:pt x="1426" y="3354"/>
                </a:lnTo>
                <a:lnTo>
                  <a:pt x="1425" y="3354"/>
                </a:lnTo>
                <a:lnTo>
                  <a:pt x="1425" y="3352"/>
                </a:lnTo>
                <a:lnTo>
                  <a:pt x="1424" y="3352"/>
                </a:lnTo>
                <a:lnTo>
                  <a:pt x="1422" y="3352"/>
                </a:lnTo>
                <a:lnTo>
                  <a:pt x="1421" y="3352"/>
                </a:lnTo>
                <a:lnTo>
                  <a:pt x="1419" y="3352"/>
                </a:lnTo>
                <a:lnTo>
                  <a:pt x="1418" y="3352"/>
                </a:lnTo>
                <a:lnTo>
                  <a:pt x="1417" y="3354"/>
                </a:lnTo>
                <a:lnTo>
                  <a:pt x="1415" y="3354"/>
                </a:lnTo>
                <a:lnTo>
                  <a:pt x="1414" y="3354"/>
                </a:lnTo>
                <a:lnTo>
                  <a:pt x="1412" y="3354"/>
                </a:lnTo>
                <a:lnTo>
                  <a:pt x="1396" y="3367"/>
                </a:lnTo>
                <a:lnTo>
                  <a:pt x="1365" y="3367"/>
                </a:lnTo>
                <a:lnTo>
                  <a:pt x="1351" y="3367"/>
                </a:lnTo>
                <a:lnTo>
                  <a:pt x="1325" y="3365"/>
                </a:lnTo>
                <a:lnTo>
                  <a:pt x="1207" y="3362"/>
                </a:lnTo>
                <a:lnTo>
                  <a:pt x="1207" y="3339"/>
                </a:lnTo>
                <a:lnTo>
                  <a:pt x="1157" y="3144"/>
                </a:lnTo>
                <a:lnTo>
                  <a:pt x="1158" y="3143"/>
                </a:lnTo>
                <a:lnTo>
                  <a:pt x="1259" y="2921"/>
                </a:lnTo>
                <a:lnTo>
                  <a:pt x="1223" y="2921"/>
                </a:lnTo>
                <a:lnTo>
                  <a:pt x="1223" y="2743"/>
                </a:lnTo>
                <a:lnTo>
                  <a:pt x="1222" y="2742"/>
                </a:lnTo>
                <a:lnTo>
                  <a:pt x="1219" y="2739"/>
                </a:lnTo>
                <a:lnTo>
                  <a:pt x="1141" y="2647"/>
                </a:lnTo>
                <a:lnTo>
                  <a:pt x="940" y="2410"/>
                </a:lnTo>
                <a:lnTo>
                  <a:pt x="912" y="2339"/>
                </a:lnTo>
                <a:lnTo>
                  <a:pt x="848" y="2268"/>
                </a:lnTo>
                <a:lnTo>
                  <a:pt x="833" y="2249"/>
                </a:lnTo>
                <a:lnTo>
                  <a:pt x="705" y="2107"/>
                </a:lnTo>
                <a:lnTo>
                  <a:pt x="652" y="2036"/>
                </a:lnTo>
                <a:lnTo>
                  <a:pt x="642" y="2023"/>
                </a:lnTo>
                <a:lnTo>
                  <a:pt x="598" y="1965"/>
                </a:lnTo>
                <a:lnTo>
                  <a:pt x="417" y="1791"/>
                </a:lnTo>
                <a:lnTo>
                  <a:pt x="414" y="1789"/>
                </a:lnTo>
                <a:lnTo>
                  <a:pt x="411" y="1789"/>
                </a:lnTo>
                <a:lnTo>
                  <a:pt x="204" y="1787"/>
                </a:lnTo>
                <a:lnTo>
                  <a:pt x="183" y="1729"/>
                </a:lnTo>
                <a:lnTo>
                  <a:pt x="143" y="1680"/>
                </a:lnTo>
                <a:lnTo>
                  <a:pt x="149" y="1642"/>
                </a:lnTo>
                <a:lnTo>
                  <a:pt x="154" y="1626"/>
                </a:lnTo>
                <a:lnTo>
                  <a:pt x="157" y="1589"/>
                </a:lnTo>
                <a:lnTo>
                  <a:pt x="155" y="1532"/>
                </a:lnTo>
                <a:lnTo>
                  <a:pt x="157" y="1514"/>
                </a:lnTo>
                <a:lnTo>
                  <a:pt x="161" y="1468"/>
                </a:lnTo>
                <a:lnTo>
                  <a:pt x="165" y="1452"/>
                </a:lnTo>
                <a:lnTo>
                  <a:pt x="161" y="1424"/>
                </a:lnTo>
                <a:lnTo>
                  <a:pt x="154" y="1399"/>
                </a:lnTo>
                <a:lnTo>
                  <a:pt x="146" y="1330"/>
                </a:lnTo>
                <a:lnTo>
                  <a:pt x="129" y="1291"/>
                </a:lnTo>
                <a:lnTo>
                  <a:pt x="125" y="1273"/>
                </a:lnTo>
                <a:lnTo>
                  <a:pt x="130" y="1245"/>
                </a:lnTo>
                <a:lnTo>
                  <a:pt x="136" y="1229"/>
                </a:lnTo>
                <a:lnTo>
                  <a:pt x="139" y="1198"/>
                </a:lnTo>
                <a:lnTo>
                  <a:pt x="129" y="1166"/>
                </a:lnTo>
                <a:lnTo>
                  <a:pt x="100" y="1107"/>
                </a:lnTo>
                <a:lnTo>
                  <a:pt x="100" y="1041"/>
                </a:lnTo>
                <a:lnTo>
                  <a:pt x="60" y="980"/>
                </a:lnTo>
                <a:lnTo>
                  <a:pt x="51" y="958"/>
                </a:lnTo>
                <a:lnTo>
                  <a:pt x="52" y="926"/>
                </a:lnTo>
                <a:lnTo>
                  <a:pt x="50" y="915"/>
                </a:lnTo>
                <a:lnTo>
                  <a:pt x="19" y="883"/>
                </a:lnTo>
                <a:lnTo>
                  <a:pt x="15" y="873"/>
                </a:lnTo>
                <a:lnTo>
                  <a:pt x="9" y="823"/>
                </a:lnTo>
                <a:lnTo>
                  <a:pt x="11" y="820"/>
                </a:lnTo>
                <a:lnTo>
                  <a:pt x="9" y="784"/>
                </a:lnTo>
                <a:lnTo>
                  <a:pt x="0" y="748"/>
                </a:lnTo>
                <a:lnTo>
                  <a:pt x="4" y="740"/>
                </a:lnTo>
                <a:lnTo>
                  <a:pt x="57" y="660"/>
                </a:lnTo>
                <a:lnTo>
                  <a:pt x="86" y="637"/>
                </a:lnTo>
                <a:lnTo>
                  <a:pt x="116" y="593"/>
                </a:lnTo>
                <a:lnTo>
                  <a:pt x="135" y="580"/>
                </a:lnTo>
                <a:lnTo>
                  <a:pt x="146" y="565"/>
                </a:lnTo>
                <a:lnTo>
                  <a:pt x="164" y="512"/>
                </a:lnTo>
                <a:lnTo>
                  <a:pt x="176" y="490"/>
                </a:lnTo>
                <a:lnTo>
                  <a:pt x="210" y="450"/>
                </a:lnTo>
                <a:lnTo>
                  <a:pt x="227" y="415"/>
                </a:lnTo>
                <a:lnTo>
                  <a:pt x="237" y="346"/>
                </a:lnTo>
                <a:lnTo>
                  <a:pt x="232" y="312"/>
                </a:lnTo>
                <a:lnTo>
                  <a:pt x="218" y="254"/>
                </a:lnTo>
                <a:lnTo>
                  <a:pt x="489" y="253"/>
                </a:lnTo>
                <a:lnTo>
                  <a:pt x="493" y="253"/>
                </a:lnTo>
                <a:lnTo>
                  <a:pt x="853" y="250"/>
                </a:lnTo>
                <a:lnTo>
                  <a:pt x="855" y="245"/>
                </a:lnTo>
                <a:lnTo>
                  <a:pt x="853" y="244"/>
                </a:lnTo>
                <a:lnTo>
                  <a:pt x="855" y="241"/>
                </a:lnTo>
                <a:lnTo>
                  <a:pt x="859" y="244"/>
                </a:lnTo>
                <a:lnTo>
                  <a:pt x="860" y="245"/>
                </a:lnTo>
                <a:lnTo>
                  <a:pt x="863" y="249"/>
                </a:lnTo>
                <a:lnTo>
                  <a:pt x="863" y="250"/>
                </a:lnTo>
                <a:lnTo>
                  <a:pt x="859" y="254"/>
                </a:lnTo>
                <a:lnTo>
                  <a:pt x="860" y="258"/>
                </a:lnTo>
                <a:lnTo>
                  <a:pt x="867" y="254"/>
                </a:lnTo>
                <a:lnTo>
                  <a:pt x="871" y="257"/>
                </a:lnTo>
                <a:lnTo>
                  <a:pt x="874" y="258"/>
                </a:lnTo>
                <a:lnTo>
                  <a:pt x="877" y="258"/>
                </a:lnTo>
                <a:lnTo>
                  <a:pt x="879" y="258"/>
                </a:lnTo>
                <a:lnTo>
                  <a:pt x="879" y="254"/>
                </a:lnTo>
                <a:lnTo>
                  <a:pt x="881" y="250"/>
                </a:lnTo>
                <a:lnTo>
                  <a:pt x="883" y="254"/>
                </a:lnTo>
                <a:lnTo>
                  <a:pt x="884" y="254"/>
                </a:lnTo>
                <a:lnTo>
                  <a:pt x="888" y="254"/>
                </a:lnTo>
                <a:lnTo>
                  <a:pt x="893" y="257"/>
                </a:lnTo>
                <a:lnTo>
                  <a:pt x="896" y="257"/>
                </a:lnTo>
                <a:lnTo>
                  <a:pt x="905" y="254"/>
                </a:lnTo>
                <a:lnTo>
                  <a:pt x="908" y="253"/>
                </a:lnTo>
                <a:lnTo>
                  <a:pt x="908" y="250"/>
                </a:lnTo>
                <a:lnTo>
                  <a:pt x="905" y="245"/>
                </a:lnTo>
                <a:lnTo>
                  <a:pt x="902" y="244"/>
                </a:lnTo>
                <a:lnTo>
                  <a:pt x="902" y="241"/>
                </a:lnTo>
                <a:lnTo>
                  <a:pt x="904" y="241"/>
                </a:lnTo>
                <a:lnTo>
                  <a:pt x="905" y="241"/>
                </a:lnTo>
                <a:lnTo>
                  <a:pt x="913" y="241"/>
                </a:lnTo>
                <a:lnTo>
                  <a:pt x="918" y="241"/>
                </a:lnTo>
                <a:lnTo>
                  <a:pt x="924" y="241"/>
                </a:lnTo>
                <a:lnTo>
                  <a:pt x="926" y="241"/>
                </a:lnTo>
                <a:lnTo>
                  <a:pt x="926" y="244"/>
                </a:lnTo>
                <a:lnTo>
                  <a:pt x="926" y="250"/>
                </a:lnTo>
                <a:lnTo>
                  <a:pt x="927" y="254"/>
                </a:lnTo>
                <a:lnTo>
                  <a:pt x="930" y="258"/>
                </a:lnTo>
                <a:lnTo>
                  <a:pt x="935" y="258"/>
                </a:lnTo>
                <a:lnTo>
                  <a:pt x="937" y="258"/>
                </a:lnTo>
                <a:lnTo>
                  <a:pt x="943" y="254"/>
                </a:lnTo>
                <a:lnTo>
                  <a:pt x="945" y="254"/>
                </a:lnTo>
                <a:lnTo>
                  <a:pt x="945" y="253"/>
                </a:lnTo>
                <a:lnTo>
                  <a:pt x="941" y="250"/>
                </a:lnTo>
                <a:lnTo>
                  <a:pt x="941" y="245"/>
                </a:lnTo>
                <a:lnTo>
                  <a:pt x="944" y="241"/>
                </a:lnTo>
                <a:lnTo>
                  <a:pt x="945" y="239"/>
                </a:lnTo>
                <a:lnTo>
                  <a:pt x="948" y="237"/>
                </a:lnTo>
                <a:lnTo>
                  <a:pt x="949" y="239"/>
                </a:lnTo>
                <a:lnTo>
                  <a:pt x="952" y="244"/>
                </a:lnTo>
                <a:lnTo>
                  <a:pt x="954" y="245"/>
                </a:lnTo>
                <a:lnTo>
                  <a:pt x="956" y="245"/>
                </a:lnTo>
                <a:lnTo>
                  <a:pt x="956" y="244"/>
                </a:lnTo>
                <a:lnTo>
                  <a:pt x="954" y="241"/>
                </a:lnTo>
                <a:lnTo>
                  <a:pt x="955" y="239"/>
                </a:lnTo>
                <a:lnTo>
                  <a:pt x="959" y="241"/>
                </a:lnTo>
                <a:lnTo>
                  <a:pt x="963" y="245"/>
                </a:lnTo>
                <a:lnTo>
                  <a:pt x="965" y="249"/>
                </a:lnTo>
                <a:lnTo>
                  <a:pt x="965" y="245"/>
                </a:lnTo>
                <a:lnTo>
                  <a:pt x="968" y="244"/>
                </a:lnTo>
                <a:lnTo>
                  <a:pt x="969" y="244"/>
                </a:lnTo>
                <a:lnTo>
                  <a:pt x="972" y="245"/>
                </a:lnTo>
                <a:lnTo>
                  <a:pt x="977" y="244"/>
                </a:lnTo>
                <a:lnTo>
                  <a:pt x="979" y="241"/>
                </a:lnTo>
                <a:lnTo>
                  <a:pt x="979" y="237"/>
                </a:lnTo>
                <a:lnTo>
                  <a:pt x="983" y="232"/>
                </a:lnTo>
                <a:lnTo>
                  <a:pt x="984" y="232"/>
                </a:lnTo>
                <a:lnTo>
                  <a:pt x="987" y="232"/>
                </a:lnTo>
                <a:lnTo>
                  <a:pt x="990" y="237"/>
                </a:lnTo>
                <a:lnTo>
                  <a:pt x="994" y="237"/>
                </a:lnTo>
                <a:lnTo>
                  <a:pt x="1001" y="241"/>
                </a:lnTo>
                <a:lnTo>
                  <a:pt x="1004" y="241"/>
                </a:lnTo>
                <a:lnTo>
                  <a:pt x="1013" y="237"/>
                </a:lnTo>
                <a:lnTo>
                  <a:pt x="1024" y="237"/>
                </a:lnTo>
                <a:lnTo>
                  <a:pt x="1030" y="236"/>
                </a:lnTo>
                <a:lnTo>
                  <a:pt x="1033" y="236"/>
                </a:lnTo>
                <a:lnTo>
                  <a:pt x="1038" y="241"/>
                </a:lnTo>
                <a:lnTo>
                  <a:pt x="1041" y="241"/>
                </a:lnTo>
                <a:lnTo>
                  <a:pt x="1043" y="239"/>
                </a:lnTo>
                <a:lnTo>
                  <a:pt x="1044" y="232"/>
                </a:lnTo>
                <a:lnTo>
                  <a:pt x="1051" y="228"/>
                </a:lnTo>
                <a:lnTo>
                  <a:pt x="1059" y="221"/>
                </a:lnTo>
                <a:lnTo>
                  <a:pt x="1063" y="219"/>
                </a:lnTo>
                <a:lnTo>
                  <a:pt x="1069" y="219"/>
                </a:lnTo>
                <a:lnTo>
                  <a:pt x="1077" y="213"/>
                </a:lnTo>
                <a:lnTo>
                  <a:pt x="1083" y="205"/>
                </a:lnTo>
                <a:lnTo>
                  <a:pt x="1082" y="200"/>
                </a:lnTo>
                <a:lnTo>
                  <a:pt x="1083" y="196"/>
                </a:lnTo>
                <a:lnTo>
                  <a:pt x="1090" y="196"/>
                </a:lnTo>
                <a:lnTo>
                  <a:pt x="1094" y="196"/>
                </a:lnTo>
                <a:lnTo>
                  <a:pt x="1095" y="195"/>
                </a:lnTo>
                <a:lnTo>
                  <a:pt x="1094" y="192"/>
                </a:lnTo>
                <a:lnTo>
                  <a:pt x="1088" y="191"/>
                </a:lnTo>
                <a:lnTo>
                  <a:pt x="1087" y="187"/>
                </a:lnTo>
                <a:lnTo>
                  <a:pt x="1090" y="186"/>
                </a:lnTo>
                <a:lnTo>
                  <a:pt x="1095" y="183"/>
                </a:lnTo>
                <a:lnTo>
                  <a:pt x="1097" y="183"/>
                </a:lnTo>
                <a:lnTo>
                  <a:pt x="1093" y="174"/>
                </a:lnTo>
                <a:lnTo>
                  <a:pt x="1101" y="172"/>
                </a:lnTo>
                <a:lnTo>
                  <a:pt x="1111" y="174"/>
                </a:lnTo>
                <a:lnTo>
                  <a:pt x="1112" y="174"/>
                </a:lnTo>
                <a:lnTo>
                  <a:pt x="1113" y="164"/>
                </a:lnTo>
                <a:lnTo>
                  <a:pt x="1122" y="172"/>
                </a:lnTo>
                <a:lnTo>
                  <a:pt x="1123" y="172"/>
                </a:lnTo>
                <a:lnTo>
                  <a:pt x="1126" y="170"/>
                </a:lnTo>
                <a:lnTo>
                  <a:pt x="1132" y="169"/>
                </a:lnTo>
                <a:lnTo>
                  <a:pt x="1137" y="169"/>
                </a:lnTo>
                <a:lnTo>
                  <a:pt x="1139" y="170"/>
                </a:lnTo>
                <a:lnTo>
                  <a:pt x="1140" y="169"/>
                </a:lnTo>
                <a:lnTo>
                  <a:pt x="1139" y="164"/>
                </a:lnTo>
                <a:lnTo>
                  <a:pt x="1137" y="160"/>
                </a:lnTo>
                <a:lnTo>
                  <a:pt x="1139" y="160"/>
                </a:lnTo>
                <a:lnTo>
                  <a:pt x="1143" y="160"/>
                </a:lnTo>
                <a:lnTo>
                  <a:pt x="1143" y="169"/>
                </a:lnTo>
                <a:lnTo>
                  <a:pt x="1144" y="169"/>
                </a:lnTo>
                <a:lnTo>
                  <a:pt x="1145" y="163"/>
                </a:lnTo>
                <a:lnTo>
                  <a:pt x="1150" y="160"/>
                </a:lnTo>
                <a:lnTo>
                  <a:pt x="1151" y="159"/>
                </a:lnTo>
                <a:lnTo>
                  <a:pt x="1152" y="157"/>
                </a:lnTo>
                <a:lnTo>
                  <a:pt x="1152" y="151"/>
                </a:lnTo>
                <a:lnTo>
                  <a:pt x="1154" y="151"/>
                </a:lnTo>
                <a:lnTo>
                  <a:pt x="1155" y="151"/>
                </a:lnTo>
                <a:lnTo>
                  <a:pt x="1158" y="151"/>
                </a:lnTo>
                <a:lnTo>
                  <a:pt x="1159" y="151"/>
                </a:lnTo>
                <a:lnTo>
                  <a:pt x="1158" y="146"/>
                </a:lnTo>
                <a:lnTo>
                  <a:pt x="1159" y="143"/>
                </a:lnTo>
                <a:lnTo>
                  <a:pt x="1162" y="146"/>
                </a:lnTo>
                <a:lnTo>
                  <a:pt x="1166" y="143"/>
                </a:lnTo>
                <a:lnTo>
                  <a:pt x="1168" y="143"/>
                </a:lnTo>
                <a:lnTo>
                  <a:pt x="1166" y="138"/>
                </a:lnTo>
                <a:lnTo>
                  <a:pt x="1169" y="137"/>
                </a:lnTo>
                <a:lnTo>
                  <a:pt x="1172" y="137"/>
                </a:lnTo>
                <a:lnTo>
                  <a:pt x="1176" y="134"/>
                </a:lnTo>
                <a:lnTo>
                  <a:pt x="1175" y="134"/>
                </a:lnTo>
                <a:lnTo>
                  <a:pt x="1172" y="133"/>
                </a:lnTo>
                <a:lnTo>
                  <a:pt x="1172" y="129"/>
                </a:lnTo>
                <a:lnTo>
                  <a:pt x="1173" y="125"/>
                </a:lnTo>
                <a:lnTo>
                  <a:pt x="1183" y="125"/>
                </a:lnTo>
                <a:lnTo>
                  <a:pt x="1184" y="125"/>
                </a:lnTo>
                <a:lnTo>
                  <a:pt x="1184" y="124"/>
                </a:lnTo>
                <a:lnTo>
                  <a:pt x="1186" y="121"/>
                </a:lnTo>
                <a:lnTo>
                  <a:pt x="1192" y="121"/>
                </a:lnTo>
                <a:lnTo>
                  <a:pt x="1200" y="121"/>
                </a:lnTo>
                <a:lnTo>
                  <a:pt x="1204" y="124"/>
                </a:lnTo>
                <a:lnTo>
                  <a:pt x="1207" y="125"/>
                </a:lnTo>
                <a:lnTo>
                  <a:pt x="1205" y="129"/>
                </a:lnTo>
                <a:lnTo>
                  <a:pt x="1205" y="133"/>
                </a:lnTo>
                <a:lnTo>
                  <a:pt x="1214" y="137"/>
                </a:lnTo>
                <a:lnTo>
                  <a:pt x="1223" y="137"/>
                </a:lnTo>
                <a:lnTo>
                  <a:pt x="1230" y="133"/>
                </a:lnTo>
                <a:lnTo>
                  <a:pt x="1232" y="133"/>
                </a:lnTo>
                <a:lnTo>
                  <a:pt x="1236" y="137"/>
                </a:lnTo>
                <a:lnTo>
                  <a:pt x="1248" y="138"/>
                </a:lnTo>
                <a:lnTo>
                  <a:pt x="1253" y="143"/>
                </a:lnTo>
                <a:lnTo>
                  <a:pt x="1257" y="139"/>
                </a:lnTo>
                <a:lnTo>
                  <a:pt x="1262" y="138"/>
                </a:lnTo>
                <a:lnTo>
                  <a:pt x="1268" y="143"/>
                </a:lnTo>
                <a:lnTo>
                  <a:pt x="1272" y="138"/>
                </a:lnTo>
                <a:lnTo>
                  <a:pt x="1272" y="137"/>
                </a:lnTo>
                <a:lnTo>
                  <a:pt x="1278" y="133"/>
                </a:lnTo>
                <a:lnTo>
                  <a:pt x="1280" y="134"/>
                </a:lnTo>
                <a:lnTo>
                  <a:pt x="1283" y="138"/>
                </a:lnTo>
                <a:lnTo>
                  <a:pt x="1286" y="151"/>
                </a:lnTo>
                <a:lnTo>
                  <a:pt x="1289" y="155"/>
                </a:lnTo>
                <a:lnTo>
                  <a:pt x="1289" y="160"/>
                </a:lnTo>
                <a:lnTo>
                  <a:pt x="1292" y="163"/>
                </a:lnTo>
                <a:lnTo>
                  <a:pt x="1294" y="169"/>
                </a:lnTo>
                <a:lnTo>
                  <a:pt x="1298" y="164"/>
                </a:lnTo>
                <a:lnTo>
                  <a:pt x="1298" y="160"/>
                </a:lnTo>
                <a:lnTo>
                  <a:pt x="1297" y="160"/>
                </a:lnTo>
                <a:lnTo>
                  <a:pt x="1297" y="157"/>
                </a:lnTo>
                <a:lnTo>
                  <a:pt x="1298" y="157"/>
                </a:lnTo>
                <a:lnTo>
                  <a:pt x="1303" y="160"/>
                </a:lnTo>
                <a:lnTo>
                  <a:pt x="1304" y="160"/>
                </a:lnTo>
                <a:lnTo>
                  <a:pt x="1307" y="160"/>
                </a:lnTo>
                <a:lnTo>
                  <a:pt x="1311" y="160"/>
                </a:lnTo>
                <a:lnTo>
                  <a:pt x="1312" y="160"/>
                </a:lnTo>
                <a:lnTo>
                  <a:pt x="1314" y="162"/>
                </a:lnTo>
                <a:lnTo>
                  <a:pt x="1314" y="164"/>
                </a:lnTo>
                <a:lnTo>
                  <a:pt x="1312" y="164"/>
                </a:lnTo>
                <a:lnTo>
                  <a:pt x="1315" y="170"/>
                </a:lnTo>
                <a:lnTo>
                  <a:pt x="1315" y="172"/>
                </a:lnTo>
                <a:lnTo>
                  <a:pt x="1312" y="177"/>
                </a:lnTo>
                <a:lnTo>
                  <a:pt x="1312" y="179"/>
                </a:lnTo>
                <a:lnTo>
                  <a:pt x="1326" y="179"/>
                </a:lnTo>
                <a:lnTo>
                  <a:pt x="1330" y="183"/>
                </a:lnTo>
                <a:lnTo>
                  <a:pt x="1340" y="183"/>
                </a:lnTo>
                <a:lnTo>
                  <a:pt x="1351" y="186"/>
                </a:lnTo>
                <a:lnTo>
                  <a:pt x="1357" y="187"/>
                </a:lnTo>
                <a:lnTo>
                  <a:pt x="1358" y="192"/>
                </a:lnTo>
                <a:lnTo>
                  <a:pt x="1359" y="196"/>
                </a:lnTo>
                <a:lnTo>
                  <a:pt x="1365" y="200"/>
                </a:lnTo>
                <a:lnTo>
                  <a:pt x="1371" y="214"/>
                </a:lnTo>
                <a:lnTo>
                  <a:pt x="1373" y="214"/>
                </a:lnTo>
                <a:lnTo>
                  <a:pt x="1375" y="222"/>
                </a:lnTo>
                <a:lnTo>
                  <a:pt x="1378" y="222"/>
                </a:lnTo>
                <a:lnTo>
                  <a:pt x="1384" y="226"/>
                </a:lnTo>
                <a:lnTo>
                  <a:pt x="1390" y="222"/>
                </a:lnTo>
                <a:lnTo>
                  <a:pt x="1397" y="219"/>
                </a:lnTo>
                <a:lnTo>
                  <a:pt x="1405" y="219"/>
                </a:lnTo>
                <a:lnTo>
                  <a:pt x="1408" y="214"/>
                </a:lnTo>
                <a:lnTo>
                  <a:pt x="1411" y="214"/>
                </a:lnTo>
                <a:lnTo>
                  <a:pt x="1414" y="213"/>
                </a:lnTo>
                <a:lnTo>
                  <a:pt x="1414" y="205"/>
                </a:lnTo>
                <a:lnTo>
                  <a:pt x="1417" y="204"/>
                </a:lnTo>
                <a:lnTo>
                  <a:pt x="1421" y="200"/>
                </a:lnTo>
                <a:lnTo>
                  <a:pt x="1425" y="205"/>
                </a:lnTo>
                <a:lnTo>
                  <a:pt x="1426" y="209"/>
                </a:lnTo>
                <a:lnTo>
                  <a:pt x="1428" y="217"/>
                </a:lnTo>
                <a:lnTo>
                  <a:pt x="1428" y="221"/>
                </a:lnTo>
                <a:lnTo>
                  <a:pt x="1425" y="222"/>
                </a:lnTo>
                <a:lnTo>
                  <a:pt x="1426" y="230"/>
                </a:lnTo>
                <a:lnTo>
                  <a:pt x="1432" y="237"/>
                </a:lnTo>
                <a:lnTo>
                  <a:pt x="1436" y="241"/>
                </a:lnTo>
                <a:lnTo>
                  <a:pt x="1443" y="245"/>
                </a:lnTo>
                <a:lnTo>
                  <a:pt x="1452" y="250"/>
                </a:lnTo>
                <a:lnTo>
                  <a:pt x="1454" y="250"/>
                </a:lnTo>
                <a:lnTo>
                  <a:pt x="1457" y="250"/>
                </a:lnTo>
                <a:lnTo>
                  <a:pt x="1463" y="244"/>
                </a:lnTo>
                <a:lnTo>
                  <a:pt x="1468" y="230"/>
                </a:lnTo>
                <a:lnTo>
                  <a:pt x="1471" y="228"/>
                </a:lnTo>
                <a:lnTo>
                  <a:pt x="1472" y="230"/>
                </a:lnTo>
                <a:lnTo>
                  <a:pt x="1474" y="232"/>
                </a:lnTo>
                <a:lnTo>
                  <a:pt x="1474" y="236"/>
                </a:lnTo>
                <a:lnTo>
                  <a:pt x="1474" y="241"/>
                </a:lnTo>
                <a:lnTo>
                  <a:pt x="1472" y="244"/>
                </a:lnTo>
                <a:lnTo>
                  <a:pt x="1468" y="244"/>
                </a:lnTo>
                <a:lnTo>
                  <a:pt x="1467" y="245"/>
                </a:lnTo>
                <a:lnTo>
                  <a:pt x="1472" y="249"/>
                </a:lnTo>
                <a:lnTo>
                  <a:pt x="1475" y="253"/>
                </a:lnTo>
                <a:lnTo>
                  <a:pt x="1479" y="253"/>
                </a:lnTo>
                <a:lnTo>
                  <a:pt x="1482" y="254"/>
                </a:lnTo>
                <a:lnTo>
                  <a:pt x="1483" y="254"/>
                </a:lnTo>
                <a:lnTo>
                  <a:pt x="1485" y="258"/>
                </a:lnTo>
                <a:lnTo>
                  <a:pt x="1483" y="263"/>
                </a:lnTo>
                <a:lnTo>
                  <a:pt x="1479" y="266"/>
                </a:lnTo>
                <a:lnTo>
                  <a:pt x="1479" y="267"/>
                </a:lnTo>
                <a:lnTo>
                  <a:pt x="1475" y="273"/>
                </a:lnTo>
                <a:lnTo>
                  <a:pt x="1475" y="279"/>
                </a:lnTo>
                <a:lnTo>
                  <a:pt x="1477" y="286"/>
                </a:lnTo>
                <a:lnTo>
                  <a:pt x="1471" y="299"/>
                </a:lnTo>
                <a:lnTo>
                  <a:pt x="1472" y="316"/>
                </a:lnTo>
                <a:lnTo>
                  <a:pt x="1471" y="320"/>
                </a:lnTo>
                <a:lnTo>
                  <a:pt x="1468" y="320"/>
                </a:lnTo>
                <a:lnTo>
                  <a:pt x="1468" y="321"/>
                </a:lnTo>
                <a:lnTo>
                  <a:pt x="1471" y="321"/>
                </a:lnTo>
                <a:lnTo>
                  <a:pt x="1472" y="324"/>
                </a:lnTo>
                <a:lnTo>
                  <a:pt x="1474" y="325"/>
                </a:lnTo>
                <a:lnTo>
                  <a:pt x="1477" y="334"/>
                </a:lnTo>
                <a:lnTo>
                  <a:pt x="1482" y="343"/>
                </a:lnTo>
                <a:lnTo>
                  <a:pt x="1485" y="344"/>
                </a:lnTo>
                <a:lnTo>
                  <a:pt x="1486" y="346"/>
                </a:lnTo>
                <a:lnTo>
                  <a:pt x="1489" y="351"/>
                </a:lnTo>
                <a:lnTo>
                  <a:pt x="1493" y="351"/>
                </a:lnTo>
                <a:lnTo>
                  <a:pt x="1494" y="357"/>
                </a:lnTo>
                <a:lnTo>
                  <a:pt x="1497" y="360"/>
                </a:lnTo>
                <a:lnTo>
                  <a:pt x="1502" y="361"/>
                </a:lnTo>
                <a:lnTo>
                  <a:pt x="1503" y="360"/>
                </a:lnTo>
                <a:lnTo>
                  <a:pt x="1510" y="357"/>
                </a:lnTo>
                <a:lnTo>
                  <a:pt x="1515" y="350"/>
                </a:lnTo>
                <a:lnTo>
                  <a:pt x="1518" y="350"/>
                </a:lnTo>
                <a:lnTo>
                  <a:pt x="1524" y="351"/>
                </a:lnTo>
                <a:lnTo>
                  <a:pt x="1528" y="350"/>
                </a:lnTo>
                <a:lnTo>
                  <a:pt x="1532" y="346"/>
                </a:lnTo>
                <a:lnTo>
                  <a:pt x="1542" y="346"/>
                </a:lnTo>
                <a:lnTo>
                  <a:pt x="1544" y="346"/>
                </a:lnTo>
                <a:lnTo>
                  <a:pt x="1546" y="346"/>
                </a:lnTo>
                <a:lnTo>
                  <a:pt x="1547" y="346"/>
                </a:lnTo>
                <a:lnTo>
                  <a:pt x="1549" y="351"/>
                </a:lnTo>
                <a:lnTo>
                  <a:pt x="1550" y="361"/>
                </a:lnTo>
                <a:lnTo>
                  <a:pt x="1553" y="366"/>
                </a:lnTo>
                <a:lnTo>
                  <a:pt x="1556" y="369"/>
                </a:lnTo>
                <a:lnTo>
                  <a:pt x="1549" y="370"/>
                </a:lnTo>
                <a:lnTo>
                  <a:pt x="1546" y="370"/>
                </a:lnTo>
                <a:lnTo>
                  <a:pt x="1544" y="373"/>
                </a:lnTo>
                <a:lnTo>
                  <a:pt x="1549" y="370"/>
                </a:lnTo>
                <a:lnTo>
                  <a:pt x="1554" y="370"/>
                </a:lnTo>
                <a:lnTo>
                  <a:pt x="1563" y="369"/>
                </a:lnTo>
                <a:lnTo>
                  <a:pt x="1572" y="370"/>
                </a:lnTo>
                <a:lnTo>
                  <a:pt x="1582" y="366"/>
                </a:lnTo>
                <a:lnTo>
                  <a:pt x="1583" y="365"/>
                </a:lnTo>
                <a:lnTo>
                  <a:pt x="1586" y="361"/>
                </a:lnTo>
                <a:lnTo>
                  <a:pt x="1588" y="360"/>
                </a:lnTo>
                <a:lnTo>
                  <a:pt x="1590" y="360"/>
                </a:lnTo>
                <a:lnTo>
                  <a:pt x="1599" y="361"/>
                </a:lnTo>
                <a:lnTo>
                  <a:pt x="1604" y="366"/>
                </a:lnTo>
                <a:lnTo>
                  <a:pt x="1617" y="360"/>
                </a:lnTo>
                <a:lnTo>
                  <a:pt x="1625" y="344"/>
                </a:lnTo>
                <a:lnTo>
                  <a:pt x="1629" y="343"/>
                </a:lnTo>
                <a:lnTo>
                  <a:pt x="1631" y="337"/>
                </a:lnTo>
                <a:lnTo>
                  <a:pt x="1633" y="334"/>
                </a:lnTo>
                <a:lnTo>
                  <a:pt x="1638" y="334"/>
                </a:lnTo>
                <a:lnTo>
                  <a:pt x="1641" y="338"/>
                </a:lnTo>
                <a:lnTo>
                  <a:pt x="1647" y="344"/>
                </a:lnTo>
                <a:lnTo>
                  <a:pt x="1657" y="338"/>
                </a:lnTo>
                <a:lnTo>
                  <a:pt x="1664" y="337"/>
                </a:lnTo>
                <a:lnTo>
                  <a:pt x="1666" y="337"/>
                </a:lnTo>
                <a:lnTo>
                  <a:pt x="1668" y="338"/>
                </a:lnTo>
                <a:lnTo>
                  <a:pt x="1675" y="338"/>
                </a:lnTo>
                <a:lnTo>
                  <a:pt x="1682" y="338"/>
                </a:lnTo>
                <a:lnTo>
                  <a:pt x="1700" y="337"/>
                </a:lnTo>
                <a:lnTo>
                  <a:pt x="1704" y="338"/>
                </a:lnTo>
                <a:lnTo>
                  <a:pt x="1712" y="337"/>
                </a:lnTo>
                <a:lnTo>
                  <a:pt x="1716" y="338"/>
                </a:lnTo>
                <a:lnTo>
                  <a:pt x="1725" y="338"/>
                </a:lnTo>
                <a:lnTo>
                  <a:pt x="1729" y="344"/>
                </a:lnTo>
                <a:lnTo>
                  <a:pt x="1737" y="346"/>
                </a:lnTo>
                <a:lnTo>
                  <a:pt x="1737" y="350"/>
                </a:lnTo>
                <a:lnTo>
                  <a:pt x="1739" y="351"/>
                </a:lnTo>
                <a:lnTo>
                  <a:pt x="1738" y="351"/>
                </a:lnTo>
                <a:lnTo>
                  <a:pt x="1734" y="361"/>
                </a:lnTo>
                <a:lnTo>
                  <a:pt x="1735" y="365"/>
                </a:lnTo>
                <a:lnTo>
                  <a:pt x="1735" y="369"/>
                </a:lnTo>
                <a:lnTo>
                  <a:pt x="1734" y="370"/>
                </a:lnTo>
                <a:lnTo>
                  <a:pt x="1729" y="374"/>
                </a:lnTo>
                <a:lnTo>
                  <a:pt x="1729" y="382"/>
                </a:lnTo>
                <a:lnTo>
                  <a:pt x="1729" y="383"/>
                </a:lnTo>
                <a:lnTo>
                  <a:pt x="1728" y="387"/>
                </a:lnTo>
                <a:lnTo>
                  <a:pt x="1729" y="387"/>
                </a:lnTo>
                <a:lnTo>
                  <a:pt x="1731" y="391"/>
                </a:lnTo>
                <a:lnTo>
                  <a:pt x="1731" y="396"/>
                </a:lnTo>
                <a:lnTo>
                  <a:pt x="1734" y="396"/>
                </a:lnTo>
                <a:lnTo>
                  <a:pt x="1737" y="400"/>
                </a:lnTo>
                <a:lnTo>
                  <a:pt x="1739" y="402"/>
                </a:lnTo>
                <a:lnTo>
                  <a:pt x="1743" y="402"/>
                </a:lnTo>
                <a:lnTo>
                  <a:pt x="1746" y="400"/>
                </a:lnTo>
                <a:lnTo>
                  <a:pt x="1756" y="387"/>
                </a:lnTo>
                <a:lnTo>
                  <a:pt x="1756" y="386"/>
                </a:lnTo>
                <a:lnTo>
                  <a:pt x="1759" y="383"/>
                </a:lnTo>
                <a:lnTo>
                  <a:pt x="1773" y="374"/>
                </a:lnTo>
                <a:lnTo>
                  <a:pt x="1777" y="366"/>
                </a:lnTo>
                <a:lnTo>
                  <a:pt x="1781" y="357"/>
                </a:lnTo>
                <a:lnTo>
                  <a:pt x="1784" y="351"/>
                </a:lnTo>
                <a:lnTo>
                  <a:pt x="1785" y="351"/>
                </a:lnTo>
                <a:lnTo>
                  <a:pt x="1791" y="351"/>
                </a:lnTo>
                <a:lnTo>
                  <a:pt x="1799" y="351"/>
                </a:lnTo>
                <a:lnTo>
                  <a:pt x="1802" y="360"/>
                </a:lnTo>
                <a:lnTo>
                  <a:pt x="1803" y="361"/>
                </a:lnTo>
                <a:lnTo>
                  <a:pt x="1807" y="361"/>
                </a:lnTo>
                <a:lnTo>
                  <a:pt x="1812" y="366"/>
                </a:lnTo>
                <a:lnTo>
                  <a:pt x="1813" y="370"/>
                </a:lnTo>
                <a:lnTo>
                  <a:pt x="1814" y="370"/>
                </a:lnTo>
                <a:lnTo>
                  <a:pt x="1816" y="370"/>
                </a:lnTo>
                <a:lnTo>
                  <a:pt x="1818" y="374"/>
                </a:lnTo>
                <a:lnTo>
                  <a:pt x="1829" y="379"/>
                </a:lnTo>
                <a:lnTo>
                  <a:pt x="1837" y="378"/>
                </a:lnTo>
                <a:lnTo>
                  <a:pt x="1846" y="373"/>
                </a:lnTo>
                <a:lnTo>
                  <a:pt x="1856" y="370"/>
                </a:lnTo>
                <a:lnTo>
                  <a:pt x="1859" y="366"/>
                </a:lnTo>
                <a:lnTo>
                  <a:pt x="1867" y="361"/>
                </a:lnTo>
                <a:lnTo>
                  <a:pt x="1878" y="356"/>
                </a:lnTo>
                <a:lnTo>
                  <a:pt x="1885" y="351"/>
                </a:lnTo>
                <a:lnTo>
                  <a:pt x="1895" y="337"/>
                </a:lnTo>
                <a:lnTo>
                  <a:pt x="1899" y="333"/>
                </a:lnTo>
                <a:lnTo>
                  <a:pt x="1907" y="329"/>
                </a:lnTo>
                <a:lnTo>
                  <a:pt x="1917" y="324"/>
                </a:lnTo>
                <a:lnTo>
                  <a:pt x="1927" y="320"/>
                </a:lnTo>
                <a:lnTo>
                  <a:pt x="1932" y="315"/>
                </a:lnTo>
                <a:lnTo>
                  <a:pt x="1935" y="312"/>
                </a:lnTo>
                <a:lnTo>
                  <a:pt x="1938" y="312"/>
                </a:lnTo>
                <a:lnTo>
                  <a:pt x="1942" y="311"/>
                </a:lnTo>
                <a:lnTo>
                  <a:pt x="1944" y="308"/>
                </a:lnTo>
                <a:lnTo>
                  <a:pt x="1951" y="298"/>
                </a:lnTo>
                <a:lnTo>
                  <a:pt x="1952" y="289"/>
                </a:lnTo>
                <a:lnTo>
                  <a:pt x="1953" y="289"/>
                </a:lnTo>
                <a:lnTo>
                  <a:pt x="1956" y="289"/>
                </a:lnTo>
                <a:lnTo>
                  <a:pt x="1964" y="276"/>
                </a:lnTo>
                <a:lnTo>
                  <a:pt x="1966" y="267"/>
                </a:lnTo>
                <a:lnTo>
                  <a:pt x="1969" y="257"/>
                </a:lnTo>
                <a:lnTo>
                  <a:pt x="1971" y="250"/>
                </a:lnTo>
                <a:lnTo>
                  <a:pt x="1969" y="245"/>
                </a:lnTo>
                <a:lnTo>
                  <a:pt x="1971" y="244"/>
                </a:lnTo>
                <a:lnTo>
                  <a:pt x="1973" y="236"/>
                </a:lnTo>
                <a:lnTo>
                  <a:pt x="1978" y="232"/>
                </a:lnTo>
                <a:lnTo>
                  <a:pt x="1980" y="232"/>
                </a:lnTo>
                <a:lnTo>
                  <a:pt x="1981" y="236"/>
                </a:lnTo>
                <a:lnTo>
                  <a:pt x="1985" y="237"/>
                </a:lnTo>
                <a:lnTo>
                  <a:pt x="1987" y="237"/>
                </a:lnTo>
                <a:lnTo>
                  <a:pt x="1985" y="241"/>
                </a:lnTo>
                <a:lnTo>
                  <a:pt x="1988" y="250"/>
                </a:lnTo>
                <a:lnTo>
                  <a:pt x="1991" y="250"/>
                </a:lnTo>
                <a:lnTo>
                  <a:pt x="1994" y="257"/>
                </a:lnTo>
                <a:lnTo>
                  <a:pt x="1998" y="258"/>
                </a:lnTo>
                <a:lnTo>
                  <a:pt x="2002" y="258"/>
                </a:lnTo>
                <a:lnTo>
                  <a:pt x="2006" y="258"/>
                </a:lnTo>
                <a:lnTo>
                  <a:pt x="2013" y="263"/>
                </a:lnTo>
                <a:lnTo>
                  <a:pt x="2017" y="262"/>
                </a:lnTo>
                <a:lnTo>
                  <a:pt x="2019" y="263"/>
                </a:lnTo>
                <a:lnTo>
                  <a:pt x="2022" y="267"/>
                </a:lnTo>
                <a:lnTo>
                  <a:pt x="2023" y="267"/>
                </a:lnTo>
                <a:lnTo>
                  <a:pt x="2026" y="266"/>
                </a:lnTo>
                <a:lnTo>
                  <a:pt x="2027" y="266"/>
                </a:lnTo>
                <a:lnTo>
                  <a:pt x="2030" y="267"/>
                </a:lnTo>
                <a:lnTo>
                  <a:pt x="2033" y="267"/>
                </a:lnTo>
                <a:lnTo>
                  <a:pt x="2034" y="267"/>
                </a:lnTo>
                <a:lnTo>
                  <a:pt x="2036" y="263"/>
                </a:lnTo>
                <a:lnTo>
                  <a:pt x="2045" y="266"/>
                </a:lnTo>
                <a:lnTo>
                  <a:pt x="2047" y="267"/>
                </a:lnTo>
                <a:lnTo>
                  <a:pt x="2048" y="273"/>
                </a:lnTo>
                <a:lnTo>
                  <a:pt x="2051" y="273"/>
                </a:lnTo>
                <a:lnTo>
                  <a:pt x="2056" y="276"/>
                </a:lnTo>
                <a:lnTo>
                  <a:pt x="2058" y="276"/>
                </a:lnTo>
                <a:lnTo>
                  <a:pt x="2064" y="276"/>
                </a:lnTo>
                <a:lnTo>
                  <a:pt x="2067" y="276"/>
                </a:lnTo>
                <a:lnTo>
                  <a:pt x="2069" y="276"/>
                </a:lnTo>
                <a:lnTo>
                  <a:pt x="2074" y="271"/>
                </a:lnTo>
                <a:lnTo>
                  <a:pt x="2078" y="267"/>
                </a:lnTo>
                <a:lnTo>
                  <a:pt x="2084" y="267"/>
                </a:lnTo>
                <a:lnTo>
                  <a:pt x="2087" y="271"/>
                </a:lnTo>
                <a:lnTo>
                  <a:pt x="2088" y="271"/>
                </a:lnTo>
                <a:lnTo>
                  <a:pt x="2095" y="267"/>
                </a:lnTo>
                <a:lnTo>
                  <a:pt x="2101" y="267"/>
                </a:lnTo>
                <a:lnTo>
                  <a:pt x="2103" y="263"/>
                </a:lnTo>
                <a:lnTo>
                  <a:pt x="2112" y="258"/>
                </a:lnTo>
                <a:lnTo>
                  <a:pt x="2117" y="257"/>
                </a:lnTo>
                <a:lnTo>
                  <a:pt x="2119" y="257"/>
                </a:lnTo>
                <a:lnTo>
                  <a:pt x="2119" y="258"/>
                </a:lnTo>
                <a:lnTo>
                  <a:pt x="2123" y="258"/>
                </a:lnTo>
                <a:lnTo>
                  <a:pt x="2124" y="262"/>
                </a:lnTo>
                <a:lnTo>
                  <a:pt x="2126" y="262"/>
                </a:lnTo>
                <a:lnTo>
                  <a:pt x="2134" y="263"/>
                </a:lnTo>
                <a:lnTo>
                  <a:pt x="2145" y="258"/>
                </a:lnTo>
                <a:lnTo>
                  <a:pt x="2148" y="263"/>
                </a:lnTo>
                <a:lnTo>
                  <a:pt x="2151" y="263"/>
                </a:lnTo>
                <a:lnTo>
                  <a:pt x="2155" y="266"/>
                </a:lnTo>
                <a:lnTo>
                  <a:pt x="2158" y="266"/>
                </a:lnTo>
                <a:lnTo>
                  <a:pt x="2161" y="267"/>
                </a:lnTo>
                <a:lnTo>
                  <a:pt x="2167" y="267"/>
                </a:lnTo>
                <a:lnTo>
                  <a:pt x="2177" y="276"/>
                </a:lnTo>
                <a:lnTo>
                  <a:pt x="2180" y="281"/>
                </a:lnTo>
                <a:lnTo>
                  <a:pt x="2181" y="281"/>
                </a:lnTo>
                <a:lnTo>
                  <a:pt x="2181" y="284"/>
                </a:lnTo>
                <a:lnTo>
                  <a:pt x="2183" y="286"/>
                </a:lnTo>
                <a:lnTo>
                  <a:pt x="2197" y="294"/>
                </a:lnTo>
                <a:lnTo>
                  <a:pt x="2201" y="294"/>
                </a:lnTo>
                <a:lnTo>
                  <a:pt x="2203" y="298"/>
                </a:lnTo>
                <a:lnTo>
                  <a:pt x="2205" y="298"/>
                </a:lnTo>
                <a:lnTo>
                  <a:pt x="2209" y="294"/>
                </a:lnTo>
                <a:lnTo>
                  <a:pt x="2215" y="294"/>
                </a:lnTo>
                <a:lnTo>
                  <a:pt x="2220" y="294"/>
                </a:lnTo>
                <a:lnTo>
                  <a:pt x="2227" y="294"/>
                </a:lnTo>
                <a:lnTo>
                  <a:pt x="2230" y="298"/>
                </a:lnTo>
                <a:lnTo>
                  <a:pt x="2231" y="299"/>
                </a:lnTo>
                <a:lnTo>
                  <a:pt x="2237" y="301"/>
                </a:lnTo>
                <a:lnTo>
                  <a:pt x="2238" y="299"/>
                </a:lnTo>
                <a:lnTo>
                  <a:pt x="2245" y="299"/>
                </a:lnTo>
                <a:lnTo>
                  <a:pt x="2250" y="298"/>
                </a:lnTo>
                <a:lnTo>
                  <a:pt x="2252" y="299"/>
                </a:lnTo>
                <a:lnTo>
                  <a:pt x="2257" y="299"/>
                </a:lnTo>
                <a:lnTo>
                  <a:pt x="2261" y="301"/>
                </a:lnTo>
                <a:lnTo>
                  <a:pt x="2273" y="301"/>
                </a:lnTo>
                <a:lnTo>
                  <a:pt x="2282" y="308"/>
                </a:lnTo>
                <a:lnTo>
                  <a:pt x="2287" y="308"/>
                </a:lnTo>
                <a:lnTo>
                  <a:pt x="2290" y="312"/>
                </a:lnTo>
                <a:lnTo>
                  <a:pt x="2296" y="312"/>
                </a:lnTo>
                <a:lnTo>
                  <a:pt x="2298" y="312"/>
                </a:lnTo>
                <a:lnTo>
                  <a:pt x="2301" y="316"/>
                </a:lnTo>
                <a:lnTo>
                  <a:pt x="2308" y="316"/>
                </a:lnTo>
                <a:lnTo>
                  <a:pt x="2311" y="316"/>
                </a:lnTo>
                <a:lnTo>
                  <a:pt x="2315" y="312"/>
                </a:lnTo>
                <a:lnTo>
                  <a:pt x="2321" y="312"/>
                </a:lnTo>
                <a:lnTo>
                  <a:pt x="2323" y="311"/>
                </a:lnTo>
                <a:lnTo>
                  <a:pt x="2326" y="311"/>
                </a:lnTo>
                <a:lnTo>
                  <a:pt x="2327" y="308"/>
                </a:lnTo>
                <a:lnTo>
                  <a:pt x="2329" y="308"/>
                </a:lnTo>
                <a:lnTo>
                  <a:pt x="2332" y="307"/>
                </a:lnTo>
                <a:lnTo>
                  <a:pt x="2337" y="303"/>
                </a:lnTo>
                <a:lnTo>
                  <a:pt x="2338" y="301"/>
                </a:lnTo>
                <a:lnTo>
                  <a:pt x="2346" y="299"/>
                </a:lnTo>
                <a:lnTo>
                  <a:pt x="2347" y="301"/>
                </a:lnTo>
                <a:lnTo>
                  <a:pt x="2351" y="299"/>
                </a:lnTo>
                <a:lnTo>
                  <a:pt x="2358" y="301"/>
                </a:lnTo>
                <a:lnTo>
                  <a:pt x="2362" y="301"/>
                </a:lnTo>
                <a:lnTo>
                  <a:pt x="2365" y="301"/>
                </a:lnTo>
                <a:lnTo>
                  <a:pt x="2371" y="303"/>
                </a:lnTo>
                <a:lnTo>
                  <a:pt x="2373" y="308"/>
                </a:lnTo>
                <a:lnTo>
                  <a:pt x="2375" y="315"/>
                </a:lnTo>
                <a:lnTo>
                  <a:pt x="2379" y="315"/>
                </a:lnTo>
                <a:lnTo>
                  <a:pt x="2380" y="316"/>
                </a:lnTo>
                <a:lnTo>
                  <a:pt x="2383" y="320"/>
                </a:lnTo>
                <a:lnTo>
                  <a:pt x="2383" y="324"/>
                </a:lnTo>
                <a:lnTo>
                  <a:pt x="2385" y="324"/>
                </a:lnTo>
                <a:lnTo>
                  <a:pt x="2387" y="325"/>
                </a:lnTo>
                <a:lnTo>
                  <a:pt x="2393" y="325"/>
                </a:lnTo>
                <a:lnTo>
                  <a:pt x="2396" y="333"/>
                </a:lnTo>
                <a:lnTo>
                  <a:pt x="2401" y="337"/>
                </a:lnTo>
                <a:lnTo>
                  <a:pt x="2404" y="337"/>
                </a:lnTo>
                <a:lnTo>
                  <a:pt x="2405" y="334"/>
                </a:lnTo>
                <a:lnTo>
                  <a:pt x="2410" y="334"/>
                </a:lnTo>
                <a:lnTo>
                  <a:pt x="2411" y="334"/>
                </a:lnTo>
                <a:lnTo>
                  <a:pt x="2415" y="337"/>
                </a:lnTo>
                <a:lnTo>
                  <a:pt x="2419" y="337"/>
                </a:lnTo>
                <a:lnTo>
                  <a:pt x="2426" y="338"/>
                </a:lnTo>
                <a:lnTo>
                  <a:pt x="2429" y="343"/>
                </a:lnTo>
                <a:lnTo>
                  <a:pt x="2437" y="346"/>
                </a:lnTo>
                <a:lnTo>
                  <a:pt x="2440" y="346"/>
                </a:lnTo>
                <a:lnTo>
                  <a:pt x="2446" y="344"/>
                </a:lnTo>
                <a:lnTo>
                  <a:pt x="2450" y="344"/>
                </a:lnTo>
                <a:lnTo>
                  <a:pt x="2457" y="343"/>
                </a:lnTo>
                <a:lnTo>
                  <a:pt x="2462" y="343"/>
                </a:lnTo>
                <a:lnTo>
                  <a:pt x="2465" y="338"/>
                </a:lnTo>
                <a:lnTo>
                  <a:pt x="2473" y="324"/>
                </a:lnTo>
                <a:lnTo>
                  <a:pt x="2475" y="316"/>
                </a:lnTo>
                <a:lnTo>
                  <a:pt x="2485" y="308"/>
                </a:lnTo>
                <a:lnTo>
                  <a:pt x="2493" y="301"/>
                </a:lnTo>
                <a:lnTo>
                  <a:pt x="2503" y="299"/>
                </a:lnTo>
                <a:lnTo>
                  <a:pt x="2507" y="299"/>
                </a:lnTo>
                <a:lnTo>
                  <a:pt x="2512" y="294"/>
                </a:lnTo>
                <a:lnTo>
                  <a:pt x="2517" y="294"/>
                </a:lnTo>
                <a:lnTo>
                  <a:pt x="2523" y="294"/>
                </a:lnTo>
                <a:lnTo>
                  <a:pt x="2528" y="289"/>
                </a:lnTo>
                <a:lnTo>
                  <a:pt x="2531" y="286"/>
                </a:lnTo>
                <a:lnTo>
                  <a:pt x="2533" y="286"/>
                </a:lnTo>
                <a:lnTo>
                  <a:pt x="2535" y="286"/>
                </a:lnTo>
                <a:lnTo>
                  <a:pt x="2536" y="284"/>
                </a:lnTo>
                <a:lnTo>
                  <a:pt x="2540" y="286"/>
                </a:lnTo>
                <a:lnTo>
                  <a:pt x="2547" y="288"/>
                </a:lnTo>
                <a:lnTo>
                  <a:pt x="2550" y="288"/>
                </a:lnTo>
                <a:lnTo>
                  <a:pt x="2554" y="281"/>
                </a:lnTo>
                <a:lnTo>
                  <a:pt x="2557" y="286"/>
                </a:lnTo>
                <a:lnTo>
                  <a:pt x="2561" y="288"/>
                </a:lnTo>
                <a:lnTo>
                  <a:pt x="2570" y="288"/>
                </a:lnTo>
                <a:lnTo>
                  <a:pt x="2572" y="289"/>
                </a:lnTo>
                <a:lnTo>
                  <a:pt x="2578" y="289"/>
                </a:lnTo>
                <a:lnTo>
                  <a:pt x="2581" y="294"/>
                </a:lnTo>
                <a:lnTo>
                  <a:pt x="2583" y="289"/>
                </a:lnTo>
                <a:lnTo>
                  <a:pt x="2586" y="289"/>
                </a:lnTo>
                <a:lnTo>
                  <a:pt x="2595" y="294"/>
                </a:lnTo>
                <a:lnTo>
                  <a:pt x="2598" y="294"/>
                </a:lnTo>
                <a:lnTo>
                  <a:pt x="2600" y="294"/>
                </a:lnTo>
                <a:lnTo>
                  <a:pt x="2603" y="294"/>
                </a:lnTo>
                <a:lnTo>
                  <a:pt x="2604" y="289"/>
                </a:lnTo>
                <a:lnTo>
                  <a:pt x="2610" y="289"/>
                </a:lnTo>
                <a:lnTo>
                  <a:pt x="2615" y="286"/>
                </a:lnTo>
                <a:lnTo>
                  <a:pt x="2617" y="286"/>
                </a:lnTo>
                <a:lnTo>
                  <a:pt x="2621" y="281"/>
                </a:lnTo>
                <a:lnTo>
                  <a:pt x="2628" y="281"/>
                </a:lnTo>
                <a:lnTo>
                  <a:pt x="2633" y="276"/>
                </a:lnTo>
                <a:lnTo>
                  <a:pt x="2639" y="273"/>
                </a:lnTo>
                <a:lnTo>
                  <a:pt x="2640" y="267"/>
                </a:lnTo>
                <a:lnTo>
                  <a:pt x="2645" y="266"/>
                </a:lnTo>
                <a:lnTo>
                  <a:pt x="2647" y="263"/>
                </a:lnTo>
                <a:lnTo>
                  <a:pt x="2651" y="258"/>
                </a:lnTo>
                <a:lnTo>
                  <a:pt x="2654" y="257"/>
                </a:lnTo>
                <a:lnTo>
                  <a:pt x="2657" y="254"/>
                </a:lnTo>
                <a:lnTo>
                  <a:pt x="2662" y="254"/>
                </a:lnTo>
                <a:lnTo>
                  <a:pt x="2664" y="253"/>
                </a:lnTo>
                <a:lnTo>
                  <a:pt x="2671" y="254"/>
                </a:lnTo>
                <a:lnTo>
                  <a:pt x="2675" y="250"/>
                </a:lnTo>
                <a:lnTo>
                  <a:pt x="2679" y="249"/>
                </a:lnTo>
                <a:lnTo>
                  <a:pt x="2683" y="245"/>
                </a:lnTo>
                <a:lnTo>
                  <a:pt x="2693" y="245"/>
                </a:lnTo>
                <a:lnTo>
                  <a:pt x="2699" y="241"/>
                </a:lnTo>
                <a:lnTo>
                  <a:pt x="2703" y="241"/>
                </a:lnTo>
                <a:lnTo>
                  <a:pt x="2715" y="237"/>
                </a:lnTo>
                <a:lnTo>
                  <a:pt x="2718" y="237"/>
                </a:lnTo>
                <a:lnTo>
                  <a:pt x="2725" y="236"/>
                </a:lnTo>
                <a:lnTo>
                  <a:pt x="2732" y="232"/>
                </a:lnTo>
                <a:lnTo>
                  <a:pt x="2733" y="232"/>
                </a:lnTo>
                <a:lnTo>
                  <a:pt x="2737" y="222"/>
                </a:lnTo>
                <a:lnTo>
                  <a:pt x="2742" y="221"/>
                </a:lnTo>
                <a:lnTo>
                  <a:pt x="2750" y="209"/>
                </a:lnTo>
                <a:lnTo>
                  <a:pt x="2754" y="205"/>
                </a:lnTo>
                <a:lnTo>
                  <a:pt x="2760" y="200"/>
                </a:lnTo>
                <a:lnTo>
                  <a:pt x="2760" y="192"/>
                </a:lnTo>
                <a:lnTo>
                  <a:pt x="2763" y="183"/>
                </a:lnTo>
                <a:lnTo>
                  <a:pt x="2764" y="174"/>
                </a:lnTo>
                <a:lnTo>
                  <a:pt x="2760" y="172"/>
                </a:lnTo>
                <a:lnTo>
                  <a:pt x="2756" y="170"/>
                </a:lnTo>
                <a:lnTo>
                  <a:pt x="2756" y="164"/>
                </a:lnTo>
                <a:lnTo>
                  <a:pt x="2753" y="159"/>
                </a:lnTo>
                <a:lnTo>
                  <a:pt x="2757" y="151"/>
                </a:lnTo>
                <a:lnTo>
                  <a:pt x="2757" y="143"/>
                </a:lnTo>
                <a:lnTo>
                  <a:pt x="2761" y="138"/>
                </a:lnTo>
                <a:lnTo>
                  <a:pt x="2761" y="134"/>
                </a:lnTo>
                <a:lnTo>
                  <a:pt x="2761" y="133"/>
                </a:lnTo>
                <a:lnTo>
                  <a:pt x="2767" y="125"/>
                </a:lnTo>
                <a:lnTo>
                  <a:pt x="2768" y="125"/>
                </a:lnTo>
                <a:lnTo>
                  <a:pt x="2772" y="125"/>
                </a:lnTo>
                <a:lnTo>
                  <a:pt x="2776" y="121"/>
                </a:lnTo>
                <a:lnTo>
                  <a:pt x="2778" y="116"/>
                </a:lnTo>
                <a:lnTo>
                  <a:pt x="2781" y="112"/>
                </a:lnTo>
                <a:lnTo>
                  <a:pt x="2784" y="108"/>
                </a:lnTo>
                <a:lnTo>
                  <a:pt x="2785" y="93"/>
                </a:lnTo>
                <a:lnTo>
                  <a:pt x="2792" y="89"/>
                </a:lnTo>
                <a:lnTo>
                  <a:pt x="2793" y="89"/>
                </a:lnTo>
                <a:lnTo>
                  <a:pt x="2795" y="85"/>
                </a:lnTo>
                <a:lnTo>
                  <a:pt x="2793" y="79"/>
                </a:lnTo>
                <a:lnTo>
                  <a:pt x="2793" y="71"/>
                </a:lnTo>
                <a:lnTo>
                  <a:pt x="2795" y="67"/>
                </a:lnTo>
                <a:lnTo>
                  <a:pt x="2795" y="62"/>
                </a:lnTo>
                <a:lnTo>
                  <a:pt x="2796" y="56"/>
                </a:lnTo>
                <a:lnTo>
                  <a:pt x="2796" y="45"/>
                </a:lnTo>
                <a:lnTo>
                  <a:pt x="2796" y="41"/>
                </a:lnTo>
                <a:lnTo>
                  <a:pt x="2797" y="35"/>
                </a:lnTo>
                <a:lnTo>
                  <a:pt x="2803" y="39"/>
                </a:lnTo>
                <a:lnTo>
                  <a:pt x="2807" y="35"/>
                </a:lnTo>
                <a:lnTo>
                  <a:pt x="2810" y="35"/>
                </a:lnTo>
                <a:lnTo>
                  <a:pt x="2818" y="35"/>
                </a:lnTo>
                <a:lnTo>
                  <a:pt x="2820" y="35"/>
                </a:lnTo>
                <a:lnTo>
                  <a:pt x="2820" y="31"/>
                </a:lnTo>
                <a:lnTo>
                  <a:pt x="2822" y="30"/>
                </a:lnTo>
                <a:lnTo>
                  <a:pt x="2825" y="30"/>
                </a:lnTo>
                <a:lnTo>
                  <a:pt x="2828" y="23"/>
                </a:lnTo>
                <a:lnTo>
                  <a:pt x="2828" y="21"/>
                </a:lnTo>
                <a:lnTo>
                  <a:pt x="2834" y="18"/>
                </a:lnTo>
                <a:lnTo>
                  <a:pt x="2841" y="14"/>
                </a:lnTo>
                <a:lnTo>
                  <a:pt x="2849" y="17"/>
                </a:lnTo>
                <a:lnTo>
                  <a:pt x="2852" y="14"/>
                </a:lnTo>
                <a:lnTo>
                  <a:pt x="2855" y="9"/>
                </a:lnTo>
                <a:lnTo>
                  <a:pt x="2859" y="8"/>
                </a:lnTo>
                <a:lnTo>
                  <a:pt x="2861" y="5"/>
                </a:lnTo>
                <a:lnTo>
                  <a:pt x="2864" y="1"/>
                </a:lnTo>
                <a:lnTo>
                  <a:pt x="2867" y="5"/>
                </a:lnTo>
                <a:lnTo>
                  <a:pt x="2872" y="0"/>
                </a:lnTo>
                <a:lnTo>
                  <a:pt x="2875" y="0"/>
                </a:lnTo>
                <a:lnTo>
                  <a:pt x="2878" y="0"/>
                </a:lnTo>
                <a:lnTo>
                  <a:pt x="2881" y="0"/>
                </a:lnTo>
                <a:lnTo>
                  <a:pt x="2884" y="0"/>
                </a:lnTo>
                <a:lnTo>
                  <a:pt x="2888" y="0"/>
                </a:lnTo>
                <a:lnTo>
                  <a:pt x="2891" y="0"/>
                </a:lnTo>
                <a:lnTo>
                  <a:pt x="2894" y="5"/>
                </a:lnTo>
                <a:lnTo>
                  <a:pt x="2900" y="9"/>
                </a:lnTo>
                <a:lnTo>
                  <a:pt x="2903" y="9"/>
                </a:lnTo>
                <a:lnTo>
                  <a:pt x="2909" y="9"/>
                </a:lnTo>
                <a:lnTo>
                  <a:pt x="2910" y="9"/>
                </a:lnTo>
                <a:lnTo>
                  <a:pt x="2913" y="9"/>
                </a:lnTo>
                <a:lnTo>
                  <a:pt x="2917" y="5"/>
                </a:lnTo>
                <a:lnTo>
                  <a:pt x="2922" y="1"/>
                </a:lnTo>
                <a:lnTo>
                  <a:pt x="2927" y="1"/>
                </a:lnTo>
                <a:lnTo>
                  <a:pt x="2932" y="5"/>
                </a:lnTo>
                <a:lnTo>
                  <a:pt x="2939" y="9"/>
                </a:lnTo>
                <a:lnTo>
                  <a:pt x="2941" y="9"/>
                </a:lnTo>
                <a:lnTo>
                  <a:pt x="2947" y="13"/>
                </a:lnTo>
                <a:lnTo>
                  <a:pt x="2949" y="9"/>
                </a:lnTo>
                <a:lnTo>
                  <a:pt x="2952" y="9"/>
                </a:lnTo>
                <a:lnTo>
                  <a:pt x="2957" y="9"/>
                </a:lnTo>
                <a:lnTo>
                  <a:pt x="2960" y="9"/>
                </a:lnTo>
                <a:lnTo>
                  <a:pt x="2967" y="9"/>
                </a:lnTo>
                <a:lnTo>
                  <a:pt x="2974" y="14"/>
                </a:lnTo>
                <a:lnTo>
                  <a:pt x="2980" y="14"/>
                </a:lnTo>
                <a:lnTo>
                  <a:pt x="2994" y="9"/>
                </a:lnTo>
                <a:lnTo>
                  <a:pt x="2996" y="8"/>
                </a:lnTo>
                <a:lnTo>
                  <a:pt x="3007" y="5"/>
                </a:lnTo>
                <a:lnTo>
                  <a:pt x="3009" y="1"/>
                </a:lnTo>
                <a:lnTo>
                  <a:pt x="3014" y="0"/>
                </a:lnTo>
                <a:lnTo>
                  <a:pt x="3022" y="0"/>
                </a:lnTo>
                <a:lnTo>
                  <a:pt x="3024" y="0"/>
                </a:lnTo>
                <a:lnTo>
                  <a:pt x="3028" y="1"/>
                </a:lnTo>
                <a:lnTo>
                  <a:pt x="3031" y="5"/>
                </a:lnTo>
                <a:lnTo>
                  <a:pt x="3034" y="14"/>
                </a:lnTo>
                <a:lnTo>
                  <a:pt x="3035" y="14"/>
                </a:lnTo>
                <a:lnTo>
                  <a:pt x="3041" y="17"/>
                </a:lnTo>
                <a:lnTo>
                  <a:pt x="3042" y="18"/>
                </a:lnTo>
                <a:lnTo>
                  <a:pt x="3045" y="22"/>
                </a:lnTo>
                <a:lnTo>
                  <a:pt x="3052" y="22"/>
                </a:lnTo>
                <a:lnTo>
                  <a:pt x="3055" y="18"/>
                </a:lnTo>
                <a:lnTo>
                  <a:pt x="3059" y="17"/>
                </a:lnTo>
                <a:lnTo>
                  <a:pt x="3063" y="18"/>
                </a:lnTo>
                <a:lnTo>
                  <a:pt x="3070" y="17"/>
                </a:lnTo>
                <a:lnTo>
                  <a:pt x="3078" y="18"/>
                </a:lnTo>
                <a:lnTo>
                  <a:pt x="3082" y="18"/>
                </a:lnTo>
                <a:lnTo>
                  <a:pt x="3087" y="14"/>
                </a:lnTo>
                <a:lnTo>
                  <a:pt x="3094" y="14"/>
                </a:lnTo>
                <a:lnTo>
                  <a:pt x="3095" y="17"/>
                </a:lnTo>
                <a:lnTo>
                  <a:pt x="3095" y="18"/>
                </a:lnTo>
                <a:lnTo>
                  <a:pt x="3098" y="22"/>
                </a:lnTo>
                <a:lnTo>
                  <a:pt x="3099" y="22"/>
                </a:lnTo>
                <a:lnTo>
                  <a:pt x="3101" y="22"/>
                </a:lnTo>
                <a:lnTo>
                  <a:pt x="3104" y="22"/>
                </a:lnTo>
                <a:lnTo>
                  <a:pt x="3105" y="22"/>
                </a:lnTo>
                <a:lnTo>
                  <a:pt x="3106" y="22"/>
                </a:lnTo>
                <a:lnTo>
                  <a:pt x="3107" y="23"/>
                </a:lnTo>
                <a:lnTo>
                  <a:pt x="3110" y="22"/>
                </a:lnTo>
                <a:lnTo>
                  <a:pt x="3112" y="28"/>
                </a:lnTo>
                <a:lnTo>
                  <a:pt x="3117" y="28"/>
                </a:lnTo>
                <a:lnTo>
                  <a:pt x="3123" y="18"/>
                </a:lnTo>
                <a:lnTo>
                  <a:pt x="3130" y="22"/>
                </a:lnTo>
                <a:lnTo>
                  <a:pt x="3132" y="23"/>
                </a:lnTo>
                <a:lnTo>
                  <a:pt x="3135" y="28"/>
                </a:lnTo>
                <a:lnTo>
                  <a:pt x="3141" y="22"/>
                </a:lnTo>
                <a:lnTo>
                  <a:pt x="3142" y="22"/>
                </a:lnTo>
                <a:lnTo>
                  <a:pt x="3146" y="23"/>
                </a:lnTo>
                <a:lnTo>
                  <a:pt x="3146" y="30"/>
                </a:lnTo>
                <a:lnTo>
                  <a:pt x="3151" y="31"/>
                </a:lnTo>
                <a:lnTo>
                  <a:pt x="3149" y="35"/>
                </a:lnTo>
                <a:lnTo>
                  <a:pt x="3152" y="41"/>
                </a:lnTo>
                <a:lnTo>
                  <a:pt x="3152" y="48"/>
                </a:lnTo>
                <a:lnTo>
                  <a:pt x="3152" y="53"/>
                </a:lnTo>
                <a:lnTo>
                  <a:pt x="3152" y="58"/>
                </a:lnTo>
                <a:lnTo>
                  <a:pt x="3157" y="63"/>
                </a:lnTo>
                <a:lnTo>
                  <a:pt x="3162" y="62"/>
                </a:lnTo>
                <a:lnTo>
                  <a:pt x="3163" y="58"/>
                </a:lnTo>
                <a:lnTo>
                  <a:pt x="3170" y="58"/>
                </a:lnTo>
                <a:lnTo>
                  <a:pt x="3176" y="56"/>
                </a:lnTo>
                <a:lnTo>
                  <a:pt x="3187" y="56"/>
                </a:lnTo>
                <a:lnTo>
                  <a:pt x="3191" y="58"/>
                </a:lnTo>
                <a:lnTo>
                  <a:pt x="3196" y="62"/>
                </a:lnTo>
                <a:lnTo>
                  <a:pt x="3198" y="63"/>
                </a:lnTo>
                <a:lnTo>
                  <a:pt x="3201" y="67"/>
                </a:lnTo>
                <a:lnTo>
                  <a:pt x="3205" y="67"/>
                </a:lnTo>
                <a:lnTo>
                  <a:pt x="3206" y="71"/>
                </a:lnTo>
                <a:lnTo>
                  <a:pt x="3207" y="71"/>
                </a:lnTo>
                <a:lnTo>
                  <a:pt x="3207" y="76"/>
                </a:lnTo>
                <a:lnTo>
                  <a:pt x="3221" y="92"/>
                </a:lnTo>
                <a:lnTo>
                  <a:pt x="3227" y="93"/>
                </a:lnTo>
                <a:lnTo>
                  <a:pt x="3229" y="97"/>
                </a:lnTo>
                <a:lnTo>
                  <a:pt x="3229" y="101"/>
                </a:lnTo>
                <a:lnTo>
                  <a:pt x="3232" y="103"/>
                </a:lnTo>
                <a:lnTo>
                  <a:pt x="3238" y="103"/>
                </a:lnTo>
                <a:lnTo>
                  <a:pt x="3246" y="103"/>
                </a:lnTo>
                <a:lnTo>
                  <a:pt x="3251" y="107"/>
                </a:lnTo>
                <a:lnTo>
                  <a:pt x="3258" y="108"/>
                </a:lnTo>
                <a:lnTo>
                  <a:pt x="3262" y="108"/>
                </a:lnTo>
                <a:lnTo>
                  <a:pt x="3266" y="107"/>
                </a:lnTo>
                <a:lnTo>
                  <a:pt x="3271" y="108"/>
                </a:lnTo>
                <a:lnTo>
                  <a:pt x="3274" y="108"/>
                </a:lnTo>
                <a:lnTo>
                  <a:pt x="3276" y="112"/>
                </a:lnTo>
                <a:lnTo>
                  <a:pt x="3276" y="116"/>
                </a:lnTo>
                <a:lnTo>
                  <a:pt x="3279" y="120"/>
                </a:lnTo>
                <a:lnTo>
                  <a:pt x="3288" y="125"/>
                </a:lnTo>
                <a:lnTo>
                  <a:pt x="3291" y="129"/>
                </a:lnTo>
                <a:lnTo>
                  <a:pt x="3294" y="129"/>
                </a:lnTo>
                <a:lnTo>
                  <a:pt x="3296" y="133"/>
                </a:lnTo>
                <a:lnTo>
                  <a:pt x="3299" y="129"/>
                </a:lnTo>
                <a:lnTo>
                  <a:pt x="3301" y="129"/>
                </a:lnTo>
                <a:lnTo>
                  <a:pt x="3306" y="129"/>
                </a:lnTo>
                <a:lnTo>
                  <a:pt x="3308" y="129"/>
                </a:lnTo>
                <a:lnTo>
                  <a:pt x="3313" y="129"/>
                </a:lnTo>
                <a:lnTo>
                  <a:pt x="3320" y="133"/>
                </a:lnTo>
                <a:lnTo>
                  <a:pt x="3319" y="137"/>
                </a:lnTo>
                <a:lnTo>
                  <a:pt x="3312" y="147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PT" sz="1200" kern="0">
              <a:solidFill>
                <a:srgbClr val="000000"/>
              </a:solidFill>
            </a:endParaRPr>
          </a:p>
        </p:txBody>
      </p:sp>
      <p:sp>
        <p:nvSpPr>
          <p:cNvPr id="129" name="Freeform 128"/>
          <p:cNvSpPr>
            <a:spLocks noEditPoints="1"/>
          </p:cNvSpPr>
          <p:nvPr/>
        </p:nvSpPr>
        <p:spPr bwMode="auto">
          <a:xfrm>
            <a:off x="7673214" y="1897415"/>
            <a:ext cx="671224" cy="952827"/>
          </a:xfrm>
          <a:custGeom>
            <a:avLst/>
            <a:gdLst>
              <a:gd name="T0" fmla="*/ 2047 w 2234"/>
              <a:gd name="T1" fmla="*/ 258 h 2965"/>
              <a:gd name="T2" fmla="*/ 2054 w 2234"/>
              <a:gd name="T3" fmla="*/ 382 h 2965"/>
              <a:gd name="T4" fmla="*/ 2068 w 2234"/>
              <a:gd name="T5" fmla="*/ 430 h 2965"/>
              <a:gd name="T6" fmla="*/ 1997 w 2234"/>
              <a:gd name="T7" fmla="*/ 640 h 2965"/>
              <a:gd name="T8" fmla="*/ 1976 w 2234"/>
              <a:gd name="T9" fmla="*/ 711 h 2965"/>
              <a:gd name="T10" fmla="*/ 2024 w 2234"/>
              <a:gd name="T11" fmla="*/ 800 h 2965"/>
              <a:gd name="T12" fmla="*/ 2012 w 2234"/>
              <a:gd name="T13" fmla="*/ 943 h 2965"/>
              <a:gd name="T14" fmla="*/ 2030 w 2234"/>
              <a:gd name="T15" fmla="*/ 1058 h 2965"/>
              <a:gd name="T16" fmla="*/ 2064 w 2234"/>
              <a:gd name="T17" fmla="*/ 1250 h 2965"/>
              <a:gd name="T18" fmla="*/ 2035 w 2234"/>
              <a:gd name="T19" fmla="*/ 1428 h 2965"/>
              <a:gd name="T20" fmla="*/ 2054 w 2234"/>
              <a:gd name="T21" fmla="*/ 1504 h 2965"/>
              <a:gd name="T22" fmla="*/ 2079 w 2234"/>
              <a:gd name="T23" fmla="*/ 1539 h 2965"/>
              <a:gd name="T24" fmla="*/ 2054 w 2234"/>
              <a:gd name="T25" fmla="*/ 1601 h 2965"/>
              <a:gd name="T26" fmla="*/ 2043 w 2234"/>
              <a:gd name="T27" fmla="*/ 1647 h 2965"/>
              <a:gd name="T28" fmla="*/ 2107 w 2234"/>
              <a:gd name="T29" fmla="*/ 1700 h 2965"/>
              <a:gd name="T30" fmla="*/ 2121 w 2234"/>
              <a:gd name="T31" fmla="*/ 1793 h 2965"/>
              <a:gd name="T32" fmla="*/ 2146 w 2234"/>
              <a:gd name="T33" fmla="*/ 1832 h 2965"/>
              <a:gd name="T34" fmla="*/ 2100 w 2234"/>
              <a:gd name="T35" fmla="*/ 1898 h 2965"/>
              <a:gd name="T36" fmla="*/ 2008 w 2234"/>
              <a:gd name="T37" fmla="*/ 1953 h 2965"/>
              <a:gd name="T38" fmla="*/ 2007 w 2234"/>
              <a:gd name="T39" fmla="*/ 2033 h 2965"/>
              <a:gd name="T40" fmla="*/ 2069 w 2234"/>
              <a:gd name="T41" fmla="*/ 2030 h 2965"/>
              <a:gd name="T42" fmla="*/ 2105 w 2234"/>
              <a:gd name="T43" fmla="*/ 2211 h 2965"/>
              <a:gd name="T44" fmla="*/ 2022 w 2234"/>
              <a:gd name="T45" fmla="*/ 2435 h 2965"/>
              <a:gd name="T46" fmla="*/ 1791 w 2234"/>
              <a:gd name="T47" fmla="*/ 2402 h 2965"/>
              <a:gd name="T48" fmla="*/ 1549 w 2234"/>
              <a:gd name="T49" fmla="*/ 2568 h 2965"/>
              <a:gd name="T50" fmla="*/ 1323 w 2234"/>
              <a:gd name="T51" fmla="*/ 2630 h 2965"/>
              <a:gd name="T52" fmla="*/ 1147 w 2234"/>
              <a:gd name="T53" fmla="*/ 2725 h 2965"/>
              <a:gd name="T54" fmla="*/ 923 w 2234"/>
              <a:gd name="T55" fmla="*/ 2809 h 2965"/>
              <a:gd name="T56" fmla="*/ 622 w 2234"/>
              <a:gd name="T57" fmla="*/ 2959 h 2965"/>
              <a:gd name="T58" fmla="*/ 356 w 2234"/>
              <a:gd name="T59" fmla="*/ 2920 h 2965"/>
              <a:gd name="T60" fmla="*/ 259 w 2234"/>
              <a:gd name="T61" fmla="*/ 2780 h 2965"/>
              <a:gd name="T62" fmla="*/ 180 w 2234"/>
              <a:gd name="T63" fmla="*/ 2629 h 2965"/>
              <a:gd name="T64" fmla="*/ 115 w 2234"/>
              <a:gd name="T65" fmla="*/ 2332 h 2965"/>
              <a:gd name="T66" fmla="*/ 202 w 2234"/>
              <a:gd name="T67" fmla="*/ 2231 h 2965"/>
              <a:gd name="T68" fmla="*/ 209 w 2234"/>
              <a:gd name="T69" fmla="*/ 2121 h 2965"/>
              <a:gd name="T70" fmla="*/ 37 w 2234"/>
              <a:gd name="T71" fmla="*/ 2025 h 2965"/>
              <a:gd name="T72" fmla="*/ 84 w 2234"/>
              <a:gd name="T73" fmla="*/ 1834 h 2965"/>
              <a:gd name="T74" fmla="*/ 88 w 2234"/>
              <a:gd name="T75" fmla="*/ 1676 h 2965"/>
              <a:gd name="T76" fmla="*/ 182 w 2234"/>
              <a:gd name="T77" fmla="*/ 1521 h 2965"/>
              <a:gd name="T78" fmla="*/ 323 w 2234"/>
              <a:gd name="T79" fmla="*/ 1321 h 2965"/>
              <a:gd name="T80" fmla="*/ 378 w 2234"/>
              <a:gd name="T81" fmla="*/ 955 h 2965"/>
              <a:gd name="T82" fmla="*/ 540 w 2234"/>
              <a:gd name="T83" fmla="*/ 672 h 2965"/>
              <a:gd name="T84" fmla="*/ 753 w 2234"/>
              <a:gd name="T85" fmla="*/ 573 h 2965"/>
              <a:gd name="T86" fmla="*/ 914 w 2234"/>
              <a:gd name="T87" fmla="*/ 560 h 2965"/>
              <a:gd name="T88" fmla="*/ 1120 w 2234"/>
              <a:gd name="T89" fmla="*/ 520 h 2965"/>
              <a:gd name="T90" fmla="*/ 1351 w 2234"/>
              <a:gd name="T91" fmla="*/ 391 h 2965"/>
              <a:gd name="T92" fmla="*/ 1501 w 2234"/>
              <a:gd name="T93" fmla="*/ 346 h 2965"/>
              <a:gd name="T94" fmla="*/ 1727 w 2234"/>
              <a:gd name="T95" fmla="*/ 216 h 2965"/>
              <a:gd name="T96" fmla="*/ 1930 w 2234"/>
              <a:gd name="T97" fmla="*/ 83 h 2965"/>
              <a:gd name="T98" fmla="*/ 2065 w 2234"/>
              <a:gd name="T99" fmla="*/ 15 h 2965"/>
              <a:gd name="T100" fmla="*/ 2040 w 2234"/>
              <a:gd name="T101" fmla="*/ 65 h 2965"/>
              <a:gd name="T102" fmla="*/ 2172 w 2234"/>
              <a:gd name="T103" fmla="*/ 172 h 2965"/>
              <a:gd name="T104" fmla="*/ 2115 w 2234"/>
              <a:gd name="T105" fmla="*/ 1527 h 2965"/>
              <a:gd name="T106" fmla="*/ 2140 w 2234"/>
              <a:gd name="T107" fmla="*/ 1486 h 2965"/>
              <a:gd name="T108" fmla="*/ 2132 w 2234"/>
              <a:gd name="T109" fmla="*/ 1556 h 2965"/>
              <a:gd name="T110" fmla="*/ 2171 w 2234"/>
              <a:gd name="T111" fmla="*/ 453 h 2965"/>
              <a:gd name="T112" fmla="*/ 2193 w 2234"/>
              <a:gd name="T113" fmla="*/ 306 h 2965"/>
              <a:gd name="T114" fmla="*/ 2199 w 2234"/>
              <a:gd name="T115" fmla="*/ 560 h 2965"/>
              <a:gd name="T116" fmla="*/ 2058 w 2234"/>
              <a:gd name="T117" fmla="*/ 79 h 2965"/>
              <a:gd name="T118" fmla="*/ 2142 w 2234"/>
              <a:gd name="T119" fmla="*/ 1705 h 2965"/>
              <a:gd name="T120" fmla="*/ 2164 w 2234"/>
              <a:gd name="T121" fmla="*/ 355 h 2965"/>
              <a:gd name="T122" fmla="*/ 2050 w 2234"/>
              <a:gd name="T123" fmla="*/ 2065 h 2965"/>
              <a:gd name="T124" fmla="*/ 2052 w 2234"/>
              <a:gd name="T125" fmla="*/ 1529 h 296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234"/>
              <a:gd name="T190" fmla="*/ 0 h 2965"/>
              <a:gd name="T191" fmla="*/ 2234 w 2234"/>
              <a:gd name="T192" fmla="*/ 2965 h 296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234" h="2965">
                <a:moveTo>
                  <a:pt x="2165" y="185"/>
                </a:moveTo>
                <a:lnTo>
                  <a:pt x="2162" y="185"/>
                </a:lnTo>
                <a:lnTo>
                  <a:pt x="2159" y="181"/>
                </a:lnTo>
                <a:lnTo>
                  <a:pt x="2153" y="180"/>
                </a:lnTo>
                <a:lnTo>
                  <a:pt x="2137" y="177"/>
                </a:lnTo>
                <a:lnTo>
                  <a:pt x="2132" y="177"/>
                </a:lnTo>
                <a:lnTo>
                  <a:pt x="2128" y="172"/>
                </a:lnTo>
                <a:lnTo>
                  <a:pt x="2124" y="172"/>
                </a:lnTo>
                <a:lnTo>
                  <a:pt x="2111" y="177"/>
                </a:lnTo>
                <a:lnTo>
                  <a:pt x="2101" y="185"/>
                </a:lnTo>
                <a:lnTo>
                  <a:pt x="2069" y="208"/>
                </a:lnTo>
                <a:lnTo>
                  <a:pt x="2065" y="208"/>
                </a:lnTo>
                <a:lnTo>
                  <a:pt x="2064" y="212"/>
                </a:lnTo>
                <a:lnTo>
                  <a:pt x="2064" y="208"/>
                </a:lnTo>
                <a:lnTo>
                  <a:pt x="2058" y="208"/>
                </a:lnTo>
                <a:lnTo>
                  <a:pt x="2061" y="212"/>
                </a:lnTo>
                <a:lnTo>
                  <a:pt x="2060" y="208"/>
                </a:lnTo>
                <a:lnTo>
                  <a:pt x="2060" y="212"/>
                </a:lnTo>
                <a:lnTo>
                  <a:pt x="2058" y="212"/>
                </a:lnTo>
                <a:lnTo>
                  <a:pt x="2058" y="213"/>
                </a:lnTo>
                <a:lnTo>
                  <a:pt x="2057" y="213"/>
                </a:lnTo>
                <a:lnTo>
                  <a:pt x="2055" y="208"/>
                </a:lnTo>
                <a:lnTo>
                  <a:pt x="2055" y="204"/>
                </a:lnTo>
                <a:lnTo>
                  <a:pt x="2057" y="208"/>
                </a:lnTo>
                <a:lnTo>
                  <a:pt x="2064" y="200"/>
                </a:lnTo>
                <a:lnTo>
                  <a:pt x="2060" y="200"/>
                </a:lnTo>
                <a:lnTo>
                  <a:pt x="2054" y="204"/>
                </a:lnTo>
                <a:lnTo>
                  <a:pt x="2054" y="208"/>
                </a:lnTo>
                <a:lnTo>
                  <a:pt x="2047" y="225"/>
                </a:lnTo>
                <a:lnTo>
                  <a:pt x="2047" y="230"/>
                </a:lnTo>
                <a:lnTo>
                  <a:pt x="2049" y="236"/>
                </a:lnTo>
                <a:lnTo>
                  <a:pt x="2047" y="236"/>
                </a:lnTo>
                <a:lnTo>
                  <a:pt x="2046" y="239"/>
                </a:lnTo>
                <a:lnTo>
                  <a:pt x="2050" y="253"/>
                </a:lnTo>
                <a:lnTo>
                  <a:pt x="2051" y="247"/>
                </a:lnTo>
                <a:lnTo>
                  <a:pt x="2051" y="253"/>
                </a:lnTo>
                <a:lnTo>
                  <a:pt x="2043" y="258"/>
                </a:lnTo>
                <a:lnTo>
                  <a:pt x="2044" y="261"/>
                </a:lnTo>
                <a:lnTo>
                  <a:pt x="2047" y="262"/>
                </a:lnTo>
                <a:lnTo>
                  <a:pt x="2047" y="258"/>
                </a:lnTo>
                <a:lnTo>
                  <a:pt x="2051" y="258"/>
                </a:lnTo>
                <a:lnTo>
                  <a:pt x="2052" y="253"/>
                </a:lnTo>
                <a:lnTo>
                  <a:pt x="2054" y="249"/>
                </a:lnTo>
                <a:lnTo>
                  <a:pt x="2051" y="239"/>
                </a:lnTo>
                <a:lnTo>
                  <a:pt x="2054" y="239"/>
                </a:lnTo>
                <a:lnTo>
                  <a:pt x="2058" y="239"/>
                </a:lnTo>
                <a:lnTo>
                  <a:pt x="2080" y="253"/>
                </a:lnTo>
                <a:lnTo>
                  <a:pt x="2117" y="275"/>
                </a:lnTo>
                <a:lnTo>
                  <a:pt x="2129" y="279"/>
                </a:lnTo>
                <a:lnTo>
                  <a:pt x="2146" y="283"/>
                </a:lnTo>
                <a:lnTo>
                  <a:pt x="2151" y="283"/>
                </a:lnTo>
                <a:lnTo>
                  <a:pt x="2154" y="284"/>
                </a:lnTo>
                <a:lnTo>
                  <a:pt x="2154" y="288"/>
                </a:lnTo>
                <a:lnTo>
                  <a:pt x="2142" y="296"/>
                </a:lnTo>
                <a:lnTo>
                  <a:pt x="2139" y="297"/>
                </a:lnTo>
                <a:lnTo>
                  <a:pt x="2142" y="297"/>
                </a:lnTo>
                <a:lnTo>
                  <a:pt x="2143" y="297"/>
                </a:lnTo>
                <a:lnTo>
                  <a:pt x="2143" y="301"/>
                </a:lnTo>
                <a:lnTo>
                  <a:pt x="2145" y="301"/>
                </a:lnTo>
                <a:lnTo>
                  <a:pt x="2145" y="297"/>
                </a:lnTo>
                <a:lnTo>
                  <a:pt x="2147" y="297"/>
                </a:lnTo>
                <a:lnTo>
                  <a:pt x="2149" y="293"/>
                </a:lnTo>
                <a:lnTo>
                  <a:pt x="2149" y="297"/>
                </a:lnTo>
                <a:lnTo>
                  <a:pt x="2132" y="314"/>
                </a:lnTo>
                <a:lnTo>
                  <a:pt x="2096" y="331"/>
                </a:lnTo>
                <a:lnTo>
                  <a:pt x="2072" y="350"/>
                </a:lnTo>
                <a:lnTo>
                  <a:pt x="2068" y="355"/>
                </a:lnTo>
                <a:lnTo>
                  <a:pt x="2068" y="359"/>
                </a:lnTo>
                <a:lnTo>
                  <a:pt x="2065" y="359"/>
                </a:lnTo>
                <a:lnTo>
                  <a:pt x="2066" y="363"/>
                </a:lnTo>
                <a:lnTo>
                  <a:pt x="2065" y="365"/>
                </a:lnTo>
                <a:lnTo>
                  <a:pt x="2064" y="363"/>
                </a:lnTo>
                <a:lnTo>
                  <a:pt x="2062" y="363"/>
                </a:lnTo>
                <a:lnTo>
                  <a:pt x="2061" y="367"/>
                </a:lnTo>
                <a:lnTo>
                  <a:pt x="2062" y="367"/>
                </a:lnTo>
                <a:lnTo>
                  <a:pt x="2055" y="373"/>
                </a:lnTo>
                <a:lnTo>
                  <a:pt x="2055" y="378"/>
                </a:lnTo>
                <a:lnTo>
                  <a:pt x="2057" y="380"/>
                </a:lnTo>
                <a:lnTo>
                  <a:pt x="2055" y="380"/>
                </a:lnTo>
                <a:lnTo>
                  <a:pt x="2054" y="382"/>
                </a:lnTo>
                <a:lnTo>
                  <a:pt x="2057" y="382"/>
                </a:lnTo>
                <a:lnTo>
                  <a:pt x="2058" y="382"/>
                </a:lnTo>
                <a:lnTo>
                  <a:pt x="2055" y="382"/>
                </a:lnTo>
                <a:lnTo>
                  <a:pt x="2057" y="387"/>
                </a:lnTo>
                <a:lnTo>
                  <a:pt x="2052" y="386"/>
                </a:lnTo>
                <a:lnTo>
                  <a:pt x="2052" y="387"/>
                </a:lnTo>
                <a:lnTo>
                  <a:pt x="2055" y="390"/>
                </a:lnTo>
                <a:lnTo>
                  <a:pt x="2054" y="391"/>
                </a:lnTo>
                <a:lnTo>
                  <a:pt x="2051" y="390"/>
                </a:lnTo>
                <a:lnTo>
                  <a:pt x="2051" y="395"/>
                </a:lnTo>
                <a:lnTo>
                  <a:pt x="2052" y="395"/>
                </a:lnTo>
                <a:lnTo>
                  <a:pt x="2052" y="391"/>
                </a:lnTo>
                <a:lnTo>
                  <a:pt x="2055" y="404"/>
                </a:lnTo>
                <a:lnTo>
                  <a:pt x="2058" y="404"/>
                </a:lnTo>
                <a:lnTo>
                  <a:pt x="2055" y="404"/>
                </a:lnTo>
                <a:lnTo>
                  <a:pt x="2054" y="408"/>
                </a:lnTo>
                <a:lnTo>
                  <a:pt x="2052" y="412"/>
                </a:lnTo>
                <a:lnTo>
                  <a:pt x="2050" y="412"/>
                </a:lnTo>
                <a:lnTo>
                  <a:pt x="2050" y="408"/>
                </a:lnTo>
                <a:lnTo>
                  <a:pt x="2054" y="404"/>
                </a:lnTo>
                <a:lnTo>
                  <a:pt x="2051" y="400"/>
                </a:lnTo>
                <a:lnTo>
                  <a:pt x="2051" y="404"/>
                </a:lnTo>
                <a:lnTo>
                  <a:pt x="2046" y="408"/>
                </a:lnTo>
                <a:lnTo>
                  <a:pt x="2044" y="423"/>
                </a:lnTo>
                <a:lnTo>
                  <a:pt x="2049" y="425"/>
                </a:lnTo>
                <a:lnTo>
                  <a:pt x="2055" y="421"/>
                </a:lnTo>
                <a:lnTo>
                  <a:pt x="2060" y="423"/>
                </a:lnTo>
                <a:lnTo>
                  <a:pt x="2061" y="421"/>
                </a:lnTo>
                <a:lnTo>
                  <a:pt x="2061" y="423"/>
                </a:lnTo>
                <a:lnTo>
                  <a:pt x="2060" y="427"/>
                </a:lnTo>
                <a:lnTo>
                  <a:pt x="2061" y="430"/>
                </a:lnTo>
                <a:lnTo>
                  <a:pt x="2065" y="438"/>
                </a:lnTo>
                <a:lnTo>
                  <a:pt x="2065" y="440"/>
                </a:lnTo>
                <a:lnTo>
                  <a:pt x="2066" y="440"/>
                </a:lnTo>
                <a:lnTo>
                  <a:pt x="2066" y="438"/>
                </a:lnTo>
                <a:lnTo>
                  <a:pt x="2066" y="436"/>
                </a:lnTo>
                <a:lnTo>
                  <a:pt x="2064" y="436"/>
                </a:lnTo>
                <a:lnTo>
                  <a:pt x="2064" y="427"/>
                </a:lnTo>
                <a:lnTo>
                  <a:pt x="2065" y="430"/>
                </a:lnTo>
                <a:lnTo>
                  <a:pt x="2068" y="430"/>
                </a:lnTo>
                <a:lnTo>
                  <a:pt x="2071" y="436"/>
                </a:lnTo>
                <a:lnTo>
                  <a:pt x="2078" y="436"/>
                </a:lnTo>
                <a:lnTo>
                  <a:pt x="2079" y="436"/>
                </a:lnTo>
                <a:lnTo>
                  <a:pt x="2076" y="435"/>
                </a:lnTo>
                <a:lnTo>
                  <a:pt x="2075" y="436"/>
                </a:lnTo>
                <a:lnTo>
                  <a:pt x="2074" y="435"/>
                </a:lnTo>
                <a:lnTo>
                  <a:pt x="2078" y="435"/>
                </a:lnTo>
                <a:lnTo>
                  <a:pt x="2086" y="438"/>
                </a:lnTo>
                <a:lnTo>
                  <a:pt x="2089" y="440"/>
                </a:lnTo>
                <a:lnTo>
                  <a:pt x="2091" y="440"/>
                </a:lnTo>
                <a:lnTo>
                  <a:pt x="2112" y="443"/>
                </a:lnTo>
                <a:lnTo>
                  <a:pt x="2112" y="449"/>
                </a:lnTo>
                <a:lnTo>
                  <a:pt x="2110" y="449"/>
                </a:lnTo>
                <a:lnTo>
                  <a:pt x="2111" y="457"/>
                </a:lnTo>
                <a:lnTo>
                  <a:pt x="2107" y="471"/>
                </a:lnTo>
                <a:lnTo>
                  <a:pt x="2108" y="471"/>
                </a:lnTo>
                <a:lnTo>
                  <a:pt x="2099" y="487"/>
                </a:lnTo>
                <a:lnTo>
                  <a:pt x="2085" y="502"/>
                </a:lnTo>
                <a:lnTo>
                  <a:pt x="2082" y="510"/>
                </a:lnTo>
                <a:lnTo>
                  <a:pt x="2061" y="529"/>
                </a:lnTo>
                <a:lnTo>
                  <a:pt x="2061" y="533"/>
                </a:lnTo>
                <a:lnTo>
                  <a:pt x="2054" y="537"/>
                </a:lnTo>
                <a:lnTo>
                  <a:pt x="2052" y="542"/>
                </a:lnTo>
                <a:lnTo>
                  <a:pt x="2051" y="552"/>
                </a:lnTo>
                <a:lnTo>
                  <a:pt x="2051" y="560"/>
                </a:lnTo>
                <a:lnTo>
                  <a:pt x="2054" y="567"/>
                </a:lnTo>
                <a:lnTo>
                  <a:pt x="2054" y="569"/>
                </a:lnTo>
                <a:lnTo>
                  <a:pt x="2061" y="573"/>
                </a:lnTo>
                <a:lnTo>
                  <a:pt x="2064" y="573"/>
                </a:lnTo>
                <a:lnTo>
                  <a:pt x="2066" y="578"/>
                </a:lnTo>
                <a:lnTo>
                  <a:pt x="2066" y="581"/>
                </a:lnTo>
                <a:lnTo>
                  <a:pt x="2050" y="587"/>
                </a:lnTo>
                <a:lnTo>
                  <a:pt x="2016" y="609"/>
                </a:lnTo>
                <a:lnTo>
                  <a:pt x="2008" y="609"/>
                </a:lnTo>
                <a:lnTo>
                  <a:pt x="2007" y="609"/>
                </a:lnTo>
                <a:lnTo>
                  <a:pt x="2005" y="614"/>
                </a:lnTo>
                <a:lnTo>
                  <a:pt x="2000" y="627"/>
                </a:lnTo>
                <a:lnTo>
                  <a:pt x="2000" y="636"/>
                </a:lnTo>
                <a:lnTo>
                  <a:pt x="1997" y="639"/>
                </a:lnTo>
                <a:lnTo>
                  <a:pt x="1997" y="640"/>
                </a:lnTo>
                <a:lnTo>
                  <a:pt x="1999" y="640"/>
                </a:lnTo>
                <a:lnTo>
                  <a:pt x="1997" y="644"/>
                </a:lnTo>
                <a:lnTo>
                  <a:pt x="1999" y="645"/>
                </a:lnTo>
                <a:lnTo>
                  <a:pt x="1997" y="645"/>
                </a:lnTo>
                <a:lnTo>
                  <a:pt x="1980" y="672"/>
                </a:lnTo>
                <a:lnTo>
                  <a:pt x="1962" y="689"/>
                </a:lnTo>
                <a:lnTo>
                  <a:pt x="1960" y="685"/>
                </a:lnTo>
                <a:lnTo>
                  <a:pt x="1960" y="681"/>
                </a:lnTo>
                <a:lnTo>
                  <a:pt x="1958" y="676"/>
                </a:lnTo>
                <a:lnTo>
                  <a:pt x="1957" y="676"/>
                </a:lnTo>
                <a:lnTo>
                  <a:pt x="1954" y="685"/>
                </a:lnTo>
                <a:lnTo>
                  <a:pt x="1950" y="685"/>
                </a:lnTo>
                <a:lnTo>
                  <a:pt x="1941" y="681"/>
                </a:lnTo>
                <a:lnTo>
                  <a:pt x="1940" y="676"/>
                </a:lnTo>
                <a:lnTo>
                  <a:pt x="1936" y="674"/>
                </a:lnTo>
                <a:lnTo>
                  <a:pt x="1929" y="674"/>
                </a:lnTo>
                <a:lnTo>
                  <a:pt x="1926" y="672"/>
                </a:lnTo>
                <a:lnTo>
                  <a:pt x="1924" y="670"/>
                </a:lnTo>
                <a:lnTo>
                  <a:pt x="1922" y="662"/>
                </a:lnTo>
                <a:lnTo>
                  <a:pt x="1918" y="662"/>
                </a:lnTo>
                <a:lnTo>
                  <a:pt x="1921" y="666"/>
                </a:lnTo>
                <a:lnTo>
                  <a:pt x="1922" y="672"/>
                </a:lnTo>
                <a:lnTo>
                  <a:pt x="1925" y="672"/>
                </a:lnTo>
                <a:lnTo>
                  <a:pt x="1926" y="676"/>
                </a:lnTo>
                <a:lnTo>
                  <a:pt x="1927" y="676"/>
                </a:lnTo>
                <a:lnTo>
                  <a:pt x="1936" y="676"/>
                </a:lnTo>
                <a:lnTo>
                  <a:pt x="1939" y="685"/>
                </a:lnTo>
                <a:lnTo>
                  <a:pt x="1943" y="687"/>
                </a:lnTo>
                <a:lnTo>
                  <a:pt x="1947" y="689"/>
                </a:lnTo>
                <a:lnTo>
                  <a:pt x="1951" y="698"/>
                </a:lnTo>
                <a:lnTo>
                  <a:pt x="1958" y="711"/>
                </a:lnTo>
                <a:lnTo>
                  <a:pt x="1957" y="716"/>
                </a:lnTo>
                <a:lnTo>
                  <a:pt x="1960" y="715"/>
                </a:lnTo>
                <a:lnTo>
                  <a:pt x="1960" y="711"/>
                </a:lnTo>
                <a:lnTo>
                  <a:pt x="1965" y="707"/>
                </a:lnTo>
                <a:lnTo>
                  <a:pt x="1966" y="707"/>
                </a:lnTo>
                <a:lnTo>
                  <a:pt x="1965" y="707"/>
                </a:lnTo>
                <a:lnTo>
                  <a:pt x="1971" y="702"/>
                </a:lnTo>
                <a:lnTo>
                  <a:pt x="1974" y="706"/>
                </a:lnTo>
                <a:lnTo>
                  <a:pt x="1976" y="711"/>
                </a:lnTo>
                <a:lnTo>
                  <a:pt x="1982" y="715"/>
                </a:lnTo>
                <a:lnTo>
                  <a:pt x="1983" y="716"/>
                </a:lnTo>
                <a:lnTo>
                  <a:pt x="1985" y="716"/>
                </a:lnTo>
                <a:lnTo>
                  <a:pt x="1990" y="724"/>
                </a:lnTo>
                <a:lnTo>
                  <a:pt x="1990" y="732"/>
                </a:lnTo>
                <a:lnTo>
                  <a:pt x="1991" y="734"/>
                </a:lnTo>
                <a:lnTo>
                  <a:pt x="1993" y="734"/>
                </a:lnTo>
                <a:lnTo>
                  <a:pt x="1996" y="738"/>
                </a:lnTo>
                <a:lnTo>
                  <a:pt x="1999" y="734"/>
                </a:lnTo>
                <a:lnTo>
                  <a:pt x="1997" y="741"/>
                </a:lnTo>
                <a:lnTo>
                  <a:pt x="1999" y="743"/>
                </a:lnTo>
                <a:lnTo>
                  <a:pt x="1999" y="755"/>
                </a:lnTo>
                <a:lnTo>
                  <a:pt x="2001" y="752"/>
                </a:lnTo>
                <a:lnTo>
                  <a:pt x="2002" y="756"/>
                </a:lnTo>
                <a:lnTo>
                  <a:pt x="2004" y="756"/>
                </a:lnTo>
                <a:lnTo>
                  <a:pt x="2002" y="755"/>
                </a:lnTo>
                <a:lnTo>
                  <a:pt x="2001" y="747"/>
                </a:lnTo>
                <a:lnTo>
                  <a:pt x="2005" y="743"/>
                </a:lnTo>
                <a:lnTo>
                  <a:pt x="2014" y="747"/>
                </a:lnTo>
                <a:lnTo>
                  <a:pt x="2015" y="747"/>
                </a:lnTo>
                <a:lnTo>
                  <a:pt x="2018" y="751"/>
                </a:lnTo>
                <a:lnTo>
                  <a:pt x="2016" y="755"/>
                </a:lnTo>
                <a:lnTo>
                  <a:pt x="2019" y="755"/>
                </a:lnTo>
                <a:lnTo>
                  <a:pt x="2021" y="752"/>
                </a:lnTo>
                <a:lnTo>
                  <a:pt x="2025" y="752"/>
                </a:lnTo>
                <a:lnTo>
                  <a:pt x="2022" y="747"/>
                </a:lnTo>
                <a:lnTo>
                  <a:pt x="2027" y="743"/>
                </a:lnTo>
                <a:lnTo>
                  <a:pt x="2035" y="745"/>
                </a:lnTo>
                <a:lnTo>
                  <a:pt x="2040" y="747"/>
                </a:lnTo>
                <a:lnTo>
                  <a:pt x="2033" y="760"/>
                </a:lnTo>
                <a:lnTo>
                  <a:pt x="2033" y="770"/>
                </a:lnTo>
                <a:lnTo>
                  <a:pt x="2030" y="774"/>
                </a:lnTo>
                <a:lnTo>
                  <a:pt x="2026" y="777"/>
                </a:lnTo>
                <a:lnTo>
                  <a:pt x="2026" y="778"/>
                </a:lnTo>
                <a:lnTo>
                  <a:pt x="2025" y="778"/>
                </a:lnTo>
                <a:lnTo>
                  <a:pt x="2024" y="782"/>
                </a:lnTo>
                <a:lnTo>
                  <a:pt x="2026" y="791"/>
                </a:lnTo>
                <a:lnTo>
                  <a:pt x="2026" y="794"/>
                </a:lnTo>
                <a:lnTo>
                  <a:pt x="2024" y="795"/>
                </a:lnTo>
                <a:lnTo>
                  <a:pt x="2024" y="800"/>
                </a:lnTo>
                <a:lnTo>
                  <a:pt x="2026" y="800"/>
                </a:lnTo>
                <a:lnTo>
                  <a:pt x="2024" y="814"/>
                </a:lnTo>
                <a:lnTo>
                  <a:pt x="2021" y="817"/>
                </a:lnTo>
                <a:lnTo>
                  <a:pt x="2019" y="817"/>
                </a:lnTo>
                <a:lnTo>
                  <a:pt x="2014" y="822"/>
                </a:lnTo>
                <a:lnTo>
                  <a:pt x="2010" y="827"/>
                </a:lnTo>
                <a:lnTo>
                  <a:pt x="2011" y="831"/>
                </a:lnTo>
                <a:lnTo>
                  <a:pt x="2019" y="840"/>
                </a:lnTo>
                <a:lnTo>
                  <a:pt x="2021" y="845"/>
                </a:lnTo>
                <a:lnTo>
                  <a:pt x="2011" y="853"/>
                </a:lnTo>
                <a:lnTo>
                  <a:pt x="2007" y="852"/>
                </a:lnTo>
                <a:lnTo>
                  <a:pt x="2008" y="853"/>
                </a:lnTo>
                <a:lnTo>
                  <a:pt x="2007" y="853"/>
                </a:lnTo>
                <a:lnTo>
                  <a:pt x="2000" y="859"/>
                </a:lnTo>
                <a:lnTo>
                  <a:pt x="1993" y="868"/>
                </a:lnTo>
                <a:lnTo>
                  <a:pt x="1996" y="876"/>
                </a:lnTo>
                <a:lnTo>
                  <a:pt x="1997" y="875"/>
                </a:lnTo>
                <a:lnTo>
                  <a:pt x="1999" y="876"/>
                </a:lnTo>
                <a:lnTo>
                  <a:pt x="1997" y="888"/>
                </a:lnTo>
                <a:lnTo>
                  <a:pt x="2004" y="894"/>
                </a:lnTo>
                <a:lnTo>
                  <a:pt x="2015" y="898"/>
                </a:lnTo>
                <a:lnTo>
                  <a:pt x="2018" y="904"/>
                </a:lnTo>
                <a:lnTo>
                  <a:pt x="2025" y="906"/>
                </a:lnTo>
                <a:lnTo>
                  <a:pt x="2027" y="912"/>
                </a:lnTo>
                <a:lnTo>
                  <a:pt x="2027" y="917"/>
                </a:lnTo>
                <a:lnTo>
                  <a:pt x="2025" y="925"/>
                </a:lnTo>
                <a:lnTo>
                  <a:pt x="2021" y="920"/>
                </a:lnTo>
                <a:lnTo>
                  <a:pt x="2012" y="930"/>
                </a:lnTo>
                <a:lnTo>
                  <a:pt x="2007" y="932"/>
                </a:lnTo>
                <a:lnTo>
                  <a:pt x="2005" y="925"/>
                </a:lnTo>
                <a:lnTo>
                  <a:pt x="2005" y="932"/>
                </a:lnTo>
                <a:lnTo>
                  <a:pt x="2004" y="932"/>
                </a:lnTo>
                <a:lnTo>
                  <a:pt x="2004" y="938"/>
                </a:lnTo>
                <a:lnTo>
                  <a:pt x="1996" y="947"/>
                </a:lnTo>
                <a:lnTo>
                  <a:pt x="1993" y="951"/>
                </a:lnTo>
                <a:lnTo>
                  <a:pt x="2000" y="946"/>
                </a:lnTo>
                <a:lnTo>
                  <a:pt x="2007" y="943"/>
                </a:lnTo>
                <a:lnTo>
                  <a:pt x="2007" y="946"/>
                </a:lnTo>
                <a:lnTo>
                  <a:pt x="2010" y="943"/>
                </a:lnTo>
                <a:lnTo>
                  <a:pt x="2012" y="943"/>
                </a:lnTo>
                <a:lnTo>
                  <a:pt x="2014" y="946"/>
                </a:lnTo>
                <a:lnTo>
                  <a:pt x="2014" y="947"/>
                </a:lnTo>
                <a:lnTo>
                  <a:pt x="2012" y="947"/>
                </a:lnTo>
                <a:lnTo>
                  <a:pt x="2012" y="952"/>
                </a:lnTo>
                <a:lnTo>
                  <a:pt x="2010" y="955"/>
                </a:lnTo>
                <a:lnTo>
                  <a:pt x="2012" y="956"/>
                </a:lnTo>
                <a:lnTo>
                  <a:pt x="2011" y="960"/>
                </a:lnTo>
                <a:lnTo>
                  <a:pt x="2000" y="964"/>
                </a:lnTo>
                <a:lnTo>
                  <a:pt x="1993" y="969"/>
                </a:lnTo>
                <a:lnTo>
                  <a:pt x="2001" y="965"/>
                </a:lnTo>
                <a:lnTo>
                  <a:pt x="2012" y="965"/>
                </a:lnTo>
                <a:lnTo>
                  <a:pt x="2014" y="969"/>
                </a:lnTo>
                <a:lnTo>
                  <a:pt x="2012" y="969"/>
                </a:lnTo>
                <a:lnTo>
                  <a:pt x="2012" y="975"/>
                </a:lnTo>
                <a:lnTo>
                  <a:pt x="2010" y="977"/>
                </a:lnTo>
                <a:lnTo>
                  <a:pt x="2007" y="977"/>
                </a:lnTo>
                <a:lnTo>
                  <a:pt x="2004" y="977"/>
                </a:lnTo>
                <a:lnTo>
                  <a:pt x="1999" y="982"/>
                </a:lnTo>
                <a:lnTo>
                  <a:pt x="1996" y="982"/>
                </a:lnTo>
                <a:lnTo>
                  <a:pt x="1994" y="982"/>
                </a:lnTo>
                <a:lnTo>
                  <a:pt x="1996" y="987"/>
                </a:lnTo>
                <a:lnTo>
                  <a:pt x="1997" y="982"/>
                </a:lnTo>
                <a:lnTo>
                  <a:pt x="2000" y="982"/>
                </a:lnTo>
                <a:lnTo>
                  <a:pt x="2004" y="977"/>
                </a:lnTo>
                <a:lnTo>
                  <a:pt x="2008" y="981"/>
                </a:lnTo>
                <a:lnTo>
                  <a:pt x="2010" y="982"/>
                </a:lnTo>
                <a:lnTo>
                  <a:pt x="2011" y="991"/>
                </a:lnTo>
                <a:lnTo>
                  <a:pt x="2008" y="1005"/>
                </a:lnTo>
                <a:lnTo>
                  <a:pt x="2012" y="1014"/>
                </a:lnTo>
                <a:lnTo>
                  <a:pt x="2018" y="1022"/>
                </a:lnTo>
                <a:lnTo>
                  <a:pt x="2019" y="1018"/>
                </a:lnTo>
                <a:lnTo>
                  <a:pt x="2026" y="1022"/>
                </a:lnTo>
                <a:lnTo>
                  <a:pt x="2030" y="1018"/>
                </a:lnTo>
                <a:lnTo>
                  <a:pt x="2032" y="1018"/>
                </a:lnTo>
                <a:lnTo>
                  <a:pt x="2030" y="1027"/>
                </a:lnTo>
                <a:lnTo>
                  <a:pt x="2032" y="1037"/>
                </a:lnTo>
                <a:lnTo>
                  <a:pt x="2030" y="1041"/>
                </a:lnTo>
                <a:lnTo>
                  <a:pt x="2033" y="1050"/>
                </a:lnTo>
                <a:lnTo>
                  <a:pt x="2032" y="1054"/>
                </a:lnTo>
                <a:lnTo>
                  <a:pt x="2030" y="1058"/>
                </a:lnTo>
                <a:lnTo>
                  <a:pt x="2030" y="1059"/>
                </a:lnTo>
                <a:lnTo>
                  <a:pt x="2030" y="1062"/>
                </a:lnTo>
                <a:lnTo>
                  <a:pt x="2029" y="1068"/>
                </a:lnTo>
                <a:lnTo>
                  <a:pt x="2029" y="1076"/>
                </a:lnTo>
                <a:lnTo>
                  <a:pt x="2030" y="1076"/>
                </a:lnTo>
                <a:lnTo>
                  <a:pt x="2036" y="1089"/>
                </a:lnTo>
                <a:lnTo>
                  <a:pt x="2044" y="1097"/>
                </a:lnTo>
                <a:lnTo>
                  <a:pt x="2052" y="1099"/>
                </a:lnTo>
                <a:lnTo>
                  <a:pt x="2064" y="1104"/>
                </a:lnTo>
                <a:lnTo>
                  <a:pt x="2068" y="1106"/>
                </a:lnTo>
                <a:lnTo>
                  <a:pt x="2069" y="1104"/>
                </a:lnTo>
                <a:lnTo>
                  <a:pt x="2072" y="1104"/>
                </a:lnTo>
                <a:lnTo>
                  <a:pt x="2071" y="1106"/>
                </a:lnTo>
                <a:lnTo>
                  <a:pt x="2071" y="1108"/>
                </a:lnTo>
                <a:lnTo>
                  <a:pt x="2074" y="1106"/>
                </a:lnTo>
                <a:lnTo>
                  <a:pt x="2071" y="1111"/>
                </a:lnTo>
                <a:lnTo>
                  <a:pt x="2062" y="1116"/>
                </a:lnTo>
                <a:lnTo>
                  <a:pt x="2057" y="1121"/>
                </a:lnTo>
                <a:lnTo>
                  <a:pt x="2050" y="1129"/>
                </a:lnTo>
                <a:lnTo>
                  <a:pt x="2046" y="1142"/>
                </a:lnTo>
                <a:lnTo>
                  <a:pt x="2046" y="1155"/>
                </a:lnTo>
                <a:lnTo>
                  <a:pt x="2047" y="1161"/>
                </a:lnTo>
                <a:lnTo>
                  <a:pt x="2050" y="1164"/>
                </a:lnTo>
                <a:lnTo>
                  <a:pt x="2049" y="1166"/>
                </a:lnTo>
                <a:lnTo>
                  <a:pt x="2049" y="1170"/>
                </a:lnTo>
                <a:lnTo>
                  <a:pt x="2050" y="1170"/>
                </a:lnTo>
                <a:lnTo>
                  <a:pt x="2054" y="1188"/>
                </a:lnTo>
                <a:lnTo>
                  <a:pt x="2061" y="1201"/>
                </a:lnTo>
                <a:lnTo>
                  <a:pt x="2068" y="1205"/>
                </a:lnTo>
                <a:lnTo>
                  <a:pt x="2078" y="1215"/>
                </a:lnTo>
                <a:lnTo>
                  <a:pt x="2080" y="1215"/>
                </a:lnTo>
                <a:lnTo>
                  <a:pt x="2083" y="1218"/>
                </a:lnTo>
                <a:lnTo>
                  <a:pt x="2085" y="1218"/>
                </a:lnTo>
                <a:lnTo>
                  <a:pt x="2094" y="1224"/>
                </a:lnTo>
                <a:lnTo>
                  <a:pt x="2101" y="1224"/>
                </a:lnTo>
                <a:lnTo>
                  <a:pt x="2099" y="1226"/>
                </a:lnTo>
                <a:lnTo>
                  <a:pt x="2094" y="1226"/>
                </a:lnTo>
                <a:lnTo>
                  <a:pt x="2089" y="1228"/>
                </a:lnTo>
                <a:lnTo>
                  <a:pt x="2074" y="1237"/>
                </a:lnTo>
                <a:lnTo>
                  <a:pt x="2064" y="1250"/>
                </a:lnTo>
                <a:lnTo>
                  <a:pt x="2060" y="1263"/>
                </a:lnTo>
                <a:lnTo>
                  <a:pt x="2060" y="1271"/>
                </a:lnTo>
                <a:lnTo>
                  <a:pt x="2061" y="1273"/>
                </a:lnTo>
                <a:lnTo>
                  <a:pt x="2061" y="1275"/>
                </a:lnTo>
                <a:lnTo>
                  <a:pt x="2062" y="1282"/>
                </a:lnTo>
                <a:lnTo>
                  <a:pt x="2069" y="1291"/>
                </a:lnTo>
                <a:lnTo>
                  <a:pt x="2069" y="1295"/>
                </a:lnTo>
                <a:lnTo>
                  <a:pt x="2068" y="1299"/>
                </a:lnTo>
                <a:lnTo>
                  <a:pt x="2060" y="1317"/>
                </a:lnTo>
                <a:lnTo>
                  <a:pt x="2051" y="1334"/>
                </a:lnTo>
                <a:lnTo>
                  <a:pt x="2050" y="1344"/>
                </a:lnTo>
                <a:lnTo>
                  <a:pt x="2055" y="1361"/>
                </a:lnTo>
                <a:lnTo>
                  <a:pt x="2069" y="1382"/>
                </a:lnTo>
                <a:lnTo>
                  <a:pt x="2072" y="1389"/>
                </a:lnTo>
                <a:lnTo>
                  <a:pt x="2061" y="1397"/>
                </a:lnTo>
                <a:lnTo>
                  <a:pt x="2055" y="1394"/>
                </a:lnTo>
                <a:lnTo>
                  <a:pt x="2058" y="1391"/>
                </a:lnTo>
                <a:lnTo>
                  <a:pt x="2057" y="1391"/>
                </a:lnTo>
                <a:lnTo>
                  <a:pt x="2055" y="1394"/>
                </a:lnTo>
                <a:lnTo>
                  <a:pt x="2051" y="1394"/>
                </a:lnTo>
                <a:lnTo>
                  <a:pt x="2051" y="1392"/>
                </a:lnTo>
                <a:lnTo>
                  <a:pt x="2050" y="1392"/>
                </a:lnTo>
                <a:lnTo>
                  <a:pt x="2051" y="1396"/>
                </a:lnTo>
                <a:lnTo>
                  <a:pt x="2055" y="1396"/>
                </a:lnTo>
                <a:lnTo>
                  <a:pt x="2058" y="1397"/>
                </a:lnTo>
                <a:lnTo>
                  <a:pt x="2055" y="1402"/>
                </a:lnTo>
                <a:lnTo>
                  <a:pt x="2055" y="1406"/>
                </a:lnTo>
                <a:lnTo>
                  <a:pt x="2057" y="1402"/>
                </a:lnTo>
                <a:lnTo>
                  <a:pt x="2065" y="1402"/>
                </a:lnTo>
                <a:lnTo>
                  <a:pt x="2066" y="1402"/>
                </a:lnTo>
                <a:lnTo>
                  <a:pt x="2066" y="1409"/>
                </a:lnTo>
                <a:lnTo>
                  <a:pt x="2064" y="1420"/>
                </a:lnTo>
                <a:lnTo>
                  <a:pt x="2057" y="1428"/>
                </a:lnTo>
                <a:lnTo>
                  <a:pt x="2054" y="1437"/>
                </a:lnTo>
                <a:lnTo>
                  <a:pt x="2054" y="1441"/>
                </a:lnTo>
                <a:lnTo>
                  <a:pt x="2051" y="1441"/>
                </a:lnTo>
                <a:lnTo>
                  <a:pt x="2044" y="1441"/>
                </a:lnTo>
                <a:lnTo>
                  <a:pt x="2040" y="1436"/>
                </a:lnTo>
                <a:lnTo>
                  <a:pt x="2037" y="1433"/>
                </a:lnTo>
                <a:lnTo>
                  <a:pt x="2035" y="1428"/>
                </a:lnTo>
                <a:lnTo>
                  <a:pt x="2030" y="1424"/>
                </a:lnTo>
                <a:lnTo>
                  <a:pt x="2030" y="1420"/>
                </a:lnTo>
                <a:lnTo>
                  <a:pt x="2032" y="1415"/>
                </a:lnTo>
                <a:lnTo>
                  <a:pt x="2036" y="1411"/>
                </a:lnTo>
                <a:lnTo>
                  <a:pt x="2035" y="1406"/>
                </a:lnTo>
                <a:lnTo>
                  <a:pt x="2033" y="1406"/>
                </a:lnTo>
                <a:lnTo>
                  <a:pt x="2032" y="1409"/>
                </a:lnTo>
                <a:lnTo>
                  <a:pt x="2030" y="1406"/>
                </a:lnTo>
                <a:lnTo>
                  <a:pt x="2029" y="1406"/>
                </a:lnTo>
                <a:lnTo>
                  <a:pt x="2030" y="1411"/>
                </a:lnTo>
                <a:lnTo>
                  <a:pt x="2033" y="1409"/>
                </a:lnTo>
                <a:lnTo>
                  <a:pt x="2035" y="1411"/>
                </a:lnTo>
                <a:lnTo>
                  <a:pt x="2029" y="1411"/>
                </a:lnTo>
                <a:lnTo>
                  <a:pt x="2026" y="1420"/>
                </a:lnTo>
                <a:lnTo>
                  <a:pt x="2026" y="1437"/>
                </a:lnTo>
                <a:lnTo>
                  <a:pt x="2032" y="1441"/>
                </a:lnTo>
                <a:lnTo>
                  <a:pt x="2036" y="1441"/>
                </a:lnTo>
                <a:lnTo>
                  <a:pt x="2037" y="1441"/>
                </a:lnTo>
                <a:lnTo>
                  <a:pt x="2041" y="1445"/>
                </a:lnTo>
                <a:lnTo>
                  <a:pt x="2041" y="1449"/>
                </a:lnTo>
                <a:lnTo>
                  <a:pt x="2043" y="1446"/>
                </a:lnTo>
                <a:lnTo>
                  <a:pt x="2044" y="1446"/>
                </a:lnTo>
                <a:lnTo>
                  <a:pt x="2054" y="1446"/>
                </a:lnTo>
                <a:lnTo>
                  <a:pt x="2057" y="1449"/>
                </a:lnTo>
                <a:lnTo>
                  <a:pt x="2060" y="1456"/>
                </a:lnTo>
                <a:lnTo>
                  <a:pt x="2060" y="1459"/>
                </a:lnTo>
                <a:lnTo>
                  <a:pt x="2062" y="1464"/>
                </a:lnTo>
                <a:lnTo>
                  <a:pt x="2061" y="1468"/>
                </a:lnTo>
                <a:lnTo>
                  <a:pt x="2062" y="1468"/>
                </a:lnTo>
                <a:lnTo>
                  <a:pt x="2064" y="1469"/>
                </a:lnTo>
                <a:lnTo>
                  <a:pt x="2064" y="1477"/>
                </a:lnTo>
                <a:lnTo>
                  <a:pt x="2071" y="1486"/>
                </a:lnTo>
                <a:lnTo>
                  <a:pt x="2068" y="1486"/>
                </a:lnTo>
                <a:lnTo>
                  <a:pt x="2066" y="1491"/>
                </a:lnTo>
                <a:lnTo>
                  <a:pt x="2066" y="1498"/>
                </a:lnTo>
                <a:lnTo>
                  <a:pt x="2062" y="1498"/>
                </a:lnTo>
                <a:lnTo>
                  <a:pt x="2051" y="1499"/>
                </a:lnTo>
                <a:lnTo>
                  <a:pt x="2049" y="1499"/>
                </a:lnTo>
                <a:lnTo>
                  <a:pt x="2051" y="1503"/>
                </a:lnTo>
                <a:lnTo>
                  <a:pt x="2054" y="1504"/>
                </a:lnTo>
                <a:lnTo>
                  <a:pt x="2060" y="1499"/>
                </a:lnTo>
                <a:lnTo>
                  <a:pt x="2062" y="1499"/>
                </a:lnTo>
                <a:lnTo>
                  <a:pt x="2064" y="1508"/>
                </a:lnTo>
                <a:lnTo>
                  <a:pt x="2062" y="1514"/>
                </a:lnTo>
                <a:lnTo>
                  <a:pt x="2054" y="1518"/>
                </a:lnTo>
                <a:lnTo>
                  <a:pt x="2052" y="1520"/>
                </a:lnTo>
                <a:lnTo>
                  <a:pt x="2051" y="1526"/>
                </a:lnTo>
                <a:lnTo>
                  <a:pt x="2049" y="1532"/>
                </a:lnTo>
                <a:lnTo>
                  <a:pt x="2049" y="1535"/>
                </a:lnTo>
                <a:lnTo>
                  <a:pt x="2050" y="1531"/>
                </a:lnTo>
                <a:lnTo>
                  <a:pt x="2049" y="1544"/>
                </a:lnTo>
                <a:lnTo>
                  <a:pt x="2047" y="1544"/>
                </a:lnTo>
                <a:lnTo>
                  <a:pt x="2044" y="1543"/>
                </a:lnTo>
                <a:lnTo>
                  <a:pt x="2043" y="1544"/>
                </a:lnTo>
                <a:lnTo>
                  <a:pt x="2041" y="1540"/>
                </a:lnTo>
                <a:lnTo>
                  <a:pt x="2040" y="1540"/>
                </a:lnTo>
                <a:lnTo>
                  <a:pt x="2041" y="1543"/>
                </a:lnTo>
                <a:lnTo>
                  <a:pt x="2040" y="1544"/>
                </a:lnTo>
                <a:lnTo>
                  <a:pt x="2046" y="1544"/>
                </a:lnTo>
                <a:lnTo>
                  <a:pt x="2044" y="1546"/>
                </a:lnTo>
                <a:lnTo>
                  <a:pt x="2050" y="1544"/>
                </a:lnTo>
                <a:lnTo>
                  <a:pt x="2052" y="1540"/>
                </a:lnTo>
                <a:lnTo>
                  <a:pt x="2057" y="1535"/>
                </a:lnTo>
                <a:lnTo>
                  <a:pt x="2058" y="1535"/>
                </a:lnTo>
                <a:lnTo>
                  <a:pt x="2061" y="1535"/>
                </a:lnTo>
                <a:lnTo>
                  <a:pt x="2064" y="1535"/>
                </a:lnTo>
                <a:lnTo>
                  <a:pt x="2064" y="1539"/>
                </a:lnTo>
                <a:lnTo>
                  <a:pt x="2065" y="1535"/>
                </a:lnTo>
                <a:lnTo>
                  <a:pt x="2064" y="1540"/>
                </a:lnTo>
                <a:lnTo>
                  <a:pt x="2065" y="1540"/>
                </a:lnTo>
                <a:lnTo>
                  <a:pt x="2065" y="1535"/>
                </a:lnTo>
                <a:lnTo>
                  <a:pt x="2068" y="1539"/>
                </a:lnTo>
                <a:lnTo>
                  <a:pt x="2068" y="1535"/>
                </a:lnTo>
                <a:lnTo>
                  <a:pt x="2069" y="1535"/>
                </a:lnTo>
                <a:lnTo>
                  <a:pt x="2076" y="1535"/>
                </a:lnTo>
                <a:lnTo>
                  <a:pt x="2076" y="1543"/>
                </a:lnTo>
                <a:lnTo>
                  <a:pt x="2079" y="1544"/>
                </a:lnTo>
                <a:lnTo>
                  <a:pt x="2082" y="1546"/>
                </a:lnTo>
                <a:lnTo>
                  <a:pt x="2079" y="1543"/>
                </a:lnTo>
                <a:lnTo>
                  <a:pt x="2079" y="1539"/>
                </a:lnTo>
                <a:lnTo>
                  <a:pt x="2086" y="1535"/>
                </a:lnTo>
                <a:lnTo>
                  <a:pt x="2087" y="1535"/>
                </a:lnTo>
                <a:lnTo>
                  <a:pt x="2090" y="1540"/>
                </a:lnTo>
                <a:lnTo>
                  <a:pt x="2090" y="1548"/>
                </a:lnTo>
                <a:lnTo>
                  <a:pt x="2093" y="1540"/>
                </a:lnTo>
                <a:lnTo>
                  <a:pt x="2094" y="1540"/>
                </a:lnTo>
                <a:lnTo>
                  <a:pt x="2093" y="1535"/>
                </a:lnTo>
                <a:lnTo>
                  <a:pt x="2096" y="1535"/>
                </a:lnTo>
                <a:lnTo>
                  <a:pt x="2093" y="1533"/>
                </a:lnTo>
                <a:lnTo>
                  <a:pt x="2094" y="1532"/>
                </a:lnTo>
                <a:lnTo>
                  <a:pt x="2091" y="1527"/>
                </a:lnTo>
                <a:lnTo>
                  <a:pt x="2097" y="1533"/>
                </a:lnTo>
                <a:lnTo>
                  <a:pt x="2100" y="1535"/>
                </a:lnTo>
                <a:lnTo>
                  <a:pt x="2100" y="1544"/>
                </a:lnTo>
                <a:lnTo>
                  <a:pt x="2101" y="1540"/>
                </a:lnTo>
                <a:lnTo>
                  <a:pt x="2104" y="1540"/>
                </a:lnTo>
                <a:lnTo>
                  <a:pt x="2103" y="1535"/>
                </a:lnTo>
                <a:lnTo>
                  <a:pt x="2103" y="1533"/>
                </a:lnTo>
                <a:lnTo>
                  <a:pt x="2104" y="1533"/>
                </a:lnTo>
                <a:lnTo>
                  <a:pt x="2105" y="1535"/>
                </a:lnTo>
                <a:lnTo>
                  <a:pt x="2107" y="1535"/>
                </a:lnTo>
                <a:lnTo>
                  <a:pt x="2108" y="1535"/>
                </a:lnTo>
                <a:lnTo>
                  <a:pt x="2110" y="1539"/>
                </a:lnTo>
                <a:lnTo>
                  <a:pt x="2108" y="1540"/>
                </a:lnTo>
                <a:lnTo>
                  <a:pt x="2111" y="1540"/>
                </a:lnTo>
                <a:lnTo>
                  <a:pt x="2112" y="1540"/>
                </a:lnTo>
                <a:lnTo>
                  <a:pt x="2112" y="1544"/>
                </a:lnTo>
                <a:lnTo>
                  <a:pt x="2114" y="1543"/>
                </a:lnTo>
                <a:lnTo>
                  <a:pt x="2117" y="1544"/>
                </a:lnTo>
                <a:lnTo>
                  <a:pt x="2115" y="1548"/>
                </a:lnTo>
                <a:lnTo>
                  <a:pt x="2108" y="1549"/>
                </a:lnTo>
                <a:lnTo>
                  <a:pt x="2085" y="1563"/>
                </a:lnTo>
                <a:lnTo>
                  <a:pt x="2080" y="1566"/>
                </a:lnTo>
                <a:lnTo>
                  <a:pt x="2078" y="1569"/>
                </a:lnTo>
                <a:lnTo>
                  <a:pt x="2075" y="1566"/>
                </a:lnTo>
                <a:lnTo>
                  <a:pt x="2075" y="1569"/>
                </a:lnTo>
                <a:lnTo>
                  <a:pt x="2064" y="1574"/>
                </a:lnTo>
                <a:lnTo>
                  <a:pt x="2058" y="1580"/>
                </a:lnTo>
                <a:lnTo>
                  <a:pt x="2058" y="1589"/>
                </a:lnTo>
                <a:lnTo>
                  <a:pt x="2054" y="1601"/>
                </a:lnTo>
                <a:lnTo>
                  <a:pt x="2051" y="1601"/>
                </a:lnTo>
                <a:lnTo>
                  <a:pt x="2049" y="1599"/>
                </a:lnTo>
                <a:lnTo>
                  <a:pt x="2044" y="1601"/>
                </a:lnTo>
                <a:lnTo>
                  <a:pt x="2049" y="1601"/>
                </a:lnTo>
                <a:lnTo>
                  <a:pt x="2050" y="1602"/>
                </a:lnTo>
                <a:lnTo>
                  <a:pt x="2049" y="1605"/>
                </a:lnTo>
                <a:lnTo>
                  <a:pt x="2052" y="1606"/>
                </a:lnTo>
                <a:lnTo>
                  <a:pt x="2050" y="1614"/>
                </a:lnTo>
                <a:lnTo>
                  <a:pt x="2047" y="1615"/>
                </a:lnTo>
                <a:lnTo>
                  <a:pt x="2047" y="1619"/>
                </a:lnTo>
                <a:lnTo>
                  <a:pt x="2044" y="1619"/>
                </a:lnTo>
                <a:lnTo>
                  <a:pt x="2044" y="1620"/>
                </a:lnTo>
                <a:lnTo>
                  <a:pt x="2040" y="1625"/>
                </a:lnTo>
                <a:lnTo>
                  <a:pt x="2033" y="1625"/>
                </a:lnTo>
                <a:lnTo>
                  <a:pt x="2029" y="1627"/>
                </a:lnTo>
                <a:lnTo>
                  <a:pt x="2026" y="1627"/>
                </a:lnTo>
                <a:lnTo>
                  <a:pt x="2025" y="1628"/>
                </a:lnTo>
                <a:lnTo>
                  <a:pt x="2024" y="1632"/>
                </a:lnTo>
                <a:lnTo>
                  <a:pt x="2026" y="1632"/>
                </a:lnTo>
                <a:lnTo>
                  <a:pt x="2026" y="1628"/>
                </a:lnTo>
                <a:lnTo>
                  <a:pt x="2029" y="1628"/>
                </a:lnTo>
                <a:lnTo>
                  <a:pt x="2033" y="1627"/>
                </a:lnTo>
                <a:lnTo>
                  <a:pt x="2035" y="1627"/>
                </a:lnTo>
                <a:lnTo>
                  <a:pt x="2030" y="1628"/>
                </a:lnTo>
                <a:lnTo>
                  <a:pt x="2029" y="1632"/>
                </a:lnTo>
                <a:lnTo>
                  <a:pt x="2027" y="1633"/>
                </a:lnTo>
                <a:lnTo>
                  <a:pt x="2036" y="1628"/>
                </a:lnTo>
                <a:lnTo>
                  <a:pt x="2035" y="1633"/>
                </a:lnTo>
                <a:lnTo>
                  <a:pt x="2032" y="1638"/>
                </a:lnTo>
                <a:lnTo>
                  <a:pt x="2035" y="1636"/>
                </a:lnTo>
                <a:lnTo>
                  <a:pt x="2037" y="1633"/>
                </a:lnTo>
                <a:lnTo>
                  <a:pt x="2037" y="1636"/>
                </a:lnTo>
                <a:lnTo>
                  <a:pt x="2037" y="1638"/>
                </a:lnTo>
                <a:lnTo>
                  <a:pt x="2040" y="1638"/>
                </a:lnTo>
                <a:lnTo>
                  <a:pt x="2037" y="1642"/>
                </a:lnTo>
                <a:lnTo>
                  <a:pt x="2041" y="1640"/>
                </a:lnTo>
                <a:lnTo>
                  <a:pt x="2040" y="1642"/>
                </a:lnTo>
                <a:lnTo>
                  <a:pt x="2044" y="1643"/>
                </a:lnTo>
                <a:lnTo>
                  <a:pt x="2046" y="1645"/>
                </a:lnTo>
                <a:lnTo>
                  <a:pt x="2043" y="1647"/>
                </a:lnTo>
                <a:lnTo>
                  <a:pt x="2046" y="1647"/>
                </a:lnTo>
                <a:lnTo>
                  <a:pt x="2044" y="1651"/>
                </a:lnTo>
                <a:lnTo>
                  <a:pt x="2047" y="1658"/>
                </a:lnTo>
                <a:lnTo>
                  <a:pt x="2044" y="1663"/>
                </a:lnTo>
                <a:lnTo>
                  <a:pt x="2044" y="1664"/>
                </a:lnTo>
                <a:lnTo>
                  <a:pt x="2046" y="1663"/>
                </a:lnTo>
                <a:lnTo>
                  <a:pt x="2049" y="1660"/>
                </a:lnTo>
                <a:lnTo>
                  <a:pt x="2049" y="1651"/>
                </a:lnTo>
                <a:lnTo>
                  <a:pt x="2051" y="1651"/>
                </a:lnTo>
                <a:lnTo>
                  <a:pt x="2054" y="1651"/>
                </a:lnTo>
                <a:lnTo>
                  <a:pt x="2055" y="1655"/>
                </a:lnTo>
                <a:lnTo>
                  <a:pt x="2062" y="1655"/>
                </a:lnTo>
                <a:lnTo>
                  <a:pt x="2071" y="1651"/>
                </a:lnTo>
                <a:lnTo>
                  <a:pt x="2072" y="1651"/>
                </a:lnTo>
                <a:lnTo>
                  <a:pt x="2076" y="1651"/>
                </a:lnTo>
                <a:lnTo>
                  <a:pt x="2078" y="1655"/>
                </a:lnTo>
                <a:lnTo>
                  <a:pt x="2078" y="1651"/>
                </a:lnTo>
                <a:lnTo>
                  <a:pt x="2076" y="1651"/>
                </a:lnTo>
                <a:lnTo>
                  <a:pt x="2087" y="1651"/>
                </a:lnTo>
                <a:lnTo>
                  <a:pt x="2096" y="1651"/>
                </a:lnTo>
                <a:lnTo>
                  <a:pt x="2105" y="1651"/>
                </a:lnTo>
                <a:lnTo>
                  <a:pt x="2111" y="1651"/>
                </a:lnTo>
                <a:lnTo>
                  <a:pt x="2115" y="1651"/>
                </a:lnTo>
                <a:lnTo>
                  <a:pt x="2115" y="1655"/>
                </a:lnTo>
                <a:lnTo>
                  <a:pt x="2114" y="1656"/>
                </a:lnTo>
                <a:lnTo>
                  <a:pt x="2114" y="1664"/>
                </a:lnTo>
                <a:lnTo>
                  <a:pt x="2112" y="1668"/>
                </a:lnTo>
                <a:lnTo>
                  <a:pt x="2105" y="1669"/>
                </a:lnTo>
                <a:lnTo>
                  <a:pt x="2104" y="1669"/>
                </a:lnTo>
                <a:lnTo>
                  <a:pt x="2104" y="1668"/>
                </a:lnTo>
                <a:lnTo>
                  <a:pt x="2101" y="1668"/>
                </a:lnTo>
                <a:lnTo>
                  <a:pt x="2099" y="1669"/>
                </a:lnTo>
                <a:lnTo>
                  <a:pt x="2103" y="1669"/>
                </a:lnTo>
                <a:lnTo>
                  <a:pt x="2100" y="1682"/>
                </a:lnTo>
                <a:lnTo>
                  <a:pt x="2100" y="1686"/>
                </a:lnTo>
                <a:lnTo>
                  <a:pt x="2101" y="1690"/>
                </a:lnTo>
                <a:lnTo>
                  <a:pt x="2100" y="1692"/>
                </a:lnTo>
                <a:lnTo>
                  <a:pt x="2100" y="1695"/>
                </a:lnTo>
                <a:lnTo>
                  <a:pt x="2101" y="1698"/>
                </a:lnTo>
                <a:lnTo>
                  <a:pt x="2107" y="1700"/>
                </a:lnTo>
                <a:lnTo>
                  <a:pt x="2107" y="1703"/>
                </a:lnTo>
                <a:lnTo>
                  <a:pt x="2108" y="1705"/>
                </a:lnTo>
                <a:lnTo>
                  <a:pt x="2107" y="1705"/>
                </a:lnTo>
                <a:lnTo>
                  <a:pt x="2108" y="1705"/>
                </a:lnTo>
                <a:lnTo>
                  <a:pt x="2114" y="1722"/>
                </a:lnTo>
                <a:lnTo>
                  <a:pt x="2114" y="1726"/>
                </a:lnTo>
                <a:lnTo>
                  <a:pt x="2112" y="1727"/>
                </a:lnTo>
                <a:lnTo>
                  <a:pt x="2115" y="1727"/>
                </a:lnTo>
                <a:lnTo>
                  <a:pt x="2112" y="1727"/>
                </a:lnTo>
                <a:lnTo>
                  <a:pt x="2112" y="1731"/>
                </a:lnTo>
                <a:lnTo>
                  <a:pt x="2110" y="1731"/>
                </a:lnTo>
                <a:lnTo>
                  <a:pt x="2112" y="1734"/>
                </a:lnTo>
                <a:lnTo>
                  <a:pt x="2114" y="1731"/>
                </a:lnTo>
                <a:lnTo>
                  <a:pt x="2118" y="1730"/>
                </a:lnTo>
                <a:lnTo>
                  <a:pt x="2117" y="1731"/>
                </a:lnTo>
                <a:lnTo>
                  <a:pt x="2119" y="1735"/>
                </a:lnTo>
                <a:lnTo>
                  <a:pt x="2124" y="1737"/>
                </a:lnTo>
                <a:lnTo>
                  <a:pt x="2124" y="1739"/>
                </a:lnTo>
                <a:lnTo>
                  <a:pt x="2129" y="1740"/>
                </a:lnTo>
                <a:lnTo>
                  <a:pt x="2139" y="1740"/>
                </a:lnTo>
                <a:lnTo>
                  <a:pt x="2145" y="1738"/>
                </a:lnTo>
                <a:lnTo>
                  <a:pt x="2153" y="1744"/>
                </a:lnTo>
                <a:lnTo>
                  <a:pt x="2156" y="1754"/>
                </a:lnTo>
                <a:lnTo>
                  <a:pt x="2153" y="1765"/>
                </a:lnTo>
                <a:lnTo>
                  <a:pt x="2151" y="1763"/>
                </a:lnTo>
                <a:lnTo>
                  <a:pt x="2151" y="1757"/>
                </a:lnTo>
                <a:lnTo>
                  <a:pt x="2147" y="1762"/>
                </a:lnTo>
                <a:lnTo>
                  <a:pt x="2146" y="1762"/>
                </a:lnTo>
                <a:lnTo>
                  <a:pt x="2142" y="1754"/>
                </a:lnTo>
                <a:lnTo>
                  <a:pt x="2129" y="1752"/>
                </a:lnTo>
                <a:lnTo>
                  <a:pt x="2129" y="1750"/>
                </a:lnTo>
                <a:lnTo>
                  <a:pt x="2128" y="1748"/>
                </a:lnTo>
                <a:lnTo>
                  <a:pt x="2121" y="1748"/>
                </a:lnTo>
                <a:lnTo>
                  <a:pt x="2114" y="1754"/>
                </a:lnTo>
                <a:lnTo>
                  <a:pt x="2114" y="1772"/>
                </a:lnTo>
                <a:lnTo>
                  <a:pt x="2115" y="1780"/>
                </a:lnTo>
                <a:lnTo>
                  <a:pt x="2114" y="1784"/>
                </a:lnTo>
                <a:lnTo>
                  <a:pt x="2117" y="1784"/>
                </a:lnTo>
                <a:lnTo>
                  <a:pt x="2118" y="1792"/>
                </a:lnTo>
                <a:lnTo>
                  <a:pt x="2121" y="1793"/>
                </a:lnTo>
                <a:lnTo>
                  <a:pt x="2112" y="1802"/>
                </a:lnTo>
                <a:lnTo>
                  <a:pt x="2111" y="1806"/>
                </a:lnTo>
                <a:lnTo>
                  <a:pt x="2114" y="1810"/>
                </a:lnTo>
                <a:lnTo>
                  <a:pt x="2117" y="1812"/>
                </a:lnTo>
                <a:lnTo>
                  <a:pt x="2121" y="1812"/>
                </a:lnTo>
                <a:lnTo>
                  <a:pt x="2126" y="1815"/>
                </a:lnTo>
                <a:lnTo>
                  <a:pt x="2126" y="1829"/>
                </a:lnTo>
                <a:lnTo>
                  <a:pt x="2124" y="1829"/>
                </a:lnTo>
                <a:lnTo>
                  <a:pt x="2125" y="1829"/>
                </a:lnTo>
                <a:lnTo>
                  <a:pt x="2128" y="1827"/>
                </a:lnTo>
                <a:lnTo>
                  <a:pt x="2128" y="1825"/>
                </a:lnTo>
                <a:lnTo>
                  <a:pt x="2129" y="1821"/>
                </a:lnTo>
                <a:lnTo>
                  <a:pt x="2132" y="1821"/>
                </a:lnTo>
                <a:lnTo>
                  <a:pt x="2129" y="1821"/>
                </a:lnTo>
                <a:lnTo>
                  <a:pt x="2125" y="1807"/>
                </a:lnTo>
                <a:lnTo>
                  <a:pt x="2124" y="1807"/>
                </a:lnTo>
                <a:lnTo>
                  <a:pt x="2117" y="1807"/>
                </a:lnTo>
                <a:lnTo>
                  <a:pt x="2114" y="1807"/>
                </a:lnTo>
                <a:lnTo>
                  <a:pt x="2114" y="1806"/>
                </a:lnTo>
                <a:lnTo>
                  <a:pt x="2119" y="1802"/>
                </a:lnTo>
                <a:lnTo>
                  <a:pt x="2129" y="1801"/>
                </a:lnTo>
                <a:lnTo>
                  <a:pt x="2132" y="1797"/>
                </a:lnTo>
                <a:lnTo>
                  <a:pt x="2139" y="1793"/>
                </a:lnTo>
                <a:lnTo>
                  <a:pt x="2143" y="1793"/>
                </a:lnTo>
                <a:lnTo>
                  <a:pt x="2151" y="1802"/>
                </a:lnTo>
                <a:lnTo>
                  <a:pt x="2153" y="1812"/>
                </a:lnTo>
                <a:lnTo>
                  <a:pt x="2151" y="1815"/>
                </a:lnTo>
                <a:lnTo>
                  <a:pt x="2146" y="1815"/>
                </a:lnTo>
                <a:lnTo>
                  <a:pt x="2147" y="1815"/>
                </a:lnTo>
                <a:lnTo>
                  <a:pt x="2146" y="1821"/>
                </a:lnTo>
                <a:lnTo>
                  <a:pt x="2143" y="1829"/>
                </a:lnTo>
                <a:lnTo>
                  <a:pt x="2143" y="1832"/>
                </a:lnTo>
                <a:lnTo>
                  <a:pt x="2137" y="1838"/>
                </a:lnTo>
                <a:lnTo>
                  <a:pt x="2139" y="1838"/>
                </a:lnTo>
                <a:lnTo>
                  <a:pt x="2143" y="1837"/>
                </a:lnTo>
                <a:lnTo>
                  <a:pt x="2143" y="1841"/>
                </a:lnTo>
                <a:lnTo>
                  <a:pt x="2142" y="1842"/>
                </a:lnTo>
                <a:lnTo>
                  <a:pt x="2143" y="1842"/>
                </a:lnTo>
                <a:lnTo>
                  <a:pt x="2146" y="1838"/>
                </a:lnTo>
                <a:lnTo>
                  <a:pt x="2146" y="1832"/>
                </a:lnTo>
                <a:lnTo>
                  <a:pt x="2149" y="1829"/>
                </a:lnTo>
                <a:lnTo>
                  <a:pt x="2151" y="1829"/>
                </a:lnTo>
                <a:lnTo>
                  <a:pt x="2153" y="1832"/>
                </a:lnTo>
                <a:lnTo>
                  <a:pt x="2153" y="1842"/>
                </a:lnTo>
                <a:lnTo>
                  <a:pt x="2154" y="1834"/>
                </a:lnTo>
                <a:lnTo>
                  <a:pt x="2156" y="1834"/>
                </a:lnTo>
                <a:lnTo>
                  <a:pt x="2156" y="1829"/>
                </a:lnTo>
                <a:lnTo>
                  <a:pt x="2164" y="1825"/>
                </a:lnTo>
                <a:lnTo>
                  <a:pt x="2164" y="1838"/>
                </a:lnTo>
                <a:lnTo>
                  <a:pt x="2161" y="1847"/>
                </a:lnTo>
                <a:lnTo>
                  <a:pt x="2153" y="1866"/>
                </a:lnTo>
                <a:lnTo>
                  <a:pt x="2149" y="1869"/>
                </a:lnTo>
                <a:lnTo>
                  <a:pt x="2142" y="1873"/>
                </a:lnTo>
                <a:lnTo>
                  <a:pt x="2137" y="1873"/>
                </a:lnTo>
                <a:lnTo>
                  <a:pt x="2133" y="1876"/>
                </a:lnTo>
                <a:lnTo>
                  <a:pt x="2125" y="1881"/>
                </a:lnTo>
                <a:lnTo>
                  <a:pt x="2124" y="1881"/>
                </a:lnTo>
                <a:lnTo>
                  <a:pt x="2125" y="1879"/>
                </a:lnTo>
                <a:lnTo>
                  <a:pt x="2124" y="1876"/>
                </a:lnTo>
                <a:lnTo>
                  <a:pt x="2118" y="1872"/>
                </a:lnTo>
                <a:lnTo>
                  <a:pt x="2118" y="1866"/>
                </a:lnTo>
                <a:lnTo>
                  <a:pt x="2112" y="1860"/>
                </a:lnTo>
                <a:lnTo>
                  <a:pt x="2111" y="1856"/>
                </a:lnTo>
                <a:lnTo>
                  <a:pt x="2105" y="1855"/>
                </a:lnTo>
                <a:lnTo>
                  <a:pt x="2099" y="1843"/>
                </a:lnTo>
                <a:lnTo>
                  <a:pt x="2097" y="1850"/>
                </a:lnTo>
                <a:lnTo>
                  <a:pt x="2094" y="1850"/>
                </a:lnTo>
                <a:lnTo>
                  <a:pt x="2100" y="1851"/>
                </a:lnTo>
                <a:lnTo>
                  <a:pt x="2110" y="1864"/>
                </a:lnTo>
                <a:lnTo>
                  <a:pt x="2108" y="1868"/>
                </a:lnTo>
                <a:lnTo>
                  <a:pt x="2111" y="1869"/>
                </a:lnTo>
                <a:lnTo>
                  <a:pt x="2108" y="1873"/>
                </a:lnTo>
                <a:lnTo>
                  <a:pt x="2108" y="1876"/>
                </a:lnTo>
                <a:lnTo>
                  <a:pt x="2110" y="1877"/>
                </a:lnTo>
                <a:lnTo>
                  <a:pt x="2108" y="1883"/>
                </a:lnTo>
                <a:lnTo>
                  <a:pt x="2110" y="1883"/>
                </a:lnTo>
                <a:lnTo>
                  <a:pt x="2112" y="1885"/>
                </a:lnTo>
                <a:lnTo>
                  <a:pt x="2110" y="1891"/>
                </a:lnTo>
                <a:lnTo>
                  <a:pt x="2105" y="1892"/>
                </a:lnTo>
                <a:lnTo>
                  <a:pt x="2100" y="1898"/>
                </a:lnTo>
                <a:lnTo>
                  <a:pt x="2099" y="1896"/>
                </a:lnTo>
                <a:lnTo>
                  <a:pt x="2097" y="1892"/>
                </a:lnTo>
                <a:lnTo>
                  <a:pt x="2094" y="1894"/>
                </a:lnTo>
                <a:lnTo>
                  <a:pt x="2096" y="1896"/>
                </a:lnTo>
                <a:lnTo>
                  <a:pt x="2094" y="1896"/>
                </a:lnTo>
                <a:lnTo>
                  <a:pt x="2093" y="1896"/>
                </a:lnTo>
                <a:lnTo>
                  <a:pt x="2093" y="1901"/>
                </a:lnTo>
                <a:lnTo>
                  <a:pt x="2094" y="1904"/>
                </a:lnTo>
                <a:lnTo>
                  <a:pt x="2097" y="1904"/>
                </a:lnTo>
                <a:lnTo>
                  <a:pt x="2097" y="1905"/>
                </a:lnTo>
                <a:lnTo>
                  <a:pt x="2094" y="1914"/>
                </a:lnTo>
                <a:lnTo>
                  <a:pt x="2087" y="1928"/>
                </a:lnTo>
                <a:lnTo>
                  <a:pt x="2085" y="1931"/>
                </a:lnTo>
                <a:lnTo>
                  <a:pt x="2083" y="1945"/>
                </a:lnTo>
                <a:lnTo>
                  <a:pt x="2074" y="1958"/>
                </a:lnTo>
                <a:lnTo>
                  <a:pt x="2072" y="1966"/>
                </a:lnTo>
                <a:lnTo>
                  <a:pt x="2068" y="1972"/>
                </a:lnTo>
                <a:lnTo>
                  <a:pt x="2064" y="1971"/>
                </a:lnTo>
                <a:lnTo>
                  <a:pt x="2061" y="1967"/>
                </a:lnTo>
                <a:lnTo>
                  <a:pt x="2062" y="1966"/>
                </a:lnTo>
                <a:lnTo>
                  <a:pt x="2060" y="1958"/>
                </a:lnTo>
                <a:lnTo>
                  <a:pt x="2062" y="1956"/>
                </a:lnTo>
                <a:lnTo>
                  <a:pt x="2062" y="1943"/>
                </a:lnTo>
                <a:lnTo>
                  <a:pt x="2060" y="1937"/>
                </a:lnTo>
                <a:lnTo>
                  <a:pt x="2054" y="1935"/>
                </a:lnTo>
                <a:lnTo>
                  <a:pt x="2054" y="1934"/>
                </a:lnTo>
                <a:lnTo>
                  <a:pt x="2051" y="1931"/>
                </a:lnTo>
                <a:lnTo>
                  <a:pt x="2050" y="1931"/>
                </a:lnTo>
                <a:lnTo>
                  <a:pt x="2052" y="1934"/>
                </a:lnTo>
                <a:lnTo>
                  <a:pt x="2051" y="1935"/>
                </a:lnTo>
                <a:lnTo>
                  <a:pt x="2046" y="1934"/>
                </a:lnTo>
                <a:lnTo>
                  <a:pt x="2037" y="1934"/>
                </a:lnTo>
                <a:lnTo>
                  <a:pt x="2036" y="1935"/>
                </a:lnTo>
                <a:lnTo>
                  <a:pt x="2035" y="1934"/>
                </a:lnTo>
                <a:lnTo>
                  <a:pt x="2029" y="1935"/>
                </a:lnTo>
                <a:lnTo>
                  <a:pt x="2022" y="1939"/>
                </a:lnTo>
                <a:lnTo>
                  <a:pt x="2014" y="1945"/>
                </a:lnTo>
                <a:lnTo>
                  <a:pt x="2010" y="1950"/>
                </a:lnTo>
                <a:lnTo>
                  <a:pt x="2010" y="1953"/>
                </a:lnTo>
                <a:lnTo>
                  <a:pt x="2008" y="1953"/>
                </a:lnTo>
                <a:lnTo>
                  <a:pt x="2005" y="1956"/>
                </a:lnTo>
                <a:lnTo>
                  <a:pt x="2004" y="1954"/>
                </a:lnTo>
                <a:lnTo>
                  <a:pt x="2004" y="1958"/>
                </a:lnTo>
                <a:lnTo>
                  <a:pt x="2005" y="1958"/>
                </a:lnTo>
                <a:lnTo>
                  <a:pt x="2001" y="1958"/>
                </a:lnTo>
                <a:lnTo>
                  <a:pt x="2002" y="1958"/>
                </a:lnTo>
                <a:lnTo>
                  <a:pt x="2001" y="1963"/>
                </a:lnTo>
                <a:lnTo>
                  <a:pt x="1994" y="1961"/>
                </a:lnTo>
                <a:lnTo>
                  <a:pt x="1993" y="1958"/>
                </a:lnTo>
                <a:lnTo>
                  <a:pt x="1994" y="1954"/>
                </a:lnTo>
                <a:lnTo>
                  <a:pt x="1990" y="1954"/>
                </a:lnTo>
                <a:lnTo>
                  <a:pt x="1987" y="1954"/>
                </a:lnTo>
                <a:lnTo>
                  <a:pt x="1986" y="1958"/>
                </a:lnTo>
                <a:lnTo>
                  <a:pt x="1990" y="1954"/>
                </a:lnTo>
                <a:lnTo>
                  <a:pt x="1991" y="1956"/>
                </a:lnTo>
                <a:lnTo>
                  <a:pt x="1989" y="1958"/>
                </a:lnTo>
                <a:lnTo>
                  <a:pt x="1991" y="1967"/>
                </a:lnTo>
                <a:lnTo>
                  <a:pt x="1987" y="1966"/>
                </a:lnTo>
                <a:lnTo>
                  <a:pt x="1982" y="1967"/>
                </a:lnTo>
                <a:lnTo>
                  <a:pt x="1985" y="1967"/>
                </a:lnTo>
                <a:lnTo>
                  <a:pt x="1986" y="1967"/>
                </a:lnTo>
                <a:lnTo>
                  <a:pt x="1987" y="1967"/>
                </a:lnTo>
                <a:lnTo>
                  <a:pt x="1989" y="1967"/>
                </a:lnTo>
                <a:lnTo>
                  <a:pt x="1987" y="1971"/>
                </a:lnTo>
                <a:lnTo>
                  <a:pt x="1989" y="1972"/>
                </a:lnTo>
                <a:lnTo>
                  <a:pt x="1983" y="1985"/>
                </a:lnTo>
                <a:lnTo>
                  <a:pt x="1982" y="1993"/>
                </a:lnTo>
                <a:lnTo>
                  <a:pt x="1985" y="1995"/>
                </a:lnTo>
                <a:lnTo>
                  <a:pt x="1983" y="1998"/>
                </a:lnTo>
                <a:lnTo>
                  <a:pt x="1986" y="2001"/>
                </a:lnTo>
                <a:lnTo>
                  <a:pt x="1987" y="2006"/>
                </a:lnTo>
                <a:lnTo>
                  <a:pt x="1991" y="2008"/>
                </a:lnTo>
                <a:lnTo>
                  <a:pt x="1991" y="2012"/>
                </a:lnTo>
                <a:lnTo>
                  <a:pt x="2004" y="2023"/>
                </a:lnTo>
                <a:lnTo>
                  <a:pt x="2004" y="2025"/>
                </a:lnTo>
                <a:lnTo>
                  <a:pt x="2001" y="2025"/>
                </a:lnTo>
                <a:lnTo>
                  <a:pt x="2002" y="2025"/>
                </a:lnTo>
                <a:lnTo>
                  <a:pt x="2001" y="2028"/>
                </a:lnTo>
                <a:lnTo>
                  <a:pt x="2004" y="2028"/>
                </a:lnTo>
                <a:lnTo>
                  <a:pt x="2007" y="2033"/>
                </a:lnTo>
                <a:lnTo>
                  <a:pt x="2010" y="2037"/>
                </a:lnTo>
                <a:lnTo>
                  <a:pt x="2012" y="2041"/>
                </a:lnTo>
                <a:lnTo>
                  <a:pt x="2010" y="2041"/>
                </a:lnTo>
                <a:lnTo>
                  <a:pt x="2012" y="2043"/>
                </a:lnTo>
                <a:lnTo>
                  <a:pt x="2011" y="2043"/>
                </a:lnTo>
                <a:lnTo>
                  <a:pt x="2010" y="2047"/>
                </a:lnTo>
                <a:lnTo>
                  <a:pt x="2010" y="2050"/>
                </a:lnTo>
                <a:lnTo>
                  <a:pt x="2007" y="2051"/>
                </a:lnTo>
                <a:lnTo>
                  <a:pt x="2011" y="2051"/>
                </a:lnTo>
                <a:lnTo>
                  <a:pt x="2012" y="2051"/>
                </a:lnTo>
                <a:lnTo>
                  <a:pt x="2022" y="2050"/>
                </a:lnTo>
                <a:lnTo>
                  <a:pt x="2027" y="2050"/>
                </a:lnTo>
                <a:lnTo>
                  <a:pt x="2026" y="2057"/>
                </a:lnTo>
                <a:lnTo>
                  <a:pt x="2033" y="2060"/>
                </a:lnTo>
                <a:lnTo>
                  <a:pt x="2032" y="2059"/>
                </a:lnTo>
                <a:lnTo>
                  <a:pt x="2029" y="2057"/>
                </a:lnTo>
                <a:lnTo>
                  <a:pt x="2030" y="2051"/>
                </a:lnTo>
                <a:lnTo>
                  <a:pt x="2039" y="2055"/>
                </a:lnTo>
                <a:lnTo>
                  <a:pt x="2040" y="2051"/>
                </a:lnTo>
                <a:lnTo>
                  <a:pt x="2046" y="2055"/>
                </a:lnTo>
                <a:lnTo>
                  <a:pt x="2050" y="2051"/>
                </a:lnTo>
                <a:lnTo>
                  <a:pt x="2046" y="2057"/>
                </a:lnTo>
                <a:lnTo>
                  <a:pt x="2049" y="2063"/>
                </a:lnTo>
                <a:lnTo>
                  <a:pt x="2049" y="2070"/>
                </a:lnTo>
                <a:lnTo>
                  <a:pt x="2050" y="2066"/>
                </a:lnTo>
                <a:lnTo>
                  <a:pt x="2051" y="2065"/>
                </a:lnTo>
                <a:lnTo>
                  <a:pt x="2052" y="2066"/>
                </a:lnTo>
                <a:lnTo>
                  <a:pt x="2051" y="2070"/>
                </a:lnTo>
                <a:lnTo>
                  <a:pt x="2052" y="2070"/>
                </a:lnTo>
                <a:lnTo>
                  <a:pt x="2055" y="2066"/>
                </a:lnTo>
                <a:lnTo>
                  <a:pt x="2055" y="2060"/>
                </a:lnTo>
                <a:lnTo>
                  <a:pt x="2061" y="2057"/>
                </a:lnTo>
                <a:lnTo>
                  <a:pt x="2064" y="2057"/>
                </a:lnTo>
                <a:lnTo>
                  <a:pt x="2068" y="2051"/>
                </a:lnTo>
                <a:lnTo>
                  <a:pt x="2066" y="2047"/>
                </a:lnTo>
                <a:lnTo>
                  <a:pt x="2069" y="2043"/>
                </a:lnTo>
                <a:lnTo>
                  <a:pt x="2068" y="2043"/>
                </a:lnTo>
                <a:lnTo>
                  <a:pt x="2071" y="2034"/>
                </a:lnTo>
                <a:lnTo>
                  <a:pt x="2071" y="2030"/>
                </a:lnTo>
                <a:lnTo>
                  <a:pt x="2069" y="2030"/>
                </a:lnTo>
                <a:lnTo>
                  <a:pt x="2071" y="2028"/>
                </a:lnTo>
                <a:lnTo>
                  <a:pt x="2071" y="2025"/>
                </a:lnTo>
                <a:lnTo>
                  <a:pt x="2069" y="2016"/>
                </a:lnTo>
                <a:lnTo>
                  <a:pt x="2065" y="2012"/>
                </a:lnTo>
                <a:lnTo>
                  <a:pt x="2052" y="2003"/>
                </a:lnTo>
                <a:lnTo>
                  <a:pt x="2046" y="2003"/>
                </a:lnTo>
                <a:lnTo>
                  <a:pt x="2044" y="2001"/>
                </a:lnTo>
                <a:lnTo>
                  <a:pt x="2046" y="1998"/>
                </a:lnTo>
                <a:lnTo>
                  <a:pt x="2049" y="1997"/>
                </a:lnTo>
                <a:lnTo>
                  <a:pt x="2050" y="1995"/>
                </a:lnTo>
                <a:lnTo>
                  <a:pt x="2054" y="1995"/>
                </a:lnTo>
                <a:lnTo>
                  <a:pt x="2058" y="1989"/>
                </a:lnTo>
                <a:lnTo>
                  <a:pt x="2064" y="1989"/>
                </a:lnTo>
                <a:lnTo>
                  <a:pt x="2069" y="1993"/>
                </a:lnTo>
                <a:lnTo>
                  <a:pt x="2074" y="1997"/>
                </a:lnTo>
                <a:lnTo>
                  <a:pt x="2080" y="1998"/>
                </a:lnTo>
                <a:lnTo>
                  <a:pt x="2083" y="1998"/>
                </a:lnTo>
                <a:lnTo>
                  <a:pt x="2089" y="2003"/>
                </a:lnTo>
                <a:lnTo>
                  <a:pt x="2093" y="2006"/>
                </a:lnTo>
                <a:lnTo>
                  <a:pt x="2099" y="2006"/>
                </a:lnTo>
                <a:lnTo>
                  <a:pt x="2104" y="2003"/>
                </a:lnTo>
                <a:lnTo>
                  <a:pt x="2114" y="2001"/>
                </a:lnTo>
                <a:lnTo>
                  <a:pt x="2117" y="1998"/>
                </a:lnTo>
                <a:lnTo>
                  <a:pt x="2128" y="2003"/>
                </a:lnTo>
                <a:lnTo>
                  <a:pt x="2131" y="2008"/>
                </a:lnTo>
                <a:lnTo>
                  <a:pt x="2129" y="2021"/>
                </a:lnTo>
                <a:lnTo>
                  <a:pt x="2118" y="2051"/>
                </a:lnTo>
                <a:lnTo>
                  <a:pt x="2107" y="2070"/>
                </a:lnTo>
                <a:lnTo>
                  <a:pt x="2101" y="2091"/>
                </a:lnTo>
                <a:lnTo>
                  <a:pt x="2103" y="2102"/>
                </a:lnTo>
                <a:lnTo>
                  <a:pt x="2101" y="2109"/>
                </a:lnTo>
                <a:lnTo>
                  <a:pt x="2104" y="2124"/>
                </a:lnTo>
                <a:lnTo>
                  <a:pt x="2104" y="2132"/>
                </a:lnTo>
                <a:lnTo>
                  <a:pt x="2105" y="2137"/>
                </a:lnTo>
                <a:lnTo>
                  <a:pt x="2107" y="2141"/>
                </a:lnTo>
                <a:lnTo>
                  <a:pt x="2110" y="2149"/>
                </a:lnTo>
                <a:lnTo>
                  <a:pt x="2110" y="2170"/>
                </a:lnTo>
                <a:lnTo>
                  <a:pt x="2108" y="2189"/>
                </a:lnTo>
                <a:lnTo>
                  <a:pt x="2105" y="2203"/>
                </a:lnTo>
                <a:lnTo>
                  <a:pt x="2105" y="2211"/>
                </a:lnTo>
                <a:lnTo>
                  <a:pt x="2108" y="2221"/>
                </a:lnTo>
                <a:lnTo>
                  <a:pt x="2107" y="2231"/>
                </a:lnTo>
                <a:lnTo>
                  <a:pt x="2108" y="2234"/>
                </a:lnTo>
                <a:lnTo>
                  <a:pt x="2111" y="2248"/>
                </a:lnTo>
                <a:lnTo>
                  <a:pt x="2108" y="2261"/>
                </a:lnTo>
                <a:lnTo>
                  <a:pt x="2111" y="2273"/>
                </a:lnTo>
                <a:lnTo>
                  <a:pt x="2111" y="2283"/>
                </a:lnTo>
                <a:lnTo>
                  <a:pt x="2115" y="2286"/>
                </a:lnTo>
                <a:lnTo>
                  <a:pt x="2115" y="2289"/>
                </a:lnTo>
                <a:lnTo>
                  <a:pt x="2122" y="2296"/>
                </a:lnTo>
                <a:lnTo>
                  <a:pt x="2125" y="2302"/>
                </a:lnTo>
                <a:lnTo>
                  <a:pt x="2125" y="2309"/>
                </a:lnTo>
                <a:lnTo>
                  <a:pt x="2126" y="2315"/>
                </a:lnTo>
                <a:lnTo>
                  <a:pt x="2128" y="2321"/>
                </a:lnTo>
                <a:lnTo>
                  <a:pt x="2125" y="2341"/>
                </a:lnTo>
                <a:lnTo>
                  <a:pt x="2122" y="2351"/>
                </a:lnTo>
                <a:lnTo>
                  <a:pt x="2110" y="2357"/>
                </a:lnTo>
                <a:lnTo>
                  <a:pt x="2103" y="2364"/>
                </a:lnTo>
                <a:lnTo>
                  <a:pt x="2091" y="2385"/>
                </a:lnTo>
                <a:lnTo>
                  <a:pt x="2087" y="2399"/>
                </a:lnTo>
                <a:lnTo>
                  <a:pt x="2087" y="2407"/>
                </a:lnTo>
                <a:lnTo>
                  <a:pt x="2087" y="2412"/>
                </a:lnTo>
                <a:lnTo>
                  <a:pt x="2087" y="2415"/>
                </a:lnTo>
                <a:lnTo>
                  <a:pt x="2080" y="2431"/>
                </a:lnTo>
                <a:lnTo>
                  <a:pt x="2080" y="2439"/>
                </a:lnTo>
                <a:lnTo>
                  <a:pt x="2082" y="2439"/>
                </a:lnTo>
                <a:lnTo>
                  <a:pt x="2079" y="2439"/>
                </a:lnTo>
                <a:lnTo>
                  <a:pt x="2079" y="2437"/>
                </a:lnTo>
                <a:lnTo>
                  <a:pt x="2074" y="2437"/>
                </a:lnTo>
                <a:lnTo>
                  <a:pt x="2069" y="2444"/>
                </a:lnTo>
                <a:lnTo>
                  <a:pt x="2068" y="2444"/>
                </a:lnTo>
                <a:lnTo>
                  <a:pt x="2066" y="2444"/>
                </a:lnTo>
                <a:lnTo>
                  <a:pt x="2064" y="2444"/>
                </a:lnTo>
                <a:lnTo>
                  <a:pt x="2055" y="2443"/>
                </a:lnTo>
                <a:lnTo>
                  <a:pt x="2044" y="2451"/>
                </a:lnTo>
                <a:lnTo>
                  <a:pt x="2041" y="2451"/>
                </a:lnTo>
                <a:lnTo>
                  <a:pt x="2035" y="2444"/>
                </a:lnTo>
                <a:lnTo>
                  <a:pt x="2027" y="2444"/>
                </a:lnTo>
                <a:lnTo>
                  <a:pt x="2025" y="2439"/>
                </a:lnTo>
                <a:lnTo>
                  <a:pt x="2022" y="2435"/>
                </a:lnTo>
                <a:lnTo>
                  <a:pt x="2019" y="2430"/>
                </a:lnTo>
                <a:lnTo>
                  <a:pt x="2021" y="2422"/>
                </a:lnTo>
                <a:lnTo>
                  <a:pt x="2019" y="2412"/>
                </a:lnTo>
                <a:lnTo>
                  <a:pt x="2018" y="2408"/>
                </a:lnTo>
                <a:lnTo>
                  <a:pt x="2015" y="2407"/>
                </a:lnTo>
                <a:lnTo>
                  <a:pt x="2007" y="2407"/>
                </a:lnTo>
                <a:lnTo>
                  <a:pt x="2004" y="2403"/>
                </a:lnTo>
                <a:lnTo>
                  <a:pt x="1999" y="2399"/>
                </a:lnTo>
                <a:lnTo>
                  <a:pt x="1994" y="2395"/>
                </a:lnTo>
                <a:lnTo>
                  <a:pt x="1991" y="2395"/>
                </a:lnTo>
                <a:lnTo>
                  <a:pt x="1983" y="2399"/>
                </a:lnTo>
                <a:lnTo>
                  <a:pt x="1975" y="2398"/>
                </a:lnTo>
                <a:lnTo>
                  <a:pt x="1968" y="2399"/>
                </a:lnTo>
                <a:lnTo>
                  <a:pt x="1962" y="2399"/>
                </a:lnTo>
                <a:lnTo>
                  <a:pt x="1954" y="2395"/>
                </a:lnTo>
                <a:lnTo>
                  <a:pt x="1944" y="2395"/>
                </a:lnTo>
                <a:lnTo>
                  <a:pt x="1941" y="2398"/>
                </a:lnTo>
                <a:lnTo>
                  <a:pt x="1937" y="2398"/>
                </a:lnTo>
                <a:lnTo>
                  <a:pt x="1933" y="2399"/>
                </a:lnTo>
                <a:lnTo>
                  <a:pt x="1925" y="2403"/>
                </a:lnTo>
                <a:lnTo>
                  <a:pt x="1922" y="2407"/>
                </a:lnTo>
                <a:lnTo>
                  <a:pt x="1916" y="2408"/>
                </a:lnTo>
                <a:lnTo>
                  <a:pt x="1912" y="2411"/>
                </a:lnTo>
                <a:lnTo>
                  <a:pt x="1897" y="2403"/>
                </a:lnTo>
                <a:lnTo>
                  <a:pt x="1889" y="2408"/>
                </a:lnTo>
                <a:lnTo>
                  <a:pt x="1883" y="2415"/>
                </a:lnTo>
                <a:lnTo>
                  <a:pt x="1871" y="2418"/>
                </a:lnTo>
                <a:lnTo>
                  <a:pt x="1865" y="2416"/>
                </a:lnTo>
                <a:lnTo>
                  <a:pt x="1859" y="2420"/>
                </a:lnTo>
                <a:lnTo>
                  <a:pt x="1847" y="2420"/>
                </a:lnTo>
                <a:lnTo>
                  <a:pt x="1840" y="2426"/>
                </a:lnTo>
                <a:lnTo>
                  <a:pt x="1837" y="2431"/>
                </a:lnTo>
                <a:lnTo>
                  <a:pt x="1829" y="2431"/>
                </a:lnTo>
                <a:lnTo>
                  <a:pt x="1825" y="2426"/>
                </a:lnTo>
                <a:lnTo>
                  <a:pt x="1822" y="2420"/>
                </a:lnTo>
                <a:lnTo>
                  <a:pt x="1818" y="2416"/>
                </a:lnTo>
                <a:lnTo>
                  <a:pt x="1815" y="2412"/>
                </a:lnTo>
                <a:lnTo>
                  <a:pt x="1808" y="2412"/>
                </a:lnTo>
                <a:lnTo>
                  <a:pt x="1805" y="2403"/>
                </a:lnTo>
                <a:lnTo>
                  <a:pt x="1791" y="2402"/>
                </a:lnTo>
                <a:lnTo>
                  <a:pt x="1776" y="2403"/>
                </a:lnTo>
                <a:lnTo>
                  <a:pt x="1773" y="2399"/>
                </a:lnTo>
                <a:lnTo>
                  <a:pt x="1769" y="2390"/>
                </a:lnTo>
                <a:lnTo>
                  <a:pt x="1755" y="2389"/>
                </a:lnTo>
                <a:lnTo>
                  <a:pt x="1744" y="2389"/>
                </a:lnTo>
                <a:lnTo>
                  <a:pt x="1741" y="2390"/>
                </a:lnTo>
                <a:lnTo>
                  <a:pt x="1744" y="2395"/>
                </a:lnTo>
                <a:lnTo>
                  <a:pt x="1748" y="2403"/>
                </a:lnTo>
                <a:lnTo>
                  <a:pt x="1750" y="2408"/>
                </a:lnTo>
                <a:lnTo>
                  <a:pt x="1750" y="2412"/>
                </a:lnTo>
                <a:lnTo>
                  <a:pt x="1745" y="2416"/>
                </a:lnTo>
                <a:lnTo>
                  <a:pt x="1733" y="2416"/>
                </a:lnTo>
                <a:lnTo>
                  <a:pt x="1698" y="2430"/>
                </a:lnTo>
                <a:lnTo>
                  <a:pt x="1688" y="2431"/>
                </a:lnTo>
                <a:lnTo>
                  <a:pt x="1683" y="2435"/>
                </a:lnTo>
                <a:lnTo>
                  <a:pt x="1675" y="2437"/>
                </a:lnTo>
                <a:lnTo>
                  <a:pt x="1658" y="2439"/>
                </a:lnTo>
                <a:lnTo>
                  <a:pt x="1658" y="2444"/>
                </a:lnTo>
                <a:lnTo>
                  <a:pt x="1658" y="2453"/>
                </a:lnTo>
                <a:lnTo>
                  <a:pt x="1651" y="2465"/>
                </a:lnTo>
                <a:lnTo>
                  <a:pt x="1648" y="2466"/>
                </a:lnTo>
                <a:lnTo>
                  <a:pt x="1642" y="2480"/>
                </a:lnTo>
                <a:lnTo>
                  <a:pt x="1626" y="2489"/>
                </a:lnTo>
                <a:lnTo>
                  <a:pt x="1622" y="2492"/>
                </a:lnTo>
                <a:lnTo>
                  <a:pt x="1617" y="2492"/>
                </a:lnTo>
                <a:lnTo>
                  <a:pt x="1615" y="2493"/>
                </a:lnTo>
                <a:lnTo>
                  <a:pt x="1603" y="2501"/>
                </a:lnTo>
                <a:lnTo>
                  <a:pt x="1602" y="2509"/>
                </a:lnTo>
                <a:lnTo>
                  <a:pt x="1606" y="2511"/>
                </a:lnTo>
                <a:lnTo>
                  <a:pt x="1603" y="2518"/>
                </a:lnTo>
                <a:lnTo>
                  <a:pt x="1595" y="2527"/>
                </a:lnTo>
                <a:lnTo>
                  <a:pt x="1592" y="2527"/>
                </a:lnTo>
                <a:lnTo>
                  <a:pt x="1584" y="2542"/>
                </a:lnTo>
                <a:lnTo>
                  <a:pt x="1577" y="2545"/>
                </a:lnTo>
                <a:lnTo>
                  <a:pt x="1573" y="2551"/>
                </a:lnTo>
                <a:lnTo>
                  <a:pt x="1569" y="2555"/>
                </a:lnTo>
                <a:lnTo>
                  <a:pt x="1563" y="2557"/>
                </a:lnTo>
                <a:lnTo>
                  <a:pt x="1560" y="2559"/>
                </a:lnTo>
                <a:lnTo>
                  <a:pt x="1553" y="2564"/>
                </a:lnTo>
                <a:lnTo>
                  <a:pt x="1549" y="2568"/>
                </a:lnTo>
                <a:lnTo>
                  <a:pt x="1548" y="2572"/>
                </a:lnTo>
                <a:lnTo>
                  <a:pt x="1544" y="2576"/>
                </a:lnTo>
                <a:lnTo>
                  <a:pt x="1528" y="2576"/>
                </a:lnTo>
                <a:lnTo>
                  <a:pt x="1523" y="2573"/>
                </a:lnTo>
                <a:lnTo>
                  <a:pt x="1520" y="2573"/>
                </a:lnTo>
                <a:lnTo>
                  <a:pt x="1512" y="2577"/>
                </a:lnTo>
                <a:lnTo>
                  <a:pt x="1509" y="2577"/>
                </a:lnTo>
                <a:lnTo>
                  <a:pt x="1505" y="2573"/>
                </a:lnTo>
                <a:lnTo>
                  <a:pt x="1499" y="2576"/>
                </a:lnTo>
                <a:lnTo>
                  <a:pt x="1492" y="2573"/>
                </a:lnTo>
                <a:lnTo>
                  <a:pt x="1488" y="2576"/>
                </a:lnTo>
                <a:lnTo>
                  <a:pt x="1477" y="2568"/>
                </a:lnTo>
                <a:lnTo>
                  <a:pt x="1473" y="2568"/>
                </a:lnTo>
                <a:lnTo>
                  <a:pt x="1467" y="2564"/>
                </a:lnTo>
                <a:lnTo>
                  <a:pt x="1460" y="2562"/>
                </a:lnTo>
                <a:lnTo>
                  <a:pt x="1455" y="2564"/>
                </a:lnTo>
                <a:lnTo>
                  <a:pt x="1453" y="2572"/>
                </a:lnTo>
                <a:lnTo>
                  <a:pt x="1443" y="2577"/>
                </a:lnTo>
                <a:lnTo>
                  <a:pt x="1434" y="2580"/>
                </a:lnTo>
                <a:lnTo>
                  <a:pt x="1430" y="2586"/>
                </a:lnTo>
                <a:lnTo>
                  <a:pt x="1420" y="2594"/>
                </a:lnTo>
                <a:lnTo>
                  <a:pt x="1401" y="2598"/>
                </a:lnTo>
                <a:lnTo>
                  <a:pt x="1396" y="2602"/>
                </a:lnTo>
                <a:lnTo>
                  <a:pt x="1395" y="2607"/>
                </a:lnTo>
                <a:lnTo>
                  <a:pt x="1390" y="2609"/>
                </a:lnTo>
                <a:lnTo>
                  <a:pt x="1387" y="2612"/>
                </a:lnTo>
                <a:lnTo>
                  <a:pt x="1382" y="2617"/>
                </a:lnTo>
                <a:lnTo>
                  <a:pt x="1377" y="2618"/>
                </a:lnTo>
                <a:lnTo>
                  <a:pt x="1373" y="2615"/>
                </a:lnTo>
                <a:lnTo>
                  <a:pt x="1367" y="2618"/>
                </a:lnTo>
                <a:lnTo>
                  <a:pt x="1359" y="2617"/>
                </a:lnTo>
                <a:lnTo>
                  <a:pt x="1355" y="2618"/>
                </a:lnTo>
                <a:lnTo>
                  <a:pt x="1352" y="2621"/>
                </a:lnTo>
                <a:lnTo>
                  <a:pt x="1346" y="2622"/>
                </a:lnTo>
                <a:lnTo>
                  <a:pt x="1338" y="2618"/>
                </a:lnTo>
                <a:lnTo>
                  <a:pt x="1334" y="2618"/>
                </a:lnTo>
                <a:lnTo>
                  <a:pt x="1330" y="2622"/>
                </a:lnTo>
                <a:lnTo>
                  <a:pt x="1328" y="2622"/>
                </a:lnTo>
                <a:lnTo>
                  <a:pt x="1324" y="2626"/>
                </a:lnTo>
                <a:lnTo>
                  <a:pt x="1323" y="2630"/>
                </a:lnTo>
                <a:lnTo>
                  <a:pt x="1318" y="2634"/>
                </a:lnTo>
                <a:lnTo>
                  <a:pt x="1309" y="2634"/>
                </a:lnTo>
                <a:lnTo>
                  <a:pt x="1307" y="2634"/>
                </a:lnTo>
                <a:lnTo>
                  <a:pt x="1306" y="2638"/>
                </a:lnTo>
                <a:lnTo>
                  <a:pt x="1298" y="2638"/>
                </a:lnTo>
                <a:lnTo>
                  <a:pt x="1291" y="2635"/>
                </a:lnTo>
                <a:lnTo>
                  <a:pt x="1286" y="2638"/>
                </a:lnTo>
                <a:lnTo>
                  <a:pt x="1284" y="2638"/>
                </a:lnTo>
                <a:lnTo>
                  <a:pt x="1281" y="2639"/>
                </a:lnTo>
                <a:lnTo>
                  <a:pt x="1273" y="2640"/>
                </a:lnTo>
                <a:lnTo>
                  <a:pt x="1270" y="2640"/>
                </a:lnTo>
                <a:lnTo>
                  <a:pt x="1270" y="2644"/>
                </a:lnTo>
                <a:lnTo>
                  <a:pt x="1267" y="2644"/>
                </a:lnTo>
                <a:lnTo>
                  <a:pt x="1266" y="2648"/>
                </a:lnTo>
                <a:lnTo>
                  <a:pt x="1256" y="2652"/>
                </a:lnTo>
                <a:lnTo>
                  <a:pt x="1256" y="2656"/>
                </a:lnTo>
                <a:lnTo>
                  <a:pt x="1253" y="2656"/>
                </a:lnTo>
                <a:lnTo>
                  <a:pt x="1242" y="2661"/>
                </a:lnTo>
                <a:lnTo>
                  <a:pt x="1236" y="2667"/>
                </a:lnTo>
                <a:lnTo>
                  <a:pt x="1235" y="2679"/>
                </a:lnTo>
                <a:lnTo>
                  <a:pt x="1232" y="2686"/>
                </a:lnTo>
                <a:lnTo>
                  <a:pt x="1228" y="2689"/>
                </a:lnTo>
                <a:lnTo>
                  <a:pt x="1228" y="2693"/>
                </a:lnTo>
                <a:lnTo>
                  <a:pt x="1221" y="2696"/>
                </a:lnTo>
                <a:lnTo>
                  <a:pt x="1218" y="2701"/>
                </a:lnTo>
                <a:lnTo>
                  <a:pt x="1210" y="2705"/>
                </a:lnTo>
                <a:lnTo>
                  <a:pt x="1208" y="2706"/>
                </a:lnTo>
                <a:lnTo>
                  <a:pt x="1208" y="2710"/>
                </a:lnTo>
                <a:lnTo>
                  <a:pt x="1205" y="2714"/>
                </a:lnTo>
                <a:lnTo>
                  <a:pt x="1196" y="2714"/>
                </a:lnTo>
                <a:lnTo>
                  <a:pt x="1189" y="2710"/>
                </a:lnTo>
                <a:lnTo>
                  <a:pt x="1182" y="2711"/>
                </a:lnTo>
                <a:lnTo>
                  <a:pt x="1180" y="2714"/>
                </a:lnTo>
                <a:lnTo>
                  <a:pt x="1171" y="2716"/>
                </a:lnTo>
                <a:lnTo>
                  <a:pt x="1167" y="2714"/>
                </a:lnTo>
                <a:lnTo>
                  <a:pt x="1161" y="2716"/>
                </a:lnTo>
                <a:lnTo>
                  <a:pt x="1158" y="2716"/>
                </a:lnTo>
                <a:lnTo>
                  <a:pt x="1157" y="2722"/>
                </a:lnTo>
                <a:lnTo>
                  <a:pt x="1150" y="2722"/>
                </a:lnTo>
                <a:lnTo>
                  <a:pt x="1147" y="2725"/>
                </a:lnTo>
                <a:lnTo>
                  <a:pt x="1142" y="2725"/>
                </a:lnTo>
                <a:lnTo>
                  <a:pt x="1138" y="2727"/>
                </a:lnTo>
                <a:lnTo>
                  <a:pt x="1136" y="2738"/>
                </a:lnTo>
                <a:lnTo>
                  <a:pt x="1133" y="2742"/>
                </a:lnTo>
                <a:lnTo>
                  <a:pt x="1127" y="2742"/>
                </a:lnTo>
                <a:lnTo>
                  <a:pt x="1121" y="2747"/>
                </a:lnTo>
                <a:lnTo>
                  <a:pt x="1114" y="2747"/>
                </a:lnTo>
                <a:lnTo>
                  <a:pt x="1113" y="2750"/>
                </a:lnTo>
                <a:lnTo>
                  <a:pt x="1110" y="2747"/>
                </a:lnTo>
                <a:lnTo>
                  <a:pt x="1106" y="2751"/>
                </a:lnTo>
                <a:lnTo>
                  <a:pt x="1096" y="2754"/>
                </a:lnTo>
                <a:lnTo>
                  <a:pt x="1089" y="2751"/>
                </a:lnTo>
                <a:lnTo>
                  <a:pt x="1085" y="2754"/>
                </a:lnTo>
                <a:lnTo>
                  <a:pt x="1078" y="2758"/>
                </a:lnTo>
                <a:lnTo>
                  <a:pt x="1077" y="2763"/>
                </a:lnTo>
                <a:lnTo>
                  <a:pt x="1072" y="2768"/>
                </a:lnTo>
                <a:lnTo>
                  <a:pt x="1066" y="2770"/>
                </a:lnTo>
                <a:lnTo>
                  <a:pt x="1061" y="2772"/>
                </a:lnTo>
                <a:lnTo>
                  <a:pt x="1056" y="2772"/>
                </a:lnTo>
                <a:lnTo>
                  <a:pt x="1052" y="2773"/>
                </a:lnTo>
                <a:lnTo>
                  <a:pt x="1050" y="2781"/>
                </a:lnTo>
                <a:lnTo>
                  <a:pt x="1047" y="2783"/>
                </a:lnTo>
                <a:lnTo>
                  <a:pt x="1043" y="2785"/>
                </a:lnTo>
                <a:lnTo>
                  <a:pt x="1038" y="2789"/>
                </a:lnTo>
                <a:lnTo>
                  <a:pt x="1022" y="2793"/>
                </a:lnTo>
                <a:lnTo>
                  <a:pt x="1018" y="2798"/>
                </a:lnTo>
                <a:lnTo>
                  <a:pt x="1008" y="2804"/>
                </a:lnTo>
                <a:lnTo>
                  <a:pt x="1003" y="2800"/>
                </a:lnTo>
                <a:lnTo>
                  <a:pt x="1000" y="2796"/>
                </a:lnTo>
                <a:lnTo>
                  <a:pt x="996" y="2793"/>
                </a:lnTo>
                <a:lnTo>
                  <a:pt x="985" y="2789"/>
                </a:lnTo>
                <a:lnTo>
                  <a:pt x="979" y="2783"/>
                </a:lnTo>
                <a:lnTo>
                  <a:pt x="971" y="2783"/>
                </a:lnTo>
                <a:lnTo>
                  <a:pt x="961" y="2789"/>
                </a:lnTo>
                <a:lnTo>
                  <a:pt x="953" y="2791"/>
                </a:lnTo>
                <a:lnTo>
                  <a:pt x="947" y="2795"/>
                </a:lnTo>
                <a:lnTo>
                  <a:pt x="939" y="2800"/>
                </a:lnTo>
                <a:lnTo>
                  <a:pt x="934" y="2803"/>
                </a:lnTo>
                <a:lnTo>
                  <a:pt x="925" y="2805"/>
                </a:lnTo>
                <a:lnTo>
                  <a:pt x="923" y="2809"/>
                </a:lnTo>
                <a:lnTo>
                  <a:pt x="923" y="2817"/>
                </a:lnTo>
                <a:lnTo>
                  <a:pt x="919" y="2822"/>
                </a:lnTo>
                <a:lnTo>
                  <a:pt x="906" y="2831"/>
                </a:lnTo>
                <a:lnTo>
                  <a:pt x="890" y="2845"/>
                </a:lnTo>
                <a:lnTo>
                  <a:pt x="879" y="2847"/>
                </a:lnTo>
                <a:lnTo>
                  <a:pt x="873" y="2845"/>
                </a:lnTo>
                <a:lnTo>
                  <a:pt x="865" y="2845"/>
                </a:lnTo>
                <a:lnTo>
                  <a:pt x="861" y="2843"/>
                </a:lnTo>
                <a:lnTo>
                  <a:pt x="853" y="2845"/>
                </a:lnTo>
                <a:lnTo>
                  <a:pt x="848" y="2845"/>
                </a:lnTo>
                <a:lnTo>
                  <a:pt x="840" y="2848"/>
                </a:lnTo>
                <a:lnTo>
                  <a:pt x="832" y="2851"/>
                </a:lnTo>
                <a:lnTo>
                  <a:pt x="829" y="2856"/>
                </a:lnTo>
                <a:lnTo>
                  <a:pt x="819" y="2862"/>
                </a:lnTo>
                <a:lnTo>
                  <a:pt x="815" y="2867"/>
                </a:lnTo>
                <a:lnTo>
                  <a:pt x="809" y="2871"/>
                </a:lnTo>
                <a:lnTo>
                  <a:pt x="800" y="2871"/>
                </a:lnTo>
                <a:lnTo>
                  <a:pt x="775" y="2884"/>
                </a:lnTo>
                <a:lnTo>
                  <a:pt x="767" y="2887"/>
                </a:lnTo>
                <a:lnTo>
                  <a:pt x="758" y="2890"/>
                </a:lnTo>
                <a:lnTo>
                  <a:pt x="750" y="2893"/>
                </a:lnTo>
                <a:lnTo>
                  <a:pt x="743" y="2903"/>
                </a:lnTo>
                <a:lnTo>
                  <a:pt x="737" y="2909"/>
                </a:lnTo>
                <a:lnTo>
                  <a:pt x="729" y="2912"/>
                </a:lnTo>
                <a:lnTo>
                  <a:pt x="722" y="2920"/>
                </a:lnTo>
                <a:lnTo>
                  <a:pt x="715" y="2922"/>
                </a:lnTo>
                <a:lnTo>
                  <a:pt x="711" y="2924"/>
                </a:lnTo>
                <a:lnTo>
                  <a:pt x="701" y="2929"/>
                </a:lnTo>
                <a:lnTo>
                  <a:pt x="697" y="2929"/>
                </a:lnTo>
                <a:lnTo>
                  <a:pt x="693" y="2925"/>
                </a:lnTo>
                <a:lnTo>
                  <a:pt x="688" y="2918"/>
                </a:lnTo>
                <a:lnTo>
                  <a:pt x="684" y="2918"/>
                </a:lnTo>
                <a:lnTo>
                  <a:pt x="669" y="2929"/>
                </a:lnTo>
                <a:lnTo>
                  <a:pt x="662" y="2933"/>
                </a:lnTo>
                <a:lnTo>
                  <a:pt x="657" y="2934"/>
                </a:lnTo>
                <a:lnTo>
                  <a:pt x="640" y="2942"/>
                </a:lnTo>
                <a:lnTo>
                  <a:pt x="634" y="2947"/>
                </a:lnTo>
                <a:lnTo>
                  <a:pt x="629" y="2957"/>
                </a:lnTo>
                <a:lnTo>
                  <a:pt x="627" y="2958"/>
                </a:lnTo>
                <a:lnTo>
                  <a:pt x="622" y="2959"/>
                </a:lnTo>
                <a:lnTo>
                  <a:pt x="613" y="2955"/>
                </a:lnTo>
                <a:lnTo>
                  <a:pt x="607" y="2957"/>
                </a:lnTo>
                <a:lnTo>
                  <a:pt x="596" y="2947"/>
                </a:lnTo>
                <a:lnTo>
                  <a:pt x="583" y="2946"/>
                </a:lnTo>
                <a:lnTo>
                  <a:pt x="577" y="2947"/>
                </a:lnTo>
                <a:lnTo>
                  <a:pt x="572" y="2951"/>
                </a:lnTo>
                <a:lnTo>
                  <a:pt x="569" y="2951"/>
                </a:lnTo>
                <a:lnTo>
                  <a:pt x="565" y="2955"/>
                </a:lnTo>
                <a:lnTo>
                  <a:pt x="555" y="2955"/>
                </a:lnTo>
                <a:lnTo>
                  <a:pt x="551" y="2958"/>
                </a:lnTo>
                <a:lnTo>
                  <a:pt x="549" y="2957"/>
                </a:lnTo>
                <a:lnTo>
                  <a:pt x="547" y="2958"/>
                </a:lnTo>
                <a:lnTo>
                  <a:pt x="536" y="2965"/>
                </a:lnTo>
                <a:lnTo>
                  <a:pt x="530" y="2965"/>
                </a:lnTo>
                <a:lnTo>
                  <a:pt x="529" y="2965"/>
                </a:lnTo>
                <a:lnTo>
                  <a:pt x="523" y="2958"/>
                </a:lnTo>
                <a:lnTo>
                  <a:pt x="511" y="2957"/>
                </a:lnTo>
                <a:lnTo>
                  <a:pt x="499" y="2951"/>
                </a:lnTo>
                <a:lnTo>
                  <a:pt x="488" y="2957"/>
                </a:lnTo>
                <a:lnTo>
                  <a:pt x="481" y="2957"/>
                </a:lnTo>
                <a:lnTo>
                  <a:pt x="476" y="2963"/>
                </a:lnTo>
                <a:lnTo>
                  <a:pt x="473" y="2963"/>
                </a:lnTo>
                <a:lnTo>
                  <a:pt x="462" y="2959"/>
                </a:lnTo>
                <a:lnTo>
                  <a:pt x="454" y="2954"/>
                </a:lnTo>
                <a:lnTo>
                  <a:pt x="449" y="2951"/>
                </a:lnTo>
                <a:lnTo>
                  <a:pt x="445" y="2945"/>
                </a:lnTo>
                <a:lnTo>
                  <a:pt x="441" y="2942"/>
                </a:lnTo>
                <a:lnTo>
                  <a:pt x="434" y="2938"/>
                </a:lnTo>
                <a:lnTo>
                  <a:pt x="413" y="2934"/>
                </a:lnTo>
                <a:lnTo>
                  <a:pt x="406" y="2929"/>
                </a:lnTo>
                <a:lnTo>
                  <a:pt x="402" y="2929"/>
                </a:lnTo>
                <a:lnTo>
                  <a:pt x="399" y="2929"/>
                </a:lnTo>
                <a:lnTo>
                  <a:pt x="394" y="2934"/>
                </a:lnTo>
                <a:lnTo>
                  <a:pt x="374" y="2937"/>
                </a:lnTo>
                <a:lnTo>
                  <a:pt x="370" y="2937"/>
                </a:lnTo>
                <a:lnTo>
                  <a:pt x="367" y="2934"/>
                </a:lnTo>
                <a:lnTo>
                  <a:pt x="366" y="2932"/>
                </a:lnTo>
                <a:lnTo>
                  <a:pt x="363" y="2925"/>
                </a:lnTo>
                <a:lnTo>
                  <a:pt x="358" y="2920"/>
                </a:lnTo>
                <a:lnTo>
                  <a:pt x="356" y="2920"/>
                </a:lnTo>
                <a:lnTo>
                  <a:pt x="348" y="2922"/>
                </a:lnTo>
                <a:lnTo>
                  <a:pt x="342" y="2920"/>
                </a:lnTo>
                <a:lnTo>
                  <a:pt x="341" y="2916"/>
                </a:lnTo>
                <a:lnTo>
                  <a:pt x="341" y="2907"/>
                </a:lnTo>
                <a:lnTo>
                  <a:pt x="328" y="2890"/>
                </a:lnTo>
                <a:lnTo>
                  <a:pt x="330" y="2883"/>
                </a:lnTo>
                <a:lnTo>
                  <a:pt x="328" y="2880"/>
                </a:lnTo>
                <a:lnTo>
                  <a:pt x="323" y="2884"/>
                </a:lnTo>
                <a:lnTo>
                  <a:pt x="320" y="2884"/>
                </a:lnTo>
                <a:lnTo>
                  <a:pt x="320" y="2880"/>
                </a:lnTo>
                <a:lnTo>
                  <a:pt x="316" y="2876"/>
                </a:lnTo>
                <a:lnTo>
                  <a:pt x="319" y="2875"/>
                </a:lnTo>
                <a:lnTo>
                  <a:pt x="317" y="2873"/>
                </a:lnTo>
                <a:lnTo>
                  <a:pt x="313" y="2875"/>
                </a:lnTo>
                <a:lnTo>
                  <a:pt x="310" y="2871"/>
                </a:lnTo>
                <a:lnTo>
                  <a:pt x="308" y="2867"/>
                </a:lnTo>
                <a:lnTo>
                  <a:pt x="308" y="2865"/>
                </a:lnTo>
                <a:lnTo>
                  <a:pt x="303" y="2865"/>
                </a:lnTo>
                <a:lnTo>
                  <a:pt x="298" y="2858"/>
                </a:lnTo>
                <a:lnTo>
                  <a:pt x="297" y="2854"/>
                </a:lnTo>
                <a:lnTo>
                  <a:pt x="297" y="2853"/>
                </a:lnTo>
                <a:lnTo>
                  <a:pt x="287" y="2845"/>
                </a:lnTo>
                <a:lnTo>
                  <a:pt x="285" y="2840"/>
                </a:lnTo>
                <a:lnTo>
                  <a:pt x="280" y="2838"/>
                </a:lnTo>
                <a:lnTo>
                  <a:pt x="275" y="2831"/>
                </a:lnTo>
                <a:lnTo>
                  <a:pt x="275" y="2830"/>
                </a:lnTo>
                <a:lnTo>
                  <a:pt x="281" y="2817"/>
                </a:lnTo>
                <a:lnTo>
                  <a:pt x="284" y="2816"/>
                </a:lnTo>
                <a:lnTo>
                  <a:pt x="281" y="2813"/>
                </a:lnTo>
                <a:lnTo>
                  <a:pt x="281" y="2812"/>
                </a:lnTo>
                <a:lnTo>
                  <a:pt x="280" y="2809"/>
                </a:lnTo>
                <a:lnTo>
                  <a:pt x="277" y="2804"/>
                </a:lnTo>
                <a:lnTo>
                  <a:pt x="273" y="2804"/>
                </a:lnTo>
                <a:lnTo>
                  <a:pt x="273" y="2800"/>
                </a:lnTo>
                <a:lnTo>
                  <a:pt x="275" y="2800"/>
                </a:lnTo>
                <a:lnTo>
                  <a:pt x="274" y="2791"/>
                </a:lnTo>
                <a:lnTo>
                  <a:pt x="267" y="2785"/>
                </a:lnTo>
                <a:lnTo>
                  <a:pt x="264" y="2786"/>
                </a:lnTo>
                <a:lnTo>
                  <a:pt x="259" y="2783"/>
                </a:lnTo>
                <a:lnTo>
                  <a:pt x="259" y="2780"/>
                </a:lnTo>
                <a:lnTo>
                  <a:pt x="258" y="2773"/>
                </a:lnTo>
                <a:lnTo>
                  <a:pt x="259" y="2772"/>
                </a:lnTo>
                <a:lnTo>
                  <a:pt x="260" y="2767"/>
                </a:lnTo>
                <a:lnTo>
                  <a:pt x="259" y="2764"/>
                </a:lnTo>
                <a:lnTo>
                  <a:pt x="258" y="2759"/>
                </a:lnTo>
                <a:lnTo>
                  <a:pt x="253" y="2758"/>
                </a:lnTo>
                <a:lnTo>
                  <a:pt x="252" y="2751"/>
                </a:lnTo>
                <a:lnTo>
                  <a:pt x="252" y="2747"/>
                </a:lnTo>
                <a:lnTo>
                  <a:pt x="245" y="2742"/>
                </a:lnTo>
                <a:lnTo>
                  <a:pt x="244" y="2734"/>
                </a:lnTo>
                <a:lnTo>
                  <a:pt x="237" y="2729"/>
                </a:lnTo>
                <a:lnTo>
                  <a:pt x="235" y="2723"/>
                </a:lnTo>
                <a:lnTo>
                  <a:pt x="233" y="2723"/>
                </a:lnTo>
                <a:lnTo>
                  <a:pt x="225" y="2716"/>
                </a:lnTo>
                <a:lnTo>
                  <a:pt x="222" y="2711"/>
                </a:lnTo>
                <a:lnTo>
                  <a:pt x="223" y="2709"/>
                </a:lnTo>
                <a:lnTo>
                  <a:pt x="220" y="2706"/>
                </a:lnTo>
                <a:lnTo>
                  <a:pt x="220" y="2705"/>
                </a:lnTo>
                <a:lnTo>
                  <a:pt x="222" y="2701"/>
                </a:lnTo>
                <a:lnTo>
                  <a:pt x="223" y="2701"/>
                </a:lnTo>
                <a:lnTo>
                  <a:pt x="217" y="2699"/>
                </a:lnTo>
                <a:lnTo>
                  <a:pt x="216" y="2697"/>
                </a:lnTo>
                <a:lnTo>
                  <a:pt x="212" y="2696"/>
                </a:lnTo>
                <a:lnTo>
                  <a:pt x="210" y="2693"/>
                </a:lnTo>
                <a:lnTo>
                  <a:pt x="212" y="2689"/>
                </a:lnTo>
                <a:lnTo>
                  <a:pt x="212" y="2686"/>
                </a:lnTo>
                <a:lnTo>
                  <a:pt x="213" y="2676"/>
                </a:lnTo>
                <a:lnTo>
                  <a:pt x="208" y="2673"/>
                </a:lnTo>
                <a:lnTo>
                  <a:pt x="206" y="2671"/>
                </a:lnTo>
                <a:lnTo>
                  <a:pt x="203" y="2669"/>
                </a:lnTo>
                <a:lnTo>
                  <a:pt x="203" y="2667"/>
                </a:lnTo>
                <a:lnTo>
                  <a:pt x="196" y="2661"/>
                </a:lnTo>
                <a:lnTo>
                  <a:pt x="196" y="2656"/>
                </a:lnTo>
                <a:lnTo>
                  <a:pt x="196" y="2654"/>
                </a:lnTo>
                <a:lnTo>
                  <a:pt x="189" y="2648"/>
                </a:lnTo>
                <a:lnTo>
                  <a:pt x="185" y="2651"/>
                </a:lnTo>
                <a:lnTo>
                  <a:pt x="187" y="2639"/>
                </a:lnTo>
                <a:lnTo>
                  <a:pt x="185" y="2635"/>
                </a:lnTo>
                <a:lnTo>
                  <a:pt x="180" y="2634"/>
                </a:lnTo>
                <a:lnTo>
                  <a:pt x="180" y="2629"/>
                </a:lnTo>
                <a:lnTo>
                  <a:pt x="181" y="2622"/>
                </a:lnTo>
                <a:lnTo>
                  <a:pt x="181" y="2612"/>
                </a:lnTo>
                <a:lnTo>
                  <a:pt x="184" y="2609"/>
                </a:lnTo>
                <a:lnTo>
                  <a:pt x="184" y="2599"/>
                </a:lnTo>
                <a:lnTo>
                  <a:pt x="187" y="2593"/>
                </a:lnTo>
                <a:lnTo>
                  <a:pt x="185" y="2582"/>
                </a:lnTo>
                <a:lnTo>
                  <a:pt x="187" y="2581"/>
                </a:lnTo>
                <a:lnTo>
                  <a:pt x="189" y="2576"/>
                </a:lnTo>
                <a:lnTo>
                  <a:pt x="188" y="2572"/>
                </a:lnTo>
                <a:lnTo>
                  <a:pt x="181" y="2568"/>
                </a:lnTo>
                <a:lnTo>
                  <a:pt x="177" y="2568"/>
                </a:lnTo>
                <a:lnTo>
                  <a:pt x="175" y="2564"/>
                </a:lnTo>
                <a:lnTo>
                  <a:pt x="175" y="2560"/>
                </a:lnTo>
                <a:lnTo>
                  <a:pt x="173" y="2555"/>
                </a:lnTo>
                <a:lnTo>
                  <a:pt x="171" y="2551"/>
                </a:lnTo>
                <a:lnTo>
                  <a:pt x="167" y="2549"/>
                </a:lnTo>
                <a:lnTo>
                  <a:pt x="168" y="2542"/>
                </a:lnTo>
                <a:lnTo>
                  <a:pt x="167" y="2536"/>
                </a:lnTo>
                <a:lnTo>
                  <a:pt x="171" y="2509"/>
                </a:lnTo>
                <a:lnTo>
                  <a:pt x="170" y="2506"/>
                </a:lnTo>
                <a:lnTo>
                  <a:pt x="167" y="2505"/>
                </a:lnTo>
                <a:lnTo>
                  <a:pt x="164" y="2487"/>
                </a:lnTo>
                <a:lnTo>
                  <a:pt x="166" y="2470"/>
                </a:lnTo>
                <a:lnTo>
                  <a:pt x="159" y="2461"/>
                </a:lnTo>
                <a:lnTo>
                  <a:pt x="159" y="2457"/>
                </a:lnTo>
                <a:lnTo>
                  <a:pt x="157" y="2452"/>
                </a:lnTo>
                <a:lnTo>
                  <a:pt x="153" y="2448"/>
                </a:lnTo>
                <a:lnTo>
                  <a:pt x="142" y="2443"/>
                </a:lnTo>
                <a:lnTo>
                  <a:pt x="139" y="2443"/>
                </a:lnTo>
                <a:lnTo>
                  <a:pt x="138" y="2437"/>
                </a:lnTo>
                <a:lnTo>
                  <a:pt x="135" y="2430"/>
                </a:lnTo>
                <a:lnTo>
                  <a:pt x="134" y="2426"/>
                </a:lnTo>
                <a:lnTo>
                  <a:pt x="113" y="2431"/>
                </a:lnTo>
                <a:lnTo>
                  <a:pt x="100" y="2437"/>
                </a:lnTo>
                <a:lnTo>
                  <a:pt x="79" y="2364"/>
                </a:lnTo>
                <a:lnTo>
                  <a:pt x="84" y="2360"/>
                </a:lnTo>
                <a:lnTo>
                  <a:pt x="85" y="2354"/>
                </a:lnTo>
                <a:lnTo>
                  <a:pt x="90" y="2351"/>
                </a:lnTo>
                <a:lnTo>
                  <a:pt x="99" y="2341"/>
                </a:lnTo>
                <a:lnTo>
                  <a:pt x="115" y="2332"/>
                </a:lnTo>
                <a:lnTo>
                  <a:pt x="120" y="2327"/>
                </a:lnTo>
                <a:lnTo>
                  <a:pt x="124" y="2327"/>
                </a:lnTo>
                <a:lnTo>
                  <a:pt x="124" y="2323"/>
                </a:lnTo>
                <a:lnTo>
                  <a:pt x="127" y="2315"/>
                </a:lnTo>
                <a:lnTo>
                  <a:pt x="131" y="2315"/>
                </a:lnTo>
                <a:lnTo>
                  <a:pt x="137" y="2318"/>
                </a:lnTo>
                <a:lnTo>
                  <a:pt x="149" y="2315"/>
                </a:lnTo>
                <a:lnTo>
                  <a:pt x="160" y="2315"/>
                </a:lnTo>
                <a:lnTo>
                  <a:pt x="167" y="2309"/>
                </a:lnTo>
                <a:lnTo>
                  <a:pt x="170" y="2308"/>
                </a:lnTo>
                <a:lnTo>
                  <a:pt x="168" y="2302"/>
                </a:lnTo>
                <a:lnTo>
                  <a:pt x="170" y="2301"/>
                </a:lnTo>
                <a:lnTo>
                  <a:pt x="178" y="2291"/>
                </a:lnTo>
                <a:lnTo>
                  <a:pt x="181" y="2289"/>
                </a:lnTo>
                <a:lnTo>
                  <a:pt x="182" y="2286"/>
                </a:lnTo>
                <a:lnTo>
                  <a:pt x="187" y="2283"/>
                </a:lnTo>
                <a:lnTo>
                  <a:pt x="189" y="2279"/>
                </a:lnTo>
                <a:lnTo>
                  <a:pt x="194" y="2274"/>
                </a:lnTo>
                <a:lnTo>
                  <a:pt x="195" y="2273"/>
                </a:lnTo>
                <a:lnTo>
                  <a:pt x="196" y="2273"/>
                </a:lnTo>
                <a:lnTo>
                  <a:pt x="199" y="2270"/>
                </a:lnTo>
                <a:lnTo>
                  <a:pt x="196" y="2270"/>
                </a:lnTo>
                <a:lnTo>
                  <a:pt x="196" y="2266"/>
                </a:lnTo>
                <a:lnTo>
                  <a:pt x="192" y="2266"/>
                </a:lnTo>
                <a:lnTo>
                  <a:pt x="191" y="2265"/>
                </a:lnTo>
                <a:lnTo>
                  <a:pt x="194" y="2261"/>
                </a:lnTo>
                <a:lnTo>
                  <a:pt x="192" y="2256"/>
                </a:lnTo>
                <a:lnTo>
                  <a:pt x="196" y="2253"/>
                </a:lnTo>
                <a:lnTo>
                  <a:pt x="195" y="2252"/>
                </a:lnTo>
                <a:lnTo>
                  <a:pt x="191" y="2253"/>
                </a:lnTo>
                <a:lnTo>
                  <a:pt x="189" y="2252"/>
                </a:lnTo>
                <a:lnTo>
                  <a:pt x="192" y="2248"/>
                </a:lnTo>
                <a:lnTo>
                  <a:pt x="192" y="2244"/>
                </a:lnTo>
                <a:lnTo>
                  <a:pt x="194" y="2239"/>
                </a:lnTo>
                <a:lnTo>
                  <a:pt x="196" y="2239"/>
                </a:lnTo>
                <a:lnTo>
                  <a:pt x="195" y="2234"/>
                </a:lnTo>
                <a:lnTo>
                  <a:pt x="196" y="2234"/>
                </a:lnTo>
                <a:lnTo>
                  <a:pt x="196" y="2231"/>
                </a:lnTo>
                <a:lnTo>
                  <a:pt x="200" y="2231"/>
                </a:lnTo>
                <a:lnTo>
                  <a:pt x="202" y="2231"/>
                </a:lnTo>
                <a:lnTo>
                  <a:pt x="203" y="2225"/>
                </a:lnTo>
                <a:lnTo>
                  <a:pt x="202" y="2221"/>
                </a:lnTo>
                <a:lnTo>
                  <a:pt x="205" y="2221"/>
                </a:lnTo>
                <a:lnTo>
                  <a:pt x="205" y="2217"/>
                </a:lnTo>
                <a:lnTo>
                  <a:pt x="208" y="2217"/>
                </a:lnTo>
                <a:lnTo>
                  <a:pt x="208" y="2216"/>
                </a:lnTo>
                <a:lnTo>
                  <a:pt x="208" y="2215"/>
                </a:lnTo>
                <a:lnTo>
                  <a:pt x="209" y="2212"/>
                </a:lnTo>
                <a:lnTo>
                  <a:pt x="212" y="2208"/>
                </a:lnTo>
                <a:lnTo>
                  <a:pt x="212" y="2207"/>
                </a:lnTo>
                <a:lnTo>
                  <a:pt x="210" y="2203"/>
                </a:lnTo>
                <a:lnTo>
                  <a:pt x="210" y="2195"/>
                </a:lnTo>
                <a:lnTo>
                  <a:pt x="213" y="2194"/>
                </a:lnTo>
                <a:lnTo>
                  <a:pt x="212" y="2190"/>
                </a:lnTo>
                <a:lnTo>
                  <a:pt x="214" y="2189"/>
                </a:lnTo>
                <a:lnTo>
                  <a:pt x="214" y="2186"/>
                </a:lnTo>
                <a:lnTo>
                  <a:pt x="217" y="2184"/>
                </a:lnTo>
                <a:lnTo>
                  <a:pt x="217" y="2180"/>
                </a:lnTo>
                <a:lnTo>
                  <a:pt x="219" y="2180"/>
                </a:lnTo>
                <a:lnTo>
                  <a:pt x="219" y="2177"/>
                </a:lnTo>
                <a:lnTo>
                  <a:pt x="217" y="2172"/>
                </a:lnTo>
                <a:lnTo>
                  <a:pt x="222" y="2172"/>
                </a:lnTo>
                <a:lnTo>
                  <a:pt x="223" y="2171"/>
                </a:lnTo>
                <a:lnTo>
                  <a:pt x="225" y="2167"/>
                </a:lnTo>
                <a:lnTo>
                  <a:pt x="225" y="2166"/>
                </a:lnTo>
                <a:lnTo>
                  <a:pt x="228" y="2159"/>
                </a:lnTo>
                <a:lnTo>
                  <a:pt x="225" y="2154"/>
                </a:lnTo>
                <a:lnTo>
                  <a:pt x="227" y="2145"/>
                </a:lnTo>
                <a:lnTo>
                  <a:pt x="225" y="2145"/>
                </a:lnTo>
                <a:lnTo>
                  <a:pt x="224" y="2145"/>
                </a:lnTo>
                <a:lnTo>
                  <a:pt x="224" y="2141"/>
                </a:lnTo>
                <a:lnTo>
                  <a:pt x="222" y="2135"/>
                </a:lnTo>
                <a:lnTo>
                  <a:pt x="222" y="2134"/>
                </a:lnTo>
                <a:lnTo>
                  <a:pt x="224" y="2134"/>
                </a:lnTo>
                <a:lnTo>
                  <a:pt x="224" y="2132"/>
                </a:lnTo>
                <a:lnTo>
                  <a:pt x="222" y="2128"/>
                </a:lnTo>
                <a:lnTo>
                  <a:pt x="222" y="2127"/>
                </a:lnTo>
                <a:lnTo>
                  <a:pt x="220" y="2127"/>
                </a:lnTo>
                <a:lnTo>
                  <a:pt x="220" y="2124"/>
                </a:lnTo>
                <a:lnTo>
                  <a:pt x="209" y="2121"/>
                </a:lnTo>
                <a:lnTo>
                  <a:pt x="202" y="2119"/>
                </a:lnTo>
                <a:lnTo>
                  <a:pt x="200" y="2119"/>
                </a:lnTo>
                <a:lnTo>
                  <a:pt x="198" y="2122"/>
                </a:lnTo>
                <a:lnTo>
                  <a:pt x="195" y="2124"/>
                </a:lnTo>
                <a:lnTo>
                  <a:pt x="189" y="2122"/>
                </a:lnTo>
                <a:lnTo>
                  <a:pt x="182" y="2124"/>
                </a:lnTo>
                <a:lnTo>
                  <a:pt x="175" y="2128"/>
                </a:lnTo>
                <a:lnTo>
                  <a:pt x="170" y="2137"/>
                </a:lnTo>
                <a:lnTo>
                  <a:pt x="159" y="2141"/>
                </a:lnTo>
                <a:lnTo>
                  <a:pt x="149" y="2141"/>
                </a:lnTo>
                <a:lnTo>
                  <a:pt x="148" y="2140"/>
                </a:lnTo>
                <a:lnTo>
                  <a:pt x="142" y="2141"/>
                </a:lnTo>
                <a:lnTo>
                  <a:pt x="127" y="2134"/>
                </a:lnTo>
                <a:lnTo>
                  <a:pt x="121" y="2132"/>
                </a:lnTo>
                <a:lnTo>
                  <a:pt x="120" y="2132"/>
                </a:lnTo>
                <a:lnTo>
                  <a:pt x="113" y="2132"/>
                </a:lnTo>
                <a:lnTo>
                  <a:pt x="110" y="2128"/>
                </a:lnTo>
                <a:lnTo>
                  <a:pt x="109" y="2124"/>
                </a:lnTo>
                <a:lnTo>
                  <a:pt x="103" y="2124"/>
                </a:lnTo>
                <a:lnTo>
                  <a:pt x="103" y="2119"/>
                </a:lnTo>
                <a:lnTo>
                  <a:pt x="99" y="2115"/>
                </a:lnTo>
                <a:lnTo>
                  <a:pt x="85" y="2113"/>
                </a:lnTo>
                <a:lnTo>
                  <a:pt x="81" y="2109"/>
                </a:lnTo>
                <a:lnTo>
                  <a:pt x="78" y="2108"/>
                </a:lnTo>
                <a:lnTo>
                  <a:pt x="71" y="2105"/>
                </a:lnTo>
                <a:lnTo>
                  <a:pt x="65" y="2108"/>
                </a:lnTo>
                <a:lnTo>
                  <a:pt x="63" y="2105"/>
                </a:lnTo>
                <a:lnTo>
                  <a:pt x="53" y="2102"/>
                </a:lnTo>
                <a:lnTo>
                  <a:pt x="50" y="2100"/>
                </a:lnTo>
                <a:lnTo>
                  <a:pt x="45" y="2102"/>
                </a:lnTo>
                <a:lnTo>
                  <a:pt x="37" y="2099"/>
                </a:lnTo>
                <a:lnTo>
                  <a:pt x="14" y="2074"/>
                </a:lnTo>
                <a:lnTo>
                  <a:pt x="2" y="2066"/>
                </a:lnTo>
                <a:lnTo>
                  <a:pt x="0" y="2060"/>
                </a:lnTo>
                <a:lnTo>
                  <a:pt x="3" y="2051"/>
                </a:lnTo>
                <a:lnTo>
                  <a:pt x="6" y="2050"/>
                </a:lnTo>
                <a:lnTo>
                  <a:pt x="17" y="2037"/>
                </a:lnTo>
                <a:lnTo>
                  <a:pt x="23" y="2037"/>
                </a:lnTo>
                <a:lnTo>
                  <a:pt x="28" y="2030"/>
                </a:lnTo>
                <a:lnTo>
                  <a:pt x="37" y="2025"/>
                </a:lnTo>
                <a:lnTo>
                  <a:pt x="40" y="2021"/>
                </a:lnTo>
                <a:lnTo>
                  <a:pt x="45" y="2012"/>
                </a:lnTo>
                <a:lnTo>
                  <a:pt x="49" y="2010"/>
                </a:lnTo>
                <a:lnTo>
                  <a:pt x="49" y="2006"/>
                </a:lnTo>
                <a:lnTo>
                  <a:pt x="48" y="2001"/>
                </a:lnTo>
                <a:lnTo>
                  <a:pt x="49" y="1998"/>
                </a:lnTo>
                <a:lnTo>
                  <a:pt x="48" y="1995"/>
                </a:lnTo>
                <a:lnTo>
                  <a:pt x="48" y="1989"/>
                </a:lnTo>
                <a:lnTo>
                  <a:pt x="46" y="1988"/>
                </a:lnTo>
                <a:lnTo>
                  <a:pt x="50" y="1980"/>
                </a:lnTo>
                <a:lnTo>
                  <a:pt x="52" y="1976"/>
                </a:lnTo>
                <a:lnTo>
                  <a:pt x="54" y="1972"/>
                </a:lnTo>
                <a:lnTo>
                  <a:pt x="56" y="1967"/>
                </a:lnTo>
                <a:lnTo>
                  <a:pt x="59" y="1966"/>
                </a:lnTo>
                <a:lnTo>
                  <a:pt x="60" y="1958"/>
                </a:lnTo>
                <a:lnTo>
                  <a:pt x="73" y="1945"/>
                </a:lnTo>
                <a:lnTo>
                  <a:pt x="73" y="1941"/>
                </a:lnTo>
                <a:lnTo>
                  <a:pt x="71" y="1937"/>
                </a:lnTo>
                <a:lnTo>
                  <a:pt x="67" y="1935"/>
                </a:lnTo>
                <a:lnTo>
                  <a:pt x="67" y="1930"/>
                </a:lnTo>
                <a:lnTo>
                  <a:pt x="71" y="1928"/>
                </a:lnTo>
                <a:lnTo>
                  <a:pt x="73" y="1922"/>
                </a:lnTo>
                <a:lnTo>
                  <a:pt x="77" y="1918"/>
                </a:lnTo>
                <a:lnTo>
                  <a:pt x="81" y="1909"/>
                </a:lnTo>
                <a:lnTo>
                  <a:pt x="87" y="1904"/>
                </a:lnTo>
                <a:lnTo>
                  <a:pt x="87" y="1898"/>
                </a:lnTo>
                <a:lnTo>
                  <a:pt x="82" y="1896"/>
                </a:lnTo>
                <a:lnTo>
                  <a:pt x="81" y="1891"/>
                </a:lnTo>
                <a:lnTo>
                  <a:pt x="74" y="1892"/>
                </a:lnTo>
                <a:lnTo>
                  <a:pt x="71" y="1883"/>
                </a:lnTo>
                <a:lnTo>
                  <a:pt x="71" y="1881"/>
                </a:lnTo>
                <a:lnTo>
                  <a:pt x="74" y="1877"/>
                </a:lnTo>
                <a:lnTo>
                  <a:pt x="78" y="1873"/>
                </a:lnTo>
                <a:lnTo>
                  <a:pt x="77" y="1866"/>
                </a:lnTo>
                <a:lnTo>
                  <a:pt x="79" y="1863"/>
                </a:lnTo>
                <a:lnTo>
                  <a:pt x="82" y="1856"/>
                </a:lnTo>
                <a:lnTo>
                  <a:pt x="88" y="1847"/>
                </a:lnTo>
                <a:lnTo>
                  <a:pt x="88" y="1843"/>
                </a:lnTo>
                <a:lnTo>
                  <a:pt x="88" y="1838"/>
                </a:lnTo>
                <a:lnTo>
                  <a:pt x="84" y="1834"/>
                </a:lnTo>
                <a:lnTo>
                  <a:pt x="82" y="1829"/>
                </a:lnTo>
                <a:lnTo>
                  <a:pt x="82" y="1825"/>
                </a:lnTo>
                <a:lnTo>
                  <a:pt x="77" y="1815"/>
                </a:lnTo>
                <a:lnTo>
                  <a:pt x="78" y="1815"/>
                </a:lnTo>
                <a:lnTo>
                  <a:pt x="81" y="1812"/>
                </a:lnTo>
                <a:lnTo>
                  <a:pt x="78" y="1802"/>
                </a:lnTo>
                <a:lnTo>
                  <a:pt x="79" y="1798"/>
                </a:lnTo>
                <a:lnTo>
                  <a:pt x="81" y="1797"/>
                </a:lnTo>
                <a:lnTo>
                  <a:pt x="79" y="1793"/>
                </a:lnTo>
                <a:lnTo>
                  <a:pt x="82" y="1789"/>
                </a:lnTo>
                <a:lnTo>
                  <a:pt x="81" y="1785"/>
                </a:lnTo>
                <a:lnTo>
                  <a:pt x="84" y="1779"/>
                </a:lnTo>
                <a:lnTo>
                  <a:pt x="82" y="1776"/>
                </a:lnTo>
                <a:lnTo>
                  <a:pt x="81" y="1767"/>
                </a:lnTo>
                <a:lnTo>
                  <a:pt x="77" y="1763"/>
                </a:lnTo>
                <a:lnTo>
                  <a:pt x="77" y="1760"/>
                </a:lnTo>
                <a:lnTo>
                  <a:pt x="75" y="1757"/>
                </a:lnTo>
                <a:lnTo>
                  <a:pt x="74" y="1756"/>
                </a:lnTo>
                <a:lnTo>
                  <a:pt x="73" y="1757"/>
                </a:lnTo>
                <a:lnTo>
                  <a:pt x="68" y="1756"/>
                </a:lnTo>
                <a:lnTo>
                  <a:pt x="70" y="1752"/>
                </a:lnTo>
                <a:lnTo>
                  <a:pt x="70" y="1750"/>
                </a:lnTo>
                <a:lnTo>
                  <a:pt x="71" y="1748"/>
                </a:lnTo>
                <a:lnTo>
                  <a:pt x="70" y="1744"/>
                </a:lnTo>
                <a:lnTo>
                  <a:pt x="73" y="1734"/>
                </a:lnTo>
                <a:lnTo>
                  <a:pt x="71" y="1731"/>
                </a:lnTo>
                <a:lnTo>
                  <a:pt x="73" y="1730"/>
                </a:lnTo>
                <a:lnTo>
                  <a:pt x="73" y="1727"/>
                </a:lnTo>
                <a:lnTo>
                  <a:pt x="75" y="1722"/>
                </a:lnTo>
                <a:lnTo>
                  <a:pt x="77" y="1715"/>
                </a:lnTo>
                <a:lnTo>
                  <a:pt x="79" y="1714"/>
                </a:lnTo>
                <a:lnTo>
                  <a:pt x="78" y="1709"/>
                </a:lnTo>
                <a:lnTo>
                  <a:pt x="84" y="1705"/>
                </a:lnTo>
                <a:lnTo>
                  <a:pt x="87" y="1700"/>
                </a:lnTo>
                <a:lnTo>
                  <a:pt x="89" y="1698"/>
                </a:lnTo>
                <a:lnTo>
                  <a:pt x="90" y="1695"/>
                </a:lnTo>
                <a:lnTo>
                  <a:pt x="92" y="1692"/>
                </a:lnTo>
                <a:lnTo>
                  <a:pt x="89" y="1690"/>
                </a:lnTo>
                <a:lnTo>
                  <a:pt x="85" y="1682"/>
                </a:lnTo>
                <a:lnTo>
                  <a:pt x="88" y="1676"/>
                </a:lnTo>
                <a:lnTo>
                  <a:pt x="88" y="1668"/>
                </a:lnTo>
                <a:lnTo>
                  <a:pt x="90" y="1664"/>
                </a:lnTo>
                <a:lnTo>
                  <a:pt x="93" y="1664"/>
                </a:lnTo>
                <a:lnTo>
                  <a:pt x="96" y="1663"/>
                </a:lnTo>
                <a:lnTo>
                  <a:pt x="100" y="1656"/>
                </a:lnTo>
                <a:lnTo>
                  <a:pt x="104" y="1651"/>
                </a:lnTo>
                <a:lnTo>
                  <a:pt x="102" y="1647"/>
                </a:lnTo>
                <a:lnTo>
                  <a:pt x="109" y="1642"/>
                </a:lnTo>
                <a:lnTo>
                  <a:pt x="110" y="1632"/>
                </a:lnTo>
                <a:lnTo>
                  <a:pt x="114" y="1628"/>
                </a:lnTo>
                <a:lnTo>
                  <a:pt x="113" y="1627"/>
                </a:lnTo>
                <a:lnTo>
                  <a:pt x="115" y="1623"/>
                </a:lnTo>
                <a:lnTo>
                  <a:pt x="115" y="1614"/>
                </a:lnTo>
                <a:lnTo>
                  <a:pt x="114" y="1610"/>
                </a:lnTo>
                <a:lnTo>
                  <a:pt x="112" y="1611"/>
                </a:lnTo>
                <a:lnTo>
                  <a:pt x="112" y="1607"/>
                </a:lnTo>
                <a:lnTo>
                  <a:pt x="109" y="1607"/>
                </a:lnTo>
                <a:lnTo>
                  <a:pt x="110" y="1601"/>
                </a:lnTo>
                <a:lnTo>
                  <a:pt x="107" y="1601"/>
                </a:lnTo>
                <a:lnTo>
                  <a:pt x="107" y="1597"/>
                </a:lnTo>
                <a:lnTo>
                  <a:pt x="113" y="1593"/>
                </a:lnTo>
                <a:lnTo>
                  <a:pt x="115" y="1588"/>
                </a:lnTo>
                <a:lnTo>
                  <a:pt x="115" y="1585"/>
                </a:lnTo>
                <a:lnTo>
                  <a:pt x="118" y="1580"/>
                </a:lnTo>
                <a:lnTo>
                  <a:pt x="117" y="1576"/>
                </a:lnTo>
                <a:lnTo>
                  <a:pt x="118" y="1570"/>
                </a:lnTo>
                <a:lnTo>
                  <a:pt x="127" y="1569"/>
                </a:lnTo>
                <a:lnTo>
                  <a:pt x="129" y="1566"/>
                </a:lnTo>
                <a:lnTo>
                  <a:pt x="137" y="1565"/>
                </a:lnTo>
                <a:lnTo>
                  <a:pt x="142" y="1557"/>
                </a:lnTo>
                <a:lnTo>
                  <a:pt x="150" y="1552"/>
                </a:lnTo>
                <a:lnTo>
                  <a:pt x="149" y="1549"/>
                </a:lnTo>
                <a:lnTo>
                  <a:pt x="152" y="1546"/>
                </a:lnTo>
                <a:lnTo>
                  <a:pt x="156" y="1543"/>
                </a:lnTo>
                <a:lnTo>
                  <a:pt x="159" y="1535"/>
                </a:lnTo>
                <a:lnTo>
                  <a:pt x="167" y="1533"/>
                </a:lnTo>
                <a:lnTo>
                  <a:pt x="173" y="1529"/>
                </a:lnTo>
                <a:lnTo>
                  <a:pt x="175" y="1529"/>
                </a:lnTo>
                <a:lnTo>
                  <a:pt x="180" y="1521"/>
                </a:lnTo>
                <a:lnTo>
                  <a:pt x="182" y="1521"/>
                </a:lnTo>
                <a:lnTo>
                  <a:pt x="188" y="1518"/>
                </a:lnTo>
                <a:lnTo>
                  <a:pt x="188" y="1514"/>
                </a:lnTo>
                <a:lnTo>
                  <a:pt x="191" y="1512"/>
                </a:lnTo>
                <a:lnTo>
                  <a:pt x="194" y="1504"/>
                </a:lnTo>
                <a:lnTo>
                  <a:pt x="202" y="1499"/>
                </a:lnTo>
                <a:lnTo>
                  <a:pt x="206" y="1495"/>
                </a:lnTo>
                <a:lnTo>
                  <a:pt x="209" y="1486"/>
                </a:lnTo>
                <a:lnTo>
                  <a:pt x="216" y="1481"/>
                </a:lnTo>
                <a:lnTo>
                  <a:pt x="216" y="1478"/>
                </a:lnTo>
                <a:lnTo>
                  <a:pt x="213" y="1478"/>
                </a:lnTo>
                <a:lnTo>
                  <a:pt x="212" y="1477"/>
                </a:lnTo>
                <a:lnTo>
                  <a:pt x="212" y="1469"/>
                </a:lnTo>
                <a:lnTo>
                  <a:pt x="210" y="1464"/>
                </a:lnTo>
                <a:lnTo>
                  <a:pt x="212" y="1462"/>
                </a:lnTo>
                <a:lnTo>
                  <a:pt x="214" y="1458"/>
                </a:lnTo>
                <a:lnTo>
                  <a:pt x="213" y="1454"/>
                </a:lnTo>
                <a:lnTo>
                  <a:pt x="216" y="1446"/>
                </a:lnTo>
                <a:lnTo>
                  <a:pt x="220" y="1445"/>
                </a:lnTo>
                <a:lnTo>
                  <a:pt x="222" y="1436"/>
                </a:lnTo>
                <a:lnTo>
                  <a:pt x="227" y="1433"/>
                </a:lnTo>
                <a:lnTo>
                  <a:pt x="231" y="1432"/>
                </a:lnTo>
                <a:lnTo>
                  <a:pt x="231" y="1428"/>
                </a:lnTo>
                <a:lnTo>
                  <a:pt x="228" y="1428"/>
                </a:lnTo>
                <a:lnTo>
                  <a:pt x="228" y="1420"/>
                </a:lnTo>
                <a:lnTo>
                  <a:pt x="235" y="1411"/>
                </a:lnTo>
                <a:lnTo>
                  <a:pt x="238" y="1402"/>
                </a:lnTo>
                <a:lnTo>
                  <a:pt x="238" y="1397"/>
                </a:lnTo>
                <a:lnTo>
                  <a:pt x="234" y="1394"/>
                </a:lnTo>
                <a:lnTo>
                  <a:pt x="235" y="1389"/>
                </a:lnTo>
                <a:lnTo>
                  <a:pt x="233" y="1387"/>
                </a:lnTo>
                <a:lnTo>
                  <a:pt x="233" y="1384"/>
                </a:lnTo>
                <a:lnTo>
                  <a:pt x="231" y="1382"/>
                </a:lnTo>
                <a:lnTo>
                  <a:pt x="228" y="1375"/>
                </a:lnTo>
                <a:lnTo>
                  <a:pt x="237" y="1371"/>
                </a:lnTo>
                <a:lnTo>
                  <a:pt x="260" y="1352"/>
                </a:lnTo>
                <a:lnTo>
                  <a:pt x="277" y="1344"/>
                </a:lnTo>
                <a:lnTo>
                  <a:pt x="285" y="1334"/>
                </a:lnTo>
                <a:lnTo>
                  <a:pt x="298" y="1333"/>
                </a:lnTo>
                <a:lnTo>
                  <a:pt x="314" y="1321"/>
                </a:lnTo>
                <a:lnTo>
                  <a:pt x="323" y="1321"/>
                </a:lnTo>
                <a:lnTo>
                  <a:pt x="330" y="1321"/>
                </a:lnTo>
                <a:lnTo>
                  <a:pt x="333" y="1317"/>
                </a:lnTo>
                <a:lnTo>
                  <a:pt x="335" y="1316"/>
                </a:lnTo>
                <a:lnTo>
                  <a:pt x="347" y="1312"/>
                </a:lnTo>
                <a:lnTo>
                  <a:pt x="356" y="1303"/>
                </a:lnTo>
                <a:lnTo>
                  <a:pt x="356" y="1290"/>
                </a:lnTo>
                <a:lnTo>
                  <a:pt x="353" y="1286"/>
                </a:lnTo>
                <a:lnTo>
                  <a:pt x="353" y="1282"/>
                </a:lnTo>
                <a:lnTo>
                  <a:pt x="359" y="1271"/>
                </a:lnTo>
                <a:lnTo>
                  <a:pt x="366" y="1263"/>
                </a:lnTo>
                <a:lnTo>
                  <a:pt x="364" y="1250"/>
                </a:lnTo>
                <a:lnTo>
                  <a:pt x="367" y="1241"/>
                </a:lnTo>
                <a:lnTo>
                  <a:pt x="373" y="1228"/>
                </a:lnTo>
                <a:lnTo>
                  <a:pt x="372" y="1218"/>
                </a:lnTo>
                <a:lnTo>
                  <a:pt x="374" y="1204"/>
                </a:lnTo>
                <a:lnTo>
                  <a:pt x="378" y="1183"/>
                </a:lnTo>
                <a:lnTo>
                  <a:pt x="385" y="1166"/>
                </a:lnTo>
                <a:lnTo>
                  <a:pt x="391" y="1138"/>
                </a:lnTo>
                <a:lnTo>
                  <a:pt x="385" y="1116"/>
                </a:lnTo>
                <a:lnTo>
                  <a:pt x="384" y="1108"/>
                </a:lnTo>
                <a:lnTo>
                  <a:pt x="391" y="1093"/>
                </a:lnTo>
                <a:lnTo>
                  <a:pt x="391" y="1084"/>
                </a:lnTo>
                <a:lnTo>
                  <a:pt x="385" y="1072"/>
                </a:lnTo>
                <a:lnTo>
                  <a:pt x="383" y="1059"/>
                </a:lnTo>
                <a:lnTo>
                  <a:pt x="381" y="1054"/>
                </a:lnTo>
                <a:lnTo>
                  <a:pt x="381" y="1052"/>
                </a:lnTo>
                <a:lnTo>
                  <a:pt x="380" y="1044"/>
                </a:lnTo>
                <a:lnTo>
                  <a:pt x="383" y="1027"/>
                </a:lnTo>
                <a:lnTo>
                  <a:pt x="381" y="1027"/>
                </a:lnTo>
                <a:lnTo>
                  <a:pt x="381" y="1026"/>
                </a:lnTo>
                <a:lnTo>
                  <a:pt x="380" y="1018"/>
                </a:lnTo>
                <a:lnTo>
                  <a:pt x="374" y="1013"/>
                </a:lnTo>
                <a:lnTo>
                  <a:pt x="374" y="1009"/>
                </a:lnTo>
                <a:lnTo>
                  <a:pt x="374" y="1005"/>
                </a:lnTo>
                <a:lnTo>
                  <a:pt x="376" y="1001"/>
                </a:lnTo>
                <a:lnTo>
                  <a:pt x="377" y="997"/>
                </a:lnTo>
                <a:lnTo>
                  <a:pt x="378" y="992"/>
                </a:lnTo>
                <a:lnTo>
                  <a:pt x="378" y="977"/>
                </a:lnTo>
                <a:lnTo>
                  <a:pt x="377" y="964"/>
                </a:lnTo>
                <a:lnTo>
                  <a:pt x="378" y="955"/>
                </a:lnTo>
                <a:lnTo>
                  <a:pt x="383" y="943"/>
                </a:lnTo>
                <a:lnTo>
                  <a:pt x="383" y="939"/>
                </a:lnTo>
                <a:lnTo>
                  <a:pt x="383" y="932"/>
                </a:lnTo>
                <a:lnTo>
                  <a:pt x="378" y="920"/>
                </a:lnTo>
                <a:lnTo>
                  <a:pt x="378" y="912"/>
                </a:lnTo>
                <a:lnTo>
                  <a:pt x="383" y="904"/>
                </a:lnTo>
                <a:lnTo>
                  <a:pt x="385" y="889"/>
                </a:lnTo>
                <a:lnTo>
                  <a:pt x="387" y="876"/>
                </a:lnTo>
                <a:lnTo>
                  <a:pt x="387" y="872"/>
                </a:lnTo>
                <a:lnTo>
                  <a:pt x="389" y="868"/>
                </a:lnTo>
                <a:lnTo>
                  <a:pt x="389" y="867"/>
                </a:lnTo>
                <a:lnTo>
                  <a:pt x="389" y="863"/>
                </a:lnTo>
                <a:lnTo>
                  <a:pt x="391" y="863"/>
                </a:lnTo>
                <a:lnTo>
                  <a:pt x="392" y="861"/>
                </a:lnTo>
                <a:lnTo>
                  <a:pt x="392" y="859"/>
                </a:lnTo>
                <a:lnTo>
                  <a:pt x="394" y="859"/>
                </a:lnTo>
                <a:lnTo>
                  <a:pt x="392" y="859"/>
                </a:lnTo>
                <a:lnTo>
                  <a:pt x="398" y="848"/>
                </a:lnTo>
                <a:lnTo>
                  <a:pt x="403" y="831"/>
                </a:lnTo>
                <a:lnTo>
                  <a:pt x="409" y="813"/>
                </a:lnTo>
                <a:lnTo>
                  <a:pt x="417" y="794"/>
                </a:lnTo>
                <a:lnTo>
                  <a:pt x="427" y="781"/>
                </a:lnTo>
                <a:lnTo>
                  <a:pt x="430" y="778"/>
                </a:lnTo>
                <a:lnTo>
                  <a:pt x="437" y="768"/>
                </a:lnTo>
                <a:lnTo>
                  <a:pt x="438" y="764"/>
                </a:lnTo>
                <a:lnTo>
                  <a:pt x="441" y="760"/>
                </a:lnTo>
                <a:lnTo>
                  <a:pt x="442" y="760"/>
                </a:lnTo>
                <a:lnTo>
                  <a:pt x="454" y="751"/>
                </a:lnTo>
                <a:lnTo>
                  <a:pt x="459" y="743"/>
                </a:lnTo>
                <a:lnTo>
                  <a:pt x="466" y="734"/>
                </a:lnTo>
                <a:lnTo>
                  <a:pt x="467" y="730"/>
                </a:lnTo>
                <a:lnTo>
                  <a:pt x="470" y="730"/>
                </a:lnTo>
                <a:lnTo>
                  <a:pt x="474" y="724"/>
                </a:lnTo>
                <a:lnTo>
                  <a:pt x="483" y="719"/>
                </a:lnTo>
                <a:lnTo>
                  <a:pt x="487" y="716"/>
                </a:lnTo>
                <a:lnTo>
                  <a:pt x="494" y="710"/>
                </a:lnTo>
                <a:lnTo>
                  <a:pt x="508" y="702"/>
                </a:lnTo>
                <a:lnTo>
                  <a:pt x="516" y="697"/>
                </a:lnTo>
                <a:lnTo>
                  <a:pt x="524" y="693"/>
                </a:lnTo>
                <a:lnTo>
                  <a:pt x="540" y="672"/>
                </a:lnTo>
                <a:lnTo>
                  <a:pt x="559" y="659"/>
                </a:lnTo>
                <a:lnTo>
                  <a:pt x="562" y="654"/>
                </a:lnTo>
                <a:lnTo>
                  <a:pt x="565" y="652"/>
                </a:lnTo>
                <a:lnTo>
                  <a:pt x="568" y="652"/>
                </a:lnTo>
                <a:lnTo>
                  <a:pt x="577" y="652"/>
                </a:lnTo>
                <a:lnTo>
                  <a:pt x="583" y="653"/>
                </a:lnTo>
                <a:lnTo>
                  <a:pt x="586" y="652"/>
                </a:lnTo>
                <a:lnTo>
                  <a:pt x="587" y="649"/>
                </a:lnTo>
                <a:lnTo>
                  <a:pt x="591" y="645"/>
                </a:lnTo>
                <a:lnTo>
                  <a:pt x="594" y="645"/>
                </a:lnTo>
                <a:lnTo>
                  <a:pt x="596" y="645"/>
                </a:lnTo>
                <a:lnTo>
                  <a:pt x="602" y="648"/>
                </a:lnTo>
                <a:lnTo>
                  <a:pt x="608" y="645"/>
                </a:lnTo>
                <a:lnTo>
                  <a:pt x="609" y="645"/>
                </a:lnTo>
                <a:lnTo>
                  <a:pt x="612" y="644"/>
                </a:lnTo>
                <a:lnTo>
                  <a:pt x="613" y="640"/>
                </a:lnTo>
                <a:lnTo>
                  <a:pt x="615" y="640"/>
                </a:lnTo>
                <a:lnTo>
                  <a:pt x="627" y="645"/>
                </a:lnTo>
                <a:lnTo>
                  <a:pt x="632" y="645"/>
                </a:lnTo>
                <a:lnTo>
                  <a:pt x="638" y="645"/>
                </a:lnTo>
                <a:lnTo>
                  <a:pt x="640" y="645"/>
                </a:lnTo>
                <a:lnTo>
                  <a:pt x="646" y="648"/>
                </a:lnTo>
                <a:lnTo>
                  <a:pt x="657" y="636"/>
                </a:lnTo>
                <a:lnTo>
                  <a:pt x="661" y="632"/>
                </a:lnTo>
                <a:lnTo>
                  <a:pt x="666" y="627"/>
                </a:lnTo>
                <a:lnTo>
                  <a:pt x="668" y="627"/>
                </a:lnTo>
                <a:lnTo>
                  <a:pt x="672" y="627"/>
                </a:lnTo>
                <a:lnTo>
                  <a:pt x="677" y="627"/>
                </a:lnTo>
                <a:lnTo>
                  <a:pt x="684" y="622"/>
                </a:lnTo>
                <a:lnTo>
                  <a:pt x="691" y="617"/>
                </a:lnTo>
                <a:lnTo>
                  <a:pt x="696" y="617"/>
                </a:lnTo>
                <a:lnTo>
                  <a:pt x="711" y="604"/>
                </a:lnTo>
                <a:lnTo>
                  <a:pt x="721" y="595"/>
                </a:lnTo>
                <a:lnTo>
                  <a:pt x="723" y="591"/>
                </a:lnTo>
                <a:lnTo>
                  <a:pt x="730" y="587"/>
                </a:lnTo>
                <a:lnTo>
                  <a:pt x="739" y="582"/>
                </a:lnTo>
                <a:lnTo>
                  <a:pt x="741" y="578"/>
                </a:lnTo>
                <a:lnTo>
                  <a:pt x="747" y="577"/>
                </a:lnTo>
                <a:lnTo>
                  <a:pt x="750" y="573"/>
                </a:lnTo>
                <a:lnTo>
                  <a:pt x="753" y="573"/>
                </a:lnTo>
                <a:lnTo>
                  <a:pt x="754" y="569"/>
                </a:lnTo>
                <a:lnTo>
                  <a:pt x="757" y="567"/>
                </a:lnTo>
                <a:lnTo>
                  <a:pt x="762" y="565"/>
                </a:lnTo>
                <a:lnTo>
                  <a:pt x="764" y="565"/>
                </a:lnTo>
                <a:lnTo>
                  <a:pt x="768" y="565"/>
                </a:lnTo>
                <a:lnTo>
                  <a:pt x="769" y="565"/>
                </a:lnTo>
                <a:lnTo>
                  <a:pt x="771" y="565"/>
                </a:lnTo>
                <a:lnTo>
                  <a:pt x="773" y="565"/>
                </a:lnTo>
                <a:lnTo>
                  <a:pt x="778" y="564"/>
                </a:lnTo>
                <a:lnTo>
                  <a:pt x="783" y="565"/>
                </a:lnTo>
                <a:lnTo>
                  <a:pt x="790" y="564"/>
                </a:lnTo>
                <a:lnTo>
                  <a:pt x="793" y="560"/>
                </a:lnTo>
                <a:lnTo>
                  <a:pt x="798" y="564"/>
                </a:lnTo>
                <a:lnTo>
                  <a:pt x="800" y="564"/>
                </a:lnTo>
                <a:lnTo>
                  <a:pt x="804" y="565"/>
                </a:lnTo>
                <a:lnTo>
                  <a:pt x="807" y="567"/>
                </a:lnTo>
                <a:lnTo>
                  <a:pt x="809" y="569"/>
                </a:lnTo>
                <a:lnTo>
                  <a:pt x="815" y="565"/>
                </a:lnTo>
                <a:lnTo>
                  <a:pt x="819" y="565"/>
                </a:lnTo>
                <a:lnTo>
                  <a:pt x="821" y="567"/>
                </a:lnTo>
                <a:lnTo>
                  <a:pt x="823" y="569"/>
                </a:lnTo>
                <a:lnTo>
                  <a:pt x="825" y="569"/>
                </a:lnTo>
                <a:lnTo>
                  <a:pt x="836" y="569"/>
                </a:lnTo>
                <a:lnTo>
                  <a:pt x="843" y="569"/>
                </a:lnTo>
                <a:lnTo>
                  <a:pt x="847" y="567"/>
                </a:lnTo>
                <a:lnTo>
                  <a:pt x="850" y="569"/>
                </a:lnTo>
                <a:lnTo>
                  <a:pt x="857" y="565"/>
                </a:lnTo>
                <a:lnTo>
                  <a:pt x="859" y="567"/>
                </a:lnTo>
                <a:lnTo>
                  <a:pt x="864" y="565"/>
                </a:lnTo>
                <a:lnTo>
                  <a:pt x="871" y="567"/>
                </a:lnTo>
                <a:lnTo>
                  <a:pt x="873" y="565"/>
                </a:lnTo>
                <a:lnTo>
                  <a:pt x="879" y="565"/>
                </a:lnTo>
                <a:lnTo>
                  <a:pt x="883" y="565"/>
                </a:lnTo>
                <a:lnTo>
                  <a:pt x="886" y="565"/>
                </a:lnTo>
                <a:lnTo>
                  <a:pt x="889" y="565"/>
                </a:lnTo>
                <a:lnTo>
                  <a:pt x="892" y="565"/>
                </a:lnTo>
                <a:lnTo>
                  <a:pt x="897" y="564"/>
                </a:lnTo>
                <a:lnTo>
                  <a:pt x="901" y="560"/>
                </a:lnTo>
                <a:lnTo>
                  <a:pt x="908" y="560"/>
                </a:lnTo>
                <a:lnTo>
                  <a:pt x="914" y="560"/>
                </a:lnTo>
                <a:lnTo>
                  <a:pt x="917" y="558"/>
                </a:lnTo>
                <a:lnTo>
                  <a:pt x="921" y="556"/>
                </a:lnTo>
                <a:lnTo>
                  <a:pt x="925" y="556"/>
                </a:lnTo>
                <a:lnTo>
                  <a:pt x="931" y="556"/>
                </a:lnTo>
                <a:lnTo>
                  <a:pt x="933" y="556"/>
                </a:lnTo>
                <a:lnTo>
                  <a:pt x="947" y="554"/>
                </a:lnTo>
                <a:lnTo>
                  <a:pt x="951" y="552"/>
                </a:lnTo>
                <a:lnTo>
                  <a:pt x="956" y="550"/>
                </a:lnTo>
                <a:lnTo>
                  <a:pt x="958" y="550"/>
                </a:lnTo>
                <a:lnTo>
                  <a:pt x="967" y="547"/>
                </a:lnTo>
                <a:lnTo>
                  <a:pt x="979" y="552"/>
                </a:lnTo>
                <a:lnTo>
                  <a:pt x="983" y="556"/>
                </a:lnTo>
                <a:lnTo>
                  <a:pt x="985" y="560"/>
                </a:lnTo>
                <a:lnTo>
                  <a:pt x="989" y="560"/>
                </a:lnTo>
                <a:lnTo>
                  <a:pt x="996" y="560"/>
                </a:lnTo>
                <a:lnTo>
                  <a:pt x="1006" y="564"/>
                </a:lnTo>
                <a:lnTo>
                  <a:pt x="1008" y="565"/>
                </a:lnTo>
                <a:lnTo>
                  <a:pt x="1014" y="567"/>
                </a:lnTo>
                <a:lnTo>
                  <a:pt x="1025" y="569"/>
                </a:lnTo>
                <a:lnTo>
                  <a:pt x="1027" y="569"/>
                </a:lnTo>
                <a:lnTo>
                  <a:pt x="1031" y="573"/>
                </a:lnTo>
                <a:lnTo>
                  <a:pt x="1035" y="577"/>
                </a:lnTo>
                <a:lnTo>
                  <a:pt x="1036" y="577"/>
                </a:lnTo>
                <a:lnTo>
                  <a:pt x="1043" y="573"/>
                </a:lnTo>
                <a:lnTo>
                  <a:pt x="1052" y="573"/>
                </a:lnTo>
                <a:lnTo>
                  <a:pt x="1053" y="569"/>
                </a:lnTo>
                <a:lnTo>
                  <a:pt x="1057" y="569"/>
                </a:lnTo>
                <a:lnTo>
                  <a:pt x="1067" y="564"/>
                </a:lnTo>
                <a:lnTo>
                  <a:pt x="1070" y="560"/>
                </a:lnTo>
                <a:lnTo>
                  <a:pt x="1077" y="556"/>
                </a:lnTo>
                <a:lnTo>
                  <a:pt x="1085" y="552"/>
                </a:lnTo>
                <a:lnTo>
                  <a:pt x="1091" y="552"/>
                </a:lnTo>
                <a:lnTo>
                  <a:pt x="1097" y="547"/>
                </a:lnTo>
                <a:lnTo>
                  <a:pt x="1100" y="542"/>
                </a:lnTo>
                <a:lnTo>
                  <a:pt x="1104" y="541"/>
                </a:lnTo>
                <a:lnTo>
                  <a:pt x="1110" y="537"/>
                </a:lnTo>
                <a:lnTo>
                  <a:pt x="1111" y="533"/>
                </a:lnTo>
                <a:lnTo>
                  <a:pt x="1116" y="532"/>
                </a:lnTo>
                <a:lnTo>
                  <a:pt x="1118" y="524"/>
                </a:lnTo>
                <a:lnTo>
                  <a:pt x="1120" y="520"/>
                </a:lnTo>
                <a:lnTo>
                  <a:pt x="1129" y="511"/>
                </a:lnTo>
                <a:lnTo>
                  <a:pt x="1135" y="505"/>
                </a:lnTo>
                <a:lnTo>
                  <a:pt x="1138" y="502"/>
                </a:lnTo>
                <a:lnTo>
                  <a:pt x="1139" y="502"/>
                </a:lnTo>
                <a:lnTo>
                  <a:pt x="1147" y="502"/>
                </a:lnTo>
                <a:lnTo>
                  <a:pt x="1150" y="498"/>
                </a:lnTo>
                <a:lnTo>
                  <a:pt x="1155" y="497"/>
                </a:lnTo>
                <a:lnTo>
                  <a:pt x="1160" y="494"/>
                </a:lnTo>
                <a:lnTo>
                  <a:pt x="1170" y="488"/>
                </a:lnTo>
                <a:lnTo>
                  <a:pt x="1177" y="485"/>
                </a:lnTo>
                <a:lnTo>
                  <a:pt x="1182" y="485"/>
                </a:lnTo>
                <a:lnTo>
                  <a:pt x="1185" y="485"/>
                </a:lnTo>
                <a:lnTo>
                  <a:pt x="1189" y="479"/>
                </a:lnTo>
                <a:lnTo>
                  <a:pt x="1192" y="475"/>
                </a:lnTo>
                <a:lnTo>
                  <a:pt x="1199" y="471"/>
                </a:lnTo>
                <a:lnTo>
                  <a:pt x="1211" y="471"/>
                </a:lnTo>
                <a:lnTo>
                  <a:pt x="1214" y="471"/>
                </a:lnTo>
                <a:lnTo>
                  <a:pt x="1220" y="466"/>
                </a:lnTo>
                <a:lnTo>
                  <a:pt x="1233" y="449"/>
                </a:lnTo>
                <a:lnTo>
                  <a:pt x="1238" y="449"/>
                </a:lnTo>
                <a:lnTo>
                  <a:pt x="1249" y="440"/>
                </a:lnTo>
                <a:lnTo>
                  <a:pt x="1256" y="440"/>
                </a:lnTo>
                <a:lnTo>
                  <a:pt x="1257" y="438"/>
                </a:lnTo>
                <a:lnTo>
                  <a:pt x="1260" y="436"/>
                </a:lnTo>
                <a:lnTo>
                  <a:pt x="1263" y="427"/>
                </a:lnTo>
                <a:lnTo>
                  <a:pt x="1274" y="427"/>
                </a:lnTo>
                <a:lnTo>
                  <a:pt x="1284" y="413"/>
                </a:lnTo>
                <a:lnTo>
                  <a:pt x="1282" y="412"/>
                </a:lnTo>
                <a:lnTo>
                  <a:pt x="1288" y="412"/>
                </a:lnTo>
                <a:lnTo>
                  <a:pt x="1293" y="408"/>
                </a:lnTo>
                <a:lnTo>
                  <a:pt x="1296" y="408"/>
                </a:lnTo>
                <a:lnTo>
                  <a:pt x="1305" y="408"/>
                </a:lnTo>
                <a:lnTo>
                  <a:pt x="1309" y="404"/>
                </a:lnTo>
                <a:lnTo>
                  <a:pt x="1313" y="404"/>
                </a:lnTo>
                <a:lnTo>
                  <a:pt x="1323" y="400"/>
                </a:lnTo>
                <a:lnTo>
                  <a:pt x="1328" y="395"/>
                </a:lnTo>
                <a:lnTo>
                  <a:pt x="1338" y="395"/>
                </a:lnTo>
                <a:lnTo>
                  <a:pt x="1342" y="395"/>
                </a:lnTo>
                <a:lnTo>
                  <a:pt x="1349" y="391"/>
                </a:lnTo>
                <a:lnTo>
                  <a:pt x="1351" y="391"/>
                </a:lnTo>
                <a:lnTo>
                  <a:pt x="1351" y="387"/>
                </a:lnTo>
                <a:lnTo>
                  <a:pt x="1352" y="386"/>
                </a:lnTo>
                <a:lnTo>
                  <a:pt x="1355" y="386"/>
                </a:lnTo>
                <a:lnTo>
                  <a:pt x="1357" y="386"/>
                </a:lnTo>
                <a:lnTo>
                  <a:pt x="1359" y="382"/>
                </a:lnTo>
                <a:lnTo>
                  <a:pt x="1360" y="382"/>
                </a:lnTo>
                <a:lnTo>
                  <a:pt x="1362" y="382"/>
                </a:lnTo>
                <a:lnTo>
                  <a:pt x="1363" y="386"/>
                </a:lnTo>
                <a:lnTo>
                  <a:pt x="1371" y="382"/>
                </a:lnTo>
                <a:lnTo>
                  <a:pt x="1373" y="382"/>
                </a:lnTo>
                <a:lnTo>
                  <a:pt x="1381" y="382"/>
                </a:lnTo>
                <a:lnTo>
                  <a:pt x="1384" y="382"/>
                </a:lnTo>
                <a:lnTo>
                  <a:pt x="1385" y="382"/>
                </a:lnTo>
                <a:lnTo>
                  <a:pt x="1388" y="382"/>
                </a:lnTo>
                <a:lnTo>
                  <a:pt x="1392" y="382"/>
                </a:lnTo>
                <a:lnTo>
                  <a:pt x="1398" y="382"/>
                </a:lnTo>
                <a:lnTo>
                  <a:pt x="1401" y="382"/>
                </a:lnTo>
                <a:lnTo>
                  <a:pt x="1402" y="382"/>
                </a:lnTo>
                <a:lnTo>
                  <a:pt x="1407" y="378"/>
                </a:lnTo>
                <a:lnTo>
                  <a:pt x="1409" y="378"/>
                </a:lnTo>
                <a:lnTo>
                  <a:pt x="1420" y="376"/>
                </a:lnTo>
                <a:lnTo>
                  <a:pt x="1421" y="376"/>
                </a:lnTo>
                <a:lnTo>
                  <a:pt x="1427" y="373"/>
                </a:lnTo>
                <a:lnTo>
                  <a:pt x="1430" y="373"/>
                </a:lnTo>
                <a:lnTo>
                  <a:pt x="1431" y="368"/>
                </a:lnTo>
                <a:lnTo>
                  <a:pt x="1435" y="368"/>
                </a:lnTo>
                <a:lnTo>
                  <a:pt x="1438" y="367"/>
                </a:lnTo>
                <a:lnTo>
                  <a:pt x="1441" y="368"/>
                </a:lnTo>
                <a:lnTo>
                  <a:pt x="1445" y="368"/>
                </a:lnTo>
                <a:lnTo>
                  <a:pt x="1453" y="365"/>
                </a:lnTo>
                <a:lnTo>
                  <a:pt x="1459" y="365"/>
                </a:lnTo>
                <a:lnTo>
                  <a:pt x="1465" y="363"/>
                </a:lnTo>
                <a:lnTo>
                  <a:pt x="1468" y="359"/>
                </a:lnTo>
                <a:lnTo>
                  <a:pt x="1474" y="359"/>
                </a:lnTo>
                <a:lnTo>
                  <a:pt x="1476" y="359"/>
                </a:lnTo>
                <a:lnTo>
                  <a:pt x="1478" y="355"/>
                </a:lnTo>
                <a:lnTo>
                  <a:pt x="1482" y="355"/>
                </a:lnTo>
                <a:lnTo>
                  <a:pt x="1491" y="350"/>
                </a:lnTo>
                <a:lnTo>
                  <a:pt x="1495" y="350"/>
                </a:lnTo>
                <a:lnTo>
                  <a:pt x="1501" y="346"/>
                </a:lnTo>
                <a:lnTo>
                  <a:pt x="1505" y="342"/>
                </a:lnTo>
                <a:lnTo>
                  <a:pt x="1505" y="341"/>
                </a:lnTo>
                <a:lnTo>
                  <a:pt x="1506" y="337"/>
                </a:lnTo>
                <a:lnTo>
                  <a:pt x="1510" y="337"/>
                </a:lnTo>
                <a:lnTo>
                  <a:pt x="1517" y="337"/>
                </a:lnTo>
                <a:lnTo>
                  <a:pt x="1521" y="333"/>
                </a:lnTo>
                <a:lnTo>
                  <a:pt x="1526" y="329"/>
                </a:lnTo>
                <a:lnTo>
                  <a:pt x="1535" y="323"/>
                </a:lnTo>
                <a:lnTo>
                  <a:pt x="1540" y="320"/>
                </a:lnTo>
                <a:lnTo>
                  <a:pt x="1555" y="314"/>
                </a:lnTo>
                <a:lnTo>
                  <a:pt x="1563" y="305"/>
                </a:lnTo>
                <a:lnTo>
                  <a:pt x="1572" y="297"/>
                </a:lnTo>
                <a:lnTo>
                  <a:pt x="1572" y="296"/>
                </a:lnTo>
                <a:lnTo>
                  <a:pt x="1573" y="296"/>
                </a:lnTo>
                <a:lnTo>
                  <a:pt x="1576" y="293"/>
                </a:lnTo>
                <a:lnTo>
                  <a:pt x="1581" y="297"/>
                </a:lnTo>
                <a:lnTo>
                  <a:pt x="1588" y="293"/>
                </a:lnTo>
                <a:lnTo>
                  <a:pt x="1591" y="293"/>
                </a:lnTo>
                <a:lnTo>
                  <a:pt x="1594" y="292"/>
                </a:lnTo>
                <a:lnTo>
                  <a:pt x="1603" y="288"/>
                </a:lnTo>
                <a:lnTo>
                  <a:pt x="1608" y="287"/>
                </a:lnTo>
                <a:lnTo>
                  <a:pt x="1615" y="287"/>
                </a:lnTo>
                <a:lnTo>
                  <a:pt x="1619" y="284"/>
                </a:lnTo>
                <a:lnTo>
                  <a:pt x="1631" y="284"/>
                </a:lnTo>
                <a:lnTo>
                  <a:pt x="1637" y="284"/>
                </a:lnTo>
                <a:lnTo>
                  <a:pt x="1638" y="284"/>
                </a:lnTo>
                <a:lnTo>
                  <a:pt x="1644" y="279"/>
                </a:lnTo>
                <a:lnTo>
                  <a:pt x="1654" y="279"/>
                </a:lnTo>
                <a:lnTo>
                  <a:pt x="1659" y="275"/>
                </a:lnTo>
                <a:lnTo>
                  <a:pt x="1672" y="269"/>
                </a:lnTo>
                <a:lnTo>
                  <a:pt x="1683" y="261"/>
                </a:lnTo>
                <a:lnTo>
                  <a:pt x="1684" y="258"/>
                </a:lnTo>
                <a:lnTo>
                  <a:pt x="1686" y="253"/>
                </a:lnTo>
                <a:lnTo>
                  <a:pt x="1697" y="239"/>
                </a:lnTo>
                <a:lnTo>
                  <a:pt x="1698" y="238"/>
                </a:lnTo>
                <a:lnTo>
                  <a:pt x="1700" y="236"/>
                </a:lnTo>
                <a:lnTo>
                  <a:pt x="1712" y="229"/>
                </a:lnTo>
                <a:lnTo>
                  <a:pt x="1719" y="221"/>
                </a:lnTo>
                <a:lnTo>
                  <a:pt x="1726" y="217"/>
                </a:lnTo>
                <a:lnTo>
                  <a:pt x="1727" y="216"/>
                </a:lnTo>
                <a:lnTo>
                  <a:pt x="1731" y="213"/>
                </a:lnTo>
                <a:lnTo>
                  <a:pt x="1737" y="208"/>
                </a:lnTo>
                <a:lnTo>
                  <a:pt x="1744" y="204"/>
                </a:lnTo>
                <a:lnTo>
                  <a:pt x="1750" y="202"/>
                </a:lnTo>
                <a:lnTo>
                  <a:pt x="1769" y="185"/>
                </a:lnTo>
                <a:lnTo>
                  <a:pt x="1775" y="177"/>
                </a:lnTo>
                <a:lnTo>
                  <a:pt x="1781" y="172"/>
                </a:lnTo>
                <a:lnTo>
                  <a:pt x="1783" y="168"/>
                </a:lnTo>
                <a:lnTo>
                  <a:pt x="1786" y="164"/>
                </a:lnTo>
                <a:lnTo>
                  <a:pt x="1790" y="163"/>
                </a:lnTo>
                <a:lnTo>
                  <a:pt x="1795" y="158"/>
                </a:lnTo>
                <a:lnTo>
                  <a:pt x="1802" y="155"/>
                </a:lnTo>
                <a:lnTo>
                  <a:pt x="1804" y="150"/>
                </a:lnTo>
                <a:lnTo>
                  <a:pt x="1806" y="150"/>
                </a:lnTo>
                <a:lnTo>
                  <a:pt x="1812" y="146"/>
                </a:lnTo>
                <a:lnTo>
                  <a:pt x="1814" y="146"/>
                </a:lnTo>
                <a:lnTo>
                  <a:pt x="1825" y="133"/>
                </a:lnTo>
                <a:lnTo>
                  <a:pt x="1829" y="129"/>
                </a:lnTo>
                <a:lnTo>
                  <a:pt x="1839" y="120"/>
                </a:lnTo>
                <a:lnTo>
                  <a:pt x="1840" y="114"/>
                </a:lnTo>
                <a:lnTo>
                  <a:pt x="1851" y="106"/>
                </a:lnTo>
                <a:lnTo>
                  <a:pt x="1855" y="105"/>
                </a:lnTo>
                <a:lnTo>
                  <a:pt x="1861" y="101"/>
                </a:lnTo>
                <a:lnTo>
                  <a:pt x="1864" y="97"/>
                </a:lnTo>
                <a:lnTo>
                  <a:pt x="1869" y="97"/>
                </a:lnTo>
                <a:lnTo>
                  <a:pt x="1871" y="96"/>
                </a:lnTo>
                <a:lnTo>
                  <a:pt x="1873" y="92"/>
                </a:lnTo>
                <a:lnTo>
                  <a:pt x="1879" y="92"/>
                </a:lnTo>
                <a:lnTo>
                  <a:pt x="1880" y="88"/>
                </a:lnTo>
                <a:lnTo>
                  <a:pt x="1886" y="88"/>
                </a:lnTo>
                <a:lnTo>
                  <a:pt x="1887" y="88"/>
                </a:lnTo>
                <a:lnTo>
                  <a:pt x="1889" y="88"/>
                </a:lnTo>
                <a:lnTo>
                  <a:pt x="1901" y="84"/>
                </a:lnTo>
                <a:lnTo>
                  <a:pt x="1908" y="84"/>
                </a:lnTo>
                <a:lnTo>
                  <a:pt x="1912" y="84"/>
                </a:lnTo>
                <a:lnTo>
                  <a:pt x="1916" y="84"/>
                </a:lnTo>
                <a:lnTo>
                  <a:pt x="1919" y="87"/>
                </a:lnTo>
                <a:lnTo>
                  <a:pt x="1924" y="87"/>
                </a:lnTo>
                <a:lnTo>
                  <a:pt x="1927" y="84"/>
                </a:lnTo>
                <a:lnTo>
                  <a:pt x="1930" y="83"/>
                </a:lnTo>
                <a:lnTo>
                  <a:pt x="1932" y="84"/>
                </a:lnTo>
                <a:lnTo>
                  <a:pt x="1935" y="83"/>
                </a:lnTo>
                <a:lnTo>
                  <a:pt x="1939" y="84"/>
                </a:lnTo>
                <a:lnTo>
                  <a:pt x="1941" y="84"/>
                </a:lnTo>
                <a:lnTo>
                  <a:pt x="1946" y="79"/>
                </a:lnTo>
                <a:lnTo>
                  <a:pt x="1952" y="75"/>
                </a:lnTo>
                <a:lnTo>
                  <a:pt x="1960" y="71"/>
                </a:lnTo>
                <a:lnTo>
                  <a:pt x="1965" y="62"/>
                </a:lnTo>
                <a:lnTo>
                  <a:pt x="1966" y="52"/>
                </a:lnTo>
                <a:lnTo>
                  <a:pt x="1969" y="47"/>
                </a:lnTo>
                <a:lnTo>
                  <a:pt x="1972" y="43"/>
                </a:lnTo>
                <a:lnTo>
                  <a:pt x="1976" y="38"/>
                </a:lnTo>
                <a:lnTo>
                  <a:pt x="1983" y="30"/>
                </a:lnTo>
                <a:lnTo>
                  <a:pt x="1985" y="34"/>
                </a:lnTo>
                <a:lnTo>
                  <a:pt x="1991" y="30"/>
                </a:lnTo>
                <a:lnTo>
                  <a:pt x="1989" y="26"/>
                </a:lnTo>
                <a:lnTo>
                  <a:pt x="1991" y="25"/>
                </a:lnTo>
                <a:lnTo>
                  <a:pt x="1999" y="14"/>
                </a:lnTo>
                <a:lnTo>
                  <a:pt x="2002" y="3"/>
                </a:lnTo>
                <a:lnTo>
                  <a:pt x="2010" y="8"/>
                </a:lnTo>
                <a:lnTo>
                  <a:pt x="2015" y="0"/>
                </a:lnTo>
                <a:lnTo>
                  <a:pt x="2019" y="0"/>
                </a:lnTo>
                <a:lnTo>
                  <a:pt x="2029" y="3"/>
                </a:lnTo>
                <a:lnTo>
                  <a:pt x="2030" y="8"/>
                </a:lnTo>
                <a:lnTo>
                  <a:pt x="2032" y="8"/>
                </a:lnTo>
                <a:lnTo>
                  <a:pt x="2033" y="8"/>
                </a:lnTo>
                <a:lnTo>
                  <a:pt x="2033" y="3"/>
                </a:lnTo>
                <a:lnTo>
                  <a:pt x="2036" y="3"/>
                </a:lnTo>
                <a:lnTo>
                  <a:pt x="2049" y="8"/>
                </a:lnTo>
                <a:lnTo>
                  <a:pt x="2060" y="11"/>
                </a:lnTo>
                <a:lnTo>
                  <a:pt x="2058" y="13"/>
                </a:lnTo>
                <a:lnTo>
                  <a:pt x="2052" y="14"/>
                </a:lnTo>
                <a:lnTo>
                  <a:pt x="2049" y="17"/>
                </a:lnTo>
                <a:lnTo>
                  <a:pt x="2043" y="15"/>
                </a:lnTo>
                <a:lnTo>
                  <a:pt x="2041" y="21"/>
                </a:lnTo>
                <a:lnTo>
                  <a:pt x="2043" y="26"/>
                </a:lnTo>
                <a:lnTo>
                  <a:pt x="2040" y="30"/>
                </a:lnTo>
                <a:lnTo>
                  <a:pt x="2041" y="30"/>
                </a:lnTo>
                <a:lnTo>
                  <a:pt x="2051" y="26"/>
                </a:lnTo>
                <a:lnTo>
                  <a:pt x="2065" y="15"/>
                </a:lnTo>
                <a:lnTo>
                  <a:pt x="2068" y="11"/>
                </a:lnTo>
                <a:lnTo>
                  <a:pt x="2068" y="3"/>
                </a:lnTo>
                <a:lnTo>
                  <a:pt x="2075" y="3"/>
                </a:lnTo>
                <a:lnTo>
                  <a:pt x="2082" y="8"/>
                </a:lnTo>
                <a:lnTo>
                  <a:pt x="2082" y="13"/>
                </a:lnTo>
                <a:lnTo>
                  <a:pt x="2085" y="13"/>
                </a:lnTo>
                <a:lnTo>
                  <a:pt x="2086" y="17"/>
                </a:lnTo>
                <a:lnTo>
                  <a:pt x="2089" y="17"/>
                </a:lnTo>
                <a:lnTo>
                  <a:pt x="2086" y="26"/>
                </a:lnTo>
                <a:lnTo>
                  <a:pt x="2089" y="34"/>
                </a:lnTo>
                <a:lnTo>
                  <a:pt x="2093" y="39"/>
                </a:lnTo>
                <a:lnTo>
                  <a:pt x="2094" y="47"/>
                </a:lnTo>
                <a:lnTo>
                  <a:pt x="2097" y="48"/>
                </a:lnTo>
                <a:lnTo>
                  <a:pt x="2099" y="51"/>
                </a:lnTo>
                <a:lnTo>
                  <a:pt x="2096" y="56"/>
                </a:lnTo>
                <a:lnTo>
                  <a:pt x="2096" y="62"/>
                </a:lnTo>
                <a:lnTo>
                  <a:pt x="2094" y="62"/>
                </a:lnTo>
                <a:lnTo>
                  <a:pt x="2091" y="62"/>
                </a:lnTo>
                <a:lnTo>
                  <a:pt x="2090" y="62"/>
                </a:lnTo>
                <a:lnTo>
                  <a:pt x="2087" y="60"/>
                </a:lnTo>
                <a:lnTo>
                  <a:pt x="2085" y="60"/>
                </a:lnTo>
                <a:lnTo>
                  <a:pt x="2085" y="64"/>
                </a:lnTo>
                <a:lnTo>
                  <a:pt x="2080" y="64"/>
                </a:lnTo>
                <a:lnTo>
                  <a:pt x="2078" y="65"/>
                </a:lnTo>
                <a:lnTo>
                  <a:pt x="2075" y="65"/>
                </a:lnTo>
                <a:lnTo>
                  <a:pt x="2074" y="62"/>
                </a:lnTo>
                <a:lnTo>
                  <a:pt x="2072" y="62"/>
                </a:lnTo>
                <a:lnTo>
                  <a:pt x="2074" y="65"/>
                </a:lnTo>
                <a:lnTo>
                  <a:pt x="2072" y="65"/>
                </a:lnTo>
                <a:lnTo>
                  <a:pt x="2066" y="64"/>
                </a:lnTo>
                <a:lnTo>
                  <a:pt x="2062" y="62"/>
                </a:lnTo>
                <a:lnTo>
                  <a:pt x="2060" y="64"/>
                </a:lnTo>
                <a:lnTo>
                  <a:pt x="2058" y="70"/>
                </a:lnTo>
                <a:lnTo>
                  <a:pt x="2055" y="71"/>
                </a:lnTo>
                <a:lnTo>
                  <a:pt x="2051" y="70"/>
                </a:lnTo>
                <a:lnTo>
                  <a:pt x="2047" y="73"/>
                </a:lnTo>
                <a:lnTo>
                  <a:pt x="2046" y="75"/>
                </a:lnTo>
                <a:lnTo>
                  <a:pt x="2044" y="73"/>
                </a:lnTo>
                <a:lnTo>
                  <a:pt x="2046" y="65"/>
                </a:lnTo>
                <a:lnTo>
                  <a:pt x="2040" y="65"/>
                </a:lnTo>
                <a:lnTo>
                  <a:pt x="2036" y="71"/>
                </a:lnTo>
                <a:lnTo>
                  <a:pt x="2036" y="73"/>
                </a:lnTo>
                <a:lnTo>
                  <a:pt x="2039" y="71"/>
                </a:lnTo>
                <a:lnTo>
                  <a:pt x="2040" y="65"/>
                </a:lnTo>
                <a:lnTo>
                  <a:pt x="2041" y="65"/>
                </a:lnTo>
                <a:lnTo>
                  <a:pt x="2041" y="79"/>
                </a:lnTo>
                <a:lnTo>
                  <a:pt x="2043" y="79"/>
                </a:lnTo>
                <a:lnTo>
                  <a:pt x="2050" y="79"/>
                </a:lnTo>
                <a:lnTo>
                  <a:pt x="2050" y="83"/>
                </a:lnTo>
                <a:lnTo>
                  <a:pt x="2047" y="84"/>
                </a:lnTo>
                <a:lnTo>
                  <a:pt x="2046" y="92"/>
                </a:lnTo>
                <a:lnTo>
                  <a:pt x="2050" y="88"/>
                </a:lnTo>
                <a:lnTo>
                  <a:pt x="2054" y="92"/>
                </a:lnTo>
                <a:lnTo>
                  <a:pt x="2068" y="92"/>
                </a:lnTo>
                <a:lnTo>
                  <a:pt x="2078" y="88"/>
                </a:lnTo>
                <a:lnTo>
                  <a:pt x="2082" y="84"/>
                </a:lnTo>
                <a:lnTo>
                  <a:pt x="2086" y="83"/>
                </a:lnTo>
                <a:lnTo>
                  <a:pt x="2090" y="83"/>
                </a:lnTo>
                <a:lnTo>
                  <a:pt x="2097" y="84"/>
                </a:lnTo>
                <a:lnTo>
                  <a:pt x="2100" y="88"/>
                </a:lnTo>
                <a:lnTo>
                  <a:pt x="2107" y="88"/>
                </a:lnTo>
                <a:lnTo>
                  <a:pt x="2115" y="97"/>
                </a:lnTo>
                <a:lnTo>
                  <a:pt x="2121" y="97"/>
                </a:lnTo>
                <a:lnTo>
                  <a:pt x="2126" y="101"/>
                </a:lnTo>
                <a:lnTo>
                  <a:pt x="2128" y="101"/>
                </a:lnTo>
                <a:lnTo>
                  <a:pt x="2125" y="106"/>
                </a:lnTo>
                <a:lnTo>
                  <a:pt x="2125" y="110"/>
                </a:lnTo>
                <a:lnTo>
                  <a:pt x="2118" y="110"/>
                </a:lnTo>
                <a:lnTo>
                  <a:pt x="2115" y="120"/>
                </a:lnTo>
                <a:lnTo>
                  <a:pt x="2115" y="137"/>
                </a:lnTo>
                <a:lnTo>
                  <a:pt x="2118" y="146"/>
                </a:lnTo>
                <a:lnTo>
                  <a:pt x="2125" y="154"/>
                </a:lnTo>
                <a:lnTo>
                  <a:pt x="2129" y="154"/>
                </a:lnTo>
                <a:lnTo>
                  <a:pt x="2136" y="155"/>
                </a:lnTo>
                <a:lnTo>
                  <a:pt x="2146" y="158"/>
                </a:lnTo>
                <a:lnTo>
                  <a:pt x="2154" y="158"/>
                </a:lnTo>
                <a:lnTo>
                  <a:pt x="2160" y="159"/>
                </a:lnTo>
                <a:lnTo>
                  <a:pt x="2165" y="163"/>
                </a:lnTo>
                <a:lnTo>
                  <a:pt x="2170" y="168"/>
                </a:lnTo>
                <a:lnTo>
                  <a:pt x="2172" y="172"/>
                </a:lnTo>
                <a:lnTo>
                  <a:pt x="2171" y="185"/>
                </a:lnTo>
                <a:lnTo>
                  <a:pt x="2165" y="185"/>
                </a:lnTo>
                <a:close/>
                <a:moveTo>
                  <a:pt x="2156" y="1498"/>
                </a:moveTo>
                <a:lnTo>
                  <a:pt x="2153" y="1503"/>
                </a:lnTo>
                <a:lnTo>
                  <a:pt x="2156" y="1504"/>
                </a:lnTo>
                <a:lnTo>
                  <a:pt x="2153" y="1504"/>
                </a:lnTo>
                <a:lnTo>
                  <a:pt x="2156" y="1508"/>
                </a:lnTo>
                <a:lnTo>
                  <a:pt x="2157" y="1518"/>
                </a:lnTo>
                <a:lnTo>
                  <a:pt x="2154" y="1520"/>
                </a:lnTo>
                <a:lnTo>
                  <a:pt x="2151" y="1518"/>
                </a:lnTo>
                <a:lnTo>
                  <a:pt x="2149" y="1521"/>
                </a:lnTo>
                <a:lnTo>
                  <a:pt x="2146" y="1526"/>
                </a:lnTo>
                <a:lnTo>
                  <a:pt x="2145" y="1526"/>
                </a:lnTo>
                <a:lnTo>
                  <a:pt x="2143" y="1529"/>
                </a:lnTo>
                <a:lnTo>
                  <a:pt x="2142" y="1529"/>
                </a:lnTo>
                <a:lnTo>
                  <a:pt x="2140" y="1532"/>
                </a:lnTo>
                <a:lnTo>
                  <a:pt x="2139" y="1532"/>
                </a:lnTo>
                <a:lnTo>
                  <a:pt x="2140" y="1535"/>
                </a:lnTo>
                <a:lnTo>
                  <a:pt x="2136" y="1535"/>
                </a:lnTo>
                <a:lnTo>
                  <a:pt x="2137" y="1535"/>
                </a:lnTo>
                <a:lnTo>
                  <a:pt x="2136" y="1535"/>
                </a:lnTo>
                <a:lnTo>
                  <a:pt x="2132" y="1540"/>
                </a:lnTo>
                <a:lnTo>
                  <a:pt x="2133" y="1540"/>
                </a:lnTo>
                <a:lnTo>
                  <a:pt x="2137" y="1539"/>
                </a:lnTo>
                <a:lnTo>
                  <a:pt x="2142" y="1540"/>
                </a:lnTo>
                <a:lnTo>
                  <a:pt x="2140" y="1543"/>
                </a:lnTo>
                <a:lnTo>
                  <a:pt x="2136" y="1544"/>
                </a:lnTo>
                <a:lnTo>
                  <a:pt x="2137" y="1540"/>
                </a:lnTo>
                <a:lnTo>
                  <a:pt x="2133" y="1543"/>
                </a:lnTo>
                <a:lnTo>
                  <a:pt x="2128" y="1544"/>
                </a:lnTo>
                <a:lnTo>
                  <a:pt x="2118" y="1553"/>
                </a:lnTo>
                <a:lnTo>
                  <a:pt x="2119" y="1549"/>
                </a:lnTo>
                <a:lnTo>
                  <a:pt x="2118" y="1548"/>
                </a:lnTo>
                <a:lnTo>
                  <a:pt x="2118" y="1540"/>
                </a:lnTo>
                <a:lnTo>
                  <a:pt x="2114" y="1535"/>
                </a:lnTo>
                <a:lnTo>
                  <a:pt x="2110" y="1531"/>
                </a:lnTo>
                <a:lnTo>
                  <a:pt x="2118" y="1532"/>
                </a:lnTo>
                <a:lnTo>
                  <a:pt x="2118" y="1531"/>
                </a:lnTo>
                <a:lnTo>
                  <a:pt x="2125" y="1527"/>
                </a:lnTo>
                <a:lnTo>
                  <a:pt x="2115" y="1527"/>
                </a:lnTo>
                <a:lnTo>
                  <a:pt x="2115" y="1521"/>
                </a:lnTo>
                <a:lnTo>
                  <a:pt x="2114" y="1521"/>
                </a:lnTo>
                <a:lnTo>
                  <a:pt x="2112" y="1527"/>
                </a:lnTo>
                <a:lnTo>
                  <a:pt x="2108" y="1527"/>
                </a:lnTo>
                <a:lnTo>
                  <a:pt x="2110" y="1526"/>
                </a:lnTo>
                <a:lnTo>
                  <a:pt x="2108" y="1521"/>
                </a:lnTo>
                <a:lnTo>
                  <a:pt x="2105" y="1521"/>
                </a:lnTo>
                <a:lnTo>
                  <a:pt x="2101" y="1520"/>
                </a:lnTo>
                <a:lnTo>
                  <a:pt x="2100" y="1521"/>
                </a:lnTo>
                <a:lnTo>
                  <a:pt x="2096" y="1518"/>
                </a:lnTo>
                <a:lnTo>
                  <a:pt x="2096" y="1516"/>
                </a:lnTo>
                <a:lnTo>
                  <a:pt x="2100" y="1511"/>
                </a:lnTo>
                <a:lnTo>
                  <a:pt x="2103" y="1511"/>
                </a:lnTo>
                <a:lnTo>
                  <a:pt x="2104" y="1512"/>
                </a:lnTo>
                <a:lnTo>
                  <a:pt x="2103" y="1508"/>
                </a:lnTo>
                <a:lnTo>
                  <a:pt x="2104" y="1511"/>
                </a:lnTo>
                <a:lnTo>
                  <a:pt x="2107" y="1507"/>
                </a:lnTo>
                <a:lnTo>
                  <a:pt x="2111" y="1504"/>
                </a:lnTo>
                <a:lnTo>
                  <a:pt x="2111" y="1503"/>
                </a:lnTo>
                <a:lnTo>
                  <a:pt x="2114" y="1499"/>
                </a:lnTo>
                <a:lnTo>
                  <a:pt x="2115" y="1499"/>
                </a:lnTo>
                <a:lnTo>
                  <a:pt x="2118" y="1504"/>
                </a:lnTo>
                <a:lnTo>
                  <a:pt x="2119" y="1512"/>
                </a:lnTo>
                <a:lnTo>
                  <a:pt x="2125" y="1514"/>
                </a:lnTo>
                <a:lnTo>
                  <a:pt x="2124" y="1508"/>
                </a:lnTo>
                <a:lnTo>
                  <a:pt x="2125" y="1508"/>
                </a:lnTo>
                <a:lnTo>
                  <a:pt x="2126" y="1508"/>
                </a:lnTo>
                <a:lnTo>
                  <a:pt x="2131" y="1514"/>
                </a:lnTo>
                <a:lnTo>
                  <a:pt x="2135" y="1516"/>
                </a:lnTo>
                <a:lnTo>
                  <a:pt x="2133" y="1508"/>
                </a:lnTo>
                <a:lnTo>
                  <a:pt x="2135" y="1508"/>
                </a:lnTo>
                <a:lnTo>
                  <a:pt x="2136" y="1508"/>
                </a:lnTo>
                <a:lnTo>
                  <a:pt x="2131" y="1503"/>
                </a:lnTo>
                <a:lnTo>
                  <a:pt x="2128" y="1499"/>
                </a:lnTo>
                <a:lnTo>
                  <a:pt x="2125" y="1503"/>
                </a:lnTo>
                <a:lnTo>
                  <a:pt x="2126" y="1499"/>
                </a:lnTo>
                <a:lnTo>
                  <a:pt x="2126" y="1495"/>
                </a:lnTo>
                <a:lnTo>
                  <a:pt x="2128" y="1495"/>
                </a:lnTo>
                <a:lnTo>
                  <a:pt x="2136" y="1491"/>
                </a:lnTo>
                <a:lnTo>
                  <a:pt x="2140" y="1486"/>
                </a:lnTo>
                <a:lnTo>
                  <a:pt x="2143" y="1491"/>
                </a:lnTo>
                <a:lnTo>
                  <a:pt x="2150" y="1495"/>
                </a:lnTo>
                <a:lnTo>
                  <a:pt x="2157" y="1495"/>
                </a:lnTo>
                <a:lnTo>
                  <a:pt x="2159" y="1491"/>
                </a:lnTo>
                <a:lnTo>
                  <a:pt x="2160" y="1495"/>
                </a:lnTo>
                <a:lnTo>
                  <a:pt x="2156" y="1498"/>
                </a:lnTo>
                <a:close/>
                <a:moveTo>
                  <a:pt x="2151" y="1400"/>
                </a:moveTo>
                <a:lnTo>
                  <a:pt x="2151" y="1406"/>
                </a:lnTo>
                <a:lnTo>
                  <a:pt x="2154" y="1411"/>
                </a:lnTo>
                <a:lnTo>
                  <a:pt x="2146" y="1420"/>
                </a:lnTo>
                <a:lnTo>
                  <a:pt x="2133" y="1428"/>
                </a:lnTo>
                <a:lnTo>
                  <a:pt x="2131" y="1428"/>
                </a:lnTo>
                <a:lnTo>
                  <a:pt x="2131" y="1424"/>
                </a:lnTo>
                <a:lnTo>
                  <a:pt x="2128" y="1424"/>
                </a:lnTo>
                <a:lnTo>
                  <a:pt x="2126" y="1424"/>
                </a:lnTo>
                <a:lnTo>
                  <a:pt x="2129" y="1420"/>
                </a:lnTo>
                <a:lnTo>
                  <a:pt x="2131" y="1416"/>
                </a:lnTo>
                <a:lnTo>
                  <a:pt x="2128" y="1406"/>
                </a:lnTo>
                <a:lnTo>
                  <a:pt x="2124" y="1402"/>
                </a:lnTo>
                <a:lnTo>
                  <a:pt x="2125" y="1397"/>
                </a:lnTo>
                <a:lnTo>
                  <a:pt x="2118" y="1392"/>
                </a:lnTo>
                <a:lnTo>
                  <a:pt x="2117" y="1389"/>
                </a:lnTo>
                <a:lnTo>
                  <a:pt x="2107" y="1383"/>
                </a:lnTo>
                <a:lnTo>
                  <a:pt x="2124" y="1371"/>
                </a:lnTo>
                <a:lnTo>
                  <a:pt x="2128" y="1371"/>
                </a:lnTo>
                <a:lnTo>
                  <a:pt x="2129" y="1371"/>
                </a:lnTo>
                <a:lnTo>
                  <a:pt x="2139" y="1375"/>
                </a:lnTo>
                <a:lnTo>
                  <a:pt x="2149" y="1389"/>
                </a:lnTo>
                <a:lnTo>
                  <a:pt x="2151" y="1400"/>
                </a:lnTo>
                <a:close/>
                <a:moveTo>
                  <a:pt x="2151" y="1593"/>
                </a:moveTo>
                <a:lnTo>
                  <a:pt x="2147" y="1598"/>
                </a:lnTo>
                <a:lnTo>
                  <a:pt x="2139" y="1593"/>
                </a:lnTo>
                <a:lnTo>
                  <a:pt x="2137" y="1591"/>
                </a:lnTo>
                <a:lnTo>
                  <a:pt x="2139" y="1589"/>
                </a:lnTo>
                <a:lnTo>
                  <a:pt x="2137" y="1588"/>
                </a:lnTo>
                <a:lnTo>
                  <a:pt x="2137" y="1585"/>
                </a:lnTo>
                <a:lnTo>
                  <a:pt x="2136" y="1580"/>
                </a:lnTo>
                <a:lnTo>
                  <a:pt x="2136" y="1570"/>
                </a:lnTo>
                <a:lnTo>
                  <a:pt x="2132" y="1566"/>
                </a:lnTo>
                <a:lnTo>
                  <a:pt x="2132" y="1556"/>
                </a:lnTo>
                <a:lnTo>
                  <a:pt x="2135" y="1552"/>
                </a:lnTo>
                <a:lnTo>
                  <a:pt x="2136" y="1549"/>
                </a:lnTo>
                <a:lnTo>
                  <a:pt x="2139" y="1552"/>
                </a:lnTo>
                <a:lnTo>
                  <a:pt x="2142" y="1553"/>
                </a:lnTo>
                <a:lnTo>
                  <a:pt x="2147" y="1557"/>
                </a:lnTo>
                <a:lnTo>
                  <a:pt x="2149" y="1557"/>
                </a:lnTo>
                <a:lnTo>
                  <a:pt x="2151" y="1561"/>
                </a:lnTo>
                <a:lnTo>
                  <a:pt x="2154" y="1563"/>
                </a:lnTo>
                <a:lnTo>
                  <a:pt x="2153" y="1566"/>
                </a:lnTo>
                <a:lnTo>
                  <a:pt x="2156" y="1574"/>
                </a:lnTo>
                <a:lnTo>
                  <a:pt x="2154" y="1589"/>
                </a:lnTo>
                <a:lnTo>
                  <a:pt x="2151" y="1593"/>
                </a:lnTo>
                <a:close/>
                <a:moveTo>
                  <a:pt x="2234" y="425"/>
                </a:moveTo>
                <a:lnTo>
                  <a:pt x="2232" y="427"/>
                </a:lnTo>
                <a:lnTo>
                  <a:pt x="2234" y="430"/>
                </a:lnTo>
                <a:lnTo>
                  <a:pt x="2232" y="430"/>
                </a:lnTo>
                <a:lnTo>
                  <a:pt x="2229" y="436"/>
                </a:lnTo>
                <a:lnTo>
                  <a:pt x="2226" y="435"/>
                </a:lnTo>
                <a:lnTo>
                  <a:pt x="2226" y="436"/>
                </a:lnTo>
                <a:lnTo>
                  <a:pt x="2225" y="436"/>
                </a:lnTo>
                <a:lnTo>
                  <a:pt x="2226" y="438"/>
                </a:lnTo>
                <a:lnTo>
                  <a:pt x="2222" y="440"/>
                </a:lnTo>
                <a:lnTo>
                  <a:pt x="2221" y="440"/>
                </a:lnTo>
                <a:lnTo>
                  <a:pt x="2224" y="440"/>
                </a:lnTo>
                <a:lnTo>
                  <a:pt x="2222" y="440"/>
                </a:lnTo>
                <a:lnTo>
                  <a:pt x="2215" y="443"/>
                </a:lnTo>
                <a:lnTo>
                  <a:pt x="2211" y="443"/>
                </a:lnTo>
                <a:lnTo>
                  <a:pt x="2204" y="440"/>
                </a:lnTo>
                <a:lnTo>
                  <a:pt x="2201" y="443"/>
                </a:lnTo>
                <a:lnTo>
                  <a:pt x="2184" y="449"/>
                </a:lnTo>
                <a:lnTo>
                  <a:pt x="2179" y="453"/>
                </a:lnTo>
                <a:lnTo>
                  <a:pt x="2178" y="453"/>
                </a:lnTo>
                <a:lnTo>
                  <a:pt x="2176" y="453"/>
                </a:lnTo>
                <a:lnTo>
                  <a:pt x="2174" y="453"/>
                </a:lnTo>
                <a:lnTo>
                  <a:pt x="2178" y="453"/>
                </a:lnTo>
                <a:lnTo>
                  <a:pt x="2178" y="449"/>
                </a:lnTo>
                <a:lnTo>
                  <a:pt x="2176" y="453"/>
                </a:lnTo>
                <a:lnTo>
                  <a:pt x="2172" y="453"/>
                </a:lnTo>
                <a:lnTo>
                  <a:pt x="2172" y="457"/>
                </a:lnTo>
                <a:lnTo>
                  <a:pt x="2171" y="453"/>
                </a:lnTo>
                <a:lnTo>
                  <a:pt x="2168" y="449"/>
                </a:lnTo>
                <a:lnTo>
                  <a:pt x="2151" y="449"/>
                </a:lnTo>
                <a:lnTo>
                  <a:pt x="2139" y="440"/>
                </a:lnTo>
                <a:lnTo>
                  <a:pt x="2149" y="440"/>
                </a:lnTo>
                <a:lnTo>
                  <a:pt x="2164" y="448"/>
                </a:lnTo>
                <a:lnTo>
                  <a:pt x="2176" y="448"/>
                </a:lnTo>
                <a:lnTo>
                  <a:pt x="2192" y="443"/>
                </a:lnTo>
                <a:lnTo>
                  <a:pt x="2200" y="440"/>
                </a:lnTo>
                <a:lnTo>
                  <a:pt x="2215" y="436"/>
                </a:lnTo>
                <a:lnTo>
                  <a:pt x="2221" y="430"/>
                </a:lnTo>
                <a:lnTo>
                  <a:pt x="2222" y="430"/>
                </a:lnTo>
                <a:lnTo>
                  <a:pt x="2221" y="427"/>
                </a:lnTo>
                <a:lnTo>
                  <a:pt x="2224" y="425"/>
                </a:lnTo>
                <a:lnTo>
                  <a:pt x="2226" y="423"/>
                </a:lnTo>
                <a:lnTo>
                  <a:pt x="2231" y="423"/>
                </a:lnTo>
                <a:lnTo>
                  <a:pt x="2234" y="425"/>
                </a:lnTo>
                <a:close/>
                <a:moveTo>
                  <a:pt x="2207" y="297"/>
                </a:moveTo>
                <a:lnTo>
                  <a:pt x="2207" y="305"/>
                </a:lnTo>
                <a:lnTo>
                  <a:pt x="2204" y="306"/>
                </a:lnTo>
                <a:lnTo>
                  <a:pt x="2196" y="311"/>
                </a:lnTo>
                <a:lnTo>
                  <a:pt x="2193" y="311"/>
                </a:lnTo>
                <a:lnTo>
                  <a:pt x="2190" y="320"/>
                </a:lnTo>
                <a:lnTo>
                  <a:pt x="2186" y="320"/>
                </a:lnTo>
                <a:lnTo>
                  <a:pt x="2186" y="323"/>
                </a:lnTo>
                <a:lnTo>
                  <a:pt x="2184" y="323"/>
                </a:lnTo>
                <a:lnTo>
                  <a:pt x="2181" y="320"/>
                </a:lnTo>
                <a:lnTo>
                  <a:pt x="2178" y="320"/>
                </a:lnTo>
                <a:lnTo>
                  <a:pt x="2181" y="324"/>
                </a:lnTo>
                <a:lnTo>
                  <a:pt x="2176" y="324"/>
                </a:lnTo>
                <a:lnTo>
                  <a:pt x="2175" y="324"/>
                </a:lnTo>
                <a:lnTo>
                  <a:pt x="2179" y="314"/>
                </a:lnTo>
                <a:lnTo>
                  <a:pt x="2179" y="306"/>
                </a:lnTo>
                <a:lnTo>
                  <a:pt x="2182" y="301"/>
                </a:lnTo>
                <a:lnTo>
                  <a:pt x="2182" y="297"/>
                </a:lnTo>
                <a:lnTo>
                  <a:pt x="2184" y="297"/>
                </a:lnTo>
                <a:lnTo>
                  <a:pt x="2187" y="301"/>
                </a:lnTo>
                <a:lnTo>
                  <a:pt x="2190" y="311"/>
                </a:lnTo>
                <a:lnTo>
                  <a:pt x="2193" y="309"/>
                </a:lnTo>
                <a:lnTo>
                  <a:pt x="2197" y="306"/>
                </a:lnTo>
                <a:lnTo>
                  <a:pt x="2193" y="306"/>
                </a:lnTo>
                <a:lnTo>
                  <a:pt x="2192" y="301"/>
                </a:lnTo>
                <a:lnTo>
                  <a:pt x="2189" y="301"/>
                </a:lnTo>
                <a:lnTo>
                  <a:pt x="2189" y="297"/>
                </a:lnTo>
                <a:lnTo>
                  <a:pt x="2190" y="297"/>
                </a:lnTo>
                <a:lnTo>
                  <a:pt x="2190" y="293"/>
                </a:lnTo>
                <a:lnTo>
                  <a:pt x="2189" y="293"/>
                </a:lnTo>
                <a:lnTo>
                  <a:pt x="2186" y="288"/>
                </a:lnTo>
                <a:lnTo>
                  <a:pt x="2184" y="287"/>
                </a:lnTo>
                <a:lnTo>
                  <a:pt x="2185" y="283"/>
                </a:lnTo>
                <a:lnTo>
                  <a:pt x="2187" y="287"/>
                </a:lnTo>
                <a:lnTo>
                  <a:pt x="2199" y="292"/>
                </a:lnTo>
                <a:lnTo>
                  <a:pt x="2207" y="297"/>
                </a:lnTo>
                <a:close/>
                <a:moveTo>
                  <a:pt x="2147" y="1656"/>
                </a:moveTo>
                <a:lnTo>
                  <a:pt x="2149" y="1663"/>
                </a:lnTo>
                <a:lnTo>
                  <a:pt x="2147" y="1669"/>
                </a:lnTo>
                <a:lnTo>
                  <a:pt x="2145" y="1673"/>
                </a:lnTo>
                <a:lnTo>
                  <a:pt x="2143" y="1677"/>
                </a:lnTo>
                <a:lnTo>
                  <a:pt x="2142" y="1678"/>
                </a:lnTo>
                <a:lnTo>
                  <a:pt x="2139" y="1681"/>
                </a:lnTo>
                <a:lnTo>
                  <a:pt x="2137" y="1678"/>
                </a:lnTo>
                <a:lnTo>
                  <a:pt x="2133" y="1678"/>
                </a:lnTo>
                <a:lnTo>
                  <a:pt x="2131" y="1682"/>
                </a:lnTo>
                <a:lnTo>
                  <a:pt x="2128" y="1682"/>
                </a:lnTo>
                <a:lnTo>
                  <a:pt x="2131" y="1678"/>
                </a:lnTo>
                <a:lnTo>
                  <a:pt x="2129" y="1673"/>
                </a:lnTo>
                <a:lnTo>
                  <a:pt x="2128" y="1669"/>
                </a:lnTo>
                <a:lnTo>
                  <a:pt x="2124" y="1668"/>
                </a:lnTo>
                <a:lnTo>
                  <a:pt x="2124" y="1664"/>
                </a:lnTo>
                <a:lnTo>
                  <a:pt x="2128" y="1660"/>
                </a:lnTo>
                <a:lnTo>
                  <a:pt x="2133" y="1658"/>
                </a:lnTo>
                <a:lnTo>
                  <a:pt x="2133" y="1656"/>
                </a:lnTo>
                <a:lnTo>
                  <a:pt x="2143" y="1651"/>
                </a:lnTo>
                <a:lnTo>
                  <a:pt x="2147" y="1656"/>
                </a:lnTo>
                <a:close/>
                <a:moveTo>
                  <a:pt x="2215" y="537"/>
                </a:moveTo>
                <a:lnTo>
                  <a:pt x="2218" y="554"/>
                </a:lnTo>
                <a:lnTo>
                  <a:pt x="2214" y="556"/>
                </a:lnTo>
                <a:lnTo>
                  <a:pt x="2209" y="560"/>
                </a:lnTo>
                <a:lnTo>
                  <a:pt x="2204" y="558"/>
                </a:lnTo>
                <a:lnTo>
                  <a:pt x="2201" y="560"/>
                </a:lnTo>
                <a:lnTo>
                  <a:pt x="2199" y="560"/>
                </a:lnTo>
                <a:lnTo>
                  <a:pt x="2193" y="560"/>
                </a:lnTo>
                <a:lnTo>
                  <a:pt x="2193" y="564"/>
                </a:lnTo>
                <a:lnTo>
                  <a:pt x="2189" y="565"/>
                </a:lnTo>
                <a:lnTo>
                  <a:pt x="2182" y="569"/>
                </a:lnTo>
                <a:lnTo>
                  <a:pt x="2190" y="560"/>
                </a:lnTo>
                <a:lnTo>
                  <a:pt x="2195" y="552"/>
                </a:lnTo>
                <a:lnTo>
                  <a:pt x="2195" y="547"/>
                </a:lnTo>
                <a:lnTo>
                  <a:pt x="2197" y="545"/>
                </a:lnTo>
                <a:lnTo>
                  <a:pt x="2199" y="541"/>
                </a:lnTo>
                <a:lnTo>
                  <a:pt x="2201" y="537"/>
                </a:lnTo>
                <a:lnTo>
                  <a:pt x="2207" y="537"/>
                </a:lnTo>
                <a:lnTo>
                  <a:pt x="2215" y="537"/>
                </a:lnTo>
                <a:close/>
                <a:moveTo>
                  <a:pt x="2189" y="243"/>
                </a:moveTo>
                <a:lnTo>
                  <a:pt x="2186" y="256"/>
                </a:lnTo>
                <a:lnTo>
                  <a:pt x="2186" y="253"/>
                </a:lnTo>
                <a:lnTo>
                  <a:pt x="2185" y="253"/>
                </a:lnTo>
                <a:lnTo>
                  <a:pt x="2182" y="262"/>
                </a:lnTo>
                <a:lnTo>
                  <a:pt x="2179" y="253"/>
                </a:lnTo>
                <a:lnTo>
                  <a:pt x="2178" y="249"/>
                </a:lnTo>
                <a:lnTo>
                  <a:pt x="2174" y="243"/>
                </a:lnTo>
                <a:lnTo>
                  <a:pt x="2164" y="239"/>
                </a:lnTo>
                <a:lnTo>
                  <a:pt x="2167" y="238"/>
                </a:lnTo>
                <a:lnTo>
                  <a:pt x="2170" y="238"/>
                </a:lnTo>
                <a:lnTo>
                  <a:pt x="2171" y="236"/>
                </a:lnTo>
                <a:lnTo>
                  <a:pt x="2179" y="238"/>
                </a:lnTo>
                <a:lnTo>
                  <a:pt x="2182" y="236"/>
                </a:lnTo>
                <a:lnTo>
                  <a:pt x="2184" y="238"/>
                </a:lnTo>
                <a:lnTo>
                  <a:pt x="2186" y="238"/>
                </a:lnTo>
                <a:lnTo>
                  <a:pt x="2189" y="243"/>
                </a:lnTo>
                <a:close/>
                <a:moveTo>
                  <a:pt x="2076" y="79"/>
                </a:moveTo>
                <a:lnTo>
                  <a:pt x="2075" y="84"/>
                </a:lnTo>
                <a:lnTo>
                  <a:pt x="2066" y="88"/>
                </a:lnTo>
                <a:lnTo>
                  <a:pt x="2055" y="88"/>
                </a:lnTo>
                <a:lnTo>
                  <a:pt x="2051" y="88"/>
                </a:lnTo>
                <a:lnTo>
                  <a:pt x="2049" y="88"/>
                </a:lnTo>
                <a:lnTo>
                  <a:pt x="2050" y="84"/>
                </a:lnTo>
                <a:lnTo>
                  <a:pt x="2051" y="83"/>
                </a:lnTo>
                <a:lnTo>
                  <a:pt x="2051" y="75"/>
                </a:lnTo>
                <a:lnTo>
                  <a:pt x="2052" y="73"/>
                </a:lnTo>
                <a:lnTo>
                  <a:pt x="2058" y="79"/>
                </a:lnTo>
                <a:lnTo>
                  <a:pt x="2071" y="75"/>
                </a:lnTo>
                <a:lnTo>
                  <a:pt x="2074" y="79"/>
                </a:lnTo>
                <a:lnTo>
                  <a:pt x="2076" y="79"/>
                </a:lnTo>
                <a:close/>
                <a:moveTo>
                  <a:pt x="2135" y="1205"/>
                </a:moveTo>
                <a:lnTo>
                  <a:pt x="2135" y="1211"/>
                </a:lnTo>
                <a:lnTo>
                  <a:pt x="2132" y="1218"/>
                </a:lnTo>
                <a:lnTo>
                  <a:pt x="2129" y="1218"/>
                </a:lnTo>
                <a:lnTo>
                  <a:pt x="2129" y="1224"/>
                </a:lnTo>
                <a:lnTo>
                  <a:pt x="2124" y="1228"/>
                </a:lnTo>
                <a:lnTo>
                  <a:pt x="2124" y="1218"/>
                </a:lnTo>
                <a:lnTo>
                  <a:pt x="2122" y="1215"/>
                </a:lnTo>
                <a:lnTo>
                  <a:pt x="2114" y="1211"/>
                </a:lnTo>
                <a:lnTo>
                  <a:pt x="2115" y="1205"/>
                </a:lnTo>
                <a:lnTo>
                  <a:pt x="2121" y="1205"/>
                </a:lnTo>
                <a:lnTo>
                  <a:pt x="2122" y="1205"/>
                </a:lnTo>
                <a:lnTo>
                  <a:pt x="2131" y="1205"/>
                </a:lnTo>
                <a:lnTo>
                  <a:pt x="2135" y="1205"/>
                </a:lnTo>
                <a:close/>
                <a:moveTo>
                  <a:pt x="2176" y="573"/>
                </a:moveTo>
                <a:lnTo>
                  <a:pt x="2178" y="573"/>
                </a:lnTo>
                <a:lnTo>
                  <a:pt x="2171" y="577"/>
                </a:lnTo>
                <a:lnTo>
                  <a:pt x="2164" y="578"/>
                </a:lnTo>
                <a:lnTo>
                  <a:pt x="2161" y="578"/>
                </a:lnTo>
                <a:lnTo>
                  <a:pt x="2153" y="581"/>
                </a:lnTo>
                <a:lnTo>
                  <a:pt x="2129" y="565"/>
                </a:lnTo>
                <a:lnTo>
                  <a:pt x="2126" y="564"/>
                </a:lnTo>
                <a:lnTo>
                  <a:pt x="2135" y="565"/>
                </a:lnTo>
                <a:lnTo>
                  <a:pt x="2150" y="573"/>
                </a:lnTo>
                <a:lnTo>
                  <a:pt x="2160" y="577"/>
                </a:lnTo>
                <a:lnTo>
                  <a:pt x="2167" y="577"/>
                </a:lnTo>
                <a:lnTo>
                  <a:pt x="2176" y="573"/>
                </a:lnTo>
                <a:close/>
                <a:moveTo>
                  <a:pt x="2159" y="1709"/>
                </a:moveTo>
                <a:lnTo>
                  <a:pt x="2160" y="1709"/>
                </a:lnTo>
                <a:lnTo>
                  <a:pt x="2156" y="1712"/>
                </a:lnTo>
                <a:lnTo>
                  <a:pt x="2157" y="1715"/>
                </a:lnTo>
                <a:lnTo>
                  <a:pt x="2156" y="1717"/>
                </a:lnTo>
                <a:lnTo>
                  <a:pt x="2156" y="1715"/>
                </a:lnTo>
                <a:lnTo>
                  <a:pt x="2151" y="1713"/>
                </a:lnTo>
                <a:lnTo>
                  <a:pt x="2139" y="1709"/>
                </a:lnTo>
                <a:lnTo>
                  <a:pt x="2139" y="1705"/>
                </a:lnTo>
                <a:lnTo>
                  <a:pt x="2142" y="1705"/>
                </a:lnTo>
                <a:lnTo>
                  <a:pt x="2149" y="1703"/>
                </a:lnTo>
                <a:lnTo>
                  <a:pt x="2150" y="1703"/>
                </a:lnTo>
                <a:lnTo>
                  <a:pt x="2154" y="1703"/>
                </a:lnTo>
                <a:lnTo>
                  <a:pt x="2153" y="1705"/>
                </a:lnTo>
                <a:lnTo>
                  <a:pt x="2159" y="1709"/>
                </a:lnTo>
                <a:close/>
                <a:moveTo>
                  <a:pt x="2079" y="75"/>
                </a:moveTo>
                <a:lnTo>
                  <a:pt x="2078" y="75"/>
                </a:lnTo>
                <a:lnTo>
                  <a:pt x="2071" y="75"/>
                </a:lnTo>
                <a:lnTo>
                  <a:pt x="2061" y="75"/>
                </a:lnTo>
                <a:lnTo>
                  <a:pt x="2058" y="75"/>
                </a:lnTo>
                <a:lnTo>
                  <a:pt x="2061" y="73"/>
                </a:lnTo>
                <a:lnTo>
                  <a:pt x="2062" y="71"/>
                </a:lnTo>
                <a:lnTo>
                  <a:pt x="2061" y="70"/>
                </a:lnTo>
                <a:lnTo>
                  <a:pt x="2061" y="65"/>
                </a:lnTo>
                <a:lnTo>
                  <a:pt x="2062" y="65"/>
                </a:lnTo>
                <a:lnTo>
                  <a:pt x="2071" y="71"/>
                </a:lnTo>
                <a:lnTo>
                  <a:pt x="2079" y="75"/>
                </a:lnTo>
                <a:close/>
                <a:moveTo>
                  <a:pt x="2182" y="716"/>
                </a:moveTo>
                <a:lnTo>
                  <a:pt x="2184" y="716"/>
                </a:lnTo>
                <a:lnTo>
                  <a:pt x="2179" y="719"/>
                </a:lnTo>
                <a:lnTo>
                  <a:pt x="2165" y="719"/>
                </a:lnTo>
                <a:lnTo>
                  <a:pt x="2162" y="720"/>
                </a:lnTo>
                <a:lnTo>
                  <a:pt x="2160" y="720"/>
                </a:lnTo>
                <a:lnTo>
                  <a:pt x="2160" y="716"/>
                </a:lnTo>
                <a:lnTo>
                  <a:pt x="2162" y="716"/>
                </a:lnTo>
                <a:lnTo>
                  <a:pt x="2171" y="719"/>
                </a:lnTo>
                <a:lnTo>
                  <a:pt x="2178" y="716"/>
                </a:lnTo>
                <a:lnTo>
                  <a:pt x="2182" y="716"/>
                </a:lnTo>
                <a:close/>
                <a:moveTo>
                  <a:pt x="2164" y="355"/>
                </a:moveTo>
                <a:lnTo>
                  <a:pt x="2165" y="355"/>
                </a:lnTo>
                <a:lnTo>
                  <a:pt x="2161" y="358"/>
                </a:lnTo>
                <a:lnTo>
                  <a:pt x="2160" y="359"/>
                </a:lnTo>
                <a:lnTo>
                  <a:pt x="2160" y="355"/>
                </a:lnTo>
                <a:lnTo>
                  <a:pt x="2159" y="355"/>
                </a:lnTo>
                <a:lnTo>
                  <a:pt x="2159" y="350"/>
                </a:lnTo>
                <a:lnTo>
                  <a:pt x="2157" y="346"/>
                </a:lnTo>
                <a:lnTo>
                  <a:pt x="2159" y="346"/>
                </a:lnTo>
                <a:lnTo>
                  <a:pt x="2160" y="350"/>
                </a:lnTo>
                <a:lnTo>
                  <a:pt x="2162" y="350"/>
                </a:lnTo>
                <a:lnTo>
                  <a:pt x="2164" y="355"/>
                </a:lnTo>
                <a:close/>
                <a:moveTo>
                  <a:pt x="2167" y="1610"/>
                </a:moveTo>
                <a:lnTo>
                  <a:pt x="2167" y="1615"/>
                </a:lnTo>
                <a:lnTo>
                  <a:pt x="2164" y="1615"/>
                </a:lnTo>
                <a:lnTo>
                  <a:pt x="2162" y="1614"/>
                </a:lnTo>
                <a:lnTo>
                  <a:pt x="2165" y="1606"/>
                </a:lnTo>
                <a:lnTo>
                  <a:pt x="2168" y="1606"/>
                </a:lnTo>
                <a:lnTo>
                  <a:pt x="2168" y="1607"/>
                </a:lnTo>
                <a:lnTo>
                  <a:pt x="2167" y="1610"/>
                </a:lnTo>
                <a:close/>
                <a:moveTo>
                  <a:pt x="2086" y="764"/>
                </a:moveTo>
                <a:lnTo>
                  <a:pt x="2087" y="765"/>
                </a:lnTo>
                <a:lnTo>
                  <a:pt x="2085" y="765"/>
                </a:lnTo>
                <a:lnTo>
                  <a:pt x="2080" y="764"/>
                </a:lnTo>
                <a:lnTo>
                  <a:pt x="2076" y="760"/>
                </a:lnTo>
                <a:lnTo>
                  <a:pt x="2076" y="756"/>
                </a:lnTo>
                <a:lnTo>
                  <a:pt x="2083" y="760"/>
                </a:lnTo>
                <a:lnTo>
                  <a:pt x="2086" y="764"/>
                </a:lnTo>
                <a:close/>
                <a:moveTo>
                  <a:pt x="2087" y="711"/>
                </a:moveTo>
                <a:lnTo>
                  <a:pt x="2089" y="711"/>
                </a:lnTo>
                <a:lnTo>
                  <a:pt x="2083" y="711"/>
                </a:lnTo>
                <a:lnTo>
                  <a:pt x="2079" y="707"/>
                </a:lnTo>
                <a:lnTo>
                  <a:pt x="2080" y="707"/>
                </a:lnTo>
                <a:lnTo>
                  <a:pt x="2082" y="707"/>
                </a:lnTo>
                <a:lnTo>
                  <a:pt x="2087" y="711"/>
                </a:lnTo>
                <a:close/>
                <a:moveTo>
                  <a:pt x="2058" y="1520"/>
                </a:moveTo>
                <a:lnTo>
                  <a:pt x="2057" y="1526"/>
                </a:lnTo>
                <a:lnTo>
                  <a:pt x="2052" y="1527"/>
                </a:lnTo>
                <a:lnTo>
                  <a:pt x="2054" y="1520"/>
                </a:lnTo>
                <a:lnTo>
                  <a:pt x="2055" y="1518"/>
                </a:lnTo>
                <a:lnTo>
                  <a:pt x="2058" y="1520"/>
                </a:lnTo>
                <a:close/>
                <a:moveTo>
                  <a:pt x="2151" y="1772"/>
                </a:moveTo>
                <a:lnTo>
                  <a:pt x="2151" y="1776"/>
                </a:lnTo>
                <a:lnTo>
                  <a:pt x="2149" y="1779"/>
                </a:lnTo>
                <a:lnTo>
                  <a:pt x="2147" y="1776"/>
                </a:lnTo>
                <a:lnTo>
                  <a:pt x="2146" y="1772"/>
                </a:lnTo>
                <a:lnTo>
                  <a:pt x="2146" y="1771"/>
                </a:lnTo>
                <a:lnTo>
                  <a:pt x="2150" y="1772"/>
                </a:lnTo>
                <a:lnTo>
                  <a:pt x="2151" y="1772"/>
                </a:lnTo>
                <a:close/>
                <a:moveTo>
                  <a:pt x="2051" y="2057"/>
                </a:moveTo>
                <a:lnTo>
                  <a:pt x="2051" y="2060"/>
                </a:lnTo>
                <a:lnTo>
                  <a:pt x="2050" y="2065"/>
                </a:lnTo>
                <a:lnTo>
                  <a:pt x="2050" y="2060"/>
                </a:lnTo>
                <a:lnTo>
                  <a:pt x="2047" y="2059"/>
                </a:lnTo>
                <a:lnTo>
                  <a:pt x="2049" y="2057"/>
                </a:lnTo>
                <a:lnTo>
                  <a:pt x="2051" y="2057"/>
                </a:lnTo>
                <a:close/>
                <a:moveTo>
                  <a:pt x="2145" y="1623"/>
                </a:moveTo>
                <a:lnTo>
                  <a:pt x="2145" y="1625"/>
                </a:lnTo>
                <a:lnTo>
                  <a:pt x="2143" y="1625"/>
                </a:lnTo>
                <a:lnTo>
                  <a:pt x="2142" y="1625"/>
                </a:lnTo>
                <a:lnTo>
                  <a:pt x="2143" y="1623"/>
                </a:lnTo>
                <a:lnTo>
                  <a:pt x="2140" y="1620"/>
                </a:lnTo>
                <a:lnTo>
                  <a:pt x="2140" y="1619"/>
                </a:lnTo>
                <a:lnTo>
                  <a:pt x="2145" y="1623"/>
                </a:lnTo>
                <a:close/>
                <a:moveTo>
                  <a:pt x="2147" y="1076"/>
                </a:moveTo>
                <a:lnTo>
                  <a:pt x="2149" y="1076"/>
                </a:lnTo>
                <a:lnTo>
                  <a:pt x="2145" y="1076"/>
                </a:lnTo>
                <a:lnTo>
                  <a:pt x="2145" y="1080"/>
                </a:lnTo>
                <a:lnTo>
                  <a:pt x="2137" y="1076"/>
                </a:lnTo>
                <a:lnTo>
                  <a:pt x="2147" y="1076"/>
                </a:lnTo>
                <a:close/>
                <a:moveTo>
                  <a:pt x="2087" y="1531"/>
                </a:moveTo>
                <a:lnTo>
                  <a:pt x="2089" y="1532"/>
                </a:lnTo>
                <a:lnTo>
                  <a:pt x="2083" y="1533"/>
                </a:lnTo>
                <a:lnTo>
                  <a:pt x="2083" y="1532"/>
                </a:lnTo>
                <a:lnTo>
                  <a:pt x="2083" y="1531"/>
                </a:lnTo>
                <a:lnTo>
                  <a:pt x="2085" y="1531"/>
                </a:lnTo>
                <a:lnTo>
                  <a:pt x="2087" y="1531"/>
                </a:lnTo>
                <a:close/>
                <a:moveTo>
                  <a:pt x="2097" y="1259"/>
                </a:moveTo>
                <a:lnTo>
                  <a:pt x="2096" y="1263"/>
                </a:lnTo>
                <a:lnTo>
                  <a:pt x="2093" y="1263"/>
                </a:lnTo>
                <a:lnTo>
                  <a:pt x="2093" y="1259"/>
                </a:lnTo>
                <a:lnTo>
                  <a:pt x="2094" y="1259"/>
                </a:lnTo>
                <a:lnTo>
                  <a:pt x="2097" y="1259"/>
                </a:lnTo>
                <a:close/>
                <a:moveTo>
                  <a:pt x="2128" y="672"/>
                </a:moveTo>
                <a:lnTo>
                  <a:pt x="2126" y="674"/>
                </a:lnTo>
                <a:lnTo>
                  <a:pt x="2122" y="672"/>
                </a:lnTo>
                <a:lnTo>
                  <a:pt x="2121" y="672"/>
                </a:lnTo>
                <a:lnTo>
                  <a:pt x="2124" y="672"/>
                </a:lnTo>
                <a:lnTo>
                  <a:pt x="2128" y="672"/>
                </a:lnTo>
                <a:close/>
                <a:moveTo>
                  <a:pt x="2052" y="1533"/>
                </a:moveTo>
                <a:lnTo>
                  <a:pt x="2052" y="1532"/>
                </a:lnTo>
                <a:lnTo>
                  <a:pt x="2052" y="1529"/>
                </a:lnTo>
                <a:lnTo>
                  <a:pt x="2054" y="1527"/>
                </a:lnTo>
                <a:lnTo>
                  <a:pt x="2052" y="1529"/>
                </a:lnTo>
                <a:lnTo>
                  <a:pt x="2054" y="1529"/>
                </a:lnTo>
                <a:lnTo>
                  <a:pt x="2055" y="1532"/>
                </a:lnTo>
                <a:lnTo>
                  <a:pt x="2052" y="1533"/>
                </a:lnTo>
                <a:close/>
                <a:moveTo>
                  <a:pt x="2061" y="1527"/>
                </a:moveTo>
                <a:lnTo>
                  <a:pt x="2060" y="1529"/>
                </a:lnTo>
                <a:lnTo>
                  <a:pt x="2057" y="1532"/>
                </a:lnTo>
                <a:lnTo>
                  <a:pt x="2057" y="1529"/>
                </a:lnTo>
                <a:lnTo>
                  <a:pt x="2058" y="1529"/>
                </a:lnTo>
                <a:lnTo>
                  <a:pt x="2061" y="1527"/>
                </a:lnTo>
                <a:close/>
                <a:moveTo>
                  <a:pt x="2032" y="1436"/>
                </a:moveTo>
                <a:lnTo>
                  <a:pt x="2029" y="1433"/>
                </a:lnTo>
                <a:lnTo>
                  <a:pt x="2029" y="1432"/>
                </a:lnTo>
                <a:lnTo>
                  <a:pt x="2029" y="1428"/>
                </a:lnTo>
                <a:lnTo>
                  <a:pt x="2032" y="1436"/>
                </a:lnTo>
                <a:close/>
                <a:moveTo>
                  <a:pt x="2091" y="1241"/>
                </a:moveTo>
                <a:lnTo>
                  <a:pt x="2090" y="1241"/>
                </a:lnTo>
                <a:lnTo>
                  <a:pt x="2087" y="1240"/>
                </a:lnTo>
                <a:lnTo>
                  <a:pt x="2091" y="1241"/>
                </a:lnTo>
                <a:close/>
                <a:moveTo>
                  <a:pt x="2027" y="1436"/>
                </a:moveTo>
                <a:lnTo>
                  <a:pt x="2030" y="1440"/>
                </a:lnTo>
                <a:lnTo>
                  <a:pt x="2026" y="1436"/>
                </a:lnTo>
                <a:lnTo>
                  <a:pt x="2027" y="1436"/>
                </a:lnTo>
                <a:close/>
                <a:moveTo>
                  <a:pt x="2114" y="1084"/>
                </a:moveTo>
                <a:lnTo>
                  <a:pt x="2114" y="1086"/>
                </a:lnTo>
                <a:lnTo>
                  <a:pt x="2112" y="1086"/>
                </a:lnTo>
                <a:lnTo>
                  <a:pt x="2111" y="1084"/>
                </a:lnTo>
                <a:lnTo>
                  <a:pt x="2114" y="1084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130" name="Freeform 129"/>
          <p:cNvSpPr>
            <a:spLocks noEditPoints="1"/>
          </p:cNvSpPr>
          <p:nvPr/>
        </p:nvSpPr>
        <p:spPr bwMode="auto">
          <a:xfrm>
            <a:off x="7385555" y="2652392"/>
            <a:ext cx="1000528" cy="906231"/>
          </a:xfrm>
          <a:custGeom>
            <a:avLst/>
            <a:gdLst>
              <a:gd name="T0" fmla="*/ 3326 w 3330"/>
              <a:gd name="T1" fmla="*/ 1006 h 2820"/>
              <a:gd name="T2" fmla="*/ 3299 w 3330"/>
              <a:gd name="T3" fmla="*/ 1124 h 2820"/>
              <a:gd name="T4" fmla="*/ 3165 w 3330"/>
              <a:gd name="T5" fmla="*/ 1137 h 2820"/>
              <a:gd name="T6" fmla="*/ 3270 w 3330"/>
              <a:gd name="T7" fmla="*/ 1250 h 2820"/>
              <a:gd name="T8" fmla="*/ 3201 w 3330"/>
              <a:gd name="T9" fmla="*/ 1237 h 2820"/>
              <a:gd name="T10" fmla="*/ 3183 w 3330"/>
              <a:gd name="T11" fmla="*/ 1240 h 2820"/>
              <a:gd name="T12" fmla="*/ 3169 w 3330"/>
              <a:gd name="T13" fmla="*/ 1318 h 2820"/>
              <a:gd name="T14" fmla="*/ 3069 w 3330"/>
              <a:gd name="T15" fmla="*/ 1386 h 2820"/>
              <a:gd name="T16" fmla="*/ 3145 w 3330"/>
              <a:gd name="T17" fmla="*/ 1369 h 2820"/>
              <a:gd name="T18" fmla="*/ 3120 w 3330"/>
              <a:gd name="T19" fmla="*/ 1607 h 2820"/>
              <a:gd name="T20" fmla="*/ 2994 w 3330"/>
              <a:gd name="T21" fmla="*/ 1760 h 2820"/>
              <a:gd name="T22" fmla="*/ 2757 w 3330"/>
              <a:gd name="T23" fmla="*/ 2024 h 2820"/>
              <a:gd name="T24" fmla="*/ 2684 w 3330"/>
              <a:gd name="T25" fmla="*/ 2183 h 2820"/>
              <a:gd name="T26" fmla="*/ 2558 w 3330"/>
              <a:gd name="T27" fmla="*/ 2246 h 2820"/>
              <a:gd name="T28" fmla="*/ 2499 w 3330"/>
              <a:gd name="T29" fmla="*/ 2356 h 2820"/>
              <a:gd name="T30" fmla="*/ 2429 w 3330"/>
              <a:gd name="T31" fmla="*/ 2473 h 2820"/>
              <a:gd name="T32" fmla="*/ 2051 w 3330"/>
              <a:gd name="T33" fmla="*/ 2648 h 2820"/>
              <a:gd name="T34" fmla="*/ 1956 w 3330"/>
              <a:gd name="T35" fmla="*/ 2738 h 2820"/>
              <a:gd name="T36" fmla="*/ 1870 w 3330"/>
              <a:gd name="T37" fmla="*/ 2580 h 2820"/>
              <a:gd name="T38" fmla="*/ 1873 w 3330"/>
              <a:gd name="T39" fmla="*/ 2434 h 2820"/>
              <a:gd name="T40" fmla="*/ 1785 w 3330"/>
              <a:gd name="T41" fmla="*/ 2188 h 2820"/>
              <a:gd name="T42" fmla="*/ 1752 w 3330"/>
              <a:gd name="T43" fmla="*/ 2019 h 2820"/>
              <a:gd name="T44" fmla="*/ 1644 w 3330"/>
              <a:gd name="T45" fmla="*/ 1859 h 2820"/>
              <a:gd name="T46" fmla="*/ 1463 w 3330"/>
              <a:gd name="T47" fmla="*/ 1715 h 2820"/>
              <a:gd name="T48" fmla="*/ 1256 w 3330"/>
              <a:gd name="T49" fmla="*/ 1602 h 2820"/>
              <a:gd name="T50" fmla="*/ 1110 w 3330"/>
              <a:gd name="T51" fmla="*/ 1515 h 2820"/>
              <a:gd name="T52" fmla="*/ 941 w 3330"/>
              <a:gd name="T53" fmla="*/ 1433 h 2820"/>
              <a:gd name="T54" fmla="*/ 763 w 3330"/>
              <a:gd name="T55" fmla="*/ 1440 h 2820"/>
              <a:gd name="T56" fmla="*/ 677 w 3330"/>
              <a:gd name="T57" fmla="*/ 1363 h 2820"/>
              <a:gd name="T58" fmla="*/ 571 w 3330"/>
              <a:gd name="T59" fmla="*/ 1385 h 2820"/>
              <a:gd name="T60" fmla="*/ 427 w 3330"/>
              <a:gd name="T61" fmla="*/ 1275 h 2820"/>
              <a:gd name="T62" fmla="*/ 107 w 3330"/>
              <a:gd name="T63" fmla="*/ 1133 h 2820"/>
              <a:gd name="T64" fmla="*/ 256 w 3330"/>
              <a:gd name="T65" fmla="*/ 988 h 2820"/>
              <a:gd name="T66" fmla="*/ 498 w 3330"/>
              <a:gd name="T67" fmla="*/ 897 h 2820"/>
              <a:gd name="T68" fmla="*/ 674 w 3330"/>
              <a:gd name="T69" fmla="*/ 767 h 2820"/>
              <a:gd name="T70" fmla="*/ 824 w 3330"/>
              <a:gd name="T71" fmla="*/ 686 h 2820"/>
              <a:gd name="T72" fmla="*/ 1066 w 3330"/>
              <a:gd name="T73" fmla="*/ 647 h 2820"/>
              <a:gd name="T74" fmla="*/ 1323 w 3330"/>
              <a:gd name="T75" fmla="*/ 576 h 2820"/>
              <a:gd name="T76" fmla="*/ 1581 w 3330"/>
              <a:gd name="T77" fmla="*/ 557 h 2820"/>
              <a:gd name="T78" fmla="*/ 1871 w 3330"/>
              <a:gd name="T79" fmla="*/ 456 h 2820"/>
              <a:gd name="T80" fmla="*/ 2111 w 3330"/>
              <a:gd name="T81" fmla="*/ 361 h 2820"/>
              <a:gd name="T82" fmla="*/ 2271 w 3330"/>
              <a:gd name="T83" fmla="*/ 251 h 2820"/>
              <a:gd name="T84" fmla="*/ 2475 w 3330"/>
              <a:gd name="T85" fmla="*/ 179 h 2820"/>
              <a:gd name="T86" fmla="*/ 2686 w 3330"/>
              <a:gd name="T87" fmla="*/ 42 h 2820"/>
              <a:gd name="T88" fmla="*/ 2942 w 3330"/>
              <a:gd name="T89" fmla="*/ 6 h 2820"/>
              <a:gd name="T90" fmla="*/ 3092 w 3330"/>
              <a:gd name="T91" fmla="*/ 93 h 2820"/>
              <a:gd name="T92" fmla="*/ 3103 w 3330"/>
              <a:gd name="T93" fmla="*/ 201 h 2820"/>
              <a:gd name="T94" fmla="*/ 3152 w 3330"/>
              <a:gd name="T95" fmla="*/ 442 h 2820"/>
              <a:gd name="T96" fmla="*/ 3141 w 3330"/>
              <a:gd name="T97" fmla="*/ 553 h 2820"/>
              <a:gd name="T98" fmla="*/ 3106 w 3330"/>
              <a:gd name="T99" fmla="*/ 632 h 2820"/>
              <a:gd name="T100" fmla="*/ 3133 w 3330"/>
              <a:gd name="T101" fmla="*/ 658 h 2820"/>
              <a:gd name="T102" fmla="*/ 3194 w 3330"/>
              <a:gd name="T103" fmla="*/ 605 h 2820"/>
              <a:gd name="T104" fmla="*/ 3162 w 3330"/>
              <a:gd name="T105" fmla="*/ 710 h 2820"/>
              <a:gd name="T106" fmla="*/ 3176 w 3330"/>
              <a:gd name="T107" fmla="*/ 838 h 2820"/>
              <a:gd name="T108" fmla="*/ 3151 w 3330"/>
              <a:gd name="T109" fmla="*/ 933 h 2820"/>
              <a:gd name="T110" fmla="*/ 3219 w 3330"/>
              <a:gd name="T111" fmla="*/ 805 h 2820"/>
              <a:gd name="T112" fmla="*/ 3268 w 3330"/>
              <a:gd name="T113" fmla="*/ 888 h 2820"/>
              <a:gd name="T114" fmla="*/ 2572 w 3330"/>
              <a:gd name="T115" fmla="*/ 2393 h 2820"/>
              <a:gd name="T116" fmla="*/ 2539 w 3330"/>
              <a:gd name="T117" fmla="*/ 2311 h 2820"/>
              <a:gd name="T118" fmla="*/ 2598 w 3330"/>
              <a:gd name="T119" fmla="*/ 2312 h 2820"/>
              <a:gd name="T120" fmla="*/ 3316 w 3330"/>
              <a:gd name="T121" fmla="*/ 1145 h 2820"/>
              <a:gd name="T122" fmla="*/ 3291 w 3330"/>
              <a:gd name="T123" fmla="*/ 1287 h 28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330"/>
              <a:gd name="T187" fmla="*/ 0 h 2820"/>
              <a:gd name="T188" fmla="*/ 3330 w 3330"/>
              <a:gd name="T189" fmla="*/ 2820 h 28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330" h="2820">
                <a:moveTo>
                  <a:pt x="1920" y="2807"/>
                </a:moveTo>
                <a:lnTo>
                  <a:pt x="1920" y="2813"/>
                </a:lnTo>
                <a:lnTo>
                  <a:pt x="1916" y="2820"/>
                </a:lnTo>
                <a:lnTo>
                  <a:pt x="1912" y="2820"/>
                </a:lnTo>
                <a:lnTo>
                  <a:pt x="1904" y="2817"/>
                </a:lnTo>
                <a:lnTo>
                  <a:pt x="1902" y="2816"/>
                </a:lnTo>
                <a:lnTo>
                  <a:pt x="1902" y="2813"/>
                </a:lnTo>
                <a:lnTo>
                  <a:pt x="1905" y="2812"/>
                </a:lnTo>
                <a:lnTo>
                  <a:pt x="1904" y="2807"/>
                </a:lnTo>
                <a:lnTo>
                  <a:pt x="1904" y="2802"/>
                </a:lnTo>
                <a:lnTo>
                  <a:pt x="1909" y="2802"/>
                </a:lnTo>
                <a:lnTo>
                  <a:pt x="1916" y="2807"/>
                </a:lnTo>
                <a:lnTo>
                  <a:pt x="1920" y="2807"/>
                </a:lnTo>
                <a:close/>
                <a:moveTo>
                  <a:pt x="3323" y="892"/>
                </a:moveTo>
                <a:lnTo>
                  <a:pt x="3321" y="904"/>
                </a:lnTo>
                <a:lnTo>
                  <a:pt x="3318" y="909"/>
                </a:lnTo>
                <a:lnTo>
                  <a:pt x="3316" y="922"/>
                </a:lnTo>
                <a:lnTo>
                  <a:pt x="3313" y="930"/>
                </a:lnTo>
                <a:lnTo>
                  <a:pt x="3308" y="936"/>
                </a:lnTo>
                <a:lnTo>
                  <a:pt x="3305" y="936"/>
                </a:lnTo>
                <a:lnTo>
                  <a:pt x="3304" y="939"/>
                </a:lnTo>
                <a:lnTo>
                  <a:pt x="3299" y="941"/>
                </a:lnTo>
                <a:lnTo>
                  <a:pt x="3298" y="950"/>
                </a:lnTo>
                <a:lnTo>
                  <a:pt x="3299" y="954"/>
                </a:lnTo>
                <a:lnTo>
                  <a:pt x="3301" y="955"/>
                </a:lnTo>
                <a:lnTo>
                  <a:pt x="3301" y="958"/>
                </a:lnTo>
                <a:lnTo>
                  <a:pt x="3304" y="959"/>
                </a:lnTo>
                <a:lnTo>
                  <a:pt x="3304" y="963"/>
                </a:lnTo>
                <a:lnTo>
                  <a:pt x="3311" y="972"/>
                </a:lnTo>
                <a:lnTo>
                  <a:pt x="3313" y="972"/>
                </a:lnTo>
                <a:lnTo>
                  <a:pt x="3315" y="972"/>
                </a:lnTo>
                <a:lnTo>
                  <a:pt x="3319" y="972"/>
                </a:lnTo>
                <a:lnTo>
                  <a:pt x="3321" y="972"/>
                </a:lnTo>
                <a:lnTo>
                  <a:pt x="3323" y="976"/>
                </a:lnTo>
                <a:lnTo>
                  <a:pt x="3323" y="979"/>
                </a:lnTo>
                <a:lnTo>
                  <a:pt x="3324" y="980"/>
                </a:lnTo>
                <a:lnTo>
                  <a:pt x="3329" y="993"/>
                </a:lnTo>
                <a:lnTo>
                  <a:pt x="3326" y="1006"/>
                </a:lnTo>
                <a:lnTo>
                  <a:pt x="3327" y="1010"/>
                </a:lnTo>
                <a:lnTo>
                  <a:pt x="3327" y="1017"/>
                </a:lnTo>
                <a:lnTo>
                  <a:pt x="3329" y="1017"/>
                </a:lnTo>
                <a:lnTo>
                  <a:pt x="3327" y="1023"/>
                </a:lnTo>
                <a:lnTo>
                  <a:pt x="3329" y="1030"/>
                </a:lnTo>
                <a:lnTo>
                  <a:pt x="3327" y="1033"/>
                </a:lnTo>
                <a:lnTo>
                  <a:pt x="3329" y="1034"/>
                </a:lnTo>
                <a:lnTo>
                  <a:pt x="3329" y="1043"/>
                </a:lnTo>
                <a:lnTo>
                  <a:pt x="3327" y="1072"/>
                </a:lnTo>
                <a:lnTo>
                  <a:pt x="3326" y="1072"/>
                </a:lnTo>
                <a:lnTo>
                  <a:pt x="3326" y="1066"/>
                </a:lnTo>
                <a:lnTo>
                  <a:pt x="3324" y="1066"/>
                </a:lnTo>
                <a:lnTo>
                  <a:pt x="3323" y="1066"/>
                </a:lnTo>
                <a:lnTo>
                  <a:pt x="3323" y="1068"/>
                </a:lnTo>
                <a:lnTo>
                  <a:pt x="3322" y="1068"/>
                </a:lnTo>
                <a:lnTo>
                  <a:pt x="3319" y="1068"/>
                </a:lnTo>
                <a:lnTo>
                  <a:pt x="3316" y="1075"/>
                </a:lnTo>
                <a:lnTo>
                  <a:pt x="3318" y="1082"/>
                </a:lnTo>
                <a:lnTo>
                  <a:pt x="3313" y="1085"/>
                </a:lnTo>
                <a:lnTo>
                  <a:pt x="3312" y="1088"/>
                </a:lnTo>
                <a:lnTo>
                  <a:pt x="3315" y="1097"/>
                </a:lnTo>
                <a:lnTo>
                  <a:pt x="3319" y="1097"/>
                </a:lnTo>
                <a:lnTo>
                  <a:pt x="3322" y="1100"/>
                </a:lnTo>
                <a:lnTo>
                  <a:pt x="3321" y="1095"/>
                </a:lnTo>
                <a:lnTo>
                  <a:pt x="3322" y="1095"/>
                </a:lnTo>
                <a:lnTo>
                  <a:pt x="3324" y="1092"/>
                </a:lnTo>
                <a:lnTo>
                  <a:pt x="3326" y="1092"/>
                </a:lnTo>
                <a:lnTo>
                  <a:pt x="3326" y="1105"/>
                </a:lnTo>
                <a:lnTo>
                  <a:pt x="3327" y="1105"/>
                </a:lnTo>
                <a:lnTo>
                  <a:pt x="3324" y="1118"/>
                </a:lnTo>
                <a:lnTo>
                  <a:pt x="3323" y="1120"/>
                </a:lnTo>
                <a:lnTo>
                  <a:pt x="3323" y="1110"/>
                </a:lnTo>
                <a:lnTo>
                  <a:pt x="3319" y="1109"/>
                </a:lnTo>
                <a:lnTo>
                  <a:pt x="3313" y="1110"/>
                </a:lnTo>
                <a:lnTo>
                  <a:pt x="3309" y="1113"/>
                </a:lnTo>
                <a:lnTo>
                  <a:pt x="3305" y="1118"/>
                </a:lnTo>
                <a:lnTo>
                  <a:pt x="3304" y="1126"/>
                </a:lnTo>
                <a:lnTo>
                  <a:pt x="3299" y="1124"/>
                </a:lnTo>
                <a:lnTo>
                  <a:pt x="3288" y="1124"/>
                </a:lnTo>
                <a:lnTo>
                  <a:pt x="3276" y="1128"/>
                </a:lnTo>
                <a:lnTo>
                  <a:pt x="3270" y="1135"/>
                </a:lnTo>
                <a:lnTo>
                  <a:pt x="3272" y="1137"/>
                </a:lnTo>
                <a:lnTo>
                  <a:pt x="3274" y="1137"/>
                </a:lnTo>
                <a:lnTo>
                  <a:pt x="3262" y="1149"/>
                </a:lnTo>
                <a:lnTo>
                  <a:pt x="3259" y="1146"/>
                </a:lnTo>
                <a:lnTo>
                  <a:pt x="3251" y="1150"/>
                </a:lnTo>
                <a:lnTo>
                  <a:pt x="3247" y="1150"/>
                </a:lnTo>
                <a:lnTo>
                  <a:pt x="3241" y="1153"/>
                </a:lnTo>
                <a:lnTo>
                  <a:pt x="3236" y="1158"/>
                </a:lnTo>
                <a:lnTo>
                  <a:pt x="3223" y="1159"/>
                </a:lnTo>
                <a:lnTo>
                  <a:pt x="3215" y="1167"/>
                </a:lnTo>
                <a:lnTo>
                  <a:pt x="3212" y="1167"/>
                </a:lnTo>
                <a:lnTo>
                  <a:pt x="3209" y="1169"/>
                </a:lnTo>
                <a:lnTo>
                  <a:pt x="3205" y="1169"/>
                </a:lnTo>
                <a:lnTo>
                  <a:pt x="3201" y="1171"/>
                </a:lnTo>
                <a:lnTo>
                  <a:pt x="3194" y="1171"/>
                </a:lnTo>
                <a:lnTo>
                  <a:pt x="3182" y="1172"/>
                </a:lnTo>
                <a:lnTo>
                  <a:pt x="3179" y="1172"/>
                </a:lnTo>
                <a:lnTo>
                  <a:pt x="3187" y="1169"/>
                </a:lnTo>
                <a:lnTo>
                  <a:pt x="3188" y="1163"/>
                </a:lnTo>
                <a:lnTo>
                  <a:pt x="3183" y="1159"/>
                </a:lnTo>
                <a:lnTo>
                  <a:pt x="3183" y="1149"/>
                </a:lnTo>
                <a:lnTo>
                  <a:pt x="3177" y="1145"/>
                </a:lnTo>
                <a:lnTo>
                  <a:pt x="3176" y="1141"/>
                </a:lnTo>
                <a:lnTo>
                  <a:pt x="3173" y="1140"/>
                </a:lnTo>
                <a:lnTo>
                  <a:pt x="3170" y="1128"/>
                </a:lnTo>
                <a:lnTo>
                  <a:pt x="3172" y="1122"/>
                </a:lnTo>
                <a:lnTo>
                  <a:pt x="3177" y="1122"/>
                </a:lnTo>
                <a:lnTo>
                  <a:pt x="3177" y="1120"/>
                </a:lnTo>
                <a:lnTo>
                  <a:pt x="3170" y="1122"/>
                </a:lnTo>
                <a:lnTo>
                  <a:pt x="3168" y="1124"/>
                </a:lnTo>
                <a:lnTo>
                  <a:pt x="3166" y="1126"/>
                </a:lnTo>
                <a:lnTo>
                  <a:pt x="3166" y="1130"/>
                </a:lnTo>
                <a:lnTo>
                  <a:pt x="3165" y="1135"/>
                </a:lnTo>
                <a:lnTo>
                  <a:pt x="3166" y="1135"/>
                </a:lnTo>
                <a:lnTo>
                  <a:pt x="3165" y="1137"/>
                </a:lnTo>
                <a:lnTo>
                  <a:pt x="3166" y="1137"/>
                </a:lnTo>
                <a:lnTo>
                  <a:pt x="3166" y="1141"/>
                </a:lnTo>
                <a:lnTo>
                  <a:pt x="3165" y="1141"/>
                </a:lnTo>
                <a:lnTo>
                  <a:pt x="3169" y="1146"/>
                </a:lnTo>
                <a:lnTo>
                  <a:pt x="3169" y="1150"/>
                </a:lnTo>
                <a:lnTo>
                  <a:pt x="3174" y="1153"/>
                </a:lnTo>
                <a:lnTo>
                  <a:pt x="3177" y="1155"/>
                </a:lnTo>
                <a:lnTo>
                  <a:pt x="3174" y="1163"/>
                </a:lnTo>
                <a:lnTo>
                  <a:pt x="3176" y="1180"/>
                </a:lnTo>
                <a:lnTo>
                  <a:pt x="3179" y="1182"/>
                </a:lnTo>
                <a:lnTo>
                  <a:pt x="3190" y="1192"/>
                </a:lnTo>
                <a:lnTo>
                  <a:pt x="3208" y="1199"/>
                </a:lnTo>
                <a:lnTo>
                  <a:pt x="3215" y="1203"/>
                </a:lnTo>
                <a:lnTo>
                  <a:pt x="3220" y="1201"/>
                </a:lnTo>
                <a:lnTo>
                  <a:pt x="3220" y="1199"/>
                </a:lnTo>
                <a:lnTo>
                  <a:pt x="3213" y="1199"/>
                </a:lnTo>
                <a:lnTo>
                  <a:pt x="3210" y="1195"/>
                </a:lnTo>
                <a:lnTo>
                  <a:pt x="3212" y="1194"/>
                </a:lnTo>
                <a:lnTo>
                  <a:pt x="3209" y="1194"/>
                </a:lnTo>
                <a:lnTo>
                  <a:pt x="3209" y="1192"/>
                </a:lnTo>
                <a:lnTo>
                  <a:pt x="3215" y="1191"/>
                </a:lnTo>
                <a:lnTo>
                  <a:pt x="3223" y="1195"/>
                </a:lnTo>
                <a:lnTo>
                  <a:pt x="3227" y="1195"/>
                </a:lnTo>
                <a:lnTo>
                  <a:pt x="3232" y="1192"/>
                </a:lnTo>
                <a:lnTo>
                  <a:pt x="3237" y="1195"/>
                </a:lnTo>
                <a:lnTo>
                  <a:pt x="3245" y="1195"/>
                </a:lnTo>
                <a:lnTo>
                  <a:pt x="3249" y="1197"/>
                </a:lnTo>
                <a:lnTo>
                  <a:pt x="3249" y="1203"/>
                </a:lnTo>
                <a:lnTo>
                  <a:pt x="3255" y="1221"/>
                </a:lnTo>
                <a:lnTo>
                  <a:pt x="3258" y="1225"/>
                </a:lnTo>
                <a:lnTo>
                  <a:pt x="3262" y="1231"/>
                </a:lnTo>
                <a:lnTo>
                  <a:pt x="3268" y="1238"/>
                </a:lnTo>
                <a:lnTo>
                  <a:pt x="3279" y="1244"/>
                </a:lnTo>
                <a:lnTo>
                  <a:pt x="3279" y="1248"/>
                </a:lnTo>
                <a:lnTo>
                  <a:pt x="3276" y="1251"/>
                </a:lnTo>
                <a:lnTo>
                  <a:pt x="3276" y="1256"/>
                </a:lnTo>
                <a:lnTo>
                  <a:pt x="3272" y="1261"/>
                </a:lnTo>
                <a:lnTo>
                  <a:pt x="3270" y="1250"/>
                </a:lnTo>
                <a:lnTo>
                  <a:pt x="3266" y="1249"/>
                </a:lnTo>
                <a:lnTo>
                  <a:pt x="3258" y="1249"/>
                </a:lnTo>
                <a:lnTo>
                  <a:pt x="3258" y="1251"/>
                </a:lnTo>
                <a:lnTo>
                  <a:pt x="3255" y="1253"/>
                </a:lnTo>
                <a:lnTo>
                  <a:pt x="3252" y="1257"/>
                </a:lnTo>
                <a:lnTo>
                  <a:pt x="3252" y="1253"/>
                </a:lnTo>
                <a:lnTo>
                  <a:pt x="3255" y="1249"/>
                </a:lnTo>
                <a:lnTo>
                  <a:pt x="3259" y="1246"/>
                </a:lnTo>
                <a:lnTo>
                  <a:pt x="3261" y="1242"/>
                </a:lnTo>
                <a:lnTo>
                  <a:pt x="3263" y="1242"/>
                </a:lnTo>
                <a:lnTo>
                  <a:pt x="3261" y="1240"/>
                </a:lnTo>
                <a:lnTo>
                  <a:pt x="3259" y="1240"/>
                </a:lnTo>
                <a:lnTo>
                  <a:pt x="3257" y="1246"/>
                </a:lnTo>
                <a:lnTo>
                  <a:pt x="3257" y="1244"/>
                </a:lnTo>
                <a:lnTo>
                  <a:pt x="3255" y="1244"/>
                </a:lnTo>
                <a:lnTo>
                  <a:pt x="3251" y="1249"/>
                </a:lnTo>
                <a:lnTo>
                  <a:pt x="3254" y="1244"/>
                </a:lnTo>
                <a:lnTo>
                  <a:pt x="3252" y="1242"/>
                </a:lnTo>
                <a:lnTo>
                  <a:pt x="3251" y="1244"/>
                </a:lnTo>
                <a:lnTo>
                  <a:pt x="3251" y="1240"/>
                </a:lnTo>
                <a:lnTo>
                  <a:pt x="3249" y="1242"/>
                </a:lnTo>
                <a:lnTo>
                  <a:pt x="3247" y="1242"/>
                </a:lnTo>
                <a:lnTo>
                  <a:pt x="3245" y="1248"/>
                </a:lnTo>
                <a:lnTo>
                  <a:pt x="3245" y="1240"/>
                </a:lnTo>
                <a:lnTo>
                  <a:pt x="3241" y="1240"/>
                </a:lnTo>
                <a:lnTo>
                  <a:pt x="3240" y="1242"/>
                </a:lnTo>
                <a:lnTo>
                  <a:pt x="3237" y="1242"/>
                </a:lnTo>
                <a:lnTo>
                  <a:pt x="3232" y="1242"/>
                </a:lnTo>
                <a:lnTo>
                  <a:pt x="3227" y="1240"/>
                </a:lnTo>
                <a:lnTo>
                  <a:pt x="3215" y="1242"/>
                </a:lnTo>
                <a:lnTo>
                  <a:pt x="3215" y="1240"/>
                </a:lnTo>
                <a:lnTo>
                  <a:pt x="3209" y="1240"/>
                </a:lnTo>
                <a:lnTo>
                  <a:pt x="3208" y="1244"/>
                </a:lnTo>
                <a:lnTo>
                  <a:pt x="3202" y="1244"/>
                </a:lnTo>
                <a:lnTo>
                  <a:pt x="3201" y="1240"/>
                </a:lnTo>
                <a:lnTo>
                  <a:pt x="3198" y="1242"/>
                </a:lnTo>
                <a:lnTo>
                  <a:pt x="3198" y="1238"/>
                </a:lnTo>
                <a:lnTo>
                  <a:pt x="3201" y="1237"/>
                </a:lnTo>
                <a:lnTo>
                  <a:pt x="3201" y="1234"/>
                </a:lnTo>
                <a:lnTo>
                  <a:pt x="3195" y="1234"/>
                </a:lnTo>
                <a:lnTo>
                  <a:pt x="3194" y="1234"/>
                </a:lnTo>
                <a:lnTo>
                  <a:pt x="3188" y="1224"/>
                </a:lnTo>
                <a:lnTo>
                  <a:pt x="3184" y="1221"/>
                </a:lnTo>
                <a:lnTo>
                  <a:pt x="3176" y="1224"/>
                </a:lnTo>
                <a:lnTo>
                  <a:pt x="3172" y="1224"/>
                </a:lnTo>
                <a:lnTo>
                  <a:pt x="3170" y="1221"/>
                </a:lnTo>
                <a:lnTo>
                  <a:pt x="3172" y="1217"/>
                </a:lnTo>
                <a:lnTo>
                  <a:pt x="3169" y="1215"/>
                </a:lnTo>
                <a:lnTo>
                  <a:pt x="3168" y="1216"/>
                </a:lnTo>
                <a:lnTo>
                  <a:pt x="3166" y="1221"/>
                </a:lnTo>
                <a:lnTo>
                  <a:pt x="3166" y="1226"/>
                </a:lnTo>
                <a:lnTo>
                  <a:pt x="3168" y="1226"/>
                </a:lnTo>
                <a:lnTo>
                  <a:pt x="3170" y="1231"/>
                </a:lnTo>
                <a:lnTo>
                  <a:pt x="3177" y="1229"/>
                </a:lnTo>
                <a:lnTo>
                  <a:pt x="3179" y="1231"/>
                </a:lnTo>
                <a:lnTo>
                  <a:pt x="3173" y="1237"/>
                </a:lnTo>
                <a:lnTo>
                  <a:pt x="3169" y="1238"/>
                </a:lnTo>
                <a:lnTo>
                  <a:pt x="3162" y="1234"/>
                </a:lnTo>
                <a:lnTo>
                  <a:pt x="3159" y="1234"/>
                </a:lnTo>
                <a:lnTo>
                  <a:pt x="3155" y="1240"/>
                </a:lnTo>
                <a:lnTo>
                  <a:pt x="3152" y="1244"/>
                </a:lnTo>
                <a:lnTo>
                  <a:pt x="3154" y="1244"/>
                </a:lnTo>
                <a:lnTo>
                  <a:pt x="3155" y="1244"/>
                </a:lnTo>
                <a:lnTo>
                  <a:pt x="3159" y="1238"/>
                </a:lnTo>
                <a:lnTo>
                  <a:pt x="3168" y="1240"/>
                </a:lnTo>
                <a:lnTo>
                  <a:pt x="3176" y="1244"/>
                </a:lnTo>
                <a:lnTo>
                  <a:pt x="3179" y="1250"/>
                </a:lnTo>
                <a:lnTo>
                  <a:pt x="3179" y="1253"/>
                </a:lnTo>
                <a:lnTo>
                  <a:pt x="3182" y="1253"/>
                </a:lnTo>
                <a:lnTo>
                  <a:pt x="3182" y="1257"/>
                </a:lnTo>
                <a:lnTo>
                  <a:pt x="3184" y="1259"/>
                </a:lnTo>
                <a:lnTo>
                  <a:pt x="3185" y="1257"/>
                </a:lnTo>
                <a:lnTo>
                  <a:pt x="3184" y="1253"/>
                </a:lnTo>
                <a:lnTo>
                  <a:pt x="3184" y="1250"/>
                </a:lnTo>
                <a:lnTo>
                  <a:pt x="3182" y="1244"/>
                </a:lnTo>
                <a:lnTo>
                  <a:pt x="3183" y="1240"/>
                </a:lnTo>
                <a:lnTo>
                  <a:pt x="3185" y="1250"/>
                </a:lnTo>
                <a:lnTo>
                  <a:pt x="3188" y="1251"/>
                </a:lnTo>
                <a:lnTo>
                  <a:pt x="3193" y="1257"/>
                </a:lnTo>
                <a:lnTo>
                  <a:pt x="3197" y="1263"/>
                </a:lnTo>
                <a:lnTo>
                  <a:pt x="3207" y="1270"/>
                </a:lnTo>
                <a:lnTo>
                  <a:pt x="3209" y="1273"/>
                </a:lnTo>
                <a:lnTo>
                  <a:pt x="3212" y="1273"/>
                </a:lnTo>
                <a:lnTo>
                  <a:pt x="3215" y="1275"/>
                </a:lnTo>
                <a:lnTo>
                  <a:pt x="3215" y="1283"/>
                </a:lnTo>
                <a:lnTo>
                  <a:pt x="3218" y="1284"/>
                </a:lnTo>
                <a:lnTo>
                  <a:pt x="3213" y="1287"/>
                </a:lnTo>
                <a:lnTo>
                  <a:pt x="3213" y="1291"/>
                </a:lnTo>
                <a:lnTo>
                  <a:pt x="3219" y="1300"/>
                </a:lnTo>
                <a:lnTo>
                  <a:pt x="3223" y="1301"/>
                </a:lnTo>
                <a:lnTo>
                  <a:pt x="3227" y="1307"/>
                </a:lnTo>
                <a:lnTo>
                  <a:pt x="3229" y="1309"/>
                </a:lnTo>
                <a:lnTo>
                  <a:pt x="3226" y="1313"/>
                </a:lnTo>
                <a:lnTo>
                  <a:pt x="3229" y="1315"/>
                </a:lnTo>
                <a:lnTo>
                  <a:pt x="3224" y="1319"/>
                </a:lnTo>
                <a:lnTo>
                  <a:pt x="3219" y="1319"/>
                </a:lnTo>
                <a:lnTo>
                  <a:pt x="3212" y="1323"/>
                </a:lnTo>
                <a:lnTo>
                  <a:pt x="3208" y="1321"/>
                </a:lnTo>
                <a:lnTo>
                  <a:pt x="3199" y="1323"/>
                </a:lnTo>
                <a:lnTo>
                  <a:pt x="3195" y="1324"/>
                </a:lnTo>
                <a:lnTo>
                  <a:pt x="3190" y="1324"/>
                </a:lnTo>
                <a:lnTo>
                  <a:pt x="3191" y="1324"/>
                </a:lnTo>
                <a:lnTo>
                  <a:pt x="3190" y="1323"/>
                </a:lnTo>
                <a:lnTo>
                  <a:pt x="3187" y="1324"/>
                </a:lnTo>
                <a:lnTo>
                  <a:pt x="3185" y="1324"/>
                </a:lnTo>
                <a:lnTo>
                  <a:pt x="3187" y="1324"/>
                </a:lnTo>
                <a:lnTo>
                  <a:pt x="3185" y="1321"/>
                </a:lnTo>
                <a:lnTo>
                  <a:pt x="3180" y="1323"/>
                </a:lnTo>
                <a:lnTo>
                  <a:pt x="3182" y="1321"/>
                </a:lnTo>
                <a:lnTo>
                  <a:pt x="3182" y="1320"/>
                </a:lnTo>
                <a:lnTo>
                  <a:pt x="3179" y="1320"/>
                </a:lnTo>
                <a:lnTo>
                  <a:pt x="3176" y="1321"/>
                </a:lnTo>
                <a:lnTo>
                  <a:pt x="3173" y="1321"/>
                </a:lnTo>
                <a:lnTo>
                  <a:pt x="3169" y="1318"/>
                </a:lnTo>
                <a:lnTo>
                  <a:pt x="3165" y="1319"/>
                </a:lnTo>
                <a:lnTo>
                  <a:pt x="3159" y="1321"/>
                </a:lnTo>
                <a:lnTo>
                  <a:pt x="3154" y="1328"/>
                </a:lnTo>
                <a:lnTo>
                  <a:pt x="3151" y="1333"/>
                </a:lnTo>
                <a:lnTo>
                  <a:pt x="3145" y="1336"/>
                </a:lnTo>
                <a:lnTo>
                  <a:pt x="3143" y="1340"/>
                </a:lnTo>
                <a:lnTo>
                  <a:pt x="3140" y="1340"/>
                </a:lnTo>
                <a:lnTo>
                  <a:pt x="3138" y="1343"/>
                </a:lnTo>
                <a:lnTo>
                  <a:pt x="3137" y="1346"/>
                </a:lnTo>
                <a:lnTo>
                  <a:pt x="3134" y="1346"/>
                </a:lnTo>
                <a:lnTo>
                  <a:pt x="3134" y="1350"/>
                </a:lnTo>
                <a:lnTo>
                  <a:pt x="3129" y="1353"/>
                </a:lnTo>
                <a:lnTo>
                  <a:pt x="3126" y="1357"/>
                </a:lnTo>
                <a:lnTo>
                  <a:pt x="3124" y="1360"/>
                </a:lnTo>
                <a:lnTo>
                  <a:pt x="3123" y="1363"/>
                </a:lnTo>
                <a:lnTo>
                  <a:pt x="3122" y="1362"/>
                </a:lnTo>
                <a:lnTo>
                  <a:pt x="3120" y="1360"/>
                </a:lnTo>
                <a:lnTo>
                  <a:pt x="3117" y="1360"/>
                </a:lnTo>
                <a:lnTo>
                  <a:pt x="3115" y="1356"/>
                </a:lnTo>
                <a:lnTo>
                  <a:pt x="3110" y="1354"/>
                </a:lnTo>
                <a:lnTo>
                  <a:pt x="3109" y="1350"/>
                </a:lnTo>
                <a:lnTo>
                  <a:pt x="3105" y="1346"/>
                </a:lnTo>
                <a:lnTo>
                  <a:pt x="3094" y="1346"/>
                </a:lnTo>
                <a:lnTo>
                  <a:pt x="3089" y="1356"/>
                </a:lnTo>
                <a:lnTo>
                  <a:pt x="3088" y="1350"/>
                </a:lnTo>
                <a:lnTo>
                  <a:pt x="3084" y="1346"/>
                </a:lnTo>
                <a:lnTo>
                  <a:pt x="3078" y="1350"/>
                </a:lnTo>
                <a:lnTo>
                  <a:pt x="3076" y="1354"/>
                </a:lnTo>
                <a:lnTo>
                  <a:pt x="3076" y="1358"/>
                </a:lnTo>
                <a:lnTo>
                  <a:pt x="3077" y="1362"/>
                </a:lnTo>
                <a:lnTo>
                  <a:pt x="3076" y="1369"/>
                </a:lnTo>
                <a:lnTo>
                  <a:pt x="3074" y="1373"/>
                </a:lnTo>
                <a:lnTo>
                  <a:pt x="3072" y="1373"/>
                </a:lnTo>
                <a:lnTo>
                  <a:pt x="3070" y="1375"/>
                </a:lnTo>
                <a:lnTo>
                  <a:pt x="3070" y="1377"/>
                </a:lnTo>
                <a:lnTo>
                  <a:pt x="3073" y="1377"/>
                </a:lnTo>
                <a:lnTo>
                  <a:pt x="3072" y="1385"/>
                </a:lnTo>
                <a:lnTo>
                  <a:pt x="3069" y="1386"/>
                </a:lnTo>
                <a:lnTo>
                  <a:pt x="3066" y="1382"/>
                </a:lnTo>
                <a:lnTo>
                  <a:pt x="3064" y="1386"/>
                </a:lnTo>
                <a:lnTo>
                  <a:pt x="3063" y="1382"/>
                </a:lnTo>
                <a:lnTo>
                  <a:pt x="3059" y="1382"/>
                </a:lnTo>
                <a:lnTo>
                  <a:pt x="3059" y="1390"/>
                </a:lnTo>
                <a:lnTo>
                  <a:pt x="3060" y="1391"/>
                </a:lnTo>
                <a:lnTo>
                  <a:pt x="3058" y="1393"/>
                </a:lnTo>
                <a:lnTo>
                  <a:pt x="3056" y="1394"/>
                </a:lnTo>
                <a:lnTo>
                  <a:pt x="3058" y="1395"/>
                </a:lnTo>
                <a:lnTo>
                  <a:pt x="3056" y="1395"/>
                </a:lnTo>
                <a:lnTo>
                  <a:pt x="3056" y="1399"/>
                </a:lnTo>
                <a:lnTo>
                  <a:pt x="3059" y="1399"/>
                </a:lnTo>
                <a:lnTo>
                  <a:pt x="3059" y="1402"/>
                </a:lnTo>
                <a:lnTo>
                  <a:pt x="3060" y="1405"/>
                </a:lnTo>
                <a:lnTo>
                  <a:pt x="3063" y="1405"/>
                </a:lnTo>
                <a:lnTo>
                  <a:pt x="3062" y="1402"/>
                </a:lnTo>
                <a:lnTo>
                  <a:pt x="3064" y="1394"/>
                </a:lnTo>
                <a:lnTo>
                  <a:pt x="3069" y="1391"/>
                </a:lnTo>
                <a:lnTo>
                  <a:pt x="3076" y="1402"/>
                </a:lnTo>
                <a:lnTo>
                  <a:pt x="3077" y="1403"/>
                </a:lnTo>
                <a:lnTo>
                  <a:pt x="3083" y="1405"/>
                </a:lnTo>
                <a:lnTo>
                  <a:pt x="3088" y="1405"/>
                </a:lnTo>
                <a:lnTo>
                  <a:pt x="3092" y="1407"/>
                </a:lnTo>
                <a:lnTo>
                  <a:pt x="3094" y="1405"/>
                </a:lnTo>
                <a:lnTo>
                  <a:pt x="3103" y="1408"/>
                </a:lnTo>
                <a:lnTo>
                  <a:pt x="3110" y="1411"/>
                </a:lnTo>
                <a:lnTo>
                  <a:pt x="3113" y="1408"/>
                </a:lnTo>
                <a:lnTo>
                  <a:pt x="3115" y="1405"/>
                </a:lnTo>
                <a:lnTo>
                  <a:pt x="3124" y="1395"/>
                </a:lnTo>
                <a:lnTo>
                  <a:pt x="3131" y="1398"/>
                </a:lnTo>
                <a:lnTo>
                  <a:pt x="3134" y="1394"/>
                </a:lnTo>
                <a:lnTo>
                  <a:pt x="3133" y="1386"/>
                </a:lnTo>
                <a:lnTo>
                  <a:pt x="3127" y="1379"/>
                </a:lnTo>
                <a:lnTo>
                  <a:pt x="3133" y="1381"/>
                </a:lnTo>
                <a:lnTo>
                  <a:pt x="3137" y="1379"/>
                </a:lnTo>
                <a:lnTo>
                  <a:pt x="3141" y="1373"/>
                </a:lnTo>
                <a:lnTo>
                  <a:pt x="3143" y="1369"/>
                </a:lnTo>
                <a:lnTo>
                  <a:pt x="3145" y="1369"/>
                </a:lnTo>
                <a:lnTo>
                  <a:pt x="3151" y="1369"/>
                </a:lnTo>
                <a:lnTo>
                  <a:pt x="3149" y="1369"/>
                </a:lnTo>
                <a:lnTo>
                  <a:pt x="3147" y="1368"/>
                </a:lnTo>
                <a:lnTo>
                  <a:pt x="3147" y="1366"/>
                </a:lnTo>
                <a:lnTo>
                  <a:pt x="3152" y="1366"/>
                </a:lnTo>
                <a:lnTo>
                  <a:pt x="3152" y="1363"/>
                </a:lnTo>
                <a:lnTo>
                  <a:pt x="3159" y="1373"/>
                </a:lnTo>
                <a:lnTo>
                  <a:pt x="3166" y="1385"/>
                </a:lnTo>
                <a:lnTo>
                  <a:pt x="3169" y="1386"/>
                </a:lnTo>
                <a:lnTo>
                  <a:pt x="3174" y="1386"/>
                </a:lnTo>
                <a:lnTo>
                  <a:pt x="3187" y="1395"/>
                </a:lnTo>
                <a:lnTo>
                  <a:pt x="3188" y="1395"/>
                </a:lnTo>
                <a:lnTo>
                  <a:pt x="3190" y="1399"/>
                </a:lnTo>
                <a:lnTo>
                  <a:pt x="3190" y="1403"/>
                </a:lnTo>
                <a:lnTo>
                  <a:pt x="3191" y="1408"/>
                </a:lnTo>
                <a:lnTo>
                  <a:pt x="3191" y="1435"/>
                </a:lnTo>
                <a:lnTo>
                  <a:pt x="3194" y="1440"/>
                </a:lnTo>
                <a:lnTo>
                  <a:pt x="3202" y="1449"/>
                </a:lnTo>
                <a:lnTo>
                  <a:pt x="3202" y="1456"/>
                </a:lnTo>
                <a:lnTo>
                  <a:pt x="3201" y="1457"/>
                </a:lnTo>
                <a:lnTo>
                  <a:pt x="3197" y="1469"/>
                </a:lnTo>
                <a:lnTo>
                  <a:pt x="3180" y="1493"/>
                </a:lnTo>
                <a:lnTo>
                  <a:pt x="3168" y="1509"/>
                </a:lnTo>
                <a:lnTo>
                  <a:pt x="3165" y="1524"/>
                </a:lnTo>
                <a:lnTo>
                  <a:pt x="3160" y="1531"/>
                </a:lnTo>
                <a:lnTo>
                  <a:pt x="3162" y="1534"/>
                </a:lnTo>
                <a:lnTo>
                  <a:pt x="3158" y="1537"/>
                </a:lnTo>
                <a:lnTo>
                  <a:pt x="3152" y="1542"/>
                </a:lnTo>
                <a:lnTo>
                  <a:pt x="3131" y="1567"/>
                </a:lnTo>
                <a:lnTo>
                  <a:pt x="3127" y="1577"/>
                </a:lnTo>
                <a:lnTo>
                  <a:pt x="3123" y="1581"/>
                </a:lnTo>
                <a:lnTo>
                  <a:pt x="3124" y="1585"/>
                </a:lnTo>
                <a:lnTo>
                  <a:pt x="3122" y="1590"/>
                </a:lnTo>
                <a:lnTo>
                  <a:pt x="3120" y="1598"/>
                </a:lnTo>
                <a:lnTo>
                  <a:pt x="3119" y="1602"/>
                </a:lnTo>
                <a:lnTo>
                  <a:pt x="3119" y="1604"/>
                </a:lnTo>
                <a:lnTo>
                  <a:pt x="3120" y="1604"/>
                </a:lnTo>
                <a:lnTo>
                  <a:pt x="3120" y="1607"/>
                </a:lnTo>
                <a:lnTo>
                  <a:pt x="3120" y="1611"/>
                </a:lnTo>
                <a:lnTo>
                  <a:pt x="3115" y="1621"/>
                </a:lnTo>
                <a:lnTo>
                  <a:pt x="3116" y="1631"/>
                </a:lnTo>
                <a:lnTo>
                  <a:pt x="3115" y="1631"/>
                </a:lnTo>
                <a:lnTo>
                  <a:pt x="3117" y="1635"/>
                </a:lnTo>
                <a:lnTo>
                  <a:pt x="3110" y="1647"/>
                </a:lnTo>
                <a:lnTo>
                  <a:pt x="3101" y="1654"/>
                </a:lnTo>
                <a:lnTo>
                  <a:pt x="3091" y="1669"/>
                </a:lnTo>
                <a:lnTo>
                  <a:pt x="3083" y="1680"/>
                </a:lnTo>
                <a:lnTo>
                  <a:pt x="3081" y="1682"/>
                </a:lnTo>
                <a:lnTo>
                  <a:pt x="3077" y="1688"/>
                </a:lnTo>
                <a:lnTo>
                  <a:pt x="3076" y="1686"/>
                </a:lnTo>
                <a:lnTo>
                  <a:pt x="3074" y="1684"/>
                </a:lnTo>
                <a:lnTo>
                  <a:pt x="3080" y="1680"/>
                </a:lnTo>
                <a:lnTo>
                  <a:pt x="3078" y="1679"/>
                </a:lnTo>
                <a:lnTo>
                  <a:pt x="3074" y="1679"/>
                </a:lnTo>
                <a:lnTo>
                  <a:pt x="3070" y="1676"/>
                </a:lnTo>
                <a:lnTo>
                  <a:pt x="3063" y="1680"/>
                </a:lnTo>
                <a:lnTo>
                  <a:pt x="3063" y="1685"/>
                </a:lnTo>
                <a:lnTo>
                  <a:pt x="3059" y="1685"/>
                </a:lnTo>
                <a:lnTo>
                  <a:pt x="3059" y="1686"/>
                </a:lnTo>
                <a:lnTo>
                  <a:pt x="3058" y="1692"/>
                </a:lnTo>
                <a:lnTo>
                  <a:pt x="3059" y="1692"/>
                </a:lnTo>
                <a:lnTo>
                  <a:pt x="3063" y="1694"/>
                </a:lnTo>
                <a:lnTo>
                  <a:pt x="3067" y="1692"/>
                </a:lnTo>
                <a:lnTo>
                  <a:pt x="3064" y="1698"/>
                </a:lnTo>
                <a:lnTo>
                  <a:pt x="3055" y="1702"/>
                </a:lnTo>
                <a:lnTo>
                  <a:pt x="3045" y="1709"/>
                </a:lnTo>
                <a:lnTo>
                  <a:pt x="3042" y="1715"/>
                </a:lnTo>
                <a:lnTo>
                  <a:pt x="3041" y="1719"/>
                </a:lnTo>
                <a:lnTo>
                  <a:pt x="3035" y="1718"/>
                </a:lnTo>
                <a:lnTo>
                  <a:pt x="3035" y="1721"/>
                </a:lnTo>
                <a:lnTo>
                  <a:pt x="3024" y="1725"/>
                </a:lnTo>
                <a:lnTo>
                  <a:pt x="3008" y="1736"/>
                </a:lnTo>
                <a:lnTo>
                  <a:pt x="2999" y="1744"/>
                </a:lnTo>
                <a:lnTo>
                  <a:pt x="2997" y="1750"/>
                </a:lnTo>
                <a:lnTo>
                  <a:pt x="2997" y="1754"/>
                </a:lnTo>
                <a:lnTo>
                  <a:pt x="2994" y="1760"/>
                </a:lnTo>
                <a:lnTo>
                  <a:pt x="2977" y="1781"/>
                </a:lnTo>
                <a:lnTo>
                  <a:pt x="2973" y="1793"/>
                </a:lnTo>
                <a:lnTo>
                  <a:pt x="2966" y="1800"/>
                </a:lnTo>
                <a:lnTo>
                  <a:pt x="2958" y="1814"/>
                </a:lnTo>
                <a:lnTo>
                  <a:pt x="2958" y="1818"/>
                </a:lnTo>
                <a:lnTo>
                  <a:pt x="2950" y="1830"/>
                </a:lnTo>
                <a:lnTo>
                  <a:pt x="2937" y="1848"/>
                </a:lnTo>
                <a:lnTo>
                  <a:pt x="2919" y="1863"/>
                </a:lnTo>
                <a:lnTo>
                  <a:pt x="2913" y="1867"/>
                </a:lnTo>
                <a:lnTo>
                  <a:pt x="2908" y="1876"/>
                </a:lnTo>
                <a:lnTo>
                  <a:pt x="2905" y="1880"/>
                </a:lnTo>
                <a:lnTo>
                  <a:pt x="2878" y="1905"/>
                </a:lnTo>
                <a:lnTo>
                  <a:pt x="2869" y="1912"/>
                </a:lnTo>
                <a:lnTo>
                  <a:pt x="2855" y="1925"/>
                </a:lnTo>
                <a:lnTo>
                  <a:pt x="2848" y="1934"/>
                </a:lnTo>
                <a:lnTo>
                  <a:pt x="2846" y="1937"/>
                </a:lnTo>
                <a:lnTo>
                  <a:pt x="2837" y="1945"/>
                </a:lnTo>
                <a:lnTo>
                  <a:pt x="2824" y="1959"/>
                </a:lnTo>
                <a:lnTo>
                  <a:pt x="2804" y="1974"/>
                </a:lnTo>
                <a:lnTo>
                  <a:pt x="2785" y="1999"/>
                </a:lnTo>
                <a:lnTo>
                  <a:pt x="2785" y="2005"/>
                </a:lnTo>
                <a:lnTo>
                  <a:pt x="2781" y="2004"/>
                </a:lnTo>
                <a:lnTo>
                  <a:pt x="2763" y="2012"/>
                </a:lnTo>
                <a:lnTo>
                  <a:pt x="2756" y="2016"/>
                </a:lnTo>
                <a:lnTo>
                  <a:pt x="2754" y="2013"/>
                </a:lnTo>
                <a:lnTo>
                  <a:pt x="2757" y="2009"/>
                </a:lnTo>
                <a:lnTo>
                  <a:pt x="2771" y="2005"/>
                </a:lnTo>
                <a:lnTo>
                  <a:pt x="2773" y="2002"/>
                </a:lnTo>
                <a:lnTo>
                  <a:pt x="2773" y="1991"/>
                </a:lnTo>
                <a:lnTo>
                  <a:pt x="2771" y="1989"/>
                </a:lnTo>
                <a:lnTo>
                  <a:pt x="2768" y="2001"/>
                </a:lnTo>
                <a:lnTo>
                  <a:pt x="2763" y="2001"/>
                </a:lnTo>
                <a:lnTo>
                  <a:pt x="2759" y="2005"/>
                </a:lnTo>
                <a:lnTo>
                  <a:pt x="2756" y="2005"/>
                </a:lnTo>
                <a:lnTo>
                  <a:pt x="2750" y="2012"/>
                </a:lnTo>
                <a:lnTo>
                  <a:pt x="2750" y="2021"/>
                </a:lnTo>
                <a:lnTo>
                  <a:pt x="2753" y="2024"/>
                </a:lnTo>
                <a:lnTo>
                  <a:pt x="2757" y="2024"/>
                </a:lnTo>
                <a:lnTo>
                  <a:pt x="2752" y="2028"/>
                </a:lnTo>
                <a:lnTo>
                  <a:pt x="2745" y="2047"/>
                </a:lnTo>
                <a:lnTo>
                  <a:pt x="2739" y="2051"/>
                </a:lnTo>
                <a:lnTo>
                  <a:pt x="2727" y="2050"/>
                </a:lnTo>
                <a:lnTo>
                  <a:pt x="2717" y="2053"/>
                </a:lnTo>
                <a:lnTo>
                  <a:pt x="2710" y="2059"/>
                </a:lnTo>
                <a:lnTo>
                  <a:pt x="2707" y="2064"/>
                </a:lnTo>
                <a:lnTo>
                  <a:pt x="2706" y="2075"/>
                </a:lnTo>
                <a:lnTo>
                  <a:pt x="2709" y="2073"/>
                </a:lnTo>
                <a:lnTo>
                  <a:pt x="2715" y="2061"/>
                </a:lnTo>
                <a:lnTo>
                  <a:pt x="2721" y="2054"/>
                </a:lnTo>
                <a:lnTo>
                  <a:pt x="2739" y="2057"/>
                </a:lnTo>
                <a:lnTo>
                  <a:pt x="2748" y="2057"/>
                </a:lnTo>
                <a:lnTo>
                  <a:pt x="2752" y="2051"/>
                </a:lnTo>
                <a:lnTo>
                  <a:pt x="2756" y="2046"/>
                </a:lnTo>
                <a:lnTo>
                  <a:pt x="2762" y="2041"/>
                </a:lnTo>
                <a:lnTo>
                  <a:pt x="2762" y="2030"/>
                </a:lnTo>
                <a:lnTo>
                  <a:pt x="2764" y="2028"/>
                </a:lnTo>
                <a:lnTo>
                  <a:pt x="2765" y="2028"/>
                </a:lnTo>
                <a:lnTo>
                  <a:pt x="2767" y="2032"/>
                </a:lnTo>
                <a:lnTo>
                  <a:pt x="2764" y="2045"/>
                </a:lnTo>
                <a:lnTo>
                  <a:pt x="2764" y="2053"/>
                </a:lnTo>
                <a:lnTo>
                  <a:pt x="2749" y="2073"/>
                </a:lnTo>
                <a:lnTo>
                  <a:pt x="2742" y="2087"/>
                </a:lnTo>
                <a:lnTo>
                  <a:pt x="2742" y="2089"/>
                </a:lnTo>
                <a:lnTo>
                  <a:pt x="2743" y="2091"/>
                </a:lnTo>
                <a:lnTo>
                  <a:pt x="2737" y="2101"/>
                </a:lnTo>
                <a:lnTo>
                  <a:pt x="2735" y="2106"/>
                </a:lnTo>
                <a:lnTo>
                  <a:pt x="2735" y="2108"/>
                </a:lnTo>
                <a:lnTo>
                  <a:pt x="2738" y="2108"/>
                </a:lnTo>
                <a:lnTo>
                  <a:pt x="2739" y="2109"/>
                </a:lnTo>
                <a:lnTo>
                  <a:pt x="2739" y="2113"/>
                </a:lnTo>
                <a:lnTo>
                  <a:pt x="2731" y="2120"/>
                </a:lnTo>
                <a:lnTo>
                  <a:pt x="2715" y="2143"/>
                </a:lnTo>
                <a:lnTo>
                  <a:pt x="2706" y="2150"/>
                </a:lnTo>
                <a:lnTo>
                  <a:pt x="2702" y="2151"/>
                </a:lnTo>
                <a:lnTo>
                  <a:pt x="2696" y="2157"/>
                </a:lnTo>
                <a:lnTo>
                  <a:pt x="2684" y="2183"/>
                </a:lnTo>
                <a:lnTo>
                  <a:pt x="2682" y="2191"/>
                </a:lnTo>
                <a:lnTo>
                  <a:pt x="2677" y="2203"/>
                </a:lnTo>
                <a:lnTo>
                  <a:pt x="2656" y="2218"/>
                </a:lnTo>
                <a:lnTo>
                  <a:pt x="2646" y="2228"/>
                </a:lnTo>
                <a:lnTo>
                  <a:pt x="2638" y="2237"/>
                </a:lnTo>
                <a:lnTo>
                  <a:pt x="2624" y="2248"/>
                </a:lnTo>
                <a:lnTo>
                  <a:pt x="2607" y="2246"/>
                </a:lnTo>
                <a:lnTo>
                  <a:pt x="2589" y="2250"/>
                </a:lnTo>
                <a:lnTo>
                  <a:pt x="2586" y="2248"/>
                </a:lnTo>
                <a:lnTo>
                  <a:pt x="2588" y="2248"/>
                </a:lnTo>
                <a:lnTo>
                  <a:pt x="2586" y="2248"/>
                </a:lnTo>
                <a:lnTo>
                  <a:pt x="2584" y="2250"/>
                </a:lnTo>
                <a:lnTo>
                  <a:pt x="2579" y="2250"/>
                </a:lnTo>
                <a:lnTo>
                  <a:pt x="2576" y="2246"/>
                </a:lnTo>
                <a:lnTo>
                  <a:pt x="2578" y="2241"/>
                </a:lnTo>
                <a:lnTo>
                  <a:pt x="2576" y="2241"/>
                </a:lnTo>
                <a:lnTo>
                  <a:pt x="2578" y="2240"/>
                </a:lnTo>
                <a:lnTo>
                  <a:pt x="2576" y="2237"/>
                </a:lnTo>
                <a:lnTo>
                  <a:pt x="2564" y="2218"/>
                </a:lnTo>
                <a:lnTo>
                  <a:pt x="2564" y="2213"/>
                </a:lnTo>
                <a:lnTo>
                  <a:pt x="2570" y="2207"/>
                </a:lnTo>
                <a:lnTo>
                  <a:pt x="2575" y="2207"/>
                </a:lnTo>
                <a:lnTo>
                  <a:pt x="2576" y="2203"/>
                </a:lnTo>
                <a:lnTo>
                  <a:pt x="2572" y="2193"/>
                </a:lnTo>
                <a:lnTo>
                  <a:pt x="2568" y="2195"/>
                </a:lnTo>
                <a:lnTo>
                  <a:pt x="2567" y="2196"/>
                </a:lnTo>
                <a:lnTo>
                  <a:pt x="2564" y="2196"/>
                </a:lnTo>
                <a:lnTo>
                  <a:pt x="2564" y="2199"/>
                </a:lnTo>
                <a:lnTo>
                  <a:pt x="2560" y="2202"/>
                </a:lnTo>
                <a:lnTo>
                  <a:pt x="2561" y="2211"/>
                </a:lnTo>
                <a:lnTo>
                  <a:pt x="2556" y="2215"/>
                </a:lnTo>
                <a:lnTo>
                  <a:pt x="2558" y="2221"/>
                </a:lnTo>
                <a:lnTo>
                  <a:pt x="2560" y="2225"/>
                </a:lnTo>
                <a:lnTo>
                  <a:pt x="2564" y="2229"/>
                </a:lnTo>
                <a:lnTo>
                  <a:pt x="2565" y="2229"/>
                </a:lnTo>
                <a:lnTo>
                  <a:pt x="2565" y="2244"/>
                </a:lnTo>
                <a:lnTo>
                  <a:pt x="2563" y="2246"/>
                </a:lnTo>
                <a:lnTo>
                  <a:pt x="2558" y="2246"/>
                </a:lnTo>
                <a:lnTo>
                  <a:pt x="2546" y="2241"/>
                </a:lnTo>
                <a:lnTo>
                  <a:pt x="2542" y="2241"/>
                </a:lnTo>
                <a:lnTo>
                  <a:pt x="2546" y="2252"/>
                </a:lnTo>
                <a:lnTo>
                  <a:pt x="2544" y="2252"/>
                </a:lnTo>
                <a:lnTo>
                  <a:pt x="2543" y="2260"/>
                </a:lnTo>
                <a:lnTo>
                  <a:pt x="2539" y="2263"/>
                </a:lnTo>
                <a:lnTo>
                  <a:pt x="2535" y="2263"/>
                </a:lnTo>
                <a:lnTo>
                  <a:pt x="2526" y="2268"/>
                </a:lnTo>
                <a:lnTo>
                  <a:pt x="2519" y="2268"/>
                </a:lnTo>
                <a:lnTo>
                  <a:pt x="2507" y="2274"/>
                </a:lnTo>
                <a:lnTo>
                  <a:pt x="2501" y="2273"/>
                </a:lnTo>
                <a:lnTo>
                  <a:pt x="2496" y="2278"/>
                </a:lnTo>
                <a:lnTo>
                  <a:pt x="2480" y="2281"/>
                </a:lnTo>
                <a:lnTo>
                  <a:pt x="2476" y="2278"/>
                </a:lnTo>
                <a:lnTo>
                  <a:pt x="2469" y="2268"/>
                </a:lnTo>
                <a:lnTo>
                  <a:pt x="2465" y="2266"/>
                </a:lnTo>
                <a:lnTo>
                  <a:pt x="2464" y="2262"/>
                </a:lnTo>
                <a:lnTo>
                  <a:pt x="2458" y="2260"/>
                </a:lnTo>
                <a:lnTo>
                  <a:pt x="2460" y="2266"/>
                </a:lnTo>
                <a:lnTo>
                  <a:pt x="2468" y="2270"/>
                </a:lnTo>
                <a:lnTo>
                  <a:pt x="2474" y="2282"/>
                </a:lnTo>
                <a:lnTo>
                  <a:pt x="2478" y="2286"/>
                </a:lnTo>
                <a:lnTo>
                  <a:pt x="2485" y="2286"/>
                </a:lnTo>
                <a:lnTo>
                  <a:pt x="2493" y="2286"/>
                </a:lnTo>
                <a:lnTo>
                  <a:pt x="2503" y="2282"/>
                </a:lnTo>
                <a:lnTo>
                  <a:pt x="2494" y="2293"/>
                </a:lnTo>
                <a:lnTo>
                  <a:pt x="2486" y="2293"/>
                </a:lnTo>
                <a:lnTo>
                  <a:pt x="2485" y="2297"/>
                </a:lnTo>
                <a:lnTo>
                  <a:pt x="2480" y="2299"/>
                </a:lnTo>
                <a:lnTo>
                  <a:pt x="2474" y="2311"/>
                </a:lnTo>
                <a:lnTo>
                  <a:pt x="2476" y="2312"/>
                </a:lnTo>
                <a:lnTo>
                  <a:pt x="2479" y="2307"/>
                </a:lnTo>
                <a:lnTo>
                  <a:pt x="2486" y="2323"/>
                </a:lnTo>
                <a:lnTo>
                  <a:pt x="2486" y="2335"/>
                </a:lnTo>
                <a:lnTo>
                  <a:pt x="2489" y="2341"/>
                </a:lnTo>
                <a:lnTo>
                  <a:pt x="2489" y="2345"/>
                </a:lnTo>
                <a:lnTo>
                  <a:pt x="2493" y="2352"/>
                </a:lnTo>
                <a:lnTo>
                  <a:pt x="2499" y="2356"/>
                </a:lnTo>
                <a:lnTo>
                  <a:pt x="2499" y="2357"/>
                </a:lnTo>
                <a:lnTo>
                  <a:pt x="2504" y="2360"/>
                </a:lnTo>
                <a:lnTo>
                  <a:pt x="2508" y="2368"/>
                </a:lnTo>
                <a:lnTo>
                  <a:pt x="2514" y="2372"/>
                </a:lnTo>
                <a:lnTo>
                  <a:pt x="2514" y="2376"/>
                </a:lnTo>
                <a:lnTo>
                  <a:pt x="2515" y="2379"/>
                </a:lnTo>
                <a:lnTo>
                  <a:pt x="2504" y="2382"/>
                </a:lnTo>
                <a:lnTo>
                  <a:pt x="2497" y="2386"/>
                </a:lnTo>
                <a:lnTo>
                  <a:pt x="2501" y="2386"/>
                </a:lnTo>
                <a:lnTo>
                  <a:pt x="2507" y="2384"/>
                </a:lnTo>
                <a:lnTo>
                  <a:pt x="2519" y="2384"/>
                </a:lnTo>
                <a:lnTo>
                  <a:pt x="2521" y="2386"/>
                </a:lnTo>
                <a:lnTo>
                  <a:pt x="2521" y="2389"/>
                </a:lnTo>
                <a:lnTo>
                  <a:pt x="2525" y="2389"/>
                </a:lnTo>
                <a:lnTo>
                  <a:pt x="2532" y="2397"/>
                </a:lnTo>
                <a:lnTo>
                  <a:pt x="2530" y="2398"/>
                </a:lnTo>
                <a:lnTo>
                  <a:pt x="2533" y="2401"/>
                </a:lnTo>
                <a:lnTo>
                  <a:pt x="2538" y="2402"/>
                </a:lnTo>
                <a:lnTo>
                  <a:pt x="2544" y="2401"/>
                </a:lnTo>
                <a:lnTo>
                  <a:pt x="2547" y="2402"/>
                </a:lnTo>
                <a:lnTo>
                  <a:pt x="2546" y="2406"/>
                </a:lnTo>
                <a:lnTo>
                  <a:pt x="2540" y="2409"/>
                </a:lnTo>
                <a:lnTo>
                  <a:pt x="2499" y="2424"/>
                </a:lnTo>
                <a:lnTo>
                  <a:pt x="2494" y="2428"/>
                </a:lnTo>
                <a:lnTo>
                  <a:pt x="2491" y="2434"/>
                </a:lnTo>
                <a:lnTo>
                  <a:pt x="2490" y="2432"/>
                </a:lnTo>
                <a:lnTo>
                  <a:pt x="2489" y="2431"/>
                </a:lnTo>
                <a:lnTo>
                  <a:pt x="2482" y="2432"/>
                </a:lnTo>
                <a:lnTo>
                  <a:pt x="2479" y="2435"/>
                </a:lnTo>
                <a:lnTo>
                  <a:pt x="2472" y="2439"/>
                </a:lnTo>
                <a:lnTo>
                  <a:pt x="2474" y="2441"/>
                </a:lnTo>
                <a:lnTo>
                  <a:pt x="2476" y="2441"/>
                </a:lnTo>
                <a:lnTo>
                  <a:pt x="2483" y="2435"/>
                </a:lnTo>
                <a:lnTo>
                  <a:pt x="2488" y="2434"/>
                </a:lnTo>
                <a:lnTo>
                  <a:pt x="2489" y="2439"/>
                </a:lnTo>
                <a:lnTo>
                  <a:pt x="2482" y="2446"/>
                </a:lnTo>
                <a:lnTo>
                  <a:pt x="2438" y="2468"/>
                </a:lnTo>
                <a:lnTo>
                  <a:pt x="2429" y="2473"/>
                </a:lnTo>
                <a:lnTo>
                  <a:pt x="2428" y="2473"/>
                </a:lnTo>
                <a:lnTo>
                  <a:pt x="2430" y="2469"/>
                </a:lnTo>
                <a:lnTo>
                  <a:pt x="2429" y="2465"/>
                </a:lnTo>
                <a:lnTo>
                  <a:pt x="2426" y="2465"/>
                </a:lnTo>
                <a:lnTo>
                  <a:pt x="2424" y="2473"/>
                </a:lnTo>
                <a:lnTo>
                  <a:pt x="2426" y="2473"/>
                </a:lnTo>
                <a:lnTo>
                  <a:pt x="2426" y="2477"/>
                </a:lnTo>
                <a:lnTo>
                  <a:pt x="2400" y="2496"/>
                </a:lnTo>
                <a:lnTo>
                  <a:pt x="2390" y="2499"/>
                </a:lnTo>
                <a:lnTo>
                  <a:pt x="2369" y="2509"/>
                </a:lnTo>
                <a:lnTo>
                  <a:pt x="2361" y="2514"/>
                </a:lnTo>
                <a:lnTo>
                  <a:pt x="2358" y="2516"/>
                </a:lnTo>
                <a:lnTo>
                  <a:pt x="2354" y="2522"/>
                </a:lnTo>
                <a:lnTo>
                  <a:pt x="2341" y="2533"/>
                </a:lnTo>
                <a:lnTo>
                  <a:pt x="2322" y="2540"/>
                </a:lnTo>
                <a:lnTo>
                  <a:pt x="2305" y="2547"/>
                </a:lnTo>
                <a:lnTo>
                  <a:pt x="2294" y="2551"/>
                </a:lnTo>
                <a:lnTo>
                  <a:pt x="2290" y="2555"/>
                </a:lnTo>
                <a:lnTo>
                  <a:pt x="2289" y="2563"/>
                </a:lnTo>
                <a:lnTo>
                  <a:pt x="2286" y="2566"/>
                </a:lnTo>
                <a:lnTo>
                  <a:pt x="2283" y="2571"/>
                </a:lnTo>
                <a:lnTo>
                  <a:pt x="2276" y="2576"/>
                </a:lnTo>
                <a:lnTo>
                  <a:pt x="2229" y="2603"/>
                </a:lnTo>
                <a:lnTo>
                  <a:pt x="2187" y="2625"/>
                </a:lnTo>
                <a:lnTo>
                  <a:pt x="2125" y="2651"/>
                </a:lnTo>
                <a:lnTo>
                  <a:pt x="2116" y="2655"/>
                </a:lnTo>
                <a:lnTo>
                  <a:pt x="2109" y="2663"/>
                </a:lnTo>
                <a:lnTo>
                  <a:pt x="2093" y="2675"/>
                </a:lnTo>
                <a:lnTo>
                  <a:pt x="2094" y="2679"/>
                </a:lnTo>
                <a:lnTo>
                  <a:pt x="2090" y="2675"/>
                </a:lnTo>
                <a:lnTo>
                  <a:pt x="2087" y="2675"/>
                </a:lnTo>
                <a:lnTo>
                  <a:pt x="2087" y="2673"/>
                </a:lnTo>
                <a:lnTo>
                  <a:pt x="2086" y="2671"/>
                </a:lnTo>
                <a:lnTo>
                  <a:pt x="2076" y="2675"/>
                </a:lnTo>
                <a:lnTo>
                  <a:pt x="2065" y="2675"/>
                </a:lnTo>
                <a:lnTo>
                  <a:pt x="2062" y="2673"/>
                </a:lnTo>
                <a:lnTo>
                  <a:pt x="2051" y="2656"/>
                </a:lnTo>
                <a:lnTo>
                  <a:pt x="2051" y="2648"/>
                </a:lnTo>
                <a:lnTo>
                  <a:pt x="2054" y="2646"/>
                </a:lnTo>
                <a:lnTo>
                  <a:pt x="2054" y="2642"/>
                </a:lnTo>
                <a:lnTo>
                  <a:pt x="2044" y="2622"/>
                </a:lnTo>
                <a:lnTo>
                  <a:pt x="2044" y="2611"/>
                </a:lnTo>
                <a:lnTo>
                  <a:pt x="2043" y="2611"/>
                </a:lnTo>
                <a:lnTo>
                  <a:pt x="2040" y="2615"/>
                </a:lnTo>
                <a:lnTo>
                  <a:pt x="2040" y="2620"/>
                </a:lnTo>
                <a:lnTo>
                  <a:pt x="2040" y="2626"/>
                </a:lnTo>
                <a:lnTo>
                  <a:pt x="2044" y="2634"/>
                </a:lnTo>
                <a:lnTo>
                  <a:pt x="2044" y="2652"/>
                </a:lnTo>
                <a:lnTo>
                  <a:pt x="2045" y="2660"/>
                </a:lnTo>
                <a:lnTo>
                  <a:pt x="2050" y="2667"/>
                </a:lnTo>
                <a:lnTo>
                  <a:pt x="2047" y="2670"/>
                </a:lnTo>
                <a:lnTo>
                  <a:pt x="2044" y="2671"/>
                </a:lnTo>
                <a:lnTo>
                  <a:pt x="2026" y="2668"/>
                </a:lnTo>
                <a:lnTo>
                  <a:pt x="2023" y="2671"/>
                </a:lnTo>
                <a:lnTo>
                  <a:pt x="2030" y="2675"/>
                </a:lnTo>
                <a:lnTo>
                  <a:pt x="2037" y="2679"/>
                </a:lnTo>
                <a:lnTo>
                  <a:pt x="2039" y="2683"/>
                </a:lnTo>
                <a:lnTo>
                  <a:pt x="2051" y="2683"/>
                </a:lnTo>
                <a:lnTo>
                  <a:pt x="2056" y="2690"/>
                </a:lnTo>
                <a:lnTo>
                  <a:pt x="2062" y="2687"/>
                </a:lnTo>
                <a:lnTo>
                  <a:pt x="2064" y="2687"/>
                </a:lnTo>
                <a:lnTo>
                  <a:pt x="2066" y="2683"/>
                </a:lnTo>
                <a:lnTo>
                  <a:pt x="2072" y="2685"/>
                </a:lnTo>
                <a:lnTo>
                  <a:pt x="2062" y="2693"/>
                </a:lnTo>
                <a:lnTo>
                  <a:pt x="2041" y="2705"/>
                </a:lnTo>
                <a:lnTo>
                  <a:pt x="2001" y="2732"/>
                </a:lnTo>
                <a:lnTo>
                  <a:pt x="1981" y="2754"/>
                </a:lnTo>
                <a:lnTo>
                  <a:pt x="1967" y="2772"/>
                </a:lnTo>
                <a:lnTo>
                  <a:pt x="1967" y="2776"/>
                </a:lnTo>
                <a:lnTo>
                  <a:pt x="1966" y="2776"/>
                </a:lnTo>
                <a:lnTo>
                  <a:pt x="1966" y="2772"/>
                </a:lnTo>
                <a:lnTo>
                  <a:pt x="1965" y="2763"/>
                </a:lnTo>
                <a:lnTo>
                  <a:pt x="1959" y="2757"/>
                </a:lnTo>
                <a:lnTo>
                  <a:pt x="1958" y="2746"/>
                </a:lnTo>
                <a:lnTo>
                  <a:pt x="1956" y="2742"/>
                </a:lnTo>
                <a:lnTo>
                  <a:pt x="1956" y="2738"/>
                </a:lnTo>
                <a:lnTo>
                  <a:pt x="1960" y="2735"/>
                </a:lnTo>
                <a:lnTo>
                  <a:pt x="1962" y="2732"/>
                </a:lnTo>
                <a:lnTo>
                  <a:pt x="1963" y="2726"/>
                </a:lnTo>
                <a:lnTo>
                  <a:pt x="1962" y="2724"/>
                </a:lnTo>
                <a:lnTo>
                  <a:pt x="1951" y="2715"/>
                </a:lnTo>
                <a:lnTo>
                  <a:pt x="1948" y="2713"/>
                </a:lnTo>
                <a:lnTo>
                  <a:pt x="1946" y="2708"/>
                </a:lnTo>
                <a:lnTo>
                  <a:pt x="1946" y="2701"/>
                </a:lnTo>
                <a:lnTo>
                  <a:pt x="1942" y="2690"/>
                </a:lnTo>
                <a:lnTo>
                  <a:pt x="1935" y="2689"/>
                </a:lnTo>
                <a:lnTo>
                  <a:pt x="1934" y="2683"/>
                </a:lnTo>
                <a:lnTo>
                  <a:pt x="1929" y="2685"/>
                </a:lnTo>
                <a:lnTo>
                  <a:pt x="1926" y="2681"/>
                </a:lnTo>
                <a:lnTo>
                  <a:pt x="1921" y="2681"/>
                </a:lnTo>
                <a:lnTo>
                  <a:pt x="1919" y="2675"/>
                </a:lnTo>
                <a:lnTo>
                  <a:pt x="1916" y="2673"/>
                </a:lnTo>
                <a:lnTo>
                  <a:pt x="1915" y="2668"/>
                </a:lnTo>
                <a:lnTo>
                  <a:pt x="1912" y="2663"/>
                </a:lnTo>
                <a:lnTo>
                  <a:pt x="1913" y="2656"/>
                </a:lnTo>
                <a:lnTo>
                  <a:pt x="1912" y="2652"/>
                </a:lnTo>
                <a:lnTo>
                  <a:pt x="1912" y="2648"/>
                </a:lnTo>
                <a:lnTo>
                  <a:pt x="1910" y="2646"/>
                </a:lnTo>
                <a:lnTo>
                  <a:pt x="1910" y="2645"/>
                </a:lnTo>
                <a:lnTo>
                  <a:pt x="1904" y="2638"/>
                </a:lnTo>
                <a:lnTo>
                  <a:pt x="1899" y="2638"/>
                </a:lnTo>
                <a:lnTo>
                  <a:pt x="1894" y="2630"/>
                </a:lnTo>
                <a:lnTo>
                  <a:pt x="1890" y="2628"/>
                </a:lnTo>
                <a:lnTo>
                  <a:pt x="1891" y="2622"/>
                </a:lnTo>
                <a:lnTo>
                  <a:pt x="1890" y="2618"/>
                </a:lnTo>
                <a:lnTo>
                  <a:pt x="1892" y="2610"/>
                </a:lnTo>
                <a:lnTo>
                  <a:pt x="1890" y="2600"/>
                </a:lnTo>
                <a:lnTo>
                  <a:pt x="1890" y="2593"/>
                </a:lnTo>
                <a:lnTo>
                  <a:pt x="1885" y="2592"/>
                </a:lnTo>
                <a:lnTo>
                  <a:pt x="1884" y="2588"/>
                </a:lnTo>
                <a:lnTo>
                  <a:pt x="1882" y="2585"/>
                </a:lnTo>
                <a:lnTo>
                  <a:pt x="1880" y="2585"/>
                </a:lnTo>
                <a:lnTo>
                  <a:pt x="1874" y="2584"/>
                </a:lnTo>
                <a:lnTo>
                  <a:pt x="1870" y="2580"/>
                </a:lnTo>
                <a:lnTo>
                  <a:pt x="1867" y="2581"/>
                </a:lnTo>
                <a:lnTo>
                  <a:pt x="1863" y="2581"/>
                </a:lnTo>
                <a:lnTo>
                  <a:pt x="1862" y="2577"/>
                </a:lnTo>
                <a:lnTo>
                  <a:pt x="1859" y="2580"/>
                </a:lnTo>
                <a:lnTo>
                  <a:pt x="1856" y="2577"/>
                </a:lnTo>
                <a:lnTo>
                  <a:pt x="1855" y="2577"/>
                </a:lnTo>
                <a:lnTo>
                  <a:pt x="1851" y="2575"/>
                </a:lnTo>
                <a:lnTo>
                  <a:pt x="1851" y="2571"/>
                </a:lnTo>
                <a:lnTo>
                  <a:pt x="1845" y="2569"/>
                </a:lnTo>
                <a:lnTo>
                  <a:pt x="1845" y="2563"/>
                </a:lnTo>
                <a:lnTo>
                  <a:pt x="1842" y="2561"/>
                </a:lnTo>
                <a:lnTo>
                  <a:pt x="1841" y="2559"/>
                </a:lnTo>
                <a:lnTo>
                  <a:pt x="1844" y="2553"/>
                </a:lnTo>
                <a:lnTo>
                  <a:pt x="1841" y="2544"/>
                </a:lnTo>
                <a:lnTo>
                  <a:pt x="1844" y="2540"/>
                </a:lnTo>
                <a:lnTo>
                  <a:pt x="1845" y="2535"/>
                </a:lnTo>
                <a:lnTo>
                  <a:pt x="1851" y="2526"/>
                </a:lnTo>
                <a:lnTo>
                  <a:pt x="1849" y="2518"/>
                </a:lnTo>
                <a:lnTo>
                  <a:pt x="1851" y="2514"/>
                </a:lnTo>
                <a:lnTo>
                  <a:pt x="1849" y="2510"/>
                </a:lnTo>
                <a:lnTo>
                  <a:pt x="1854" y="2499"/>
                </a:lnTo>
                <a:lnTo>
                  <a:pt x="1851" y="2494"/>
                </a:lnTo>
                <a:lnTo>
                  <a:pt x="1852" y="2488"/>
                </a:lnTo>
                <a:lnTo>
                  <a:pt x="1860" y="2482"/>
                </a:lnTo>
                <a:lnTo>
                  <a:pt x="1863" y="2477"/>
                </a:lnTo>
                <a:lnTo>
                  <a:pt x="1867" y="2479"/>
                </a:lnTo>
                <a:lnTo>
                  <a:pt x="1869" y="2477"/>
                </a:lnTo>
                <a:lnTo>
                  <a:pt x="1873" y="2477"/>
                </a:lnTo>
                <a:lnTo>
                  <a:pt x="1876" y="2477"/>
                </a:lnTo>
                <a:lnTo>
                  <a:pt x="1884" y="2477"/>
                </a:lnTo>
                <a:lnTo>
                  <a:pt x="1885" y="2476"/>
                </a:lnTo>
                <a:lnTo>
                  <a:pt x="1885" y="2468"/>
                </a:lnTo>
                <a:lnTo>
                  <a:pt x="1880" y="2461"/>
                </a:lnTo>
                <a:lnTo>
                  <a:pt x="1877" y="2454"/>
                </a:lnTo>
                <a:lnTo>
                  <a:pt x="1870" y="2451"/>
                </a:lnTo>
                <a:lnTo>
                  <a:pt x="1869" y="2439"/>
                </a:lnTo>
                <a:lnTo>
                  <a:pt x="1873" y="2435"/>
                </a:lnTo>
                <a:lnTo>
                  <a:pt x="1873" y="2434"/>
                </a:lnTo>
                <a:lnTo>
                  <a:pt x="1881" y="2431"/>
                </a:lnTo>
                <a:lnTo>
                  <a:pt x="1885" y="2424"/>
                </a:lnTo>
                <a:lnTo>
                  <a:pt x="1884" y="2419"/>
                </a:lnTo>
                <a:lnTo>
                  <a:pt x="1887" y="2412"/>
                </a:lnTo>
                <a:lnTo>
                  <a:pt x="1885" y="2394"/>
                </a:lnTo>
                <a:lnTo>
                  <a:pt x="1884" y="2393"/>
                </a:lnTo>
                <a:lnTo>
                  <a:pt x="1876" y="2389"/>
                </a:lnTo>
                <a:lnTo>
                  <a:pt x="1874" y="2379"/>
                </a:lnTo>
                <a:lnTo>
                  <a:pt x="1863" y="2370"/>
                </a:lnTo>
                <a:lnTo>
                  <a:pt x="1863" y="2368"/>
                </a:lnTo>
                <a:lnTo>
                  <a:pt x="1866" y="2364"/>
                </a:lnTo>
                <a:lnTo>
                  <a:pt x="1866" y="2360"/>
                </a:lnTo>
                <a:lnTo>
                  <a:pt x="1865" y="2356"/>
                </a:lnTo>
                <a:lnTo>
                  <a:pt x="1860" y="2353"/>
                </a:lnTo>
                <a:lnTo>
                  <a:pt x="1860" y="2349"/>
                </a:lnTo>
                <a:lnTo>
                  <a:pt x="1855" y="2341"/>
                </a:lnTo>
                <a:lnTo>
                  <a:pt x="1855" y="2335"/>
                </a:lnTo>
                <a:lnTo>
                  <a:pt x="1854" y="2327"/>
                </a:lnTo>
                <a:lnTo>
                  <a:pt x="1859" y="2322"/>
                </a:lnTo>
                <a:lnTo>
                  <a:pt x="1857" y="2319"/>
                </a:lnTo>
                <a:lnTo>
                  <a:pt x="1856" y="2318"/>
                </a:lnTo>
                <a:lnTo>
                  <a:pt x="1845" y="2304"/>
                </a:lnTo>
                <a:lnTo>
                  <a:pt x="1846" y="2297"/>
                </a:lnTo>
                <a:lnTo>
                  <a:pt x="1846" y="2290"/>
                </a:lnTo>
                <a:lnTo>
                  <a:pt x="1838" y="2274"/>
                </a:lnTo>
                <a:lnTo>
                  <a:pt x="1837" y="2273"/>
                </a:lnTo>
                <a:lnTo>
                  <a:pt x="1831" y="2274"/>
                </a:lnTo>
                <a:lnTo>
                  <a:pt x="1820" y="2273"/>
                </a:lnTo>
                <a:lnTo>
                  <a:pt x="1807" y="2262"/>
                </a:lnTo>
                <a:lnTo>
                  <a:pt x="1807" y="2252"/>
                </a:lnTo>
                <a:lnTo>
                  <a:pt x="1801" y="2248"/>
                </a:lnTo>
                <a:lnTo>
                  <a:pt x="1799" y="2241"/>
                </a:lnTo>
                <a:lnTo>
                  <a:pt x="1799" y="2237"/>
                </a:lnTo>
                <a:lnTo>
                  <a:pt x="1796" y="2229"/>
                </a:lnTo>
                <a:lnTo>
                  <a:pt x="1788" y="2219"/>
                </a:lnTo>
                <a:lnTo>
                  <a:pt x="1788" y="2206"/>
                </a:lnTo>
                <a:lnTo>
                  <a:pt x="1785" y="2199"/>
                </a:lnTo>
                <a:lnTo>
                  <a:pt x="1785" y="2188"/>
                </a:lnTo>
                <a:lnTo>
                  <a:pt x="1788" y="2187"/>
                </a:lnTo>
                <a:lnTo>
                  <a:pt x="1792" y="2185"/>
                </a:lnTo>
                <a:lnTo>
                  <a:pt x="1794" y="2183"/>
                </a:lnTo>
                <a:lnTo>
                  <a:pt x="1787" y="2174"/>
                </a:lnTo>
                <a:lnTo>
                  <a:pt x="1785" y="2169"/>
                </a:lnTo>
                <a:lnTo>
                  <a:pt x="1787" y="2166"/>
                </a:lnTo>
                <a:lnTo>
                  <a:pt x="1791" y="2162"/>
                </a:lnTo>
                <a:lnTo>
                  <a:pt x="1798" y="2153"/>
                </a:lnTo>
                <a:lnTo>
                  <a:pt x="1805" y="2151"/>
                </a:lnTo>
                <a:lnTo>
                  <a:pt x="1806" y="2148"/>
                </a:lnTo>
                <a:lnTo>
                  <a:pt x="1805" y="2146"/>
                </a:lnTo>
                <a:lnTo>
                  <a:pt x="1799" y="2146"/>
                </a:lnTo>
                <a:lnTo>
                  <a:pt x="1798" y="2144"/>
                </a:lnTo>
                <a:lnTo>
                  <a:pt x="1795" y="2140"/>
                </a:lnTo>
                <a:lnTo>
                  <a:pt x="1794" y="2125"/>
                </a:lnTo>
                <a:lnTo>
                  <a:pt x="1791" y="2124"/>
                </a:lnTo>
                <a:lnTo>
                  <a:pt x="1788" y="2117"/>
                </a:lnTo>
                <a:lnTo>
                  <a:pt x="1784" y="2113"/>
                </a:lnTo>
                <a:lnTo>
                  <a:pt x="1781" y="2109"/>
                </a:lnTo>
                <a:lnTo>
                  <a:pt x="1781" y="2108"/>
                </a:lnTo>
                <a:lnTo>
                  <a:pt x="1787" y="2094"/>
                </a:lnTo>
                <a:lnTo>
                  <a:pt x="1787" y="2091"/>
                </a:lnTo>
                <a:lnTo>
                  <a:pt x="1785" y="2083"/>
                </a:lnTo>
                <a:lnTo>
                  <a:pt x="1777" y="2082"/>
                </a:lnTo>
                <a:lnTo>
                  <a:pt x="1776" y="2079"/>
                </a:lnTo>
                <a:lnTo>
                  <a:pt x="1769" y="2076"/>
                </a:lnTo>
                <a:lnTo>
                  <a:pt x="1771" y="2069"/>
                </a:lnTo>
                <a:lnTo>
                  <a:pt x="1770" y="2063"/>
                </a:lnTo>
                <a:lnTo>
                  <a:pt x="1769" y="2059"/>
                </a:lnTo>
                <a:lnTo>
                  <a:pt x="1749" y="2053"/>
                </a:lnTo>
                <a:lnTo>
                  <a:pt x="1749" y="2046"/>
                </a:lnTo>
                <a:lnTo>
                  <a:pt x="1751" y="2041"/>
                </a:lnTo>
                <a:lnTo>
                  <a:pt x="1748" y="2034"/>
                </a:lnTo>
                <a:lnTo>
                  <a:pt x="1749" y="2032"/>
                </a:lnTo>
                <a:lnTo>
                  <a:pt x="1752" y="2032"/>
                </a:lnTo>
                <a:lnTo>
                  <a:pt x="1753" y="2028"/>
                </a:lnTo>
                <a:lnTo>
                  <a:pt x="1751" y="2025"/>
                </a:lnTo>
                <a:lnTo>
                  <a:pt x="1752" y="2019"/>
                </a:lnTo>
                <a:lnTo>
                  <a:pt x="1751" y="2013"/>
                </a:lnTo>
                <a:lnTo>
                  <a:pt x="1752" y="2009"/>
                </a:lnTo>
                <a:lnTo>
                  <a:pt x="1752" y="2005"/>
                </a:lnTo>
                <a:lnTo>
                  <a:pt x="1746" y="2001"/>
                </a:lnTo>
                <a:lnTo>
                  <a:pt x="1742" y="1995"/>
                </a:lnTo>
                <a:lnTo>
                  <a:pt x="1737" y="1991"/>
                </a:lnTo>
                <a:lnTo>
                  <a:pt x="1730" y="1991"/>
                </a:lnTo>
                <a:lnTo>
                  <a:pt x="1728" y="1991"/>
                </a:lnTo>
                <a:lnTo>
                  <a:pt x="1727" y="1988"/>
                </a:lnTo>
                <a:lnTo>
                  <a:pt x="1730" y="1983"/>
                </a:lnTo>
                <a:lnTo>
                  <a:pt x="1730" y="1980"/>
                </a:lnTo>
                <a:lnTo>
                  <a:pt x="1732" y="1976"/>
                </a:lnTo>
                <a:lnTo>
                  <a:pt x="1732" y="1966"/>
                </a:lnTo>
                <a:lnTo>
                  <a:pt x="1730" y="1963"/>
                </a:lnTo>
                <a:lnTo>
                  <a:pt x="1723" y="1960"/>
                </a:lnTo>
                <a:lnTo>
                  <a:pt x="1713" y="1960"/>
                </a:lnTo>
                <a:lnTo>
                  <a:pt x="1710" y="1958"/>
                </a:lnTo>
                <a:lnTo>
                  <a:pt x="1709" y="1938"/>
                </a:lnTo>
                <a:lnTo>
                  <a:pt x="1709" y="1934"/>
                </a:lnTo>
                <a:lnTo>
                  <a:pt x="1707" y="1932"/>
                </a:lnTo>
                <a:lnTo>
                  <a:pt x="1710" y="1925"/>
                </a:lnTo>
                <a:lnTo>
                  <a:pt x="1710" y="1924"/>
                </a:lnTo>
                <a:lnTo>
                  <a:pt x="1702" y="1920"/>
                </a:lnTo>
                <a:lnTo>
                  <a:pt x="1696" y="1908"/>
                </a:lnTo>
                <a:lnTo>
                  <a:pt x="1697" y="1889"/>
                </a:lnTo>
                <a:lnTo>
                  <a:pt x="1691" y="1885"/>
                </a:lnTo>
                <a:lnTo>
                  <a:pt x="1685" y="1880"/>
                </a:lnTo>
                <a:lnTo>
                  <a:pt x="1685" y="1876"/>
                </a:lnTo>
                <a:lnTo>
                  <a:pt x="1681" y="1871"/>
                </a:lnTo>
                <a:lnTo>
                  <a:pt x="1681" y="1865"/>
                </a:lnTo>
                <a:lnTo>
                  <a:pt x="1680" y="1863"/>
                </a:lnTo>
                <a:lnTo>
                  <a:pt x="1675" y="1863"/>
                </a:lnTo>
                <a:lnTo>
                  <a:pt x="1667" y="1871"/>
                </a:lnTo>
                <a:lnTo>
                  <a:pt x="1659" y="1870"/>
                </a:lnTo>
                <a:lnTo>
                  <a:pt x="1653" y="1870"/>
                </a:lnTo>
                <a:lnTo>
                  <a:pt x="1649" y="1867"/>
                </a:lnTo>
                <a:lnTo>
                  <a:pt x="1644" y="1865"/>
                </a:lnTo>
                <a:lnTo>
                  <a:pt x="1644" y="1859"/>
                </a:lnTo>
                <a:lnTo>
                  <a:pt x="1641" y="1852"/>
                </a:lnTo>
                <a:lnTo>
                  <a:pt x="1634" y="1852"/>
                </a:lnTo>
                <a:lnTo>
                  <a:pt x="1631" y="1847"/>
                </a:lnTo>
                <a:lnTo>
                  <a:pt x="1622" y="1840"/>
                </a:lnTo>
                <a:lnTo>
                  <a:pt x="1616" y="1840"/>
                </a:lnTo>
                <a:lnTo>
                  <a:pt x="1610" y="1830"/>
                </a:lnTo>
                <a:lnTo>
                  <a:pt x="1610" y="1822"/>
                </a:lnTo>
                <a:lnTo>
                  <a:pt x="1607" y="1817"/>
                </a:lnTo>
                <a:lnTo>
                  <a:pt x="1609" y="1814"/>
                </a:lnTo>
                <a:lnTo>
                  <a:pt x="1606" y="1805"/>
                </a:lnTo>
                <a:lnTo>
                  <a:pt x="1603" y="1802"/>
                </a:lnTo>
                <a:lnTo>
                  <a:pt x="1599" y="1793"/>
                </a:lnTo>
                <a:lnTo>
                  <a:pt x="1588" y="1792"/>
                </a:lnTo>
                <a:lnTo>
                  <a:pt x="1582" y="1795"/>
                </a:lnTo>
                <a:lnTo>
                  <a:pt x="1570" y="1796"/>
                </a:lnTo>
                <a:lnTo>
                  <a:pt x="1559" y="1796"/>
                </a:lnTo>
                <a:lnTo>
                  <a:pt x="1549" y="1793"/>
                </a:lnTo>
                <a:lnTo>
                  <a:pt x="1546" y="1789"/>
                </a:lnTo>
                <a:lnTo>
                  <a:pt x="1535" y="1792"/>
                </a:lnTo>
                <a:lnTo>
                  <a:pt x="1531" y="1792"/>
                </a:lnTo>
                <a:lnTo>
                  <a:pt x="1528" y="1790"/>
                </a:lnTo>
                <a:lnTo>
                  <a:pt x="1525" y="1786"/>
                </a:lnTo>
                <a:lnTo>
                  <a:pt x="1524" y="1783"/>
                </a:lnTo>
                <a:lnTo>
                  <a:pt x="1520" y="1783"/>
                </a:lnTo>
                <a:lnTo>
                  <a:pt x="1520" y="1780"/>
                </a:lnTo>
                <a:lnTo>
                  <a:pt x="1517" y="1777"/>
                </a:lnTo>
                <a:lnTo>
                  <a:pt x="1511" y="1773"/>
                </a:lnTo>
                <a:lnTo>
                  <a:pt x="1507" y="1773"/>
                </a:lnTo>
                <a:lnTo>
                  <a:pt x="1505" y="1772"/>
                </a:lnTo>
                <a:lnTo>
                  <a:pt x="1499" y="1765"/>
                </a:lnTo>
                <a:lnTo>
                  <a:pt x="1495" y="1760"/>
                </a:lnTo>
                <a:lnTo>
                  <a:pt x="1485" y="1747"/>
                </a:lnTo>
                <a:lnTo>
                  <a:pt x="1479" y="1743"/>
                </a:lnTo>
                <a:lnTo>
                  <a:pt x="1478" y="1733"/>
                </a:lnTo>
                <a:lnTo>
                  <a:pt x="1472" y="1725"/>
                </a:lnTo>
                <a:lnTo>
                  <a:pt x="1471" y="1723"/>
                </a:lnTo>
                <a:lnTo>
                  <a:pt x="1470" y="1723"/>
                </a:lnTo>
                <a:lnTo>
                  <a:pt x="1463" y="1715"/>
                </a:lnTo>
                <a:lnTo>
                  <a:pt x="1450" y="1706"/>
                </a:lnTo>
                <a:lnTo>
                  <a:pt x="1445" y="1706"/>
                </a:lnTo>
                <a:lnTo>
                  <a:pt x="1439" y="1708"/>
                </a:lnTo>
                <a:lnTo>
                  <a:pt x="1432" y="1708"/>
                </a:lnTo>
                <a:lnTo>
                  <a:pt x="1428" y="1705"/>
                </a:lnTo>
                <a:lnTo>
                  <a:pt x="1426" y="1698"/>
                </a:lnTo>
                <a:lnTo>
                  <a:pt x="1424" y="1697"/>
                </a:lnTo>
                <a:lnTo>
                  <a:pt x="1412" y="1696"/>
                </a:lnTo>
                <a:lnTo>
                  <a:pt x="1406" y="1689"/>
                </a:lnTo>
                <a:lnTo>
                  <a:pt x="1403" y="1686"/>
                </a:lnTo>
                <a:lnTo>
                  <a:pt x="1403" y="1676"/>
                </a:lnTo>
                <a:lnTo>
                  <a:pt x="1399" y="1672"/>
                </a:lnTo>
                <a:lnTo>
                  <a:pt x="1399" y="1665"/>
                </a:lnTo>
                <a:lnTo>
                  <a:pt x="1397" y="1663"/>
                </a:lnTo>
                <a:lnTo>
                  <a:pt x="1395" y="1661"/>
                </a:lnTo>
                <a:lnTo>
                  <a:pt x="1393" y="1657"/>
                </a:lnTo>
                <a:lnTo>
                  <a:pt x="1392" y="1656"/>
                </a:lnTo>
                <a:lnTo>
                  <a:pt x="1389" y="1654"/>
                </a:lnTo>
                <a:lnTo>
                  <a:pt x="1381" y="1657"/>
                </a:lnTo>
                <a:lnTo>
                  <a:pt x="1375" y="1656"/>
                </a:lnTo>
                <a:lnTo>
                  <a:pt x="1371" y="1656"/>
                </a:lnTo>
                <a:lnTo>
                  <a:pt x="1370" y="1654"/>
                </a:lnTo>
                <a:lnTo>
                  <a:pt x="1362" y="1644"/>
                </a:lnTo>
                <a:lnTo>
                  <a:pt x="1358" y="1644"/>
                </a:lnTo>
                <a:lnTo>
                  <a:pt x="1354" y="1636"/>
                </a:lnTo>
                <a:lnTo>
                  <a:pt x="1348" y="1631"/>
                </a:lnTo>
                <a:lnTo>
                  <a:pt x="1346" y="1630"/>
                </a:lnTo>
                <a:lnTo>
                  <a:pt x="1346" y="1624"/>
                </a:lnTo>
                <a:lnTo>
                  <a:pt x="1342" y="1621"/>
                </a:lnTo>
                <a:lnTo>
                  <a:pt x="1326" y="1622"/>
                </a:lnTo>
                <a:lnTo>
                  <a:pt x="1311" y="1621"/>
                </a:lnTo>
                <a:lnTo>
                  <a:pt x="1308" y="1618"/>
                </a:lnTo>
                <a:lnTo>
                  <a:pt x="1308" y="1611"/>
                </a:lnTo>
                <a:lnTo>
                  <a:pt x="1303" y="1609"/>
                </a:lnTo>
                <a:lnTo>
                  <a:pt x="1290" y="1614"/>
                </a:lnTo>
                <a:lnTo>
                  <a:pt x="1276" y="1617"/>
                </a:lnTo>
                <a:lnTo>
                  <a:pt x="1261" y="1611"/>
                </a:lnTo>
                <a:lnTo>
                  <a:pt x="1256" y="1602"/>
                </a:lnTo>
                <a:lnTo>
                  <a:pt x="1251" y="1601"/>
                </a:lnTo>
                <a:lnTo>
                  <a:pt x="1243" y="1609"/>
                </a:lnTo>
                <a:lnTo>
                  <a:pt x="1231" y="1614"/>
                </a:lnTo>
                <a:lnTo>
                  <a:pt x="1225" y="1612"/>
                </a:lnTo>
                <a:lnTo>
                  <a:pt x="1217" y="1609"/>
                </a:lnTo>
                <a:lnTo>
                  <a:pt x="1214" y="1605"/>
                </a:lnTo>
                <a:lnTo>
                  <a:pt x="1204" y="1604"/>
                </a:lnTo>
                <a:lnTo>
                  <a:pt x="1196" y="1596"/>
                </a:lnTo>
                <a:lnTo>
                  <a:pt x="1192" y="1593"/>
                </a:lnTo>
                <a:lnTo>
                  <a:pt x="1190" y="1586"/>
                </a:lnTo>
                <a:lnTo>
                  <a:pt x="1183" y="1579"/>
                </a:lnTo>
                <a:lnTo>
                  <a:pt x="1183" y="1573"/>
                </a:lnTo>
                <a:lnTo>
                  <a:pt x="1186" y="1572"/>
                </a:lnTo>
                <a:lnTo>
                  <a:pt x="1186" y="1569"/>
                </a:lnTo>
                <a:lnTo>
                  <a:pt x="1180" y="1564"/>
                </a:lnTo>
                <a:lnTo>
                  <a:pt x="1176" y="1565"/>
                </a:lnTo>
                <a:lnTo>
                  <a:pt x="1172" y="1564"/>
                </a:lnTo>
                <a:lnTo>
                  <a:pt x="1162" y="1556"/>
                </a:lnTo>
                <a:lnTo>
                  <a:pt x="1158" y="1557"/>
                </a:lnTo>
                <a:lnTo>
                  <a:pt x="1154" y="1556"/>
                </a:lnTo>
                <a:lnTo>
                  <a:pt x="1154" y="1549"/>
                </a:lnTo>
                <a:lnTo>
                  <a:pt x="1154" y="1542"/>
                </a:lnTo>
                <a:lnTo>
                  <a:pt x="1160" y="1536"/>
                </a:lnTo>
                <a:lnTo>
                  <a:pt x="1164" y="1524"/>
                </a:lnTo>
                <a:lnTo>
                  <a:pt x="1162" y="1523"/>
                </a:lnTo>
                <a:lnTo>
                  <a:pt x="1154" y="1524"/>
                </a:lnTo>
                <a:lnTo>
                  <a:pt x="1143" y="1528"/>
                </a:lnTo>
                <a:lnTo>
                  <a:pt x="1138" y="1528"/>
                </a:lnTo>
                <a:lnTo>
                  <a:pt x="1135" y="1522"/>
                </a:lnTo>
                <a:lnTo>
                  <a:pt x="1127" y="1519"/>
                </a:lnTo>
                <a:lnTo>
                  <a:pt x="1127" y="1518"/>
                </a:lnTo>
                <a:lnTo>
                  <a:pt x="1132" y="1515"/>
                </a:lnTo>
                <a:lnTo>
                  <a:pt x="1132" y="1511"/>
                </a:lnTo>
                <a:lnTo>
                  <a:pt x="1126" y="1509"/>
                </a:lnTo>
                <a:lnTo>
                  <a:pt x="1126" y="1507"/>
                </a:lnTo>
                <a:lnTo>
                  <a:pt x="1119" y="1511"/>
                </a:lnTo>
                <a:lnTo>
                  <a:pt x="1115" y="1509"/>
                </a:lnTo>
                <a:lnTo>
                  <a:pt x="1110" y="1515"/>
                </a:lnTo>
                <a:lnTo>
                  <a:pt x="1105" y="1515"/>
                </a:lnTo>
                <a:lnTo>
                  <a:pt x="1100" y="1511"/>
                </a:lnTo>
                <a:lnTo>
                  <a:pt x="1096" y="1511"/>
                </a:lnTo>
                <a:lnTo>
                  <a:pt x="1090" y="1507"/>
                </a:lnTo>
                <a:lnTo>
                  <a:pt x="1091" y="1502"/>
                </a:lnTo>
                <a:lnTo>
                  <a:pt x="1090" y="1498"/>
                </a:lnTo>
                <a:lnTo>
                  <a:pt x="1086" y="1498"/>
                </a:lnTo>
                <a:lnTo>
                  <a:pt x="1083" y="1500"/>
                </a:lnTo>
                <a:lnTo>
                  <a:pt x="1083" y="1507"/>
                </a:lnTo>
                <a:lnTo>
                  <a:pt x="1082" y="1509"/>
                </a:lnTo>
                <a:lnTo>
                  <a:pt x="1073" y="1505"/>
                </a:lnTo>
                <a:lnTo>
                  <a:pt x="1065" y="1495"/>
                </a:lnTo>
                <a:lnTo>
                  <a:pt x="1058" y="1493"/>
                </a:lnTo>
                <a:lnTo>
                  <a:pt x="1054" y="1489"/>
                </a:lnTo>
                <a:lnTo>
                  <a:pt x="1050" y="1475"/>
                </a:lnTo>
                <a:lnTo>
                  <a:pt x="1054" y="1474"/>
                </a:lnTo>
                <a:lnTo>
                  <a:pt x="1051" y="1464"/>
                </a:lnTo>
                <a:lnTo>
                  <a:pt x="1054" y="1460"/>
                </a:lnTo>
                <a:lnTo>
                  <a:pt x="1052" y="1457"/>
                </a:lnTo>
                <a:lnTo>
                  <a:pt x="1041" y="1457"/>
                </a:lnTo>
                <a:lnTo>
                  <a:pt x="1029" y="1449"/>
                </a:lnTo>
                <a:lnTo>
                  <a:pt x="1027" y="1448"/>
                </a:lnTo>
                <a:lnTo>
                  <a:pt x="1029" y="1447"/>
                </a:lnTo>
                <a:lnTo>
                  <a:pt x="1026" y="1444"/>
                </a:lnTo>
                <a:lnTo>
                  <a:pt x="1018" y="1443"/>
                </a:lnTo>
                <a:lnTo>
                  <a:pt x="1016" y="1444"/>
                </a:lnTo>
                <a:lnTo>
                  <a:pt x="1005" y="1437"/>
                </a:lnTo>
                <a:lnTo>
                  <a:pt x="998" y="1436"/>
                </a:lnTo>
                <a:lnTo>
                  <a:pt x="987" y="1433"/>
                </a:lnTo>
                <a:lnTo>
                  <a:pt x="975" y="1433"/>
                </a:lnTo>
                <a:lnTo>
                  <a:pt x="972" y="1435"/>
                </a:lnTo>
                <a:lnTo>
                  <a:pt x="968" y="1430"/>
                </a:lnTo>
                <a:lnTo>
                  <a:pt x="963" y="1433"/>
                </a:lnTo>
                <a:lnTo>
                  <a:pt x="958" y="1436"/>
                </a:lnTo>
                <a:lnTo>
                  <a:pt x="955" y="1440"/>
                </a:lnTo>
                <a:lnTo>
                  <a:pt x="951" y="1440"/>
                </a:lnTo>
                <a:lnTo>
                  <a:pt x="946" y="1433"/>
                </a:lnTo>
                <a:lnTo>
                  <a:pt x="941" y="1433"/>
                </a:lnTo>
                <a:lnTo>
                  <a:pt x="937" y="1428"/>
                </a:lnTo>
                <a:lnTo>
                  <a:pt x="936" y="1425"/>
                </a:lnTo>
                <a:lnTo>
                  <a:pt x="930" y="1427"/>
                </a:lnTo>
                <a:lnTo>
                  <a:pt x="929" y="1422"/>
                </a:lnTo>
                <a:lnTo>
                  <a:pt x="922" y="1418"/>
                </a:lnTo>
                <a:lnTo>
                  <a:pt x="920" y="1413"/>
                </a:lnTo>
                <a:lnTo>
                  <a:pt x="915" y="1413"/>
                </a:lnTo>
                <a:lnTo>
                  <a:pt x="912" y="1412"/>
                </a:lnTo>
                <a:lnTo>
                  <a:pt x="909" y="1415"/>
                </a:lnTo>
                <a:lnTo>
                  <a:pt x="905" y="1416"/>
                </a:lnTo>
                <a:lnTo>
                  <a:pt x="900" y="1418"/>
                </a:lnTo>
                <a:lnTo>
                  <a:pt x="897" y="1418"/>
                </a:lnTo>
                <a:lnTo>
                  <a:pt x="892" y="1418"/>
                </a:lnTo>
                <a:lnTo>
                  <a:pt x="891" y="1422"/>
                </a:lnTo>
                <a:lnTo>
                  <a:pt x="884" y="1422"/>
                </a:lnTo>
                <a:lnTo>
                  <a:pt x="880" y="1422"/>
                </a:lnTo>
                <a:lnTo>
                  <a:pt x="869" y="1422"/>
                </a:lnTo>
                <a:lnTo>
                  <a:pt x="867" y="1422"/>
                </a:lnTo>
                <a:lnTo>
                  <a:pt x="856" y="1418"/>
                </a:lnTo>
                <a:lnTo>
                  <a:pt x="841" y="1427"/>
                </a:lnTo>
                <a:lnTo>
                  <a:pt x="837" y="1427"/>
                </a:lnTo>
                <a:lnTo>
                  <a:pt x="830" y="1436"/>
                </a:lnTo>
                <a:lnTo>
                  <a:pt x="824" y="1440"/>
                </a:lnTo>
                <a:lnTo>
                  <a:pt x="822" y="1440"/>
                </a:lnTo>
                <a:lnTo>
                  <a:pt x="819" y="1443"/>
                </a:lnTo>
                <a:lnTo>
                  <a:pt x="803" y="1447"/>
                </a:lnTo>
                <a:lnTo>
                  <a:pt x="798" y="1444"/>
                </a:lnTo>
                <a:lnTo>
                  <a:pt x="797" y="1443"/>
                </a:lnTo>
                <a:lnTo>
                  <a:pt x="797" y="1444"/>
                </a:lnTo>
                <a:lnTo>
                  <a:pt x="794" y="1447"/>
                </a:lnTo>
                <a:lnTo>
                  <a:pt x="788" y="1440"/>
                </a:lnTo>
                <a:lnTo>
                  <a:pt x="786" y="1444"/>
                </a:lnTo>
                <a:lnTo>
                  <a:pt x="784" y="1444"/>
                </a:lnTo>
                <a:lnTo>
                  <a:pt x="783" y="1440"/>
                </a:lnTo>
                <a:lnTo>
                  <a:pt x="776" y="1440"/>
                </a:lnTo>
                <a:lnTo>
                  <a:pt x="772" y="1440"/>
                </a:lnTo>
                <a:lnTo>
                  <a:pt x="766" y="1440"/>
                </a:lnTo>
                <a:lnTo>
                  <a:pt x="763" y="1440"/>
                </a:lnTo>
                <a:lnTo>
                  <a:pt x="761" y="1438"/>
                </a:lnTo>
                <a:lnTo>
                  <a:pt x="758" y="1440"/>
                </a:lnTo>
                <a:lnTo>
                  <a:pt x="755" y="1437"/>
                </a:lnTo>
                <a:lnTo>
                  <a:pt x="752" y="1438"/>
                </a:lnTo>
                <a:lnTo>
                  <a:pt x="749" y="1438"/>
                </a:lnTo>
                <a:lnTo>
                  <a:pt x="747" y="1440"/>
                </a:lnTo>
                <a:lnTo>
                  <a:pt x="744" y="1437"/>
                </a:lnTo>
                <a:lnTo>
                  <a:pt x="742" y="1433"/>
                </a:lnTo>
                <a:lnTo>
                  <a:pt x="739" y="1431"/>
                </a:lnTo>
                <a:lnTo>
                  <a:pt x="739" y="1430"/>
                </a:lnTo>
                <a:lnTo>
                  <a:pt x="741" y="1430"/>
                </a:lnTo>
                <a:lnTo>
                  <a:pt x="741" y="1428"/>
                </a:lnTo>
                <a:lnTo>
                  <a:pt x="742" y="1427"/>
                </a:lnTo>
                <a:lnTo>
                  <a:pt x="742" y="1424"/>
                </a:lnTo>
                <a:lnTo>
                  <a:pt x="739" y="1422"/>
                </a:lnTo>
                <a:lnTo>
                  <a:pt x="742" y="1418"/>
                </a:lnTo>
                <a:lnTo>
                  <a:pt x="741" y="1418"/>
                </a:lnTo>
                <a:lnTo>
                  <a:pt x="741" y="1415"/>
                </a:lnTo>
                <a:lnTo>
                  <a:pt x="739" y="1411"/>
                </a:lnTo>
                <a:lnTo>
                  <a:pt x="736" y="1412"/>
                </a:lnTo>
                <a:lnTo>
                  <a:pt x="734" y="1408"/>
                </a:lnTo>
                <a:lnTo>
                  <a:pt x="733" y="1411"/>
                </a:lnTo>
                <a:lnTo>
                  <a:pt x="730" y="1408"/>
                </a:lnTo>
                <a:lnTo>
                  <a:pt x="728" y="1405"/>
                </a:lnTo>
                <a:lnTo>
                  <a:pt x="724" y="1402"/>
                </a:lnTo>
                <a:lnTo>
                  <a:pt x="720" y="1405"/>
                </a:lnTo>
                <a:lnTo>
                  <a:pt x="717" y="1405"/>
                </a:lnTo>
                <a:lnTo>
                  <a:pt x="716" y="1399"/>
                </a:lnTo>
                <a:lnTo>
                  <a:pt x="713" y="1399"/>
                </a:lnTo>
                <a:lnTo>
                  <a:pt x="705" y="1388"/>
                </a:lnTo>
                <a:lnTo>
                  <a:pt x="701" y="1386"/>
                </a:lnTo>
                <a:lnTo>
                  <a:pt x="698" y="1382"/>
                </a:lnTo>
                <a:lnTo>
                  <a:pt x="694" y="1382"/>
                </a:lnTo>
                <a:lnTo>
                  <a:pt x="688" y="1378"/>
                </a:lnTo>
                <a:lnTo>
                  <a:pt x="688" y="1375"/>
                </a:lnTo>
                <a:lnTo>
                  <a:pt x="686" y="1373"/>
                </a:lnTo>
                <a:lnTo>
                  <a:pt x="686" y="1371"/>
                </a:lnTo>
                <a:lnTo>
                  <a:pt x="677" y="1363"/>
                </a:lnTo>
                <a:lnTo>
                  <a:pt x="676" y="1363"/>
                </a:lnTo>
                <a:lnTo>
                  <a:pt x="676" y="1362"/>
                </a:lnTo>
                <a:lnTo>
                  <a:pt x="674" y="1363"/>
                </a:lnTo>
                <a:lnTo>
                  <a:pt x="672" y="1363"/>
                </a:lnTo>
                <a:lnTo>
                  <a:pt x="670" y="1366"/>
                </a:lnTo>
                <a:lnTo>
                  <a:pt x="667" y="1368"/>
                </a:lnTo>
                <a:lnTo>
                  <a:pt x="663" y="1360"/>
                </a:lnTo>
                <a:lnTo>
                  <a:pt x="663" y="1358"/>
                </a:lnTo>
                <a:lnTo>
                  <a:pt x="660" y="1358"/>
                </a:lnTo>
                <a:lnTo>
                  <a:pt x="659" y="1353"/>
                </a:lnTo>
                <a:lnTo>
                  <a:pt x="656" y="1350"/>
                </a:lnTo>
                <a:lnTo>
                  <a:pt x="652" y="1353"/>
                </a:lnTo>
                <a:lnTo>
                  <a:pt x="651" y="1350"/>
                </a:lnTo>
                <a:lnTo>
                  <a:pt x="647" y="1356"/>
                </a:lnTo>
                <a:lnTo>
                  <a:pt x="647" y="1354"/>
                </a:lnTo>
                <a:lnTo>
                  <a:pt x="641" y="1362"/>
                </a:lnTo>
                <a:lnTo>
                  <a:pt x="637" y="1366"/>
                </a:lnTo>
                <a:lnTo>
                  <a:pt x="634" y="1369"/>
                </a:lnTo>
                <a:lnTo>
                  <a:pt x="630" y="1373"/>
                </a:lnTo>
                <a:lnTo>
                  <a:pt x="627" y="1379"/>
                </a:lnTo>
                <a:lnTo>
                  <a:pt x="621" y="1382"/>
                </a:lnTo>
                <a:lnTo>
                  <a:pt x="614" y="1388"/>
                </a:lnTo>
                <a:lnTo>
                  <a:pt x="614" y="1391"/>
                </a:lnTo>
                <a:lnTo>
                  <a:pt x="610" y="1391"/>
                </a:lnTo>
                <a:lnTo>
                  <a:pt x="602" y="1395"/>
                </a:lnTo>
                <a:lnTo>
                  <a:pt x="598" y="1395"/>
                </a:lnTo>
                <a:lnTo>
                  <a:pt x="595" y="1399"/>
                </a:lnTo>
                <a:lnTo>
                  <a:pt x="593" y="1398"/>
                </a:lnTo>
                <a:lnTo>
                  <a:pt x="591" y="1399"/>
                </a:lnTo>
                <a:lnTo>
                  <a:pt x="588" y="1399"/>
                </a:lnTo>
                <a:lnTo>
                  <a:pt x="585" y="1398"/>
                </a:lnTo>
                <a:lnTo>
                  <a:pt x="584" y="1399"/>
                </a:lnTo>
                <a:lnTo>
                  <a:pt x="581" y="1398"/>
                </a:lnTo>
                <a:lnTo>
                  <a:pt x="571" y="1402"/>
                </a:lnTo>
                <a:lnTo>
                  <a:pt x="570" y="1399"/>
                </a:lnTo>
                <a:lnTo>
                  <a:pt x="570" y="1395"/>
                </a:lnTo>
                <a:lnTo>
                  <a:pt x="568" y="1394"/>
                </a:lnTo>
                <a:lnTo>
                  <a:pt x="571" y="1385"/>
                </a:lnTo>
                <a:lnTo>
                  <a:pt x="571" y="1377"/>
                </a:lnTo>
                <a:lnTo>
                  <a:pt x="568" y="1369"/>
                </a:lnTo>
                <a:lnTo>
                  <a:pt x="570" y="1360"/>
                </a:lnTo>
                <a:lnTo>
                  <a:pt x="567" y="1357"/>
                </a:lnTo>
                <a:lnTo>
                  <a:pt x="542" y="1331"/>
                </a:lnTo>
                <a:lnTo>
                  <a:pt x="537" y="1333"/>
                </a:lnTo>
                <a:lnTo>
                  <a:pt x="531" y="1341"/>
                </a:lnTo>
                <a:lnTo>
                  <a:pt x="527" y="1344"/>
                </a:lnTo>
                <a:lnTo>
                  <a:pt x="513" y="1358"/>
                </a:lnTo>
                <a:lnTo>
                  <a:pt x="509" y="1356"/>
                </a:lnTo>
                <a:lnTo>
                  <a:pt x="506" y="1357"/>
                </a:lnTo>
                <a:lnTo>
                  <a:pt x="501" y="1356"/>
                </a:lnTo>
                <a:lnTo>
                  <a:pt x="498" y="1350"/>
                </a:lnTo>
                <a:lnTo>
                  <a:pt x="493" y="1350"/>
                </a:lnTo>
                <a:lnTo>
                  <a:pt x="493" y="1346"/>
                </a:lnTo>
                <a:lnTo>
                  <a:pt x="491" y="1346"/>
                </a:lnTo>
                <a:lnTo>
                  <a:pt x="479" y="1344"/>
                </a:lnTo>
                <a:lnTo>
                  <a:pt x="477" y="1337"/>
                </a:lnTo>
                <a:lnTo>
                  <a:pt x="477" y="1333"/>
                </a:lnTo>
                <a:lnTo>
                  <a:pt x="473" y="1324"/>
                </a:lnTo>
                <a:lnTo>
                  <a:pt x="467" y="1324"/>
                </a:lnTo>
                <a:lnTo>
                  <a:pt x="463" y="1328"/>
                </a:lnTo>
                <a:lnTo>
                  <a:pt x="460" y="1324"/>
                </a:lnTo>
                <a:lnTo>
                  <a:pt x="459" y="1323"/>
                </a:lnTo>
                <a:lnTo>
                  <a:pt x="446" y="1287"/>
                </a:lnTo>
                <a:lnTo>
                  <a:pt x="442" y="1279"/>
                </a:lnTo>
                <a:lnTo>
                  <a:pt x="441" y="1278"/>
                </a:lnTo>
                <a:lnTo>
                  <a:pt x="441" y="1275"/>
                </a:lnTo>
                <a:lnTo>
                  <a:pt x="439" y="1274"/>
                </a:lnTo>
                <a:lnTo>
                  <a:pt x="441" y="1273"/>
                </a:lnTo>
                <a:lnTo>
                  <a:pt x="439" y="1269"/>
                </a:lnTo>
                <a:lnTo>
                  <a:pt x="438" y="1266"/>
                </a:lnTo>
                <a:lnTo>
                  <a:pt x="438" y="1265"/>
                </a:lnTo>
                <a:lnTo>
                  <a:pt x="434" y="1270"/>
                </a:lnTo>
                <a:lnTo>
                  <a:pt x="435" y="1273"/>
                </a:lnTo>
                <a:lnTo>
                  <a:pt x="435" y="1275"/>
                </a:lnTo>
                <a:lnTo>
                  <a:pt x="432" y="1274"/>
                </a:lnTo>
                <a:lnTo>
                  <a:pt x="427" y="1275"/>
                </a:lnTo>
                <a:lnTo>
                  <a:pt x="423" y="1273"/>
                </a:lnTo>
                <a:lnTo>
                  <a:pt x="414" y="1270"/>
                </a:lnTo>
                <a:lnTo>
                  <a:pt x="410" y="1266"/>
                </a:lnTo>
                <a:lnTo>
                  <a:pt x="410" y="1262"/>
                </a:lnTo>
                <a:lnTo>
                  <a:pt x="404" y="1251"/>
                </a:lnTo>
                <a:lnTo>
                  <a:pt x="395" y="1249"/>
                </a:lnTo>
                <a:lnTo>
                  <a:pt x="44" y="1249"/>
                </a:lnTo>
                <a:lnTo>
                  <a:pt x="0" y="1249"/>
                </a:lnTo>
                <a:lnTo>
                  <a:pt x="3" y="1244"/>
                </a:lnTo>
                <a:lnTo>
                  <a:pt x="8" y="1244"/>
                </a:lnTo>
                <a:lnTo>
                  <a:pt x="9" y="1242"/>
                </a:lnTo>
                <a:lnTo>
                  <a:pt x="12" y="1240"/>
                </a:lnTo>
                <a:lnTo>
                  <a:pt x="19" y="1234"/>
                </a:lnTo>
                <a:lnTo>
                  <a:pt x="22" y="1231"/>
                </a:lnTo>
                <a:lnTo>
                  <a:pt x="29" y="1221"/>
                </a:lnTo>
                <a:lnTo>
                  <a:pt x="34" y="1220"/>
                </a:lnTo>
                <a:lnTo>
                  <a:pt x="37" y="1216"/>
                </a:lnTo>
                <a:lnTo>
                  <a:pt x="42" y="1204"/>
                </a:lnTo>
                <a:lnTo>
                  <a:pt x="50" y="1199"/>
                </a:lnTo>
                <a:lnTo>
                  <a:pt x="57" y="1194"/>
                </a:lnTo>
                <a:lnTo>
                  <a:pt x="55" y="1188"/>
                </a:lnTo>
                <a:lnTo>
                  <a:pt x="60" y="1180"/>
                </a:lnTo>
                <a:lnTo>
                  <a:pt x="57" y="1176"/>
                </a:lnTo>
                <a:lnTo>
                  <a:pt x="55" y="1175"/>
                </a:lnTo>
                <a:lnTo>
                  <a:pt x="60" y="1172"/>
                </a:lnTo>
                <a:lnTo>
                  <a:pt x="69" y="1171"/>
                </a:lnTo>
                <a:lnTo>
                  <a:pt x="71" y="1171"/>
                </a:lnTo>
                <a:lnTo>
                  <a:pt x="76" y="1163"/>
                </a:lnTo>
                <a:lnTo>
                  <a:pt x="76" y="1162"/>
                </a:lnTo>
                <a:lnTo>
                  <a:pt x="83" y="1159"/>
                </a:lnTo>
                <a:lnTo>
                  <a:pt x="85" y="1154"/>
                </a:lnTo>
                <a:lnTo>
                  <a:pt x="92" y="1146"/>
                </a:lnTo>
                <a:lnTo>
                  <a:pt x="94" y="1141"/>
                </a:lnTo>
                <a:lnTo>
                  <a:pt x="100" y="1141"/>
                </a:lnTo>
                <a:lnTo>
                  <a:pt x="105" y="1141"/>
                </a:lnTo>
                <a:lnTo>
                  <a:pt x="113" y="1137"/>
                </a:lnTo>
                <a:lnTo>
                  <a:pt x="113" y="1134"/>
                </a:lnTo>
                <a:lnTo>
                  <a:pt x="107" y="1133"/>
                </a:lnTo>
                <a:lnTo>
                  <a:pt x="107" y="1130"/>
                </a:lnTo>
                <a:lnTo>
                  <a:pt x="108" y="1118"/>
                </a:lnTo>
                <a:lnTo>
                  <a:pt x="111" y="1117"/>
                </a:lnTo>
                <a:lnTo>
                  <a:pt x="114" y="1120"/>
                </a:lnTo>
                <a:lnTo>
                  <a:pt x="117" y="1120"/>
                </a:lnTo>
                <a:lnTo>
                  <a:pt x="119" y="1118"/>
                </a:lnTo>
                <a:lnTo>
                  <a:pt x="121" y="1115"/>
                </a:lnTo>
                <a:lnTo>
                  <a:pt x="119" y="1113"/>
                </a:lnTo>
                <a:lnTo>
                  <a:pt x="117" y="1115"/>
                </a:lnTo>
                <a:lnTo>
                  <a:pt x="113" y="1110"/>
                </a:lnTo>
                <a:lnTo>
                  <a:pt x="113" y="1105"/>
                </a:lnTo>
                <a:lnTo>
                  <a:pt x="115" y="1100"/>
                </a:lnTo>
                <a:lnTo>
                  <a:pt x="124" y="1091"/>
                </a:lnTo>
                <a:lnTo>
                  <a:pt x="127" y="1085"/>
                </a:lnTo>
                <a:lnTo>
                  <a:pt x="130" y="1083"/>
                </a:lnTo>
                <a:lnTo>
                  <a:pt x="136" y="1079"/>
                </a:lnTo>
                <a:lnTo>
                  <a:pt x="142" y="1078"/>
                </a:lnTo>
                <a:lnTo>
                  <a:pt x="149" y="1072"/>
                </a:lnTo>
                <a:lnTo>
                  <a:pt x="152" y="1070"/>
                </a:lnTo>
                <a:lnTo>
                  <a:pt x="150" y="1066"/>
                </a:lnTo>
                <a:lnTo>
                  <a:pt x="152" y="1062"/>
                </a:lnTo>
                <a:lnTo>
                  <a:pt x="167" y="1057"/>
                </a:lnTo>
                <a:lnTo>
                  <a:pt x="174" y="1050"/>
                </a:lnTo>
                <a:lnTo>
                  <a:pt x="182" y="1047"/>
                </a:lnTo>
                <a:lnTo>
                  <a:pt x="188" y="1047"/>
                </a:lnTo>
                <a:lnTo>
                  <a:pt x="192" y="1043"/>
                </a:lnTo>
                <a:lnTo>
                  <a:pt x="196" y="1042"/>
                </a:lnTo>
                <a:lnTo>
                  <a:pt x="199" y="1034"/>
                </a:lnTo>
                <a:lnTo>
                  <a:pt x="200" y="1033"/>
                </a:lnTo>
                <a:lnTo>
                  <a:pt x="199" y="1026"/>
                </a:lnTo>
                <a:lnTo>
                  <a:pt x="203" y="1020"/>
                </a:lnTo>
                <a:lnTo>
                  <a:pt x="210" y="1016"/>
                </a:lnTo>
                <a:lnTo>
                  <a:pt x="214" y="1017"/>
                </a:lnTo>
                <a:lnTo>
                  <a:pt x="217" y="1012"/>
                </a:lnTo>
                <a:lnTo>
                  <a:pt x="224" y="1010"/>
                </a:lnTo>
                <a:lnTo>
                  <a:pt x="233" y="1004"/>
                </a:lnTo>
                <a:lnTo>
                  <a:pt x="247" y="989"/>
                </a:lnTo>
                <a:lnTo>
                  <a:pt x="256" y="988"/>
                </a:lnTo>
                <a:lnTo>
                  <a:pt x="271" y="981"/>
                </a:lnTo>
                <a:lnTo>
                  <a:pt x="275" y="981"/>
                </a:lnTo>
                <a:lnTo>
                  <a:pt x="282" y="981"/>
                </a:lnTo>
                <a:lnTo>
                  <a:pt x="290" y="976"/>
                </a:lnTo>
                <a:lnTo>
                  <a:pt x="300" y="971"/>
                </a:lnTo>
                <a:lnTo>
                  <a:pt x="306" y="963"/>
                </a:lnTo>
                <a:lnTo>
                  <a:pt x="311" y="961"/>
                </a:lnTo>
                <a:lnTo>
                  <a:pt x="314" y="961"/>
                </a:lnTo>
                <a:lnTo>
                  <a:pt x="317" y="961"/>
                </a:lnTo>
                <a:lnTo>
                  <a:pt x="319" y="959"/>
                </a:lnTo>
                <a:lnTo>
                  <a:pt x="331" y="950"/>
                </a:lnTo>
                <a:lnTo>
                  <a:pt x="335" y="946"/>
                </a:lnTo>
                <a:lnTo>
                  <a:pt x="342" y="939"/>
                </a:lnTo>
                <a:lnTo>
                  <a:pt x="356" y="933"/>
                </a:lnTo>
                <a:lnTo>
                  <a:pt x="363" y="923"/>
                </a:lnTo>
                <a:lnTo>
                  <a:pt x="367" y="921"/>
                </a:lnTo>
                <a:lnTo>
                  <a:pt x="370" y="921"/>
                </a:lnTo>
                <a:lnTo>
                  <a:pt x="375" y="923"/>
                </a:lnTo>
                <a:lnTo>
                  <a:pt x="382" y="923"/>
                </a:lnTo>
                <a:lnTo>
                  <a:pt x="392" y="918"/>
                </a:lnTo>
                <a:lnTo>
                  <a:pt x="401" y="930"/>
                </a:lnTo>
                <a:lnTo>
                  <a:pt x="410" y="936"/>
                </a:lnTo>
                <a:lnTo>
                  <a:pt x="413" y="936"/>
                </a:lnTo>
                <a:lnTo>
                  <a:pt x="416" y="936"/>
                </a:lnTo>
                <a:lnTo>
                  <a:pt x="420" y="933"/>
                </a:lnTo>
                <a:lnTo>
                  <a:pt x="423" y="931"/>
                </a:lnTo>
                <a:lnTo>
                  <a:pt x="431" y="934"/>
                </a:lnTo>
                <a:lnTo>
                  <a:pt x="434" y="931"/>
                </a:lnTo>
                <a:lnTo>
                  <a:pt x="435" y="923"/>
                </a:lnTo>
                <a:lnTo>
                  <a:pt x="442" y="923"/>
                </a:lnTo>
                <a:lnTo>
                  <a:pt x="445" y="922"/>
                </a:lnTo>
                <a:lnTo>
                  <a:pt x="448" y="922"/>
                </a:lnTo>
                <a:lnTo>
                  <a:pt x="452" y="917"/>
                </a:lnTo>
                <a:lnTo>
                  <a:pt x="460" y="911"/>
                </a:lnTo>
                <a:lnTo>
                  <a:pt x="468" y="910"/>
                </a:lnTo>
                <a:lnTo>
                  <a:pt x="479" y="905"/>
                </a:lnTo>
                <a:lnTo>
                  <a:pt x="493" y="900"/>
                </a:lnTo>
                <a:lnTo>
                  <a:pt x="498" y="897"/>
                </a:lnTo>
                <a:lnTo>
                  <a:pt x="503" y="896"/>
                </a:lnTo>
                <a:lnTo>
                  <a:pt x="516" y="888"/>
                </a:lnTo>
                <a:lnTo>
                  <a:pt x="520" y="883"/>
                </a:lnTo>
                <a:lnTo>
                  <a:pt x="518" y="879"/>
                </a:lnTo>
                <a:lnTo>
                  <a:pt x="516" y="877"/>
                </a:lnTo>
                <a:lnTo>
                  <a:pt x="517" y="874"/>
                </a:lnTo>
                <a:lnTo>
                  <a:pt x="523" y="872"/>
                </a:lnTo>
                <a:lnTo>
                  <a:pt x="528" y="867"/>
                </a:lnTo>
                <a:lnTo>
                  <a:pt x="537" y="864"/>
                </a:lnTo>
                <a:lnTo>
                  <a:pt x="539" y="861"/>
                </a:lnTo>
                <a:lnTo>
                  <a:pt x="543" y="852"/>
                </a:lnTo>
                <a:lnTo>
                  <a:pt x="552" y="847"/>
                </a:lnTo>
                <a:lnTo>
                  <a:pt x="556" y="842"/>
                </a:lnTo>
                <a:lnTo>
                  <a:pt x="562" y="838"/>
                </a:lnTo>
                <a:lnTo>
                  <a:pt x="563" y="834"/>
                </a:lnTo>
                <a:lnTo>
                  <a:pt x="570" y="834"/>
                </a:lnTo>
                <a:lnTo>
                  <a:pt x="577" y="829"/>
                </a:lnTo>
                <a:lnTo>
                  <a:pt x="581" y="829"/>
                </a:lnTo>
                <a:lnTo>
                  <a:pt x="581" y="821"/>
                </a:lnTo>
                <a:lnTo>
                  <a:pt x="584" y="811"/>
                </a:lnTo>
                <a:lnTo>
                  <a:pt x="582" y="807"/>
                </a:lnTo>
                <a:lnTo>
                  <a:pt x="582" y="805"/>
                </a:lnTo>
                <a:lnTo>
                  <a:pt x="593" y="794"/>
                </a:lnTo>
                <a:lnTo>
                  <a:pt x="601" y="789"/>
                </a:lnTo>
                <a:lnTo>
                  <a:pt x="613" y="784"/>
                </a:lnTo>
                <a:lnTo>
                  <a:pt x="623" y="779"/>
                </a:lnTo>
                <a:lnTo>
                  <a:pt x="623" y="772"/>
                </a:lnTo>
                <a:lnTo>
                  <a:pt x="626" y="769"/>
                </a:lnTo>
                <a:lnTo>
                  <a:pt x="627" y="762"/>
                </a:lnTo>
                <a:lnTo>
                  <a:pt x="628" y="759"/>
                </a:lnTo>
                <a:lnTo>
                  <a:pt x="633" y="759"/>
                </a:lnTo>
                <a:lnTo>
                  <a:pt x="635" y="754"/>
                </a:lnTo>
                <a:lnTo>
                  <a:pt x="641" y="752"/>
                </a:lnTo>
                <a:lnTo>
                  <a:pt x="645" y="754"/>
                </a:lnTo>
                <a:lnTo>
                  <a:pt x="655" y="754"/>
                </a:lnTo>
                <a:lnTo>
                  <a:pt x="664" y="757"/>
                </a:lnTo>
                <a:lnTo>
                  <a:pt x="670" y="761"/>
                </a:lnTo>
                <a:lnTo>
                  <a:pt x="674" y="767"/>
                </a:lnTo>
                <a:lnTo>
                  <a:pt x="678" y="768"/>
                </a:lnTo>
                <a:lnTo>
                  <a:pt x="687" y="769"/>
                </a:lnTo>
                <a:lnTo>
                  <a:pt x="691" y="768"/>
                </a:lnTo>
                <a:lnTo>
                  <a:pt x="695" y="762"/>
                </a:lnTo>
                <a:lnTo>
                  <a:pt x="701" y="762"/>
                </a:lnTo>
                <a:lnTo>
                  <a:pt x="701" y="761"/>
                </a:lnTo>
                <a:lnTo>
                  <a:pt x="701" y="757"/>
                </a:lnTo>
                <a:lnTo>
                  <a:pt x="708" y="751"/>
                </a:lnTo>
                <a:lnTo>
                  <a:pt x="708" y="748"/>
                </a:lnTo>
                <a:lnTo>
                  <a:pt x="711" y="745"/>
                </a:lnTo>
                <a:lnTo>
                  <a:pt x="714" y="745"/>
                </a:lnTo>
                <a:lnTo>
                  <a:pt x="722" y="739"/>
                </a:lnTo>
                <a:lnTo>
                  <a:pt x="733" y="730"/>
                </a:lnTo>
                <a:lnTo>
                  <a:pt x="739" y="727"/>
                </a:lnTo>
                <a:lnTo>
                  <a:pt x="741" y="723"/>
                </a:lnTo>
                <a:lnTo>
                  <a:pt x="741" y="720"/>
                </a:lnTo>
                <a:lnTo>
                  <a:pt x="736" y="710"/>
                </a:lnTo>
                <a:lnTo>
                  <a:pt x="736" y="703"/>
                </a:lnTo>
                <a:lnTo>
                  <a:pt x="731" y="695"/>
                </a:lnTo>
                <a:lnTo>
                  <a:pt x="730" y="692"/>
                </a:lnTo>
                <a:lnTo>
                  <a:pt x="731" y="687"/>
                </a:lnTo>
                <a:lnTo>
                  <a:pt x="730" y="682"/>
                </a:lnTo>
                <a:lnTo>
                  <a:pt x="733" y="678"/>
                </a:lnTo>
                <a:lnTo>
                  <a:pt x="741" y="674"/>
                </a:lnTo>
                <a:lnTo>
                  <a:pt x="749" y="677"/>
                </a:lnTo>
                <a:lnTo>
                  <a:pt x="755" y="678"/>
                </a:lnTo>
                <a:lnTo>
                  <a:pt x="761" y="678"/>
                </a:lnTo>
                <a:lnTo>
                  <a:pt x="769" y="673"/>
                </a:lnTo>
                <a:lnTo>
                  <a:pt x="770" y="669"/>
                </a:lnTo>
                <a:lnTo>
                  <a:pt x="774" y="669"/>
                </a:lnTo>
                <a:lnTo>
                  <a:pt x="777" y="669"/>
                </a:lnTo>
                <a:lnTo>
                  <a:pt x="787" y="665"/>
                </a:lnTo>
                <a:lnTo>
                  <a:pt x="799" y="665"/>
                </a:lnTo>
                <a:lnTo>
                  <a:pt x="802" y="665"/>
                </a:lnTo>
                <a:lnTo>
                  <a:pt x="806" y="669"/>
                </a:lnTo>
                <a:lnTo>
                  <a:pt x="817" y="686"/>
                </a:lnTo>
                <a:lnTo>
                  <a:pt x="819" y="687"/>
                </a:lnTo>
                <a:lnTo>
                  <a:pt x="824" y="686"/>
                </a:lnTo>
                <a:lnTo>
                  <a:pt x="833" y="686"/>
                </a:lnTo>
                <a:lnTo>
                  <a:pt x="841" y="678"/>
                </a:lnTo>
                <a:lnTo>
                  <a:pt x="842" y="674"/>
                </a:lnTo>
                <a:lnTo>
                  <a:pt x="847" y="672"/>
                </a:lnTo>
                <a:lnTo>
                  <a:pt x="853" y="672"/>
                </a:lnTo>
                <a:lnTo>
                  <a:pt x="858" y="665"/>
                </a:lnTo>
                <a:lnTo>
                  <a:pt x="865" y="665"/>
                </a:lnTo>
                <a:lnTo>
                  <a:pt x="870" y="660"/>
                </a:lnTo>
                <a:lnTo>
                  <a:pt x="870" y="658"/>
                </a:lnTo>
                <a:lnTo>
                  <a:pt x="874" y="652"/>
                </a:lnTo>
                <a:lnTo>
                  <a:pt x="876" y="647"/>
                </a:lnTo>
                <a:lnTo>
                  <a:pt x="880" y="643"/>
                </a:lnTo>
                <a:lnTo>
                  <a:pt x="887" y="643"/>
                </a:lnTo>
                <a:lnTo>
                  <a:pt x="890" y="645"/>
                </a:lnTo>
                <a:lnTo>
                  <a:pt x="897" y="647"/>
                </a:lnTo>
                <a:lnTo>
                  <a:pt x="904" y="647"/>
                </a:lnTo>
                <a:lnTo>
                  <a:pt x="916" y="651"/>
                </a:lnTo>
                <a:lnTo>
                  <a:pt x="926" y="647"/>
                </a:lnTo>
                <a:lnTo>
                  <a:pt x="933" y="645"/>
                </a:lnTo>
                <a:lnTo>
                  <a:pt x="947" y="658"/>
                </a:lnTo>
                <a:lnTo>
                  <a:pt x="951" y="664"/>
                </a:lnTo>
                <a:lnTo>
                  <a:pt x="950" y="669"/>
                </a:lnTo>
                <a:lnTo>
                  <a:pt x="962" y="674"/>
                </a:lnTo>
                <a:lnTo>
                  <a:pt x="969" y="685"/>
                </a:lnTo>
                <a:lnTo>
                  <a:pt x="982" y="697"/>
                </a:lnTo>
                <a:lnTo>
                  <a:pt x="990" y="701"/>
                </a:lnTo>
                <a:lnTo>
                  <a:pt x="994" y="701"/>
                </a:lnTo>
                <a:lnTo>
                  <a:pt x="997" y="698"/>
                </a:lnTo>
                <a:lnTo>
                  <a:pt x="1004" y="695"/>
                </a:lnTo>
                <a:lnTo>
                  <a:pt x="1010" y="690"/>
                </a:lnTo>
                <a:lnTo>
                  <a:pt x="1015" y="684"/>
                </a:lnTo>
                <a:lnTo>
                  <a:pt x="1022" y="678"/>
                </a:lnTo>
                <a:lnTo>
                  <a:pt x="1022" y="674"/>
                </a:lnTo>
                <a:lnTo>
                  <a:pt x="1026" y="669"/>
                </a:lnTo>
                <a:lnTo>
                  <a:pt x="1043" y="660"/>
                </a:lnTo>
                <a:lnTo>
                  <a:pt x="1055" y="652"/>
                </a:lnTo>
                <a:lnTo>
                  <a:pt x="1063" y="647"/>
                </a:lnTo>
                <a:lnTo>
                  <a:pt x="1066" y="647"/>
                </a:lnTo>
                <a:lnTo>
                  <a:pt x="1075" y="647"/>
                </a:lnTo>
                <a:lnTo>
                  <a:pt x="1077" y="647"/>
                </a:lnTo>
                <a:lnTo>
                  <a:pt x="1082" y="649"/>
                </a:lnTo>
                <a:lnTo>
                  <a:pt x="1090" y="651"/>
                </a:lnTo>
                <a:lnTo>
                  <a:pt x="1100" y="651"/>
                </a:lnTo>
                <a:lnTo>
                  <a:pt x="1104" y="656"/>
                </a:lnTo>
                <a:lnTo>
                  <a:pt x="1111" y="658"/>
                </a:lnTo>
                <a:lnTo>
                  <a:pt x="1119" y="656"/>
                </a:lnTo>
                <a:lnTo>
                  <a:pt x="1127" y="651"/>
                </a:lnTo>
                <a:lnTo>
                  <a:pt x="1129" y="647"/>
                </a:lnTo>
                <a:lnTo>
                  <a:pt x="1136" y="651"/>
                </a:lnTo>
                <a:lnTo>
                  <a:pt x="1140" y="655"/>
                </a:lnTo>
                <a:lnTo>
                  <a:pt x="1148" y="656"/>
                </a:lnTo>
                <a:lnTo>
                  <a:pt x="1157" y="645"/>
                </a:lnTo>
                <a:lnTo>
                  <a:pt x="1168" y="637"/>
                </a:lnTo>
                <a:lnTo>
                  <a:pt x="1176" y="633"/>
                </a:lnTo>
                <a:lnTo>
                  <a:pt x="1196" y="632"/>
                </a:lnTo>
                <a:lnTo>
                  <a:pt x="1200" y="630"/>
                </a:lnTo>
                <a:lnTo>
                  <a:pt x="1206" y="627"/>
                </a:lnTo>
                <a:lnTo>
                  <a:pt x="1212" y="616"/>
                </a:lnTo>
                <a:lnTo>
                  <a:pt x="1222" y="607"/>
                </a:lnTo>
                <a:lnTo>
                  <a:pt x="1223" y="603"/>
                </a:lnTo>
                <a:lnTo>
                  <a:pt x="1229" y="598"/>
                </a:lnTo>
                <a:lnTo>
                  <a:pt x="1231" y="597"/>
                </a:lnTo>
                <a:lnTo>
                  <a:pt x="1236" y="597"/>
                </a:lnTo>
                <a:lnTo>
                  <a:pt x="1245" y="585"/>
                </a:lnTo>
                <a:lnTo>
                  <a:pt x="1251" y="581"/>
                </a:lnTo>
                <a:lnTo>
                  <a:pt x="1260" y="580"/>
                </a:lnTo>
                <a:lnTo>
                  <a:pt x="1262" y="578"/>
                </a:lnTo>
                <a:lnTo>
                  <a:pt x="1268" y="580"/>
                </a:lnTo>
                <a:lnTo>
                  <a:pt x="1272" y="576"/>
                </a:lnTo>
                <a:lnTo>
                  <a:pt x="1275" y="571"/>
                </a:lnTo>
                <a:lnTo>
                  <a:pt x="1278" y="571"/>
                </a:lnTo>
                <a:lnTo>
                  <a:pt x="1287" y="571"/>
                </a:lnTo>
                <a:lnTo>
                  <a:pt x="1296" y="565"/>
                </a:lnTo>
                <a:lnTo>
                  <a:pt x="1300" y="565"/>
                </a:lnTo>
                <a:lnTo>
                  <a:pt x="1318" y="576"/>
                </a:lnTo>
                <a:lnTo>
                  <a:pt x="1323" y="576"/>
                </a:lnTo>
                <a:lnTo>
                  <a:pt x="1328" y="571"/>
                </a:lnTo>
                <a:lnTo>
                  <a:pt x="1329" y="566"/>
                </a:lnTo>
                <a:lnTo>
                  <a:pt x="1333" y="562"/>
                </a:lnTo>
                <a:lnTo>
                  <a:pt x="1339" y="561"/>
                </a:lnTo>
                <a:lnTo>
                  <a:pt x="1342" y="558"/>
                </a:lnTo>
                <a:lnTo>
                  <a:pt x="1347" y="558"/>
                </a:lnTo>
                <a:lnTo>
                  <a:pt x="1356" y="557"/>
                </a:lnTo>
                <a:lnTo>
                  <a:pt x="1372" y="548"/>
                </a:lnTo>
                <a:lnTo>
                  <a:pt x="1392" y="545"/>
                </a:lnTo>
                <a:lnTo>
                  <a:pt x="1397" y="540"/>
                </a:lnTo>
                <a:lnTo>
                  <a:pt x="1400" y="540"/>
                </a:lnTo>
                <a:lnTo>
                  <a:pt x="1404" y="540"/>
                </a:lnTo>
                <a:lnTo>
                  <a:pt x="1411" y="545"/>
                </a:lnTo>
                <a:lnTo>
                  <a:pt x="1432" y="549"/>
                </a:lnTo>
                <a:lnTo>
                  <a:pt x="1439" y="553"/>
                </a:lnTo>
                <a:lnTo>
                  <a:pt x="1443" y="556"/>
                </a:lnTo>
                <a:lnTo>
                  <a:pt x="1447" y="562"/>
                </a:lnTo>
                <a:lnTo>
                  <a:pt x="1452" y="565"/>
                </a:lnTo>
                <a:lnTo>
                  <a:pt x="1460" y="570"/>
                </a:lnTo>
                <a:lnTo>
                  <a:pt x="1471" y="574"/>
                </a:lnTo>
                <a:lnTo>
                  <a:pt x="1474" y="574"/>
                </a:lnTo>
                <a:lnTo>
                  <a:pt x="1479" y="568"/>
                </a:lnTo>
                <a:lnTo>
                  <a:pt x="1486" y="568"/>
                </a:lnTo>
                <a:lnTo>
                  <a:pt x="1497" y="562"/>
                </a:lnTo>
                <a:lnTo>
                  <a:pt x="1509" y="568"/>
                </a:lnTo>
                <a:lnTo>
                  <a:pt x="1521" y="569"/>
                </a:lnTo>
                <a:lnTo>
                  <a:pt x="1527" y="576"/>
                </a:lnTo>
                <a:lnTo>
                  <a:pt x="1528" y="576"/>
                </a:lnTo>
                <a:lnTo>
                  <a:pt x="1534" y="576"/>
                </a:lnTo>
                <a:lnTo>
                  <a:pt x="1545" y="569"/>
                </a:lnTo>
                <a:lnTo>
                  <a:pt x="1547" y="568"/>
                </a:lnTo>
                <a:lnTo>
                  <a:pt x="1549" y="569"/>
                </a:lnTo>
                <a:lnTo>
                  <a:pt x="1553" y="566"/>
                </a:lnTo>
                <a:lnTo>
                  <a:pt x="1563" y="566"/>
                </a:lnTo>
                <a:lnTo>
                  <a:pt x="1567" y="562"/>
                </a:lnTo>
                <a:lnTo>
                  <a:pt x="1570" y="562"/>
                </a:lnTo>
                <a:lnTo>
                  <a:pt x="1575" y="558"/>
                </a:lnTo>
                <a:lnTo>
                  <a:pt x="1581" y="557"/>
                </a:lnTo>
                <a:lnTo>
                  <a:pt x="1594" y="558"/>
                </a:lnTo>
                <a:lnTo>
                  <a:pt x="1605" y="568"/>
                </a:lnTo>
                <a:lnTo>
                  <a:pt x="1611" y="566"/>
                </a:lnTo>
                <a:lnTo>
                  <a:pt x="1620" y="570"/>
                </a:lnTo>
                <a:lnTo>
                  <a:pt x="1625" y="569"/>
                </a:lnTo>
                <a:lnTo>
                  <a:pt x="1627" y="568"/>
                </a:lnTo>
                <a:lnTo>
                  <a:pt x="1632" y="558"/>
                </a:lnTo>
                <a:lnTo>
                  <a:pt x="1638" y="553"/>
                </a:lnTo>
                <a:lnTo>
                  <a:pt x="1655" y="545"/>
                </a:lnTo>
                <a:lnTo>
                  <a:pt x="1660" y="544"/>
                </a:lnTo>
                <a:lnTo>
                  <a:pt x="1667" y="540"/>
                </a:lnTo>
                <a:lnTo>
                  <a:pt x="1682" y="529"/>
                </a:lnTo>
                <a:lnTo>
                  <a:pt x="1686" y="529"/>
                </a:lnTo>
                <a:lnTo>
                  <a:pt x="1691" y="536"/>
                </a:lnTo>
                <a:lnTo>
                  <a:pt x="1695" y="540"/>
                </a:lnTo>
                <a:lnTo>
                  <a:pt x="1699" y="540"/>
                </a:lnTo>
                <a:lnTo>
                  <a:pt x="1709" y="535"/>
                </a:lnTo>
                <a:lnTo>
                  <a:pt x="1713" y="533"/>
                </a:lnTo>
                <a:lnTo>
                  <a:pt x="1720" y="531"/>
                </a:lnTo>
                <a:lnTo>
                  <a:pt x="1727" y="523"/>
                </a:lnTo>
                <a:lnTo>
                  <a:pt x="1735" y="520"/>
                </a:lnTo>
                <a:lnTo>
                  <a:pt x="1741" y="514"/>
                </a:lnTo>
                <a:lnTo>
                  <a:pt x="1748" y="504"/>
                </a:lnTo>
                <a:lnTo>
                  <a:pt x="1756" y="501"/>
                </a:lnTo>
                <a:lnTo>
                  <a:pt x="1765" y="498"/>
                </a:lnTo>
                <a:lnTo>
                  <a:pt x="1773" y="495"/>
                </a:lnTo>
                <a:lnTo>
                  <a:pt x="1798" y="482"/>
                </a:lnTo>
                <a:lnTo>
                  <a:pt x="1807" y="482"/>
                </a:lnTo>
                <a:lnTo>
                  <a:pt x="1813" y="478"/>
                </a:lnTo>
                <a:lnTo>
                  <a:pt x="1817" y="473"/>
                </a:lnTo>
                <a:lnTo>
                  <a:pt x="1827" y="467"/>
                </a:lnTo>
                <a:lnTo>
                  <a:pt x="1830" y="462"/>
                </a:lnTo>
                <a:lnTo>
                  <a:pt x="1838" y="459"/>
                </a:lnTo>
                <a:lnTo>
                  <a:pt x="1846" y="456"/>
                </a:lnTo>
                <a:lnTo>
                  <a:pt x="1851" y="456"/>
                </a:lnTo>
                <a:lnTo>
                  <a:pt x="1859" y="454"/>
                </a:lnTo>
                <a:lnTo>
                  <a:pt x="1863" y="456"/>
                </a:lnTo>
                <a:lnTo>
                  <a:pt x="1871" y="456"/>
                </a:lnTo>
                <a:lnTo>
                  <a:pt x="1877" y="458"/>
                </a:lnTo>
                <a:lnTo>
                  <a:pt x="1888" y="456"/>
                </a:lnTo>
                <a:lnTo>
                  <a:pt x="1904" y="442"/>
                </a:lnTo>
                <a:lnTo>
                  <a:pt x="1917" y="433"/>
                </a:lnTo>
                <a:lnTo>
                  <a:pt x="1921" y="428"/>
                </a:lnTo>
                <a:lnTo>
                  <a:pt x="1921" y="420"/>
                </a:lnTo>
                <a:lnTo>
                  <a:pt x="1923" y="416"/>
                </a:lnTo>
                <a:lnTo>
                  <a:pt x="1932" y="414"/>
                </a:lnTo>
                <a:lnTo>
                  <a:pt x="1937" y="411"/>
                </a:lnTo>
                <a:lnTo>
                  <a:pt x="1945" y="406"/>
                </a:lnTo>
                <a:lnTo>
                  <a:pt x="1951" y="402"/>
                </a:lnTo>
                <a:lnTo>
                  <a:pt x="1959" y="400"/>
                </a:lnTo>
                <a:lnTo>
                  <a:pt x="1969" y="394"/>
                </a:lnTo>
                <a:lnTo>
                  <a:pt x="1977" y="394"/>
                </a:lnTo>
                <a:lnTo>
                  <a:pt x="1983" y="400"/>
                </a:lnTo>
                <a:lnTo>
                  <a:pt x="1994" y="404"/>
                </a:lnTo>
                <a:lnTo>
                  <a:pt x="1998" y="407"/>
                </a:lnTo>
                <a:lnTo>
                  <a:pt x="2001" y="411"/>
                </a:lnTo>
                <a:lnTo>
                  <a:pt x="2006" y="415"/>
                </a:lnTo>
                <a:lnTo>
                  <a:pt x="2016" y="409"/>
                </a:lnTo>
                <a:lnTo>
                  <a:pt x="2020" y="404"/>
                </a:lnTo>
                <a:lnTo>
                  <a:pt x="2036" y="400"/>
                </a:lnTo>
                <a:lnTo>
                  <a:pt x="2041" y="396"/>
                </a:lnTo>
                <a:lnTo>
                  <a:pt x="2045" y="394"/>
                </a:lnTo>
                <a:lnTo>
                  <a:pt x="2048" y="392"/>
                </a:lnTo>
                <a:lnTo>
                  <a:pt x="2050" y="384"/>
                </a:lnTo>
                <a:lnTo>
                  <a:pt x="2054" y="383"/>
                </a:lnTo>
                <a:lnTo>
                  <a:pt x="2059" y="383"/>
                </a:lnTo>
                <a:lnTo>
                  <a:pt x="2064" y="381"/>
                </a:lnTo>
                <a:lnTo>
                  <a:pt x="2070" y="379"/>
                </a:lnTo>
                <a:lnTo>
                  <a:pt x="2075" y="374"/>
                </a:lnTo>
                <a:lnTo>
                  <a:pt x="2076" y="369"/>
                </a:lnTo>
                <a:lnTo>
                  <a:pt x="2083" y="365"/>
                </a:lnTo>
                <a:lnTo>
                  <a:pt x="2087" y="362"/>
                </a:lnTo>
                <a:lnTo>
                  <a:pt x="2094" y="365"/>
                </a:lnTo>
                <a:lnTo>
                  <a:pt x="2104" y="362"/>
                </a:lnTo>
                <a:lnTo>
                  <a:pt x="2108" y="358"/>
                </a:lnTo>
                <a:lnTo>
                  <a:pt x="2111" y="361"/>
                </a:lnTo>
                <a:lnTo>
                  <a:pt x="2112" y="358"/>
                </a:lnTo>
                <a:lnTo>
                  <a:pt x="2119" y="358"/>
                </a:lnTo>
                <a:lnTo>
                  <a:pt x="2125" y="353"/>
                </a:lnTo>
                <a:lnTo>
                  <a:pt x="2131" y="353"/>
                </a:lnTo>
                <a:lnTo>
                  <a:pt x="2134" y="349"/>
                </a:lnTo>
                <a:lnTo>
                  <a:pt x="2136" y="338"/>
                </a:lnTo>
                <a:lnTo>
                  <a:pt x="2140" y="336"/>
                </a:lnTo>
                <a:lnTo>
                  <a:pt x="2145" y="336"/>
                </a:lnTo>
                <a:lnTo>
                  <a:pt x="2148" y="333"/>
                </a:lnTo>
                <a:lnTo>
                  <a:pt x="2155" y="333"/>
                </a:lnTo>
                <a:lnTo>
                  <a:pt x="2156" y="327"/>
                </a:lnTo>
                <a:lnTo>
                  <a:pt x="2159" y="327"/>
                </a:lnTo>
                <a:lnTo>
                  <a:pt x="2165" y="325"/>
                </a:lnTo>
                <a:lnTo>
                  <a:pt x="2169" y="327"/>
                </a:lnTo>
                <a:lnTo>
                  <a:pt x="2178" y="325"/>
                </a:lnTo>
                <a:lnTo>
                  <a:pt x="2180" y="322"/>
                </a:lnTo>
                <a:lnTo>
                  <a:pt x="2187" y="321"/>
                </a:lnTo>
                <a:lnTo>
                  <a:pt x="2194" y="325"/>
                </a:lnTo>
                <a:lnTo>
                  <a:pt x="2203" y="325"/>
                </a:lnTo>
                <a:lnTo>
                  <a:pt x="2206" y="321"/>
                </a:lnTo>
                <a:lnTo>
                  <a:pt x="2206" y="317"/>
                </a:lnTo>
                <a:lnTo>
                  <a:pt x="2208" y="316"/>
                </a:lnTo>
                <a:lnTo>
                  <a:pt x="2216" y="312"/>
                </a:lnTo>
                <a:lnTo>
                  <a:pt x="2219" y="307"/>
                </a:lnTo>
                <a:lnTo>
                  <a:pt x="2226" y="304"/>
                </a:lnTo>
                <a:lnTo>
                  <a:pt x="2226" y="300"/>
                </a:lnTo>
                <a:lnTo>
                  <a:pt x="2230" y="297"/>
                </a:lnTo>
                <a:lnTo>
                  <a:pt x="2233" y="290"/>
                </a:lnTo>
                <a:lnTo>
                  <a:pt x="2234" y="278"/>
                </a:lnTo>
                <a:lnTo>
                  <a:pt x="2240" y="272"/>
                </a:lnTo>
                <a:lnTo>
                  <a:pt x="2251" y="267"/>
                </a:lnTo>
                <a:lnTo>
                  <a:pt x="2254" y="267"/>
                </a:lnTo>
                <a:lnTo>
                  <a:pt x="2254" y="263"/>
                </a:lnTo>
                <a:lnTo>
                  <a:pt x="2264" y="259"/>
                </a:lnTo>
                <a:lnTo>
                  <a:pt x="2265" y="255"/>
                </a:lnTo>
                <a:lnTo>
                  <a:pt x="2268" y="255"/>
                </a:lnTo>
                <a:lnTo>
                  <a:pt x="2268" y="251"/>
                </a:lnTo>
                <a:lnTo>
                  <a:pt x="2271" y="251"/>
                </a:lnTo>
                <a:lnTo>
                  <a:pt x="2279" y="250"/>
                </a:lnTo>
                <a:lnTo>
                  <a:pt x="2282" y="249"/>
                </a:lnTo>
                <a:lnTo>
                  <a:pt x="2284" y="249"/>
                </a:lnTo>
                <a:lnTo>
                  <a:pt x="2289" y="246"/>
                </a:lnTo>
                <a:lnTo>
                  <a:pt x="2296" y="249"/>
                </a:lnTo>
                <a:lnTo>
                  <a:pt x="2304" y="249"/>
                </a:lnTo>
                <a:lnTo>
                  <a:pt x="2305" y="245"/>
                </a:lnTo>
                <a:lnTo>
                  <a:pt x="2307" y="245"/>
                </a:lnTo>
                <a:lnTo>
                  <a:pt x="2316" y="245"/>
                </a:lnTo>
                <a:lnTo>
                  <a:pt x="2321" y="241"/>
                </a:lnTo>
                <a:lnTo>
                  <a:pt x="2322" y="237"/>
                </a:lnTo>
                <a:lnTo>
                  <a:pt x="2326" y="233"/>
                </a:lnTo>
                <a:lnTo>
                  <a:pt x="2328" y="233"/>
                </a:lnTo>
                <a:lnTo>
                  <a:pt x="2332" y="229"/>
                </a:lnTo>
                <a:lnTo>
                  <a:pt x="2336" y="229"/>
                </a:lnTo>
                <a:lnTo>
                  <a:pt x="2344" y="233"/>
                </a:lnTo>
                <a:lnTo>
                  <a:pt x="2350" y="232"/>
                </a:lnTo>
                <a:lnTo>
                  <a:pt x="2353" y="229"/>
                </a:lnTo>
                <a:lnTo>
                  <a:pt x="2357" y="228"/>
                </a:lnTo>
                <a:lnTo>
                  <a:pt x="2365" y="229"/>
                </a:lnTo>
                <a:lnTo>
                  <a:pt x="2371" y="226"/>
                </a:lnTo>
                <a:lnTo>
                  <a:pt x="2375" y="229"/>
                </a:lnTo>
                <a:lnTo>
                  <a:pt x="2380" y="228"/>
                </a:lnTo>
                <a:lnTo>
                  <a:pt x="2385" y="223"/>
                </a:lnTo>
                <a:lnTo>
                  <a:pt x="2388" y="220"/>
                </a:lnTo>
                <a:lnTo>
                  <a:pt x="2393" y="218"/>
                </a:lnTo>
                <a:lnTo>
                  <a:pt x="2394" y="213"/>
                </a:lnTo>
                <a:lnTo>
                  <a:pt x="2399" y="209"/>
                </a:lnTo>
                <a:lnTo>
                  <a:pt x="2418" y="205"/>
                </a:lnTo>
                <a:lnTo>
                  <a:pt x="2428" y="197"/>
                </a:lnTo>
                <a:lnTo>
                  <a:pt x="2432" y="191"/>
                </a:lnTo>
                <a:lnTo>
                  <a:pt x="2441" y="188"/>
                </a:lnTo>
                <a:lnTo>
                  <a:pt x="2451" y="183"/>
                </a:lnTo>
                <a:lnTo>
                  <a:pt x="2453" y="175"/>
                </a:lnTo>
                <a:lnTo>
                  <a:pt x="2458" y="173"/>
                </a:lnTo>
                <a:lnTo>
                  <a:pt x="2465" y="175"/>
                </a:lnTo>
                <a:lnTo>
                  <a:pt x="2471" y="179"/>
                </a:lnTo>
                <a:lnTo>
                  <a:pt x="2475" y="179"/>
                </a:lnTo>
                <a:lnTo>
                  <a:pt x="2486" y="187"/>
                </a:lnTo>
                <a:lnTo>
                  <a:pt x="2490" y="184"/>
                </a:lnTo>
                <a:lnTo>
                  <a:pt x="2497" y="187"/>
                </a:lnTo>
                <a:lnTo>
                  <a:pt x="2503" y="184"/>
                </a:lnTo>
                <a:lnTo>
                  <a:pt x="2507" y="188"/>
                </a:lnTo>
                <a:lnTo>
                  <a:pt x="2510" y="188"/>
                </a:lnTo>
                <a:lnTo>
                  <a:pt x="2518" y="184"/>
                </a:lnTo>
                <a:lnTo>
                  <a:pt x="2521" y="184"/>
                </a:lnTo>
                <a:lnTo>
                  <a:pt x="2526" y="187"/>
                </a:lnTo>
                <a:lnTo>
                  <a:pt x="2542" y="187"/>
                </a:lnTo>
                <a:lnTo>
                  <a:pt x="2546" y="183"/>
                </a:lnTo>
                <a:lnTo>
                  <a:pt x="2547" y="179"/>
                </a:lnTo>
                <a:lnTo>
                  <a:pt x="2551" y="175"/>
                </a:lnTo>
                <a:lnTo>
                  <a:pt x="2558" y="170"/>
                </a:lnTo>
                <a:lnTo>
                  <a:pt x="2561" y="168"/>
                </a:lnTo>
                <a:lnTo>
                  <a:pt x="2567" y="166"/>
                </a:lnTo>
                <a:lnTo>
                  <a:pt x="2571" y="162"/>
                </a:lnTo>
                <a:lnTo>
                  <a:pt x="2575" y="156"/>
                </a:lnTo>
                <a:lnTo>
                  <a:pt x="2582" y="153"/>
                </a:lnTo>
                <a:lnTo>
                  <a:pt x="2590" y="138"/>
                </a:lnTo>
                <a:lnTo>
                  <a:pt x="2593" y="138"/>
                </a:lnTo>
                <a:lnTo>
                  <a:pt x="2601" y="129"/>
                </a:lnTo>
                <a:lnTo>
                  <a:pt x="2604" y="122"/>
                </a:lnTo>
                <a:lnTo>
                  <a:pt x="2600" y="120"/>
                </a:lnTo>
                <a:lnTo>
                  <a:pt x="2601" y="112"/>
                </a:lnTo>
                <a:lnTo>
                  <a:pt x="2613" y="104"/>
                </a:lnTo>
                <a:lnTo>
                  <a:pt x="2615" y="103"/>
                </a:lnTo>
                <a:lnTo>
                  <a:pt x="2620" y="103"/>
                </a:lnTo>
                <a:lnTo>
                  <a:pt x="2624" y="100"/>
                </a:lnTo>
                <a:lnTo>
                  <a:pt x="2640" y="91"/>
                </a:lnTo>
                <a:lnTo>
                  <a:pt x="2646" y="77"/>
                </a:lnTo>
                <a:lnTo>
                  <a:pt x="2649" y="76"/>
                </a:lnTo>
                <a:lnTo>
                  <a:pt x="2656" y="64"/>
                </a:lnTo>
                <a:lnTo>
                  <a:pt x="2656" y="55"/>
                </a:lnTo>
                <a:lnTo>
                  <a:pt x="2656" y="50"/>
                </a:lnTo>
                <a:lnTo>
                  <a:pt x="2673" y="48"/>
                </a:lnTo>
                <a:lnTo>
                  <a:pt x="2681" y="46"/>
                </a:lnTo>
                <a:lnTo>
                  <a:pt x="2686" y="42"/>
                </a:lnTo>
                <a:lnTo>
                  <a:pt x="2696" y="41"/>
                </a:lnTo>
                <a:lnTo>
                  <a:pt x="2731" y="27"/>
                </a:lnTo>
                <a:lnTo>
                  <a:pt x="2743" y="27"/>
                </a:lnTo>
                <a:lnTo>
                  <a:pt x="2748" y="23"/>
                </a:lnTo>
                <a:lnTo>
                  <a:pt x="2748" y="19"/>
                </a:lnTo>
                <a:lnTo>
                  <a:pt x="2746" y="14"/>
                </a:lnTo>
                <a:lnTo>
                  <a:pt x="2742" y="6"/>
                </a:lnTo>
                <a:lnTo>
                  <a:pt x="2739" y="1"/>
                </a:lnTo>
                <a:lnTo>
                  <a:pt x="2742" y="0"/>
                </a:lnTo>
                <a:lnTo>
                  <a:pt x="2753" y="0"/>
                </a:lnTo>
                <a:lnTo>
                  <a:pt x="2767" y="1"/>
                </a:lnTo>
                <a:lnTo>
                  <a:pt x="2771" y="10"/>
                </a:lnTo>
                <a:lnTo>
                  <a:pt x="2774" y="14"/>
                </a:lnTo>
                <a:lnTo>
                  <a:pt x="2789" y="13"/>
                </a:lnTo>
                <a:lnTo>
                  <a:pt x="2803" y="14"/>
                </a:lnTo>
                <a:lnTo>
                  <a:pt x="2806" y="23"/>
                </a:lnTo>
                <a:lnTo>
                  <a:pt x="2813" y="23"/>
                </a:lnTo>
                <a:lnTo>
                  <a:pt x="2816" y="27"/>
                </a:lnTo>
                <a:lnTo>
                  <a:pt x="2820" y="31"/>
                </a:lnTo>
                <a:lnTo>
                  <a:pt x="2823" y="37"/>
                </a:lnTo>
                <a:lnTo>
                  <a:pt x="2827" y="42"/>
                </a:lnTo>
                <a:lnTo>
                  <a:pt x="2835" y="42"/>
                </a:lnTo>
                <a:lnTo>
                  <a:pt x="2838" y="37"/>
                </a:lnTo>
                <a:lnTo>
                  <a:pt x="2845" y="31"/>
                </a:lnTo>
                <a:lnTo>
                  <a:pt x="2857" y="31"/>
                </a:lnTo>
                <a:lnTo>
                  <a:pt x="2863" y="27"/>
                </a:lnTo>
                <a:lnTo>
                  <a:pt x="2869" y="29"/>
                </a:lnTo>
                <a:lnTo>
                  <a:pt x="2881" y="26"/>
                </a:lnTo>
                <a:lnTo>
                  <a:pt x="2887" y="19"/>
                </a:lnTo>
                <a:lnTo>
                  <a:pt x="2895" y="14"/>
                </a:lnTo>
                <a:lnTo>
                  <a:pt x="2910" y="22"/>
                </a:lnTo>
                <a:lnTo>
                  <a:pt x="2914" y="19"/>
                </a:lnTo>
                <a:lnTo>
                  <a:pt x="2920" y="18"/>
                </a:lnTo>
                <a:lnTo>
                  <a:pt x="2923" y="14"/>
                </a:lnTo>
                <a:lnTo>
                  <a:pt x="2931" y="10"/>
                </a:lnTo>
                <a:lnTo>
                  <a:pt x="2935" y="9"/>
                </a:lnTo>
                <a:lnTo>
                  <a:pt x="2939" y="9"/>
                </a:lnTo>
                <a:lnTo>
                  <a:pt x="2942" y="6"/>
                </a:lnTo>
                <a:lnTo>
                  <a:pt x="2952" y="6"/>
                </a:lnTo>
                <a:lnTo>
                  <a:pt x="2960" y="10"/>
                </a:lnTo>
                <a:lnTo>
                  <a:pt x="2966" y="10"/>
                </a:lnTo>
                <a:lnTo>
                  <a:pt x="2973" y="9"/>
                </a:lnTo>
                <a:lnTo>
                  <a:pt x="2981" y="10"/>
                </a:lnTo>
                <a:lnTo>
                  <a:pt x="2989" y="6"/>
                </a:lnTo>
                <a:lnTo>
                  <a:pt x="2992" y="6"/>
                </a:lnTo>
                <a:lnTo>
                  <a:pt x="2997" y="10"/>
                </a:lnTo>
                <a:lnTo>
                  <a:pt x="3002" y="14"/>
                </a:lnTo>
                <a:lnTo>
                  <a:pt x="3005" y="18"/>
                </a:lnTo>
                <a:lnTo>
                  <a:pt x="3013" y="18"/>
                </a:lnTo>
                <a:lnTo>
                  <a:pt x="3016" y="19"/>
                </a:lnTo>
                <a:lnTo>
                  <a:pt x="3017" y="23"/>
                </a:lnTo>
                <a:lnTo>
                  <a:pt x="3019" y="33"/>
                </a:lnTo>
                <a:lnTo>
                  <a:pt x="3017" y="41"/>
                </a:lnTo>
                <a:lnTo>
                  <a:pt x="3020" y="46"/>
                </a:lnTo>
                <a:lnTo>
                  <a:pt x="3023" y="50"/>
                </a:lnTo>
                <a:lnTo>
                  <a:pt x="3025" y="55"/>
                </a:lnTo>
                <a:lnTo>
                  <a:pt x="3033" y="55"/>
                </a:lnTo>
                <a:lnTo>
                  <a:pt x="3039" y="62"/>
                </a:lnTo>
                <a:lnTo>
                  <a:pt x="3042" y="62"/>
                </a:lnTo>
                <a:lnTo>
                  <a:pt x="3049" y="63"/>
                </a:lnTo>
                <a:lnTo>
                  <a:pt x="3056" y="62"/>
                </a:lnTo>
                <a:lnTo>
                  <a:pt x="3060" y="59"/>
                </a:lnTo>
                <a:lnTo>
                  <a:pt x="3063" y="59"/>
                </a:lnTo>
                <a:lnTo>
                  <a:pt x="3066" y="58"/>
                </a:lnTo>
                <a:lnTo>
                  <a:pt x="3072" y="62"/>
                </a:lnTo>
                <a:lnTo>
                  <a:pt x="3080" y="55"/>
                </a:lnTo>
                <a:lnTo>
                  <a:pt x="3083" y="64"/>
                </a:lnTo>
                <a:lnTo>
                  <a:pt x="3092" y="75"/>
                </a:lnTo>
                <a:lnTo>
                  <a:pt x="3088" y="72"/>
                </a:lnTo>
                <a:lnTo>
                  <a:pt x="3081" y="76"/>
                </a:lnTo>
                <a:lnTo>
                  <a:pt x="3076" y="75"/>
                </a:lnTo>
                <a:lnTo>
                  <a:pt x="3074" y="75"/>
                </a:lnTo>
                <a:lnTo>
                  <a:pt x="3087" y="80"/>
                </a:lnTo>
                <a:lnTo>
                  <a:pt x="3088" y="87"/>
                </a:lnTo>
                <a:lnTo>
                  <a:pt x="3094" y="89"/>
                </a:lnTo>
                <a:lnTo>
                  <a:pt x="3092" y="93"/>
                </a:lnTo>
                <a:lnTo>
                  <a:pt x="3092" y="94"/>
                </a:lnTo>
                <a:lnTo>
                  <a:pt x="3095" y="97"/>
                </a:lnTo>
                <a:lnTo>
                  <a:pt x="3094" y="93"/>
                </a:lnTo>
                <a:lnTo>
                  <a:pt x="3095" y="91"/>
                </a:lnTo>
                <a:lnTo>
                  <a:pt x="3095" y="87"/>
                </a:lnTo>
                <a:lnTo>
                  <a:pt x="3091" y="84"/>
                </a:lnTo>
                <a:lnTo>
                  <a:pt x="3092" y="80"/>
                </a:lnTo>
                <a:lnTo>
                  <a:pt x="3091" y="77"/>
                </a:lnTo>
                <a:lnTo>
                  <a:pt x="3094" y="77"/>
                </a:lnTo>
                <a:lnTo>
                  <a:pt x="3103" y="91"/>
                </a:lnTo>
                <a:lnTo>
                  <a:pt x="3115" y="98"/>
                </a:lnTo>
                <a:lnTo>
                  <a:pt x="3122" y="100"/>
                </a:lnTo>
                <a:lnTo>
                  <a:pt x="3129" y="97"/>
                </a:lnTo>
                <a:lnTo>
                  <a:pt x="3131" y="93"/>
                </a:lnTo>
                <a:lnTo>
                  <a:pt x="3130" y="89"/>
                </a:lnTo>
                <a:lnTo>
                  <a:pt x="3131" y="84"/>
                </a:lnTo>
                <a:lnTo>
                  <a:pt x="3134" y="84"/>
                </a:lnTo>
                <a:lnTo>
                  <a:pt x="3138" y="87"/>
                </a:lnTo>
                <a:lnTo>
                  <a:pt x="3138" y="94"/>
                </a:lnTo>
                <a:lnTo>
                  <a:pt x="3135" y="98"/>
                </a:lnTo>
                <a:lnTo>
                  <a:pt x="3134" y="104"/>
                </a:lnTo>
                <a:lnTo>
                  <a:pt x="3133" y="106"/>
                </a:lnTo>
                <a:lnTo>
                  <a:pt x="3129" y="112"/>
                </a:lnTo>
                <a:lnTo>
                  <a:pt x="3115" y="116"/>
                </a:lnTo>
                <a:lnTo>
                  <a:pt x="3110" y="117"/>
                </a:lnTo>
                <a:lnTo>
                  <a:pt x="3108" y="121"/>
                </a:lnTo>
                <a:lnTo>
                  <a:pt x="3103" y="126"/>
                </a:lnTo>
                <a:lnTo>
                  <a:pt x="3097" y="133"/>
                </a:lnTo>
                <a:lnTo>
                  <a:pt x="3092" y="138"/>
                </a:lnTo>
                <a:lnTo>
                  <a:pt x="3092" y="143"/>
                </a:lnTo>
                <a:lnTo>
                  <a:pt x="3087" y="153"/>
                </a:lnTo>
                <a:lnTo>
                  <a:pt x="3088" y="162"/>
                </a:lnTo>
                <a:lnTo>
                  <a:pt x="3088" y="164"/>
                </a:lnTo>
                <a:lnTo>
                  <a:pt x="3089" y="173"/>
                </a:lnTo>
                <a:lnTo>
                  <a:pt x="3091" y="192"/>
                </a:lnTo>
                <a:lnTo>
                  <a:pt x="3092" y="193"/>
                </a:lnTo>
                <a:lnTo>
                  <a:pt x="3095" y="200"/>
                </a:lnTo>
                <a:lnTo>
                  <a:pt x="3103" y="201"/>
                </a:lnTo>
                <a:lnTo>
                  <a:pt x="3106" y="204"/>
                </a:lnTo>
                <a:lnTo>
                  <a:pt x="3115" y="210"/>
                </a:lnTo>
                <a:lnTo>
                  <a:pt x="3117" y="216"/>
                </a:lnTo>
                <a:lnTo>
                  <a:pt x="3117" y="259"/>
                </a:lnTo>
                <a:lnTo>
                  <a:pt x="3120" y="271"/>
                </a:lnTo>
                <a:lnTo>
                  <a:pt x="3126" y="282"/>
                </a:lnTo>
                <a:lnTo>
                  <a:pt x="3124" y="294"/>
                </a:lnTo>
                <a:lnTo>
                  <a:pt x="3127" y="299"/>
                </a:lnTo>
                <a:lnTo>
                  <a:pt x="3127" y="312"/>
                </a:lnTo>
                <a:lnTo>
                  <a:pt x="3130" y="333"/>
                </a:lnTo>
                <a:lnTo>
                  <a:pt x="3129" y="353"/>
                </a:lnTo>
                <a:lnTo>
                  <a:pt x="3133" y="362"/>
                </a:lnTo>
                <a:lnTo>
                  <a:pt x="3140" y="370"/>
                </a:lnTo>
                <a:lnTo>
                  <a:pt x="3151" y="384"/>
                </a:lnTo>
                <a:lnTo>
                  <a:pt x="3154" y="407"/>
                </a:lnTo>
                <a:lnTo>
                  <a:pt x="3152" y="419"/>
                </a:lnTo>
                <a:lnTo>
                  <a:pt x="3155" y="420"/>
                </a:lnTo>
                <a:lnTo>
                  <a:pt x="3157" y="428"/>
                </a:lnTo>
                <a:lnTo>
                  <a:pt x="3157" y="432"/>
                </a:lnTo>
                <a:lnTo>
                  <a:pt x="3154" y="433"/>
                </a:lnTo>
                <a:lnTo>
                  <a:pt x="3148" y="428"/>
                </a:lnTo>
                <a:lnTo>
                  <a:pt x="3137" y="432"/>
                </a:lnTo>
                <a:lnTo>
                  <a:pt x="3135" y="432"/>
                </a:lnTo>
                <a:lnTo>
                  <a:pt x="3137" y="428"/>
                </a:lnTo>
                <a:lnTo>
                  <a:pt x="3135" y="427"/>
                </a:lnTo>
                <a:lnTo>
                  <a:pt x="3127" y="424"/>
                </a:lnTo>
                <a:lnTo>
                  <a:pt x="3122" y="428"/>
                </a:lnTo>
                <a:lnTo>
                  <a:pt x="3120" y="432"/>
                </a:lnTo>
                <a:lnTo>
                  <a:pt x="3119" y="437"/>
                </a:lnTo>
                <a:lnTo>
                  <a:pt x="3119" y="442"/>
                </a:lnTo>
                <a:lnTo>
                  <a:pt x="3131" y="451"/>
                </a:lnTo>
                <a:lnTo>
                  <a:pt x="3137" y="451"/>
                </a:lnTo>
                <a:lnTo>
                  <a:pt x="3141" y="451"/>
                </a:lnTo>
                <a:lnTo>
                  <a:pt x="3145" y="451"/>
                </a:lnTo>
                <a:lnTo>
                  <a:pt x="3144" y="446"/>
                </a:lnTo>
                <a:lnTo>
                  <a:pt x="3147" y="442"/>
                </a:lnTo>
                <a:lnTo>
                  <a:pt x="3149" y="442"/>
                </a:lnTo>
                <a:lnTo>
                  <a:pt x="3152" y="442"/>
                </a:lnTo>
                <a:lnTo>
                  <a:pt x="3154" y="442"/>
                </a:lnTo>
                <a:lnTo>
                  <a:pt x="3157" y="442"/>
                </a:lnTo>
                <a:lnTo>
                  <a:pt x="3159" y="456"/>
                </a:lnTo>
                <a:lnTo>
                  <a:pt x="3163" y="458"/>
                </a:lnTo>
                <a:lnTo>
                  <a:pt x="3168" y="459"/>
                </a:lnTo>
                <a:lnTo>
                  <a:pt x="3169" y="465"/>
                </a:lnTo>
                <a:lnTo>
                  <a:pt x="3166" y="469"/>
                </a:lnTo>
                <a:lnTo>
                  <a:pt x="3165" y="482"/>
                </a:lnTo>
                <a:lnTo>
                  <a:pt x="3162" y="486"/>
                </a:lnTo>
                <a:lnTo>
                  <a:pt x="3163" y="487"/>
                </a:lnTo>
                <a:lnTo>
                  <a:pt x="3163" y="491"/>
                </a:lnTo>
                <a:lnTo>
                  <a:pt x="3163" y="495"/>
                </a:lnTo>
                <a:lnTo>
                  <a:pt x="3160" y="501"/>
                </a:lnTo>
                <a:lnTo>
                  <a:pt x="3159" y="507"/>
                </a:lnTo>
                <a:lnTo>
                  <a:pt x="3159" y="510"/>
                </a:lnTo>
                <a:lnTo>
                  <a:pt x="3157" y="510"/>
                </a:lnTo>
                <a:lnTo>
                  <a:pt x="3155" y="510"/>
                </a:lnTo>
                <a:lnTo>
                  <a:pt x="3152" y="512"/>
                </a:lnTo>
                <a:lnTo>
                  <a:pt x="3148" y="516"/>
                </a:lnTo>
                <a:lnTo>
                  <a:pt x="3143" y="516"/>
                </a:lnTo>
                <a:lnTo>
                  <a:pt x="3140" y="518"/>
                </a:lnTo>
                <a:lnTo>
                  <a:pt x="3134" y="516"/>
                </a:lnTo>
                <a:lnTo>
                  <a:pt x="3130" y="518"/>
                </a:lnTo>
                <a:lnTo>
                  <a:pt x="3129" y="523"/>
                </a:lnTo>
                <a:lnTo>
                  <a:pt x="3130" y="526"/>
                </a:lnTo>
                <a:lnTo>
                  <a:pt x="3133" y="527"/>
                </a:lnTo>
                <a:lnTo>
                  <a:pt x="3134" y="526"/>
                </a:lnTo>
                <a:lnTo>
                  <a:pt x="3137" y="527"/>
                </a:lnTo>
                <a:lnTo>
                  <a:pt x="3138" y="527"/>
                </a:lnTo>
                <a:lnTo>
                  <a:pt x="3140" y="531"/>
                </a:lnTo>
                <a:lnTo>
                  <a:pt x="3143" y="531"/>
                </a:lnTo>
                <a:lnTo>
                  <a:pt x="3144" y="531"/>
                </a:lnTo>
                <a:lnTo>
                  <a:pt x="3144" y="533"/>
                </a:lnTo>
                <a:lnTo>
                  <a:pt x="3143" y="533"/>
                </a:lnTo>
                <a:lnTo>
                  <a:pt x="3144" y="543"/>
                </a:lnTo>
                <a:lnTo>
                  <a:pt x="3148" y="543"/>
                </a:lnTo>
                <a:lnTo>
                  <a:pt x="3143" y="548"/>
                </a:lnTo>
                <a:lnTo>
                  <a:pt x="3141" y="553"/>
                </a:lnTo>
                <a:lnTo>
                  <a:pt x="3143" y="556"/>
                </a:lnTo>
                <a:lnTo>
                  <a:pt x="3147" y="558"/>
                </a:lnTo>
                <a:lnTo>
                  <a:pt x="3143" y="558"/>
                </a:lnTo>
                <a:lnTo>
                  <a:pt x="3137" y="562"/>
                </a:lnTo>
                <a:lnTo>
                  <a:pt x="3130" y="565"/>
                </a:lnTo>
                <a:lnTo>
                  <a:pt x="3127" y="568"/>
                </a:lnTo>
                <a:lnTo>
                  <a:pt x="3123" y="566"/>
                </a:lnTo>
                <a:lnTo>
                  <a:pt x="3108" y="568"/>
                </a:lnTo>
                <a:lnTo>
                  <a:pt x="3106" y="566"/>
                </a:lnTo>
                <a:lnTo>
                  <a:pt x="3108" y="558"/>
                </a:lnTo>
                <a:lnTo>
                  <a:pt x="3105" y="558"/>
                </a:lnTo>
                <a:lnTo>
                  <a:pt x="3105" y="562"/>
                </a:lnTo>
                <a:lnTo>
                  <a:pt x="3103" y="569"/>
                </a:lnTo>
                <a:lnTo>
                  <a:pt x="3098" y="570"/>
                </a:lnTo>
                <a:lnTo>
                  <a:pt x="3089" y="570"/>
                </a:lnTo>
                <a:lnTo>
                  <a:pt x="3088" y="571"/>
                </a:lnTo>
                <a:lnTo>
                  <a:pt x="3087" y="571"/>
                </a:lnTo>
                <a:lnTo>
                  <a:pt x="3084" y="574"/>
                </a:lnTo>
                <a:lnTo>
                  <a:pt x="3080" y="580"/>
                </a:lnTo>
                <a:lnTo>
                  <a:pt x="3077" y="581"/>
                </a:lnTo>
                <a:lnTo>
                  <a:pt x="3077" y="585"/>
                </a:lnTo>
                <a:lnTo>
                  <a:pt x="3078" y="581"/>
                </a:lnTo>
                <a:lnTo>
                  <a:pt x="3080" y="583"/>
                </a:lnTo>
                <a:lnTo>
                  <a:pt x="3080" y="589"/>
                </a:lnTo>
                <a:lnTo>
                  <a:pt x="3081" y="593"/>
                </a:lnTo>
                <a:lnTo>
                  <a:pt x="3083" y="591"/>
                </a:lnTo>
                <a:lnTo>
                  <a:pt x="3087" y="605"/>
                </a:lnTo>
                <a:lnTo>
                  <a:pt x="3088" y="606"/>
                </a:lnTo>
                <a:lnTo>
                  <a:pt x="3094" y="607"/>
                </a:lnTo>
                <a:lnTo>
                  <a:pt x="3095" y="611"/>
                </a:lnTo>
                <a:lnTo>
                  <a:pt x="3103" y="620"/>
                </a:lnTo>
                <a:lnTo>
                  <a:pt x="3101" y="623"/>
                </a:lnTo>
                <a:lnTo>
                  <a:pt x="3101" y="627"/>
                </a:lnTo>
                <a:lnTo>
                  <a:pt x="3095" y="627"/>
                </a:lnTo>
                <a:lnTo>
                  <a:pt x="3094" y="630"/>
                </a:lnTo>
                <a:lnTo>
                  <a:pt x="3098" y="632"/>
                </a:lnTo>
                <a:lnTo>
                  <a:pt x="3106" y="633"/>
                </a:lnTo>
                <a:lnTo>
                  <a:pt x="3106" y="632"/>
                </a:lnTo>
                <a:lnTo>
                  <a:pt x="3105" y="627"/>
                </a:lnTo>
                <a:lnTo>
                  <a:pt x="3106" y="624"/>
                </a:lnTo>
                <a:lnTo>
                  <a:pt x="3112" y="632"/>
                </a:lnTo>
                <a:lnTo>
                  <a:pt x="3115" y="632"/>
                </a:lnTo>
                <a:lnTo>
                  <a:pt x="3117" y="628"/>
                </a:lnTo>
                <a:lnTo>
                  <a:pt x="3113" y="623"/>
                </a:lnTo>
                <a:lnTo>
                  <a:pt x="3112" y="623"/>
                </a:lnTo>
                <a:lnTo>
                  <a:pt x="3110" y="619"/>
                </a:lnTo>
                <a:lnTo>
                  <a:pt x="3113" y="616"/>
                </a:lnTo>
                <a:lnTo>
                  <a:pt x="3113" y="615"/>
                </a:lnTo>
                <a:lnTo>
                  <a:pt x="3115" y="616"/>
                </a:lnTo>
                <a:lnTo>
                  <a:pt x="3116" y="615"/>
                </a:lnTo>
                <a:lnTo>
                  <a:pt x="3117" y="615"/>
                </a:lnTo>
                <a:lnTo>
                  <a:pt x="3117" y="616"/>
                </a:lnTo>
                <a:lnTo>
                  <a:pt x="3119" y="619"/>
                </a:lnTo>
                <a:lnTo>
                  <a:pt x="3122" y="619"/>
                </a:lnTo>
                <a:lnTo>
                  <a:pt x="3123" y="616"/>
                </a:lnTo>
                <a:lnTo>
                  <a:pt x="3122" y="615"/>
                </a:lnTo>
                <a:lnTo>
                  <a:pt x="3123" y="611"/>
                </a:lnTo>
                <a:lnTo>
                  <a:pt x="3126" y="610"/>
                </a:lnTo>
                <a:lnTo>
                  <a:pt x="3127" y="615"/>
                </a:lnTo>
                <a:lnTo>
                  <a:pt x="3127" y="616"/>
                </a:lnTo>
                <a:lnTo>
                  <a:pt x="3129" y="616"/>
                </a:lnTo>
                <a:lnTo>
                  <a:pt x="3135" y="620"/>
                </a:lnTo>
                <a:lnTo>
                  <a:pt x="3133" y="623"/>
                </a:lnTo>
                <a:lnTo>
                  <a:pt x="3133" y="627"/>
                </a:lnTo>
                <a:lnTo>
                  <a:pt x="3131" y="628"/>
                </a:lnTo>
                <a:lnTo>
                  <a:pt x="3131" y="630"/>
                </a:lnTo>
                <a:lnTo>
                  <a:pt x="3127" y="633"/>
                </a:lnTo>
                <a:lnTo>
                  <a:pt x="3129" y="637"/>
                </a:lnTo>
                <a:lnTo>
                  <a:pt x="3131" y="640"/>
                </a:lnTo>
                <a:lnTo>
                  <a:pt x="3134" y="641"/>
                </a:lnTo>
                <a:lnTo>
                  <a:pt x="3138" y="647"/>
                </a:lnTo>
                <a:lnTo>
                  <a:pt x="3137" y="649"/>
                </a:lnTo>
                <a:lnTo>
                  <a:pt x="3138" y="649"/>
                </a:lnTo>
                <a:lnTo>
                  <a:pt x="3138" y="651"/>
                </a:lnTo>
                <a:lnTo>
                  <a:pt x="3133" y="655"/>
                </a:lnTo>
                <a:lnTo>
                  <a:pt x="3133" y="658"/>
                </a:lnTo>
                <a:lnTo>
                  <a:pt x="3134" y="660"/>
                </a:lnTo>
                <a:lnTo>
                  <a:pt x="3135" y="662"/>
                </a:lnTo>
                <a:lnTo>
                  <a:pt x="3134" y="665"/>
                </a:lnTo>
                <a:lnTo>
                  <a:pt x="3137" y="668"/>
                </a:lnTo>
                <a:lnTo>
                  <a:pt x="3147" y="662"/>
                </a:lnTo>
                <a:lnTo>
                  <a:pt x="3147" y="664"/>
                </a:lnTo>
                <a:lnTo>
                  <a:pt x="3145" y="668"/>
                </a:lnTo>
                <a:lnTo>
                  <a:pt x="3145" y="669"/>
                </a:lnTo>
                <a:lnTo>
                  <a:pt x="3144" y="672"/>
                </a:lnTo>
                <a:lnTo>
                  <a:pt x="3147" y="674"/>
                </a:lnTo>
                <a:lnTo>
                  <a:pt x="3145" y="672"/>
                </a:lnTo>
                <a:lnTo>
                  <a:pt x="3147" y="669"/>
                </a:lnTo>
                <a:lnTo>
                  <a:pt x="3147" y="668"/>
                </a:lnTo>
                <a:lnTo>
                  <a:pt x="3151" y="660"/>
                </a:lnTo>
                <a:lnTo>
                  <a:pt x="3152" y="649"/>
                </a:lnTo>
                <a:lnTo>
                  <a:pt x="3152" y="647"/>
                </a:lnTo>
                <a:lnTo>
                  <a:pt x="3148" y="641"/>
                </a:lnTo>
                <a:lnTo>
                  <a:pt x="3149" y="640"/>
                </a:lnTo>
                <a:lnTo>
                  <a:pt x="3149" y="637"/>
                </a:lnTo>
                <a:lnTo>
                  <a:pt x="3152" y="633"/>
                </a:lnTo>
                <a:lnTo>
                  <a:pt x="3152" y="628"/>
                </a:lnTo>
                <a:lnTo>
                  <a:pt x="3151" y="627"/>
                </a:lnTo>
                <a:lnTo>
                  <a:pt x="3155" y="624"/>
                </a:lnTo>
                <a:lnTo>
                  <a:pt x="3155" y="619"/>
                </a:lnTo>
                <a:lnTo>
                  <a:pt x="3162" y="616"/>
                </a:lnTo>
                <a:lnTo>
                  <a:pt x="3165" y="619"/>
                </a:lnTo>
                <a:lnTo>
                  <a:pt x="3165" y="620"/>
                </a:lnTo>
                <a:lnTo>
                  <a:pt x="3168" y="620"/>
                </a:lnTo>
                <a:lnTo>
                  <a:pt x="3170" y="616"/>
                </a:lnTo>
                <a:lnTo>
                  <a:pt x="3172" y="616"/>
                </a:lnTo>
                <a:lnTo>
                  <a:pt x="3172" y="615"/>
                </a:lnTo>
                <a:lnTo>
                  <a:pt x="3170" y="615"/>
                </a:lnTo>
                <a:lnTo>
                  <a:pt x="3170" y="611"/>
                </a:lnTo>
                <a:lnTo>
                  <a:pt x="3174" y="610"/>
                </a:lnTo>
                <a:lnTo>
                  <a:pt x="3179" y="605"/>
                </a:lnTo>
                <a:lnTo>
                  <a:pt x="3190" y="602"/>
                </a:lnTo>
                <a:lnTo>
                  <a:pt x="3191" y="598"/>
                </a:lnTo>
                <a:lnTo>
                  <a:pt x="3194" y="605"/>
                </a:lnTo>
                <a:lnTo>
                  <a:pt x="3202" y="607"/>
                </a:lnTo>
                <a:lnTo>
                  <a:pt x="3205" y="607"/>
                </a:lnTo>
                <a:lnTo>
                  <a:pt x="3209" y="603"/>
                </a:lnTo>
                <a:lnTo>
                  <a:pt x="3213" y="594"/>
                </a:lnTo>
                <a:lnTo>
                  <a:pt x="3218" y="594"/>
                </a:lnTo>
                <a:lnTo>
                  <a:pt x="3223" y="597"/>
                </a:lnTo>
                <a:lnTo>
                  <a:pt x="3227" y="607"/>
                </a:lnTo>
                <a:lnTo>
                  <a:pt x="3233" y="611"/>
                </a:lnTo>
                <a:lnTo>
                  <a:pt x="3229" y="628"/>
                </a:lnTo>
                <a:lnTo>
                  <a:pt x="3230" y="633"/>
                </a:lnTo>
                <a:lnTo>
                  <a:pt x="3229" y="643"/>
                </a:lnTo>
                <a:lnTo>
                  <a:pt x="3230" y="651"/>
                </a:lnTo>
                <a:lnTo>
                  <a:pt x="3240" y="658"/>
                </a:lnTo>
                <a:lnTo>
                  <a:pt x="3247" y="660"/>
                </a:lnTo>
                <a:lnTo>
                  <a:pt x="3249" y="665"/>
                </a:lnTo>
                <a:lnTo>
                  <a:pt x="3245" y="684"/>
                </a:lnTo>
                <a:lnTo>
                  <a:pt x="3244" y="695"/>
                </a:lnTo>
                <a:lnTo>
                  <a:pt x="3244" y="699"/>
                </a:lnTo>
                <a:lnTo>
                  <a:pt x="3247" y="701"/>
                </a:lnTo>
                <a:lnTo>
                  <a:pt x="3244" y="710"/>
                </a:lnTo>
                <a:lnTo>
                  <a:pt x="3245" y="710"/>
                </a:lnTo>
                <a:lnTo>
                  <a:pt x="3243" y="712"/>
                </a:lnTo>
                <a:lnTo>
                  <a:pt x="3241" y="717"/>
                </a:lnTo>
                <a:lnTo>
                  <a:pt x="3238" y="718"/>
                </a:lnTo>
                <a:lnTo>
                  <a:pt x="3234" y="722"/>
                </a:lnTo>
                <a:lnTo>
                  <a:pt x="3230" y="723"/>
                </a:lnTo>
                <a:lnTo>
                  <a:pt x="3223" y="723"/>
                </a:lnTo>
                <a:lnTo>
                  <a:pt x="3213" y="739"/>
                </a:lnTo>
                <a:lnTo>
                  <a:pt x="3207" y="743"/>
                </a:lnTo>
                <a:lnTo>
                  <a:pt x="3201" y="754"/>
                </a:lnTo>
                <a:lnTo>
                  <a:pt x="3197" y="754"/>
                </a:lnTo>
                <a:lnTo>
                  <a:pt x="3190" y="748"/>
                </a:lnTo>
                <a:lnTo>
                  <a:pt x="3183" y="736"/>
                </a:lnTo>
                <a:lnTo>
                  <a:pt x="3183" y="731"/>
                </a:lnTo>
                <a:lnTo>
                  <a:pt x="3174" y="720"/>
                </a:lnTo>
                <a:lnTo>
                  <a:pt x="3169" y="710"/>
                </a:lnTo>
                <a:lnTo>
                  <a:pt x="3163" y="710"/>
                </a:lnTo>
                <a:lnTo>
                  <a:pt x="3162" y="710"/>
                </a:lnTo>
                <a:lnTo>
                  <a:pt x="3160" y="709"/>
                </a:lnTo>
                <a:lnTo>
                  <a:pt x="3158" y="707"/>
                </a:lnTo>
                <a:lnTo>
                  <a:pt x="3155" y="710"/>
                </a:lnTo>
                <a:lnTo>
                  <a:pt x="3158" y="714"/>
                </a:lnTo>
                <a:lnTo>
                  <a:pt x="3163" y="714"/>
                </a:lnTo>
                <a:lnTo>
                  <a:pt x="3165" y="718"/>
                </a:lnTo>
                <a:lnTo>
                  <a:pt x="3165" y="723"/>
                </a:lnTo>
                <a:lnTo>
                  <a:pt x="3166" y="723"/>
                </a:lnTo>
                <a:lnTo>
                  <a:pt x="3163" y="727"/>
                </a:lnTo>
                <a:lnTo>
                  <a:pt x="3165" y="731"/>
                </a:lnTo>
                <a:lnTo>
                  <a:pt x="3169" y="735"/>
                </a:lnTo>
                <a:lnTo>
                  <a:pt x="3168" y="740"/>
                </a:lnTo>
                <a:lnTo>
                  <a:pt x="3168" y="743"/>
                </a:lnTo>
                <a:lnTo>
                  <a:pt x="3170" y="745"/>
                </a:lnTo>
                <a:lnTo>
                  <a:pt x="3169" y="754"/>
                </a:lnTo>
                <a:lnTo>
                  <a:pt x="3173" y="754"/>
                </a:lnTo>
                <a:lnTo>
                  <a:pt x="3176" y="754"/>
                </a:lnTo>
                <a:lnTo>
                  <a:pt x="3177" y="754"/>
                </a:lnTo>
                <a:lnTo>
                  <a:pt x="3177" y="759"/>
                </a:lnTo>
                <a:lnTo>
                  <a:pt x="3173" y="762"/>
                </a:lnTo>
                <a:lnTo>
                  <a:pt x="3170" y="769"/>
                </a:lnTo>
                <a:lnTo>
                  <a:pt x="3169" y="776"/>
                </a:lnTo>
                <a:lnTo>
                  <a:pt x="3169" y="785"/>
                </a:lnTo>
                <a:lnTo>
                  <a:pt x="3172" y="797"/>
                </a:lnTo>
                <a:lnTo>
                  <a:pt x="3179" y="810"/>
                </a:lnTo>
                <a:lnTo>
                  <a:pt x="3184" y="815"/>
                </a:lnTo>
                <a:lnTo>
                  <a:pt x="3194" y="821"/>
                </a:lnTo>
                <a:lnTo>
                  <a:pt x="3193" y="823"/>
                </a:lnTo>
                <a:lnTo>
                  <a:pt x="3184" y="823"/>
                </a:lnTo>
                <a:lnTo>
                  <a:pt x="3173" y="817"/>
                </a:lnTo>
                <a:lnTo>
                  <a:pt x="3162" y="814"/>
                </a:lnTo>
                <a:lnTo>
                  <a:pt x="3158" y="817"/>
                </a:lnTo>
                <a:lnTo>
                  <a:pt x="3157" y="826"/>
                </a:lnTo>
                <a:lnTo>
                  <a:pt x="3159" y="834"/>
                </a:lnTo>
                <a:lnTo>
                  <a:pt x="3162" y="838"/>
                </a:lnTo>
                <a:lnTo>
                  <a:pt x="3168" y="839"/>
                </a:lnTo>
                <a:lnTo>
                  <a:pt x="3170" y="839"/>
                </a:lnTo>
                <a:lnTo>
                  <a:pt x="3176" y="838"/>
                </a:lnTo>
                <a:lnTo>
                  <a:pt x="3179" y="832"/>
                </a:lnTo>
                <a:lnTo>
                  <a:pt x="3183" y="832"/>
                </a:lnTo>
                <a:lnTo>
                  <a:pt x="3184" y="829"/>
                </a:lnTo>
                <a:lnTo>
                  <a:pt x="3187" y="830"/>
                </a:lnTo>
                <a:lnTo>
                  <a:pt x="3182" y="839"/>
                </a:lnTo>
                <a:lnTo>
                  <a:pt x="3176" y="839"/>
                </a:lnTo>
                <a:lnTo>
                  <a:pt x="3173" y="843"/>
                </a:lnTo>
                <a:lnTo>
                  <a:pt x="3163" y="846"/>
                </a:lnTo>
                <a:lnTo>
                  <a:pt x="3162" y="847"/>
                </a:lnTo>
                <a:lnTo>
                  <a:pt x="3163" y="851"/>
                </a:lnTo>
                <a:lnTo>
                  <a:pt x="3163" y="855"/>
                </a:lnTo>
                <a:lnTo>
                  <a:pt x="3154" y="863"/>
                </a:lnTo>
                <a:lnTo>
                  <a:pt x="3155" y="866"/>
                </a:lnTo>
                <a:lnTo>
                  <a:pt x="3158" y="864"/>
                </a:lnTo>
                <a:lnTo>
                  <a:pt x="3163" y="866"/>
                </a:lnTo>
                <a:lnTo>
                  <a:pt x="3169" y="864"/>
                </a:lnTo>
                <a:lnTo>
                  <a:pt x="3177" y="868"/>
                </a:lnTo>
                <a:lnTo>
                  <a:pt x="3174" y="869"/>
                </a:lnTo>
                <a:lnTo>
                  <a:pt x="3169" y="874"/>
                </a:lnTo>
                <a:lnTo>
                  <a:pt x="3165" y="879"/>
                </a:lnTo>
                <a:lnTo>
                  <a:pt x="3165" y="885"/>
                </a:lnTo>
                <a:lnTo>
                  <a:pt x="3159" y="889"/>
                </a:lnTo>
                <a:lnTo>
                  <a:pt x="3159" y="892"/>
                </a:lnTo>
                <a:lnTo>
                  <a:pt x="3162" y="901"/>
                </a:lnTo>
                <a:lnTo>
                  <a:pt x="3160" y="904"/>
                </a:lnTo>
                <a:lnTo>
                  <a:pt x="3160" y="898"/>
                </a:lnTo>
                <a:lnTo>
                  <a:pt x="3159" y="900"/>
                </a:lnTo>
                <a:lnTo>
                  <a:pt x="3159" y="908"/>
                </a:lnTo>
                <a:lnTo>
                  <a:pt x="3158" y="909"/>
                </a:lnTo>
                <a:lnTo>
                  <a:pt x="3159" y="913"/>
                </a:lnTo>
                <a:lnTo>
                  <a:pt x="3159" y="914"/>
                </a:lnTo>
                <a:lnTo>
                  <a:pt x="3158" y="914"/>
                </a:lnTo>
                <a:lnTo>
                  <a:pt x="3158" y="917"/>
                </a:lnTo>
                <a:lnTo>
                  <a:pt x="3157" y="917"/>
                </a:lnTo>
                <a:lnTo>
                  <a:pt x="3157" y="918"/>
                </a:lnTo>
                <a:lnTo>
                  <a:pt x="3159" y="921"/>
                </a:lnTo>
                <a:lnTo>
                  <a:pt x="3152" y="923"/>
                </a:lnTo>
                <a:lnTo>
                  <a:pt x="3151" y="933"/>
                </a:lnTo>
                <a:lnTo>
                  <a:pt x="3162" y="934"/>
                </a:lnTo>
                <a:lnTo>
                  <a:pt x="3162" y="928"/>
                </a:lnTo>
                <a:lnTo>
                  <a:pt x="3160" y="928"/>
                </a:lnTo>
                <a:lnTo>
                  <a:pt x="3155" y="928"/>
                </a:lnTo>
                <a:lnTo>
                  <a:pt x="3160" y="923"/>
                </a:lnTo>
                <a:lnTo>
                  <a:pt x="3163" y="922"/>
                </a:lnTo>
                <a:lnTo>
                  <a:pt x="3165" y="917"/>
                </a:lnTo>
                <a:lnTo>
                  <a:pt x="3169" y="913"/>
                </a:lnTo>
                <a:lnTo>
                  <a:pt x="3169" y="909"/>
                </a:lnTo>
                <a:lnTo>
                  <a:pt x="3170" y="908"/>
                </a:lnTo>
                <a:lnTo>
                  <a:pt x="3179" y="908"/>
                </a:lnTo>
                <a:lnTo>
                  <a:pt x="3180" y="905"/>
                </a:lnTo>
                <a:lnTo>
                  <a:pt x="3179" y="905"/>
                </a:lnTo>
                <a:lnTo>
                  <a:pt x="3184" y="905"/>
                </a:lnTo>
                <a:lnTo>
                  <a:pt x="3187" y="900"/>
                </a:lnTo>
                <a:lnTo>
                  <a:pt x="3194" y="892"/>
                </a:lnTo>
                <a:lnTo>
                  <a:pt x="3195" y="891"/>
                </a:lnTo>
                <a:lnTo>
                  <a:pt x="3194" y="888"/>
                </a:lnTo>
                <a:lnTo>
                  <a:pt x="3194" y="885"/>
                </a:lnTo>
                <a:lnTo>
                  <a:pt x="3190" y="881"/>
                </a:lnTo>
                <a:lnTo>
                  <a:pt x="3194" y="877"/>
                </a:lnTo>
                <a:lnTo>
                  <a:pt x="3195" y="877"/>
                </a:lnTo>
                <a:lnTo>
                  <a:pt x="3198" y="874"/>
                </a:lnTo>
                <a:lnTo>
                  <a:pt x="3199" y="867"/>
                </a:lnTo>
                <a:lnTo>
                  <a:pt x="3199" y="860"/>
                </a:lnTo>
                <a:lnTo>
                  <a:pt x="3195" y="852"/>
                </a:lnTo>
                <a:lnTo>
                  <a:pt x="3197" y="849"/>
                </a:lnTo>
                <a:lnTo>
                  <a:pt x="3195" y="847"/>
                </a:lnTo>
                <a:lnTo>
                  <a:pt x="3201" y="846"/>
                </a:lnTo>
                <a:lnTo>
                  <a:pt x="3204" y="830"/>
                </a:lnTo>
                <a:lnTo>
                  <a:pt x="3204" y="821"/>
                </a:lnTo>
                <a:lnTo>
                  <a:pt x="3202" y="821"/>
                </a:lnTo>
                <a:lnTo>
                  <a:pt x="3204" y="819"/>
                </a:lnTo>
                <a:lnTo>
                  <a:pt x="3204" y="817"/>
                </a:lnTo>
                <a:lnTo>
                  <a:pt x="3198" y="814"/>
                </a:lnTo>
                <a:lnTo>
                  <a:pt x="3204" y="811"/>
                </a:lnTo>
                <a:lnTo>
                  <a:pt x="3207" y="807"/>
                </a:lnTo>
                <a:lnTo>
                  <a:pt x="3219" y="805"/>
                </a:lnTo>
                <a:lnTo>
                  <a:pt x="3224" y="801"/>
                </a:lnTo>
                <a:lnTo>
                  <a:pt x="3240" y="798"/>
                </a:lnTo>
                <a:lnTo>
                  <a:pt x="3245" y="798"/>
                </a:lnTo>
                <a:lnTo>
                  <a:pt x="3249" y="794"/>
                </a:lnTo>
                <a:lnTo>
                  <a:pt x="3255" y="792"/>
                </a:lnTo>
                <a:lnTo>
                  <a:pt x="3257" y="789"/>
                </a:lnTo>
                <a:lnTo>
                  <a:pt x="3258" y="789"/>
                </a:lnTo>
                <a:lnTo>
                  <a:pt x="3263" y="785"/>
                </a:lnTo>
                <a:lnTo>
                  <a:pt x="3263" y="781"/>
                </a:lnTo>
                <a:lnTo>
                  <a:pt x="3274" y="784"/>
                </a:lnTo>
                <a:lnTo>
                  <a:pt x="3276" y="781"/>
                </a:lnTo>
                <a:lnTo>
                  <a:pt x="3280" y="780"/>
                </a:lnTo>
                <a:lnTo>
                  <a:pt x="3287" y="781"/>
                </a:lnTo>
                <a:lnTo>
                  <a:pt x="3294" y="780"/>
                </a:lnTo>
                <a:lnTo>
                  <a:pt x="3299" y="779"/>
                </a:lnTo>
                <a:lnTo>
                  <a:pt x="3301" y="776"/>
                </a:lnTo>
                <a:lnTo>
                  <a:pt x="3302" y="774"/>
                </a:lnTo>
                <a:lnTo>
                  <a:pt x="3305" y="776"/>
                </a:lnTo>
                <a:lnTo>
                  <a:pt x="3307" y="781"/>
                </a:lnTo>
                <a:lnTo>
                  <a:pt x="3312" y="789"/>
                </a:lnTo>
                <a:lnTo>
                  <a:pt x="3319" y="806"/>
                </a:lnTo>
                <a:lnTo>
                  <a:pt x="3321" y="814"/>
                </a:lnTo>
                <a:lnTo>
                  <a:pt x="3321" y="834"/>
                </a:lnTo>
                <a:lnTo>
                  <a:pt x="3323" y="836"/>
                </a:lnTo>
                <a:lnTo>
                  <a:pt x="3324" y="846"/>
                </a:lnTo>
                <a:lnTo>
                  <a:pt x="3322" y="852"/>
                </a:lnTo>
                <a:lnTo>
                  <a:pt x="3318" y="855"/>
                </a:lnTo>
                <a:lnTo>
                  <a:pt x="3319" y="863"/>
                </a:lnTo>
                <a:lnTo>
                  <a:pt x="3315" y="864"/>
                </a:lnTo>
                <a:lnTo>
                  <a:pt x="3307" y="863"/>
                </a:lnTo>
                <a:lnTo>
                  <a:pt x="3305" y="866"/>
                </a:lnTo>
                <a:lnTo>
                  <a:pt x="3298" y="863"/>
                </a:lnTo>
                <a:lnTo>
                  <a:pt x="3286" y="868"/>
                </a:lnTo>
                <a:lnTo>
                  <a:pt x="3283" y="873"/>
                </a:lnTo>
                <a:lnTo>
                  <a:pt x="3272" y="879"/>
                </a:lnTo>
                <a:lnTo>
                  <a:pt x="3272" y="883"/>
                </a:lnTo>
                <a:lnTo>
                  <a:pt x="3269" y="883"/>
                </a:lnTo>
                <a:lnTo>
                  <a:pt x="3268" y="888"/>
                </a:lnTo>
                <a:lnTo>
                  <a:pt x="3266" y="892"/>
                </a:lnTo>
                <a:lnTo>
                  <a:pt x="3270" y="896"/>
                </a:lnTo>
                <a:lnTo>
                  <a:pt x="3277" y="897"/>
                </a:lnTo>
                <a:lnTo>
                  <a:pt x="3282" y="894"/>
                </a:lnTo>
                <a:lnTo>
                  <a:pt x="3286" y="896"/>
                </a:lnTo>
                <a:lnTo>
                  <a:pt x="3290" y="896"/>
                </a:lnTo>
                <a:lnTo>
                  <a:pt x="3293" y="885"/>
                </a:lnTo>
                <a:lnTo>
                  <a:pt x="3290" y="879"/>
                </a:lnTo>
                <a:lnTo>
                  <a:pt x="3294" y="879"/>
                </a:lnTo>
                <a:lnTo>
                  <a:pt x="3298" y="877"/>
                </a:lnTo>
                <a:lnTo>
                  <a:pt x="3299" y="873"/>
                </a:lnTo>
                <a:lnTo>
                  <a:pt x="3299" y="869"/>
                </a:lnTo>
                <a:lnTo>
                  <a:pt x="3299" y="868"/>
                </a:lnTo>
                <a:lnTo>
                  <a:pt x="3304" y="869"/>
                </a:lnTo>
                <a:lnTo>
                  <a:pt x="3307" y="868"/>
                </a:lnTo>
                <a:lnTo>
                  <a:pt x="3309" y="869"/>
                </a:lnTo>
                <a:lnTo>
                  <a:pt x="3312" y="869"/>
                </a:lnTo>
                <a:lnTo>
                  <a:pt x="3316" y="869"/>
                </a:lnTo>
                <a:lnTo>
                  <a:pt x="3319" y="874"/>
                </a:lnTo>
                <a:lnTo>
                  <a:pt x="3321" y="883"/>
                </a:lnTo>
                <a:lnTo>
                  <a:pt x="3323" y="881"/>
                </a:lnTo>
                <a:lnTo>
                  <a:pt x="3327" y="879"/>
                </a:lnTo>
                <a:lnTo>
                  <a:pt x="3330" y="879"/>
                </a:lnTo>
                <a:lnTo>
                  <a:pt x="3330" y="881"/>
                </a:lnTo>
                <a:lnTo>
                  <a:pt x="3330" y="883"/>
                </a:lnTo>
                <a:lnTo>
                  <a:pt x="3323" y="892"/>
                </a:lnTo>
                <a:close/>
                <a:moveTo>
                  <a:pt x="2614" y="2304"/>
                </a:moveTo>
                <a:lnTo>
                  <a:pt x="2589" y="2337"/>
                </a:lnTo>
                <a:lnTo>
                  <a:pt x="2582" y="2348"/>
                </a:lnTo>
                <a:lnTo>
                  <a:pt x="2581" y="2357"/>
                </a:lnTo>
                <a:lnTo>
                  <a:pt x="2578" y="2364"/>
                </a:lnTo>
                <a:lnTo>
                  <a:pt x="2579" y="2368"/>
                </a:lnTo>
                <a:lnTo>
                  <a:pt x="2582" y="2368"/>
                </a:lnTo>
                <a:lnTo>
                  <a:pt x="2584" y="2368"/>
                </a:lnTo>
                <a:lnTo>
                  <a:pt x="2588" y="2374"/>
                </a:lnTo>
                <a:lnTo>
                  <a:pt x="2588" y="2376"/>
                </a:lnTo>
                <a:lnTo>
                  <a:pt x="2584" y="2382"/>
                </a:lnTo>
                <a:lnTo>
                  <a:pt x="2572" y="2393"/>
                </a:lnTo>
                <a:lnTo>
                  <a:pt x="2561" y="2390"/>
                </a:lnTo>
                <a:lnTo>
                  <a:pt x="2540" y="2394"/>
                </a:lnTo>
                <a:lnTo>
                  <a:pt x="2539" y="2393"/>
                </a:lnTo>
                <a:lnTo>
                  <a:pt x="2540" y="2390"/>
                </a:lnTo>
                <a:lnTo>
                  <a:pt x="2539" y="2386"/>
                </a:lnTo>
                <a:lnTo>
                  <a:pt x="2526" y="2379"/>
                </a:lnTo>
                <a:lnTo>
                  <a:pt x="2526" y="2376"/>
                </a:lnTo>
                <a:lnTo>
                  <a:pt x="2521" y="2364"/>
                </a:lnTo>
                <a:lnTo>
                  <a:pt x="2510" y="2349"/>
                </a:lnTo>
                <a:lnTo>
                  <a:pt x="2505" y="2345"/>
                </a:lnTo>
                <a:lnTo>
                  <a:pt x="2494" y="2340"/>
                </a:lnTo>
                <a:lnTo>
                  <a:pt x="2493" y="2335"/>
                </a:lnTo>
                <a:lnTo>
                  <a:pt x="2493" y="2327"/>
                </a:lnTo>
                <a:lnTo>
                  <a:pt x="2494" y="2323"/>
                </a:lnTo>
                <a:lnTo>
                  <a:pt x="2501" y="2316"/>
                </a:lnTo>
                <a:lnTo>
                  <a:pt x="2504" y="2303"/>
                </a:lnTo>
                <a:lnTo>
                  <a:pt x="2505" y="2303"/>
                </a:lnTo>
                <a:lnTo>
                  <a:pt x="2507" y="2304"/>
                </a:lnTo>
                <a:lnTo>
                  <a:pt x="2508" y="2303"/>
                </a:lnTo>
                <a:lnTo>
                  <a:pt x="2516" y="2290"/>
                </a:lnTo>
                <a:lnTo>
                  <a:pt x="2519" y="2286"/>
                </a:lnTo>
                <a:lnTo>
                  <a:pt x="2525" y="2286"/>
                </a:lnTo>
                <a:lnTo>
                  <a:pt x="2532" y="2282"/>
                </a:lnTo>
                <a:lnTo>
                  <a:pt x="2535" y="2282"/>
                </a:lnTo>
                <a:lnTo>
                  <a:pt x="2539" y="2282"/>
                </a:lnTo>
                <a:lnTo>
                  <a:pt x="2560" y="2274"/>
                </a:lnTo>
                <a:lnTo>
                  <a:pt x="2563" y="2274"/>
                </a:lnTo>
                <a:lnTo>
                  <a:pt x="2563" y="2277"/>
                </a:lnTo>
                <a:lnTo>
                  <a:pt x="2560" y="2278"/>
                </a:lnTo>
                <a:lnTo>
                  <a:pt x="2560" y="2282"/>
                </a:lnTo>
                <a:lnTo>
                  <a:pt x="2560" y="2285"/>
                </a:lnTo>
                <a:lnTo>
                  <a:pt x="2560" y="2289"/>
                </a:lnTo>
                <a:lnTo>
                  <a:pt x="2546" y="2297"/>
                </a:lnTo>
                <a:lnTo>
                  <a:pt x="2542" y="2300"/>
                </a:lnTo>
                <a:lnTo>
                  <a:pt x="2539" y="2300"/>
                </a:lnTo>
                <a:lnTo>
                  <a:pt x="2538" y="2304"/>
                </a:lnTo>
                <a:lnTo>
                  <a:pt x="2540" y="2308"/>
                </a:lnTo>
                <a:lnTo>
                  <a:pt x="2539" y="2311"/>
                </a:lnTo>
                <a:lnTo>
                  <a:pt x="2540" y="2312"/>
                </a:lnTo>
                <a:lnTo>
                  <a:pt x="2542" y="2312"/>
                </a:lnTo>
                <a:lnTo>
                  <a:pt x="2543" y="2311"/>
                </a:lnTo>
                <a:lnTo>
                  <a:pt x="2542" y="2304"/>
                </a:lnTo>
                <a:lnTo>
                  <a:pt x="2546" y="2300"/>
                </a:lnTo>
                <a:lnTo>
                  <a:pt x="2557" y="2295"/>
                </a:lnTo>
                <a:lnTo>
                  <a:pt x="2564" y="2289"/>
                </a:lnTo>
                <a:lnTo>
                  <a:pt x="2568" y="2289"/>
                </a:lnTo>
                <a:lnTo>
                  <a:pt x="2570" y="2289"/>
                </a:lnTo>
                <a:lnTo>
                  <a:pt x="2565" y="2285"/>
                </a:lnTo>
                <a:lnTo>
                  <a:pt x="2567" y="2278"/>
                </a:lnTo>
                <a:lnTo>
                  <a:pt x="2574" y="2274"/>
                </a:lnTo>
                <a:lnTo>
                  <a:pt x="2584" y="2274"/>
                </a:lnTo>
                <a:lnTo>
                  <a:pt x="2584" y="2277"/>
                </a:lnTo>
                <a:lnTo>
                  <a:pt x="2588" y="2282"/>
                </a:lnTo>
                <a:lnTo>
                  <a:pt x="2589" y="2286"/>
                </a:lnTo>
                <a:lnTo>
                  <a:pt x="2592" y="2286"/>
                </a:lnTo>
                <a:lnTo>
                  <a:pt x="2593" y="2289"/>
                </a:lnTo>
                <a:lnTo>
                  <a:pt x="2592" y="2293"/>
                </a:lnTo>
                <a:lnTo>
                  <a:pt x="2586" y="2297"/>
                </a:lnTo>
                <a:lnTo>
                  <a:pt x="2585" y="2300"/>
                </a:lnTo>
                <a:lnTo>
                  <a:pt x="2576" y="2307"/>
                </a:lnTo>
                <a:lnTo>
                  <a:pt x="2572" y="2311"/>
                </a:lnTo>
                <a:lnTo>
                  <a:pt x="2574" y="2312"/>
                </a:lnTo>
                <a:lnTo>
                  <a:pt x="2575" y="2312"/>
                </a:lnTo>
                <a:lnTo>
                  <a:pt x="2571" y="2316"/>
                </a:lnTo>
                <a:lnTo>
                  <a:pt x="2568" y="2319"/>
                </a:lnTo>
                <a:lnTo>
                  <a:pt x="2570" y="2319"/>
                </a:lnTo>
                <a:lnTo>
                  <a:pt x="2570" y="2318"/>
                </a:lnTo>
                <a:lnTo>
                  <a:pt x="2576" y="2316"/>
                </a:lnTo>
                <a:lnTo>
                  <a:pt x="2576" y="2312"/>
                </a:lnTo>
                <a:lnTo>
                  <a:pt x="2579" y="2308"/>
                </a:lnTo>
                <a:lnTo>
                  <a:pt x="2586" y="2308"/>
                </a:lnTo>
                <a:lnTo>
                  <a:pt x="2595" y="2300"/>
                </a:lnTo>
                <a:lnTo>
                  <a:pt x="2600" y="2297"/>
                </a:lnTo>
                <a:lnTo>
                  <a:pt x="2596" y="2304"/>
                </a:lnTo>
                <a:lnTo>
                  <a:pt x="2595" y="2308"/>
                </a:lnTo>
                <a:lnTo>
                  <a:pt x="2598" y="2312"/>
                </a:lnTo>
                <a:lnTo>
                  <a:pt x="2596" y="2312"/>
                </a:lnTo>
                <a:lnTo>
                  <a:pt x="2589" y="2312"/>
                </a:lnTo>
                <a:lnTo>
                  <a:pt x="2585" y="2316"/>
                </a:lnTo>
                <a:lnTo>
                  <a:pt x="2585" y="2323"/>
                </a:lnTo>
                <a:lnTo>
                  <a:pt x="2588" y="2327"/>
                </a:lnTo>
                <a:lnTo>
                  <a:pt x="2588" y="2331"/>
                </a:lnTo>
                <a:lnTo>
                  <a:pt x="2585" y="2335"/>
                </a:lnTo>
                <a:lnTo>
                  <a:pt x="2589" y="2331"/>
                </a:lnTo>
                <a:lnTo>
                  <a:pt x="2590" y="2327"/>
                </a:lnTo>
                <a:lnTo>
                  <a:pt x="2586" y="2319"/>
                </a:lnTo>
                <a:lnTo>
                  <a:pt x="2586" y="2318"/>
                </a:lnTo>
                <a:lnTo>
                  <a:pt x="2589" y="2316"/>
                </a:lnTo>
                <a:lnTo>
                  <a:pt x="2598" y="2318"/>
                </a:lnTo>
                <a:lnTo>
                  <a:pt x="2601" y="2316"/>
                </a:lnTo>
                <a:lnTo>
                  <a:pt x="2604" y="2312"/>
                </a:lnTo>
                <a:lnTo>
                  <a:pt x="2607" y="2299"/>
                </a:lnTo>
                <a:lnTo>
                  <a:pt x="2614" y="2295"/>
                </a:lnTo>
                <a:lnTo>
                  <a:pt x="2617" y="2295"/>
                </a:lnTo>
                <a:lnTo>
                  <a:pt x="2617" y="2299"/>
                </a:lnTo>
                <a:lnTo>
                  <a:pt x="2614" y="2304"/>
                </a:lnTo>
                <a:close/>
                <a:moveTo>
                  <a:pt x="2499" y="2300"/>
                </a:moveTo>
                <a:lnTo>
                  <a:pt x="2500" y="2304"/>
                </a:lnTo>
                <a:lnTo>
                  <a:pt x="2497" y="2312"/>
                </a:lnTo>
                <a:lnTo>
                  <a:pt x="2491" y="2322"/>
                </a:lnTo>
                <a:lnTo>
                  <a:pt x="2490" y="2327"/>
                </a:lnTo>
                <a:lnTo>
                  <a:pt x="2491" y="2333"/>
                </a:lnTo>
                <a:lnTo>
                  <a:pt x="2490" y="2333"/>
                </a:lnTo>
                <a:lnTo>
                  <a:pt x="2489" y="2327"/>
                </a:lnTo>
                <a:lnTo>
                  <a:pt x="2486" y="2323"/>
                </a:lnTo>
                <a:lnTo>
                  <a:pt x="2486" y="2316"/>
                </a:lnTo>
                <a:lnTo>
                  <a:pt x="2482" y="2308"/>
                </a:lnTo>
                <a:lnTo>
                  <a:pt x="2483" y="2304"/>
                </a:lnTo>
                <a:lnTo>
                  <a:pt x="2496" y="2299"/>
                </a:lnTo>
                <a:lnTo>
                  <a:pt x="2499" y="2300"/>
                </a:lnTo>
                <a:close/>
                <a:moveTo>
                  <a:pt x="3322" y="1128"/>
                </a:moveTo>
                <a:lnTo>
                  <a:pt x="3323" y="1128"/>
                </a:lnTo>
                <a:lnTo>
                  <a:pt x="3322" y="1137"/>
                </a:lnTo>
                <a:lnTo>
                  <a:pt x="3316" y="1145"/>
                </a:lnTo>
                <a:lnTo>
                  <a:pt x="3311" y="1149"/>
                </a:lnTo>
                <a:lnTo>
                  <a:pt x="3313" y="1141"/>
                </a:lnTo>
                <a:lnTo>
                  <a:pt x="3315" y="1141"/>
                </a:lnTo>
                <a:lnTo>
                  <a:pt x="3318" y="1140"/>
                </a:lnTo>
                <a:lnTo>
                  <a:pt x="3319" y="1134"/>
                </a:lnTo>
                <a:lnTo>
                  <a:pt x="3315" y="1135"/>
                </a:lnTo>
                <a:lnTo>
                  <a:pt x="3316" y="1133"/>
                </a:lnTo>
                <a:lnTo>
                  <a:pt x="3308" y="1128"/>
                </a:lnTo>
                <a:lnTo>
                  <a:pt x="3313" y="1132"/>
                </a:lnTo>
                <a:lnTo>
                  <a:pt x="3318" y="1132"/>
                </a:lnTo>
                <a:lnTo>
                  <a:pt x="3322" y="1128"/>
                </a:lnTo>
                <a:close/>
                <a:moveTo>
                  <a:pt x="3255" y="1270"/>
                </a:moveTo>
                <a:lnTo>
                  <a:pt x="3254" y="1274"/>
                </a:lnTo>
                <a:lnTo>
                  <a:pt x="3249" y="1275"/>
                </a:lnTo>
                <a:lnTo>
                  <a:pt x="3251" y="1275"/>
                </a:lnTo>
                <a:lnTo>
                  <a:pt x="3249" y="1278"/>
                </a:lnTo>
                <a:lnTo>
                  <a:pt x="3247" y="1278"/>
                </a:lnTo>
                <a:lnTo>
                  <a:pt x="3244" y="1282"/>
                </a:lnTo>
                <a:lnTo>
                  <a:pt x="3244" y="1284"/>
                </a:lnTo>
                <a:lnTo>
                  <a:pt x="3240" y="1286"/>
                </a:lnTo>
                <a:lnTo>
                  <a:pt x="3240" y="1284"/>
                </a:lnTo>
                <a:lnTo>
                  <a:pt x="3240" y="1279"/>
                </a:lnTo>
                <a:lnTo>
                  <a:pt x="3245" y="1274"/>
                </a:lnTo>
                <a:lnTo>
                  <a:pt x="3254" y="1270"/>
                </a:lnTo>
                <a:lnTo>
                  <a:pt x="3255" y="1270"/>
                </a:lnTo>
                <a:close/>
                <a:moveTo>
                  <a:pt x="3279" y="1308"/>
                </a:moveTo>
                <a:lnTo>
                  <a:pt x="3280" y="1308"/>
                </a:lnTo>
                <a:lnTo>
                  <a:pt x="3279" y="1315"/>
                </a:lnTo>
                <a:lnTo>
                  <a:pt x="3274" y="1321"/>
                </a:lnTo>
                <a:lnTo>
                  <a:pt x="3274" y="1319"/>
                </a:lnTo>
                <a:lnTo>
                  <a:pt x="3276" y="1315"/>
                </a:lnTo>
                <a:lnTo>
                  <a:pt x="3270" y="1311"/>
                </a:lnTo>
                <a:lnTo>
                  <a:pt x="3274" y="1311"/>
                </a:lnTo>
                <a:lnTo>
                  <a:pt x="3277" y="1308"/>
                </a:lnTo>
                <a:lnTo>
                  <a:pt x="3279" y="1311"/>
                </a:lnTo>
                <a:lnTo>
                  <a:pt x="3279" y="1308"/>
                </a:lnTo>
                <a:close/>
                <a:moveTo>
                  <a:pt x="3290" y="1286"/>
                </a:moveTo>
                <a:lnTo>
                  <a:pt x="3291" y="1287"/>
                </a:lnTo>
                <a:lnTo>
                  <a:pt x="3288" y="1291"/>
                </a:lnTo>
                <a:lnTo>
                  <a:pt x="3288" y="1292"/>
                </a:lnTo>
                <a:lnTo>
                  <a:pt x="3287" y="1295"/>
                </a:lnTo>
                <a:lnTo>
                  <a:pt x="3284" y="1295"/>
                </a:lnTo>
                <a:lnTo>
                  <a:pt x="3283" y="1288"/>
                </a:lnTo>
                <a:lnTo>
                  <a:pt x="3286" y="1287"/>
                </a:lnTo>
                <a:lnTo>
                  <a:pt x="3286" y="1288"/>
                </a:lnTo>
                <a:lnTo>
                  <a:pt x="3288" y="1288"/>
                </a:lnTo>
                <a:lnTo>
                  <a:pt x="3290" y="1286"/>
                </a:lnTo>
                <a:close/>
                <a:moveTo>
                  <a:pt x="3324" y="1088"/>
                </a:moveTo>
                <a:lnTo>
                  <a:pt x="3323" y="1087"/>
                </a:lnTo>
                <a:lnTo>
                  <a:pt x="3324" y="1084"/>
                </a:lnTo>
                <a:lnTo>
                  <a:pt x="3324" y="1087"/>
                </a:lnTo>
                <a:lnTo>
                  <a:pt x="3326" y="1087"/>
                </a:lnTo>
                <a:lnTo>
                  <a:pt x="3326" y="1079"/>
                </a:lnTo>
                <a:lnTo>
                  <a:pt x="3322" y="1083"/>
                </a:lnTo>
                <a:lnTo>
                  <a:pt x="3324" y="1079"/>
                </a:lnTo>
                <a:lnTo>
                  <a:pt x="3326" y="1079"/>
                </a:lnTo>
                <a:lnTo>
                  <a:pt x="3327" y="1079"/>
                </a:lnTo>
                <a:lnTo>
                  <a:pt x="3326" y="1088"/>
                </a:lnTo>
                <a:lnTo>
                  <a:pt x="3324" y="1088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131" name="Freeform 130"/>
          <p:cNvSpPr>
            <a:spLocks noEditPoints="1"/>
          </p:cNvSpPr>
          <p:nvPr/>
        </p:nvSpPr>
        <p:spPr bwMode="auto">
          <a:xfrm>
            <a:off x="6520055" y="4604536"/>
            <a:ext cx="590101" cy="1009066"/>
          </a:xfrm>
          <a:custGeom>
            <a:avLst/>
            <a:gdLst>
              <a:gd name="T0" fmla="*/ 1825 w 1964"/>
              <a:gd name="T1" fmla="*/ 2031 h 3140"/>
              <a:gd name="T2" fmla="*/ 1791 w 1964"/>
              <a:gd name="T3" fmla="*/ 2178 h 3140"/>
              <a:gd name="T4" fmla="*/ 1745 w 1964"/>
              <a:gd name="T5" fmla="*/ 2218 h 3140"/>
              <a:gd name="T6" fmla="*/ 1752 w 1964"/>
              <a:gd name="T7" fmla="*/ 2379 h 3140"/>
              <a:gd name="T8" fmla="*/ 1795 w 1964"/>
              <a:gd name="T9" fmla="*/ 2379 h 3140"/>
              <a:gd name="T10" fmla="*/ 1836 w 1964"/>
              <a:gd name="T11" fmla="*/ 2334 h 3140"/>
              <a:gd name="T12" fmla="*/ 1869 w 1964"/>
              <a:gd name="T13" fmla="*/ 2327 h 3140"/>
              <a:gd name="T14" fmla="*/ 1911 w 1964"/>
              <a:gd name="T15" fmla="*/ 2280 h 3140"/>
              <a:gd name="T16" fmla="*/ 1821 w 1964"/>
              <a:gd name="T17" fmla="*/ 2630 h 3140"/>
              <a:gd name="T18" fmla="*/ 1086 w 1964"/>
              <a:gd name="T19" fmla="*/ 3131 h 3140"/>
              <a:gd name="T20" fmla="*/ 921 w 1964"/>
              <a:gd name="T21" fmla="*/ 2834 h 3140"/>
              <a:gd name="T22" fmla="*/ 708 w 1964"/>
              <a:gd name="T23" fmla="*/ 2775 h 3140"/>
              <a:gd name="T24" fmla="*/ 619 w 1964"/>
              <a:gd name="T25" fmla="*/ 2444 h 3140"/>
              <a:gd name="T26" fmla="*/ 607 w 1964"/>
              <a:gd name="T27" fmla="*/ 2351 h 3140"/>
              <a:gd name="T28" fmla="*/ 619 w 1964"/>
              <a:gd name="T29" fmla="*/ 2289 h 3140"/>
              <a:gd name="T30" fmla="*/ 630 w 1964"/>
              <a:gd name="T31" fmla="*/ 2205 h 3140"/>
              <a:gd name="T32" fmla="*/ 608 w 1964"/>
              <a:gd name="T33" fmla="*/ 2149 h 3140"/>
              <a:gd name="T34" fmla="*/ 622 w 1964"/>
              <a:gd name="T35" fmla="*/ 2074 h 3140"/>
              <a:gd name="T36" fmla="*/ 586 w 1964"/>
              <a:gd name="T37" fmla="*/ 2026 h 3140"/>
              <a:gd name="T38" fmla="*/ 552 w 1964"/>
              <a:gd name="T39" fmla="*/ 1946 h 3140"/>
              <a:gd name="T40" fmla="*/ 574 w 1964"/>
              <a:gd name="T41" fmla="*/ 1900 h 3140"/>
              <a:gd name="T42" fmla="*/ 549 w 1964"/>
              <a:gd name="T43" fmla="*/ 1795 h 3140"/>
              <a:gd name="T44" fmla="*/ 474 w 1964"/>
              <a:gd name="T45" fmla="*/ 1712 h 3140"/>
              <a:gd name="T46" fmla="*/ 423 w 1964"/>
              <a:gd name="T47" fmla="*/ 1616 h 3140"/>
              <a:gd name="T48" fmla="*/ 274 w 1964"/>
              <a:gd name="T49" fmla="*/ 1478 h 3140"/>
              <a:gd name="T50" fmla="*/ 134 w 1964"/>
              <a:gd name="T51" fmla="*/ 1375 h 3140"/>
              <a:gd name="T52" fmla="*/ 93 w 1964"/>
              <a:gd name="T53" fmla="*/ 1269 h 3140"/>
              <a:gd name="T54" fmla="*/ 129 w 1964"/>
              <a:gd name="T55" fmla="*/ 1145 h 3140"/>
              <a:gd name="T56" fmla="*/ 170 w 1964"/>
              <a:gd name="T57" fmla="*/ 1055 h 3140"/>
              <a:gd name="T58" fmla="*/ 157 w 1964"/>
              <a:gd name="T59" fmla="*/ 921 h 3140"/>
              <a:gd name="T60" fmla="*/ 39 w 1964"/>
              <a:gd name="T61" fmla="*/ 507 h 3140"/>
              <a:gd name="T62" fmla="*/ 219 w 1964"/>
              <a:gd name="T63" fmla="*/ 397 h 3140"/>
              <a:gd name="T64" fmla="*/ 364 w 1964"/>
              <a:gd name="T65" fmla="*/ 348 h 3140"/>
              <a:gd name="T66" fmla="*/ 507 w 1964"/>
              <a:gd name="T67" fmla="*/ 344 h 3140"/>
              <a:gd name="T68" fmla="*/ 613 w 1964"/>
              <a:gd name="T69" fmla="*/ 335 h 3140"/>
              <a:gd name="T70" fmla="*/ 746 w 1964"/>
              <a:gd name="T71" fmla="*/ 272 h 3140"/>
              <a:gd name="T72" fmla="*/ 854 w 1964"/>
              <a:gd name="T73" fmla="*/ 250 h 3140"/>
              <a:gd name="T74" fmla="*/ 964 w 1964"/>
              <a:gd name="T75" fmla="*/ 263 h 3140"/>
              <a:gd name="T76" fmla="*/ 1066 w 1964"/>
              <a:gd name="T77" fmla="*/ 166 h 3140"/>
              <a:gd name="T78" fmla="*/ 1193 w 1964"/>
              <a:gd name="T79" fmla="*/ 115 h 3140"/>
              <a:gd name="T80" fmla="*/ 1331 w 1964"/>
              <a:gd name="T81" fmla="*/ 98 h 3140"/>
              <a:gd name="T82" fmla="*/ 1451 w 1964"/>
              <a:gd name="T83" fmla="*/ 28 h 3140"/>
              <a:gd name="T84" fmla="*/ 1558 w 1964"/>
              <a:gd name="T85" fmla="*/ 66 h 3140"/>
              <a:gd name="T86" fmla="*/ 1534 w 1964"/>
              <a:gd name="T87" fmla="*/ 101 h 3140"/>
              <a:gd name="T88" fmla="*/ 1494 w 1964"/>
              <a:gd name="T89" fmla="*/ 121 h 3140"/>
              <a:gd name="T90" fmla="*/ 1531 w 1964"/>
              <a:gd name="T91" fmla="*/ 144 h 3140"/>
              <a:gd name="T92" fmla="*/ 1547 w 1964"/>
              <a:gd name="T93" fmla="*/ 202 h 3140"/>
              <a:gd name="T94" fmla="*/ 1527 w 1964"/>
              <a:gd name="T95" fmla="*/ 227 h 3140"/>
              <a:gd name="T96" fmla="*/ 1541 w 1964"/>
              <a:gd name="T97" fmla="*/ 290 h 3140"/>
              <a:gd name="T98" fmla="*/ 1701 w 1964"/>
              <a:gd name="T99" fmla="*/ 551 h 3140"/>
              <a:gd name="T100" fmla="*/ 1736 w 1964"/>
              <a:gd name="T101" fmla="*/ 767 h 3140"/>
              <a:gd name="T102" fmla="*/ 1750 w 1964"/>
              <a:gd name="T103" fmla="*/ 993 h 3140"/>
              <a:gd name="T104" fmla="*/ 1767 w 1964"/>
              <a:gd name="T105" fmla="*/ 1005 h 3140"/>
              <a:gd name="T106" fmla="*/ 1814 w 1964"/>
              <a:gd name="T107" fmla="*/ 979 h 3140"/>
              <a:gd name="T108" fmla="*/ 1904 w 1964"/>
              <a:gd name="T109" fmla="*/ 1000 h 3140"/>
              <a:gd name="T110" fmla="*/ 1904 w 1964"/>
              <a:gd name="T111" fmla="*/ 1048 h 3140"/>
              <a:gd name="T112" fmla="*/ 1900 w 1964"/>
              <a:gd name="T113" fmla="*/ 1523 h 3140"/>
              <a:gd name="T114" fmla="*/ 1955 w 1964"/>
              <a:gd name="T115" fmla="*/ 1580 h 3140"/>
              <a:gd name="T116" fmla="*/ 1825 w 1964"/>
              <a:gd name="T117" fmla="*/ 625 h 3140"/>
              <a:gd name="T118" fmla="*/ 1837 w 1964"/>
              <a:gd name="T119" fmla="*/ 440 h 3140"/>
              <a:gd name="T120" fmla="*/ 1832 w 1964"/>
              <a:gd name="T121" fmla="*/ 713 h 3140"/>
              <a:gd name="T122" fmla="*/ 1823 w 1964"/>
              <a:gd name="T123" fmla="*/ 818 h 3140"/>
              <a:gd name="T124" fmla="*/ 1752 w 1964"/>
              <a:gd name="T125" fmla="*/ 539 h 314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964"/>
              <a:gd name="T190" fmla="*/ 0 h 3140"/>
              <a:gd name="T191" fmla="*/ 1964 w 1964"/>
              <a:gd name="T192" fmla="*/ 3140 h 314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964" h="3140">
                <a:moveTo>
                  <a:pt x="1962" y="1581"/>
                </a:moveTo>
                <a:lnTo>
                  <a:pt x="1964" y="1581"/>
                </a:lnTo>
                <a:lnTo>
                  <a:pt x="1961" y="1599"/>
                </a:lnTo>
                <a:lnTo>
                  <a:pt x="1957" y="1614"/>
                </a:lnTo>
                <a:lnTo>
                  <a:pt x="1940" y="1643"/>
                </a:lnTo>
                <a:lnTo>
                  <a:pt x="1914" y="1680"/>
                </a:lnTo>
                <a:lnTo>
                  <a:pt x="1907" y="1693"/>
                </a:lnTo>
                <a:lnTo>
                  <a:pt x="1899" y="1705"/>
                </a:lnTo>
                <a:lnTo>
                  <a:pt x="1889" y="1722"/>
                </a:lnTo>
                <a:lnTo>
                  <a:pt x="1885" y="1733"/>
                </a:lnTo>
                <a:lnTo>
                  <a:pt x="1878" y="1763"/>
                </a:lnTo>
                <a:lnTo>
                  <a:pt x="1869" y="1781"/>
                </a:lnTo>
                <a:lnTo>
                  <a:pt x="1869" y="1790"/>
                </a:lnTo>
                <a:lnTo>
                  <a:pt x="1872" y="1811"/>
                </a:lnTo>
                <a:lnTo>
                  <a:pt x="1872" y="1823"/>
                </a:lnTo>
                <a:lnTo>
                  <a:pt x="1874" y="1826"/>
                </a:lnTo>
                <a:lnTo>
                  <a:pt x="1876" y="1832"/>
                </a:lnTo>
                <a:lnTo>
                  <a:pt x="1878" y="1842"/>
                </a:lnTo>
                <a:lnTo>
                  <a:pt x="1875" y="1858"/>
                </a:lnTo>
                <a:lnTo>
                  <a:pt x="1876" y="1878"/>
                </a:lnTo>
                <a:lnTo>
                  <a:pt x="1875" y="1887"/>
                </a:lnTo>
                <a:lnTo>
                  <a:pt x="1871" y="1902"/>
                </a:lnTo>
                <a:lnTo>
                  <a:pt x="1871" y="1907"/>
                </a:lnTo>
                <a:lnTo>
                  <a:pt x="1858" y="1936"/>
                </a:lnTo>
                <a:lnTo>
                  <a:pt x="1841" y="1978"/>
                </a:lnTo>
                <a:lnTo>
                  <a:pt x="1839" y="1989"/>
                </a:lnTo>
                <a:lnTo>
                  <a:pt x="1839" y="1995"/>
                </a:lnTo>
                <a:lnTo>
                  <a:pt x="1836" y="2008"/>
                </a:lnTo>
                <a:lnTo>
                  <a:pt x="1829" y="2023"/>
                </a:lnTo>
                <a:lnTo>
                  <a:pt x="1825" y="2031"/>
                </a:lnTo>
                <a:lnTo>
                  <a:pt x="1821" y="2042"/>
                </a:lnTo>
                <a:lnTo>
                  <a:pt x="1819" y="2049"/>
                </a:lnTo>
                <a:lnTo>
                  <a:pt x="1821" y="2061"/>
                </a:lnTo>
                <a:lnTo>
                  <a:pt x="1818" y="2098"/>
                </a:lnTo>
                <a:lnTo>
                  <a:pt x="1818" y="2114"/>
                </a:lnTo>
                <a:lnTo>
                  <a:pt x="1816" y="2123"/>
                </a:lnTo>
                <a:lnTo>
                  <a:pt x="1818" y="2139"/>
                </a:lnTo>
                <a:lnTo>
                  <a:pt x="1821" y="2145"/>
                </a:lnTo>
                <a:lnTo>
                  <a:pt x="1825" y="2152"/>
                </a:lnTo>
                <a:lnTo>
                  <a:pt x="1827" y="2163"/>
                </a:lnTo>
                <a:lnTo>
                  <a:pt x="1825" y="2177"/>
                </a:lnTo>
                <a:lnTo>
                  <a:pt x="1825" y="2181"/>
                </a:lnTo>
                <a:lnTo>
                  <a:pt x="1818" y="2188"/>
                </a:lnTo>
                <a:lnTo>
                  <a:pt x="1814" y="2199"/>
                </a:lnTo>
                <a:lnTo>
                  <a:pt x="1811" y="2219"/>
                </a:lnTo>
                <a:lnTo>
                  <a:pt x="1807" y="2230"/>
                </a:lnTo>
                <a:lnTo>
                  <a:pt x="1802" y="2235"/>
                </a:lnTo>
                <a:lnTo>
                  <a:pt x="1800" y="2236"/>
                </a:lnTo>
                <a:lnTo>
                  <a:pt x="1797" y="2235"/>
                </a:lnTo>
                <a:lnTo>
                  <a:pt x="1795" y="2232"/>
                </a:lnTo>
                <a:lnTo>
                  <a:pt x="1797" y="2231"/>
                </a:lnTo>
                <a:lnTo>
                  <a:pt x="1801" y="2231"/>
                </a:lnTo>
                <a:lnTo>
                  <a:pt x="1797" y="2228"/>
                </a:lnTo>
                <a:lnTo>
                  <a:pt x="1795" y="2223"/>
                </a:lnTo>
                <a:lnTo>
                  <a:pt x="1797" y="2197"/>
                </a:lnTo>
                <a:lnTo>
                  <a:pt x="1793" y="2188"/>
                </a:lnTo>
                <a:lnTo>
                  <a:pt x="1797" y="2185"/>
                </a:lnTo>
                <a:lnTo>
                  <a:pt x="1797" y="2182"/>
                </a:lnTo>
                <a:lnTo>
                  <a:pt x="1791" y="2177"/>
                </a:lnTo>
                <a:lnTo>
                  <a:pt x="1791" y="2178"/>
                </a:lnTo>
                <a:lnTo>
                  <a:pt x="1795" y="2182"/>
                </a:lnTo>
                <a:lnTo>
                  <a:pt x="1795" y="2183"/>
                </a:lnTo>
                <a:lnTo>
                  <a:pt x="1787" y="2185"/>
                </a:lnTo>
                <a:lnTo>
                  <a:pt x="1783" y="2183"/>
                </a:lnTo>
                <a:lnTo>
                  <a:pt x="1781" y="2183"/>
                </a:lnTo>
                <a:lnTo>
                  <a:pt x="1780" y="2182"/>
                </a:lnTo>
                <a:lnTo>
                  <a:pt x="1775" y="2183"/>
                </a:lnTo>
                <a:lnTo>
                  <a:pt x="1772" y="2182"/>
                </a:lnTo>
                <a:lnTo>
                  <a:pt x="1769" y="2180"/>
                </a:lnTo>
                <a:lnTo>
                  <a:pt x="1770" y="2183"/>
                </a:lnTo>
                <a:lnTo>
                  <a:pt x="1769" y="2185"/>
                </a:lnTo>
                <a:lnTo>
                  <a:pt x="1766" y="2185"/>
                </a:lnTo>
                <a:lnTo>
                  <a:pt x="1762" y="2183"/>
                </a:lnTo>
                <a:lnTo>
                  <a:pt x="1761" y="2183"/>
                </a:lnTo>
                <a:lnTo>
                  <a:pt x="1761" y="2185"/>
                </a:lnTo>
                <a:lnTo>
                  <a:pt x="1759" y="2185"/>
                </a:lnTo>
                <a:lnTo>
                  <a:pt x="1759" y="2188"/>
                </a:lnTo>
                <a:lnTo>
                  <a:pt x="1761" y="2191"/>
                </a:lnTo>
                <a:lnTo>
                  <a:pt x="1759" y="2194"/>
                </a:lnTo>
                <a:lnTo>
                  <a:pt x="1754" y="2194"/>
                </a:lnTo>
                <a:lnTo>
                  <a:pt x="1751" y="2191"/>
                </a:lnTo>
                <a:lnTo>
                  <a:pt x="1750" y="2191"/>
                </a:lnTo>
                <a:lnTo>
                  <a:pt x="1747" y="2191"/>
                </a:lnTo>
                <a:lnTo>
                  <a:pt x="1747" y="2194"/>
                </a:lnTo>
                <a:lnTo>
                  <a:pt x="1750" y="2195"/>
                </a:lnTo>
                <a:lnTo>
                  <a:pt x="1750" y="2202"/>
                </a:lnTo>
                <a:lnTo>
                  <a:pt x="1752" y="2206"/>
                </a:lnTo>
                <a:lnTo>
                  <a:pt x="1752" y="2208"/>
                </a:lnTo>
                <a:lnTo>
                  <a:pt x="1750" y="2211"/>
                </a:lnTo>
                <a:lnTo>
                  <a:pt x="1745" y="2218"/>
                </a:lnTo>
                <a:lnTo>
                  <a:pt x="1748" y="2216"/>
                </a:lnTo>
                <a:lnTo>
                  <a:pt x="1755" y="2207"/>
                </a:lnTo>
                <a:lnTo>
                  <a:pt x="1755" y="2199"/>
                </a:lnTo>
                <a:lnTo>
                  <a:pt x="1762" y="2201"/>
                </a:lnTo>
                <a:lnTo>
                  <a:pt x="1767" y="2197"/>
                </a:lnTo>
                <a:lnTo>
                  <a:pt x="1776" y="2195"/>
                </a:lnTo>
                <a:lnTo>
                  <a:pt x="1777" y="2197"/>
                </a:lnTo>
                <a:lnTo>
                  <a:pt x="1781" y="2203"/>
                </a:lnTo>
                <a:lnTo>
                  <a:pt x="1773" y="2226"/>
                </a:lnTo>
                <a:lnTo>
                  <a:pt x="1773" y="2236"/>
                </a:lnTo>
                <a:lnTo>
                  <a:pt x="1769" y="2245"/>
                </a:lnTo>
                <a:lnTo>
                  <a:pt x="1772" y="2261"/>
                </a:lnTo>
                <a:lnTo>
                  <a:pt x="1770" y="2269"/>
                </a:lnTo>
                <a:lnTo>
                  <a:pt x="1767" y="2276"/>
                </a:lnTo>
                <a:lnTo>
                  <a:pt x="1767" y="2280"/>
                </a:lnTo>
                <a:lnTo>
                  <a:pt x="1762" y="2285"/>
                </a:lnTo>
                <a:lnTo>
                  <a:pt x="1759" y="2293"/>
                </a:lnTo>
                <a:lnTo>
                  <a:pt x="1759" y="2303"/>
                </a:lnTo>
                <a:lnTo>
                  <a:pt x="1762" y="2313"/>
                </a:lnTo>
                <a:lnTo>
                  <a:pt x="1759" y="2315"/>
                </a:lnTo>
                <a:lnTo>
                  <a:pt x="1761" y="2319"/>
                </a:lnTo>
                <a:lnTo>
                  <a:pt x="1759" y="2325"/>
                </a:lnTo>
                <a:lnTo>
                  <a:pt x="1761" y="2338"/>
                </a:lnTo>
                <a:lnTo>
                  <a:pt x="1751" y="2350"/>
                </a:lnTo>
                <a:lnTo>
                  <a:pt x="1750" y="2356"/>
                </a:lnTo>
                <a:lnTo>
                  <a:pt x="1752" y="2368"/>
                </a:lnTo>
                <a:lnTo>
                  <a:pt x="1756" y="2373"/>
                </a:lnTo>
                <a:lnTo>
                  <a:pt x="1754" y="2375"/>
                </a:lnTo>
                <a:lnTo>
                  <a:pt x="1754" y="2379"/>
                </a:lnTo>
                <a:lnTo>
                  <a:pt x="1752" y="2379"/>
                </a:lnTo>
                <a:lnTo>
                  <a:pt x="1752" y="2381"/>
                </a:lnTo>
                <a:lnTo>
                  <a:pt x="1751" y="2387"/>
                </a:lnTo>
                <a:lnTo>
                  <a:pt x="1747" y="2390"/>
                </a:lnTo>
                <a:lnTo>
                  <a:pt x="1748" y="2400"/>
                </a:lnTo>
                <a:lnTo>
                  <a:pt x="1742" y="2401"/>
                </a:lnTo>
                <a:lnTo>
                  <a:pt x="1739" y="2409"/>
                </a:lnTo>
                <a:lnTo>
                  <a:pt x="1739" y="2413"/>
                </a:lnTo>
                <a:lnTo>
                  <a:pt x="1745" y="2427"/>
                </a:lnTo>
                <a:lnTo>
                  <a:pt x="1747" y="2432"/>
                </a:lnTo>
                <a:lnTo>
                  <a:pt x="1745" y="2435"/>
                </a:lnTo>
                <a:lnTo>
                  <a:pt x="1747" y="2438"/>
                </a:lnTo>
                <a:lnTo>
                  <a:pt x="1744" y="2441"/>
                </a:lnTo>
                <a:lnTo>
                  <a:pt x="1742" y="2450"/>
                </a:lnTo>
                <a:lnTo>
                  <a:pt x="1747" y="2446"/>
                </a:lnTo>
                <a:lnTo>
                  <a:pt x="1754" y="2442"/>
                </a:lnTo>
                <a:lnTo>
                  <a:pt x="1755" y="2439"/>
                </a:lnTo>
                <a:lnTo>
                  <a:pt x="1754" y="2437"/>
                </a:lnTo>
                <a:lnTo>
                  <a:pt x="1761" y="2435"/>
                </a:lnTo>
                <a:lnTo>
                  <a:pt x="1764" y="2432"/>
                </a:lnTo>
                <a:lnTo>
                  <a:pt x="1765" y="2426"/>
                </a:lnTo>
                <a:lnTo>
                  <a:pt x="1759" y="2421"/>
                </a:lnTo>
                <a:lnTo>
                  <a:pt x="1764" y="2419"/>
                </a:lnTo>
                <a:lnTo>
                  <a:pt x="1767" y="2412"/>
                </a:lnTo>
                <a:lnTo>
                  <a:pt x="1780" y="2405"/>
                </a:lnTo>
                <a:lnTo>
                  <a:pt x="1780" y="2401"/>
                </a:lnTo>
                <a:lnTo>
                  <a:pt x="1776" y="2396"/>
                </a:lnTo>
                <a:lnTo>
                  <a:pt x="1786" y="2392"/>
                </a:lnTo>
                <a:lnTo>
                  <a:pt x="1790" y="2388"/>
                </a:lnTo>
                <a:lnTo>
                  <a:pt x="1791" y="2382"/>
                </a:lnTo>
                <a:lnTo>
                  <a:pt x="1795" y="2379"/>
                </a:lnTo>
                <a:lnTo>
                  <a:pt x="1795" y="2371"/>
                </a:lnTo>
                <a:lnTo>
                  <a:pt x="1790" y="2359"/>
                </a:lnTo>
                <a:lnTo>
                  <a:pt x="1784" y="2352"/>
                </a:lnTo>
                <a:lnTo>
                  <a:pt x="1784" y="2344"/>
                </a:lnTo>
                <a:lnTo>
                  <a:pt x="1781" y="2337"/>
                </a:lnTo>
                <a:lnTo>
                  <a:pt x="1791" y="2337"/>
                </a:lnTo>
                <a:lnTo>
                  <a:pt x="1793" y="2340"/>
                </a:lnTo>
                <a:lnTo>
                  <a:pt x="1795" y="2340"/>
                </a:lnTo>
                <a:lnTo>
                  <a:pt x="1795" y="2338"/>
                </a:lnTo>
                <a:lnTo>
                  <a:pt x="1795" y="2327"/>
                </a:lnTo>
                <a:lnTo>
                  <a:pt x="1794" y="2326"/>
                </a:lnTo>
                <a:lnTo>
                  <a:pt x="1794" y="2330"/>
                </a:lnTo>
                <a:lnTo>
                  <a:pt x="1790" y="2329"/>
                </a:lnTo>
                <a:lnTo>
                  <a:pt x="1787" y="2319"/>
                </a:lnTo>
                <a:lnTo>
                  <a:pt x="1789" y="2318"/>
                </a:lnTo>
                <a:lnTo>
                  <a:pt x="1791" y="2318"/>
                </a:lnTo>
                <a:lnTo>
                  <a:pt x="1791" y="2315"/>
                </a:lnTo>
                <a:lnTo>
                  <a:pt x="1798" y="2314"/>
                </a:lnTo>
                <a:lnTo>
                  <a:pt x="1801" y="2315"/>
                </a:lnTo>
                <a:lnTo>
                  <a:pt x="1805" y="2320"/>
                </a:lnTo>
                <a:lnTo>
                  <a:pt x="1808" y="2320"/>
                </a:lnTo>
                <a:lnTo>
                  <a:pt x="1812" y="2326"/>
                </a:lnTo>
                <a:lnTo>
                  <a:pt x="1821" y="2330"/>
                </a:lnTo>
                <a:lnTo>
                  <a:pt x="1826" y="2338"/>
                </a:lnTo>
                <a:lnTo>
                  <a:pt x="1833" y="2340"/>
                </a:lnTo>
                <a:lnTo>
                  <a:pt x="1837" y="2340"/>
                </a:lnTo>
                <a:lnTo>
                  <a:pt x="1839" y="2337"/>
                </a:lnTo>
                <a:lnTo>
                  <a:pt x="1837" y="2334"/>
                </a:lnTo>
                <a:lnTo>
                  <a:pt x="1835" y="2334"/>
                </a:lnTo>
                <a:lnTo>
                  <a:pt x="1836" y="2334"/>
                </a:lnTo>
                <a:lnTo>
                  <a:pt x="1835" y="2332"/>
                </a:lnTo>
                <a:lnTo>
                  <a:pt x="1832" y="2334"/>
                </a:lnTo>
                <a:lnTo>
                  <a:pt x="1830" y="2334"/>
                </a:lnTo>
                <a:lnTo>
                  <a:pt x="1832" y="2330"/>
                </a:lnTo>
                <a:lnTo>
                  <a:pt x="1830" y="2330"/>
                </a:lnTo>
                <a:lnTo>
                  <a:pt x="1830" y="2327"/>
                </a:lnTo>
                <a:lnTo>
                  <a:pt x="1826" y="2326"/>
                </a:lnTo>
                <a:lnTo>
                  <a:pt x="1827" y="2325"/>
                </a:lnTo>
                <a:lnTo>
                  <a:pt x="1827" y="2322"/>
                </a:lnTo>
                <a:lnTo>
                  <a:pt x="1835" y="2327"/>
                </a:lnTo>
                <a:lnTo>
                  <a:pt x="1836" y="2330"/>
                </a:lnTo>
                <a:lnTo>
                  <a:pt x="1837" y="2330"/>
                </a:lnTo>
                <a:lnTo>
                  <a:pt x="1837" y="2334"/>
                </a:lnTo>
                <a:lnTo>
                  <a:pt x="1840" y="2337"/>
                </a:lnTo>
                <a:lnTo>
                  <a:pt x="1840" y="2344"/>
                </a:lnTo>
                <a:lnTo>
                  <a:pt x="1847" y="2348"/>
                </a:lnTo>
                <a:lnTo>
                  <a:pt x="1847" y="2351"/>
                </a:lnTo>
                <a:lnTo>
                  <a:pt x="1849" y="2351"/>
                </a:lnTo>
                <a:lnTo>
                  <a:pt x="1860" y="2352"/>
                </a:lnTo>
                <a:lnTo>
                  <a:pt x="1864" y="2351"/>
                </a:lnTo>
                <a:lnTo>
                  <a:pt x="1860" y="2339"/>
                </a:lnTo>
                <a:lnTo>
                  <a:pt x="1860" y="2334"/>
                </a:lnTo>
                <a:lnTo>
                  <a:pt x="1857" y="2332"/>
                </a:lnTo>
                <a:lnTo>
                  <a:pt x="1854" y="2334"/>
                </a:lnTo>
                <a:lnTo>
                  <a:pt x="1854" y="2330"/>
                </a:lnTo>
                <a:lnTo>
                  <a:pt x="1858" y="2327"/>
                </a:lnTo>
                <a:lnTo>
                  <a:pt x="1860" y="2326"/>
                </a:lnTo>
                <a:lnTo>
                  <a:pt x="1866" y="2327"/>
                </a:lnTo>
                <a:lnTo>
                  <a:pt x="1869" y="2326"/>
                </a:lnTo>
                <a:lnTo>
                  <a:pt x="1869" y="2327"/>
                </a:lnTo>
                <a:lnTo>
                  <a:pt x="1871" y="2327"/>
                </a:lnTo>
                <a:lnTo>
                  <a:pt x="1878" y="2326"/>
                </a:lnTo>
                <a:lnTo>
                  <a:pt x="1878" y="2325"/>
                </a:lnTo>
                <a:lnTo>
                  <a:pt x="1876" y="2323"/>
                </a:lnTo>
                <a:lnTo>
                  <a:pt x="1876" y="2315"/>
                </a:lnTo>
                <a:lnTo>
                  <a:pt x="1875" y="2310"/>
                </a:lnTo>
                <a:lnTo>
                  <a:pt x="1875" y="2305"/>
                </a:lnTo>
                <a:lnTo>
                  <a:pt x="1874" y="2301"/>
                </a:lnTo>
                <a:lnTo>
                  <a:pt x="1872" y="2301"/>
                </a:lnTo>
                <a:lnTo>
                  <a:pt x="1871" y="2302"/>
                </a:lnTo>
                <a:lnTo>
                  <a:pt x="1868" y="2293"/>
                </a:lnTo>
                <a:lnTo>
                  <a:pt x="1876" y="2284"/>
                </a:lnTo>
                <a:lnTo>
                  <a:pt x="1880" y="2284"/>
                </a:lnTo>
                <a:lnTo>
                  <a:pt x="1887" y="2281"/>
                </a:lnTo>
                <a:lnTo>
                  <a:pt x="1883" y="2281"/>
                </a:lnTo>
                <a:lnTo>
                  <a:pt x="1882" y="2280"/>
                </a:lnTo>
                <a:lnTo>
                  <a:pt x="1875" y="2277"/>
                </a:lnTo>
                <a:lnTo>
                  <a:pt x="1876" y="2275"/>
                </a:lnTo>
                <a:lnTo>
                  <a:pt x="1876" y="2273"/>
                </a:lnTo>
                <a:lnTo>
                  <a:pt x="1874" y="2272"/>
                </a:lnTo>
                <a:lnTo>
                  <a:pt x="1872" y="2275"/>
                </a:lnTo>
                <a:lnTo>
                  <a:pt x="1866" y="2272"/>
                </a:lnTo>
                <a:lnTo>
                  <a:pt x="1865" y="2273"/>
                </a:lnTo>
                <a:lnTo>
                  <a:pt x="1864" y="2269"/>
                </a:lnTo>
                <a:lnTo>
                  <a:pt x="1865" y="2269"/>
                </a:lnTo>
                <a:lnTo>
                  <a:pt x="1868" y="2270"/>
                </a:lnTo>
                <a:lnTo>
                  <a:pt x="1879" y="2270"/>
                </a:lnTo>
                <a:lnTo>
                  <a:pt x="1893" y="2278"/>
                </a:lnTo>
                <a:lnTo>
                  <a:pt x="1901" y="2278"/>
                </a:lnTo>
                <a:lnTo>
                  <a:pt x="1911" y="2280"/>
                </a:lnTo>
                <a:lnTo>
                  <a:pt x="1910" y="2307"/>
                </a:lnTo>
                <a:lnTo>
                  <a:pt x="1912" y="2322"/>
                </a:lnTo>
                <a:lnTo>
                  <a:pt x="1919" y="2329"/>
                </a:lnTo>
                <a:lnTo>
                  <a:pt x="1922" y="2329"/>
                </a:lnTo>
                <a:lnTo>
                  <a:pt x="1922" y="2338"/>
                </a:lnTo>
                <a:lnTo>
                  <a:pt x="1925" y="2340"/>
                </a:lnTo>
                <a:lnTo>
                  <a:pt x="1921" y="2348"/>
                </a:lnTo>
                <a:lnTo>
                  <a:pt x="1907" y="2369"/>
                </a:lnTo>
                <a:lnTo>
                  <a:pt x="1901" y="2384"/>
                </a:lnTo>
                <a:lnTo>
                  <a:pt x="1901" y="2387"/>
                </a:lnTo>
                <a:lnTo>
                  <a:pt x="1904" y="2387"/>
                </a:lnTo>
                <a:lnTo>
                  <a:pt x="1905" y="2388"/>
                </a:lnTo>
                <a:lnTo>
                  <a:pt x="1897" y="2400"/>
                </a:lnTo>
                <a:lnTo>
                  <a:pt x="1885" y="2427"/>
                </a:lnTo>
                <a:lnTo>
                  <a:pt x="1879" y="2446"/>
                </a:lnTo>
                <a:lnTo>
                  <a:pt x="1880" y="2455"/>
                </a:lnTo>
                <a:lnTo>
                  <a:pt x="1883" y="2462"/>
                </a:lnTo>
                <a:lnTo>
                  <a:pt x="1879" y="2472"/>
                </a:lnTo>
                <a:lnTo>
                  <a:pt x="1875" y="2493"/>
                </a:lnTo>
                <a:lnTo>
                  <a:pt x="1876" y="2503"/>
                </a:lnTo>
                <a:lnTo>
                  <a:pt x="1880" y="2505"/>
                </a:lnTo>
                <a:lnTo>
                  <a:pt x="1879" y="2521"/>
                </a:lnTo>
                <a:lnTo>
                  <a:pt x="1880" y="2528"/>
                </a:lnTo>
                <a:lnTo>
                  <a:pt x="1880" y="2534"/>
                </a:lnTo>
                <a:lnTo>
                  <a:pt x="1871" y="2550"/>
                </a:lnTo>
                <a:lnTo>
                  <a:pt x="1862" y="2571"/>
                </a:lnTo>
                <a:lnTo>
                  <a:pt x="1854" y="2584"/>
                </a:lnTo>
                <a:lnTo>
                  <a:pt x="1826" y="2613"/>
                </a:lnTo>
                <a:lnTo>
                  <a:pt x="1822" y="2621"/>
                </a:lnTo>
                <a:lnTo>
                  <a:pt x="1821" y="2630"/>
                </a:lnTo>
                <a:lnTo>
                  <a:pt x="1818" y="2634"/>
                </a:lnTo>
                <a:lnTo>
                  <a:pt x="1808" y="2648"/>
                </a:lnTo>
                <a:lnTo>
                  <a:pt x="1790" y="2671"/>
                </a:lnTo>
                <a:lnTo>
                  <a:pt x="1754" y="2712"/>
                </a:lnTo>
                <a:lnTo>
                  <a:pt x="1744" y="2724"/>
                </a:lnTo>
                <a:lnTo>
                  <a:pt x="1705" y="2770"/>
                </a:lnTo>
                <a:lnTo>
                  <a:pt x="1692" y="2787"/>
                </a:lnTo>
                <a:lnTo>
                  <a:pt x="1661" y="2816"/>
                </a:lnTo>
                <a:lnTo>
                  <a:pt x="1654" y="2827"/>
                </a:lnTo>
                <a:lnTo>
                  <a:pt x="1644" y="2840"/>
                </a:lnTo>
                <a:lnTo>
                  <a:pt x="1641" y="2846"/>
                </a:lnTo>
                <a:lnTo>
                  <a:pt x="1640" y="2857"/>
                </a:lnTo>
                <a:lnTo>
                  <a:pt x="1641" y="2865"/>
                </a:lnTo>
                <a:lnTo>
                  <a:pt x="1640" y="2869"/>
                </a:lnTo>
                <a:lnTo>
                  <a:pt x="1614" y="2891"/>
                </a:lnTo>
                <a:lnTo>
                  <a:pt x="1605" y="2903"/>
                </a:lnTo>
                <a:lnTo>
                  <a:pt x="1598" y="2914"/>
                </a:lnTo>
                <a:lnTo>
                  <a:pt x="1580" y="2928"/>
                </a:lnTo>
                <a:lnTo>
                  <a:pt x="1563" y="2937"/>
                </a:lnTo>
                <a:lnTo>
                  <a:pt x="1533" y="2956"/>
                </a:lnTo>
                <a:lnTo>
                  <a:pt x="1479" y="2983"/>
                </a:lnTo>
                <a:lnTo>
                  <a:pt x="1406" y="3011"/>
                </a:lnTo>
                <a:lnTo>
                  <a:pt x="1341" y="3043"/>
                </a:lnTo>
                <a:lnTo>
                  <a:pt x="1287" y="3062"/>
                </a:lnTo>
                <a:lnTo>
                  <a:pt x="1209" y="3087"/>
                </a:lnTo>
                <a:lnTo>
                  <a:pt x="1118" y="3117"/>
                </a:lnTo>
                <a:lnTo>
                  <a:pt x="1108" y="3119"/>
                </a:lnTo>
                <a:lnTo>
                  <a:pt x="1105" y="3123"/>
                </a:lnTo>
                <a:lnTo>
                  <a:pt x="1089" y="3128"/>
                </a:lnTo>
                <a:lnTo>
                  <a:pt x="1086" y="3131"/>
                </a:lnTo>
                <a:lnTo>
                  <a:pt x="1081" y="3134"/>
                </a:lnTo>
                <a:lnTo>
                  <a:pt x="1055" y="3140"/>
                </a:lnTo>
                <a:lnTo>
                  <a:pt x="1024" y="3095"/>
                </a:lnTo>
                <a:lnTo>
                  <a:pt x="915" y="3086"/>
                </a:lnTo>
                <a:lnTo>
                  <a:pt x="915" y="3043"/>
                </a:lnTo>
                <a:lnTo>
                  <a:pt x="914" y="3018"/>
                </a:lnTo>
                <a:lnTo>
                  <a:pt x="1035" y="2957"/>
                </a:lnTo>
                <a:lnTo>
                  <a:pt x="1006" y="2923"/>
                </a:lnTo>
                <a:lnTo>
                  <a:pt x="996" y="2915"/>
                </a:lnTo>
                <a:lnTo>
                  <a:pt x="985" y="2902"/>
                </a:lnTo>
                <a:lnTo>
                  <a:pt x="981" y="2895"/>
                </a:lnTo>
                <a:lnTo>
                  <a:pt x="976" y="2886"/>
                </a:lnTo>
                <a:lnTo>
                  <a:pt x="972" y="2882"/>
                </a:lnTo>
                <a:lnTo>
                  <a:pt x="957" y="2881"/>
                </a:lnTo>
                <a:lnTo>
                  <a:pt x="957" y="2879"/>
                </a:lnTo>
                <a:lnTo>
                  <a:pt x="1018" y="2817"/>
                </a:lnTo>
                <a:lnTo>
                  <a:pt x="1018" y="2815"/>
                </a:lnTo>
                <a:lnTo>
                  <a:pt x="1016" y="2812"/>
                </a:lnTo>
                <a:lnTo>
                  <a:pt x="1007" y="2811"/>
                </a:lnTo>
                <a:lnTo>
                  <a:pt x="993" y="2817"/>
                </a:lnTo>
                <a:lnTo>
                  <a:pt x="982" y="2817"/>
                </a:lnTo>
                <a:lnTo>
                  <a:pt x="972" y="2821"/>
                </a:lnTo>
                <a:lnTo>
                  <a:pt x="965" y="2821"/>
                </a:lnTo>
                <a:lnTo>
                  <a:pt x="953" y="2822"/>
                </a:lnTo>
                <a:lnTo>
                  <a:pt x="942" y="2828"/>
                </a:lnTo>
                <a:lnTo>
                  <a:pt x="939" y="2832"/>
                </a:lnTo>
                <a:lnTo>
                  <a:pt x="937" y="2834"/>
                </a:lnTo>
                <a:lnTo>
                  <a:pt x="926" y="2837"/>
                </a:lnTo>
                <a:lnTo>
                  <a:pt x="925" y="2837"/>
                </a:lnTo>
                <a:lnTo>
                  <a:pt x="921" y="2834"/>
                </a:lnTo>
                <a:lnTo>
                  <a:pt x="917" y="2834"/>
                </a:lnTo>
                <a:lnTo>
                  <a:pt x="910" y="2836"/>
                </a:lnTo>
                <a:lnTo>
                  <a:pt x="901" y="2841"/>
                </a:lnTo>
                <a:lnTo>
                  <a:pt x="898" y="2841"/>
                </a:lnTo>
                <a:lnTo>
                  <a:pt x="893" y="2839"/>
                </a:lnTo>
                <a:lnTo>
                  <a:pt x="889" y="2839"/>
                </a:lnTo>
                <a:lnTo>
                  <a:pt x="879" y="2845"/>
                </a:lnTo>
                <a:lnTo>
                  <a:pt x="872" y="2846"/>
                </a:lnTo>
                <a:lnTo>
                  <a:pt x="851" y="2853"/>
                </a:lnTo>
                <a:lnTo>
                  <a:pt x="848" y="2856"/>
                </a:lnTo>
                <a:lnTo>
                  <a:pt x="847" y="2861"/>
                </a:lnTo>
                <a:lnTo>
                  <a:pt x="839" y="2862"/>
                </a:lnTo>
                <a:lnTo>
                  <a:pt x="837" y="2865"/>
                </a:lnTo>
                <a:lnTo>
                  <a:pt x="833" y="2865"/>
                </a:lnTo>
                <a:lnTo>
                  <a:pt x="831" y="2862"/>
                </a:lnTo>
                <a:lnTo>
                  <a:pt x="825" y="2864"/>
                </a:lnTo>
                <a:lnTo>
                  <a:pt x="823" y="2865"/>
                </a:lnTo>
                <a:lnTo>
                  <a:pt x="815" y="2865"/>
                </a:lnTo>
                <a:lnTo>
                  <a:pt x="812" y="2869"/>
                </a:lnTo>
                <a:lnTo>
                  <a:pt x="806" y="2873"/>
                </a:lnTo>
                <a:lnTo>
                  <a:pt x="798" y="2873"/>
                </a:lnTo>
                <a:lnTo>
                  <a:pt x="794" y="2876"/>
                </a:lnTo>
                <a:lnTo>
                  <a:pt x="790" y="2879"/>
                </a:lnTo>
                <a:lnTo>
                  <a:pt x="789" y="2878"/>
                </a:lnTo>
                <a:lnTo>
                  <a:pt x="751" y="2824"/>
                </a:lnTo>
                <a:lnTo>
                  <a:pt x="735" y="2809"/>
                </a:lnTo>
                <a:lnTo>
                  <a:pt x="722" y="2794"/>
                </a:lnTo>
                <a:lnTo>
                  <a:pt x="716" y="2787"/>
                </a:lnTo>
                <a:lnTo>
                  <a:pt x="715" y="2782"/>
                </a:lnTo>
                <a:lnTo>
                  <a:pt x="708" y="2775"/>
                </a:lnTo>
                <a:lnTo>
                  <a:pt x="690" y="2749"/>
                </a:lnTo>
                <a:lnTo>
                  <a:pt x="673" y="2730"/>
                </a:lnTo>
                <a:lnTo>
                  <a:pt x="675" y="2647"/>
                </a:lnTo>
                <a:lnTo>
                  <a:pt x="673" y="2605"/>
                </a:lnTo>
                <a:lnTo>
                  <a:pt x="671" y="2519"/>
                </a:lnTo>
                <a:lnTo>
                  <a:pt x="663" y="2517"/>
                </a:lnTo>
                <a:lnTo>
                  <a:pt x="661" y="2509"/>
                </a:lnTo>
                <a:lnTo>
                  <a:pt x="652" y="2504"/>
                </a:lnTo>
                <a:lnTo>
                  <a:pt x="644" y="2508"/>
                </a:lnTo>
                <a:lnTo>
                  <a:pt x="637" y="2505"/>
                </a:lnTo>
                <a:lnTo>
                  <a:pt x="632" y="2509"/>
                </a:lnTo>
                <a:lnTo>
                  <a:pt x="626" y="2509"/>
                </a:lnTo>
                <a:lnTo>
                  <a:pt x="625" y="2506"/>
                </a:lnTo>
                <a:lnTo>
                  <a:pt x="625" y="2498"/>
                </a:lnTo>
                <a:lnTo>
                  <a:pt x="623" y="2498"/>
                </a:lnTo>
                <a:lnTo>
                  <a:pt x="623" y="2494"/>
                </a:lnTo>
                <a:lnTo>
                  <a:pt x="621" y="2493"/>
                </a:lnTo>
                <a:lnTo>
                  <a:pt x="622" y="2491"/>
                </a:lnTo>
                <a:lnTo>
                  <a:pt x="616" y="2480"/>
                </a:lnTo>
                <a:lnTo>
                  <a:pt x="615" y="2472"/>
                </a:lnTo>
                <a:lnTo>
                  <a:pt x="612" y="2468"/>
                </a:lnTo>
                <a:lnTo>
                  <a:pt x="612" y="2464"/>
                </a:lnTo>
                <a:lnTo>
                  <a:pt x="618" y="2464"/>
                </a:lnTo>
                <a:lnTo>
                  <a:pt x="621" y="2459"/>
                </a:lnTo>
                <a:lnTo>
                  <a:pt x="619" y="2455"/>
                </a:lnTo>
                <a:lnTo>
                  <a:pt x="615" y="2454"/>
                </a:lnTo>
                <a:lnTo>
                  <a:pt x="613" y="2450"/>
                </a:lnTo>
                <a:lnTo>
                  <a:pt x="612" y="2448"/>
                </a:lnTo>
                <a:lnTo>
                  <a:pt x="615" y="2446"/>
                </a:lnTo>
                <a:lnTo>
                  <a:pt x="619" y="2444"/>
                </a:lnTo>
                <a:lnTo>
                  <a:pt x="621" y="2443"/>
                </a:lnTo>
                <a:lnTo>
                  <a:pt x="625" y="2437"/>
                </a:lnTo>
                <a:lnTo>
                  <a:pt x="622" y="2434"/>
                </a:lnTo>
                <a:lnTo>
                  <a:pt x="619" y="2435"/>
                </a:lnTo>
                <a:lnTo>
                  <a:pt x="616" y="2435"/>
                </a:lnTo>
                <a:lnTo>
                  <a:pt x="613" y="2434"/>
                </a:lnTo>
                <a:lnTo>
                  <a:pt x="612" y="2430"/>
                </a:lnTo>
                <a:lnTo>
                  <a:pt x="613" y="2427"/>
                </a:lnTo>
                <a:lnTo>
                  <a:pt x="618" y="2423"/>
                </a:lnTo>
                <a:lnTo>
                  <a:pt x="621" y="2417"/>
                </a:lnTo>
                <a:lnTo>
                  <a:pt x="618" y="2409"/>
                </a:lnTo>
                <a:lnTo>
                  <a:pt x="618" y="2401"/>
                </a:lnTo>
                <a:lnTo>
                  <a:pt x="615" y="2400"/>
                </a:lnTo>
                <a:lnTo>
                  <a:pt x="611" y="2397"/>
                </a:lnTo>
                <a:lnTo>
                  <a:pt x="613" y="2394"/>
                </a:lnTo>
                <a:lnTo>
                  <a:pt x="612" y="2392"/>
                </a:lnTo>
                <a:lnTo>
                  <a:pt x="615" y="2389"/>
                </a:lnTo>
                <a:lnTo>
                  <a:pt x="616" y="2388"/>
                </a:lnTo>
                <a:lnTo>
                  <a:pt x="619" y="2384"/>
                </a:lnTo>
                <a:lnTo>
                  <a:pt x="611" y="2377"/>
                </a:lnTo>
                <a:lnTo>
                  <a:pt x="608" y="2372"/>
                </a:lnTo>
                <a:lnTo>
                  <a:pt x="611" y="2368"/>
                </a:lnTo>
                <a:lnTo>
                  <a:pt x="612" y="2364"/>
                </a:lnTo>
                <a:lnTo>
                  <a:pt x="609" y="2364"/>
                </a:lnTo>
                <a:lnTo>
                  <a:pt x="605" y="2362"/>
                </a:lnTo>
                <a:lnTo>
                  <a:pt x="605" y="2356"/>
                </a:lnTo>
                <a:lnTo>
                  <a:pt x="602" y="2352"/>
                </a:lnTo>
                <a:lnTo>
                  <a:pt x="604" y="2352"/>
                </a:lnTo>
                <a:lnTo>
                  <a:pt x="605" y="2352"/>
                </a:lnTo>
                <a:lnTo>
                  <a:pt x="607" y="2351"/>
                </a:lnTo>
                <a:lnTo>
                  <a:pt x="605" y="2350"/>
                </a:lnTo>
                <a:lnTo>
                  <a:pt x="607" y="2348"/>
                </a:lnTo>
                <a:lnTo>
                  <a:pt x="611" y="2350"/>
                </a:lnTo>
                <a:lnTo>
                  <a:pt x="611" y="2347"/>
                </a:lnTo>
                <a:lnTo>
                  <a:pt x="621" y="2344"/>
                </a:lnTo>
                <a:lnTo>
                  <a:pt x="626" y="2342"/>
                </a:lnTo>
                <a:lnTo>
                  <a:pt x="629" y="2339"/>
                </a:lnTo>
                <a:lnTo>
                  <a:pt x="627" y="2334"/>
                </a:lnTo>
                <a:lnTo>
                  <a:pt x="622" y="2334"/>
                </a:lnTo>
                <a:lnTo>
                  <a:pt x="622" y="2332"/>
                </a:lnTo>
                <a:lnTo>
                  <a:pt x="618" y="2330"/>
                </a:lnTo>
                <a:lnTo>
                  <a:pt x="616" y="2329"/>
                </a:lnTo>
                <a:lnTo>
                  <a:pt x="612" y="2329"/>
                </a:lnTo>
                <a:lnTo>
                  <a:pt x="612" y="2325"/>
                </a:lnTo>
                <a:lnTo>
                  <a:pt x="615" y="2322"/>
                </a:lnTo>
                <a:lnTo>
                  <a:pt x="612" y="2319"/>
                </a:lnTo>
                <a:lnTo>
                  <a:pt x="611" y="2319"/>
                </a:lnTo>
                <a:lnTo>
                  <a:pt x="607" y="2314"/>
                </a:lnTo>
                <a:lnTo>
                  <a:pt x="609" y="2310"/>
                </a:lnTo>
                <a:lnTo>
                  <a:pt x="611" y="2312"/>
                </a:lnTo>
                <a:lnTo>
                  <a:pt x="613" y="2310"/>
                </a:lnTo>
                <a:lnTo>
                  <a:pt x="615" y="2305"/>
                </a:lnTo>
                <a:lnTo>
                  <a:pt x="619" y="2303"/>
                </a:lnTo>
                <a:lnTo>
                  <a:pt x="618" y="2302"/>
                </a:lnTo>
                <a:lnTo>
                  <a:pt x="618" y="2300"/>
                </a:lnTo>
                <a:lnTo>
                  <a:pt x="616" y="2301"/>
                </a:lnTo>
                <a:lnTo>
                  <a:pt x="613" y="2298"/>
                </a:lnTo>
                <a:lnTo>
                  <a:pt x="616" y="2295"/>
                </a:lnTo>
                <a:lnTo>
                  <a:pt x="616" y="2293"/>
                </a:lnTo>
                <a:lnTo>
                  <a:pt x="619" y="2289"/>
                </a:lnTo>
                <a:lnTo>
                  <a:pt x="616" y="2285"/>
                </a:lnTo>
                <a:lnTo>
                  <a:pt x="618" y="2281"/>
                </a:lnTo>
                <a:lnTo>
                  <a:pt x="615" y="2278"/>
                </a:lnTo>
                <a:lnTo>
                  <a:pt x="615" y="2276"/>
                </a:lnTo>
                <a:lnTo>
                  <a:pt x="613" y="2275"/>
                </a:lnTo>
                <a:lnTo>
                  <a:pt x="612" y="2270"/>
                </a:lnTo>
                <a:lnTo>
                  <a:pt x="608" y="2269"/>
                </a:lnTo>
                <a:lnTo>
                  <a:pt x="608" y="2267"/>
                </a:lnTo>
                <a:lnTo>
                  <a:pt x="608" y="2265"/>
                </a:lnTo>
                <a:lnTo>
                  <a:pt x="615" y="2258"/>
                </a:lnTo>
                <a:lnTo>
                  <a:pt x="615" y="2253"/>
                </a:lnTo>
                <a:lnTo>
                  <a:pt x="618" y="2251"/>
                </a:lnTo>
                <a:lnTo>
                  <a:pt x="618" y="2248"/>
                </a:lnTo>
                <a:lnTo>
                  <a:pt x="616" y="2245"/>
                </a:lnTo>
                <a:lnTo>
                  <a:pt x="618" y="2240"/>
                </a:lnTo>
                <a:lnTo>
                  <a:pt x="623" y="2235"/>
                </a:lnTo>
                <a:lnTo>
                  <a:pt x="621" y="2231"/>
                </a:lnTo>
                <a:lnTo>
                  <a:pt x="622" y="2225"/>
                </a:lnTo>
                <a:lnTo>
                  <a:pt x="618" y="2222"/>
                </a:lnTo>
                <a:lnTo>
                  <a:pt x="621" y="2219"/>
                </a:lnTo>
                <a:lnTo>
                  <a:pt x="626" y="2218"/>
                </a:lnTo>
                <a:lnTo>
                  <a:pt x="626" y="2214"/>
                </a:lnTo>
                <a:lnTo>
                  <a:pt x="629" y="2213"/>
                </a:lnTo>
                <a:lnTo>
                  <a:pt x="636" y="2213"/>
                </a:lnTo>
                <a:lnTo>
                  <a:pt x="638" y="2211"/>
                </a:lnTo>
                <a:lnTo>
                  <a:pt x="638" y="2208"/>
                </a:lnTo>
                <a:lnTo>
                  <a:pt x="637" y="2207"/>
                </a:lnTo>
                <a:lnTo>
                  <a:pt x="633" y="2206"/>
                </a:lnTo>
                <a:lnTo>
                  <a:pt x="632" y="2205"/>
                </a:lnTo>
                <a:lnTo>
                  <a:pt x="630" y="2205"/>
                </a:lnTo>
                <a:lnTo>
                  <a:pt x="632" y="2202"/>
                </a:lnTo>
                <a:lnTo>
                  <a:pt x="633" y="2202"/>
                </a:lnTo>
                <a:lnTo>
                  <a:pt x="634" y="2199"/>
                </a:lnTo>
                <a:lnTo>
                  <a:pt x="634" y="2194"/>
                </a:lnTo>
                <a:lnTo>
                  <a:pt x="629" y="2195"/>
                </a:lnTo>
                <a:lnTo>
                  <a:pt x="625" y="2194"/>
                </a:lnTo>
                <a:lnTo>
                  <a:pt x="626" y="2188"/>
                </a:lnTo>
                <a:lnTo>
                  <a:pt x="627" y="2186"/>
                </a:lnTo>
                <a:lnTo>
                  <a:pt x="622" y="2180"/>
                </a:lnTo>
                <a:lnTo>
                  <a:pt x="621" y="2169"/>
                </a:lnTo>
                <a:lnTo>
                  <a:pt x="615" y="2169"/>
                </a:lnTo>
                <a:lnTo>
                  <a:pt x="609" y="2177"/>
                </a:lnTo>
                <a:lnTo>
                  <a:pt x="599" y="2181"/>
                </a:lnTo>
                <a:lnTo>
                  <a:pt x="596" y="2181"/>
                </a:lnTo>
                <a:lnTo>
                  <a:pt x="594" y="2178"/>
                </a:lnTo>
                <a:lnTo>
                  <a:pt x="587" y="2177"/>
                </a:lnTo>
                <a:lnTo>
                  <a:pt x="587" y="2174"/>
                </a:lnTo>
                <a:lnTo>
                  <a:pt x="593" y="2173"/>
                </a:lnTo>
                <a:lnTo>
                  <a:pt x="594" y="2171"/>
                </a:lnTo>
                <a:lnTo>
                  <a:pt x="597" y="2169"/>
                </a:lnTo>
                <a:lnTo>
                  <a:pt x="597" y="2165"/>
                </a:lnTo>
                <a:lnTo>
                  <a:pt x="598" y="2165"/>
                </a:lnTo>
                <a:lnTo>
                  <a:pt x="601" y="2165"/>
                </a:lnTo>
                <a:lnTo>
                  <a:pt x="604" y="2165"/>
                </a:lnTo>
                <a:lnTo>
                  <a:pt x="604" y="2161"/>
                </a:lnTo>
                <a:lnTo>
                  <a:pt x="601" y="2161"/>
                </a:lnTo>
                <a:lnTo>
                  <a:pt x="604" y="2157"/>
                </a:lnTo>
                <a:lnTo>
                  <a:pt x="602" y="2155"/>
                </a:lnTo>
                <a:lnTo>
                  <a:pt x="607" y="2152"/>
                </a:lnTo>
                <a:lnTo>
                  <a:pt x="608" y="2149"/>
                </a:lnTo>
                <a:lnTo>
                  <a:pt x="609" y="2151"/>
                </a:lnTo>
                <a:lnTo>
                  <a:pt x="611" y="2149"/>
                </a:lnTo>
                <a:lnTo>
                  <a:pt x="613" y="2146"/>
                </a:lnTo>
                <a:lnTo>
                  <a:pt x="618" y="2145"/>
                </a:lnTo>
                <a:lnTo>
                  <a:pt x="618" y="2141"/>
                </a:lnTo>
                <a:lnTo>
                  <a:pt x="621" y="2140"/>
                </a:lnTo>
                <a:lnTo>
                  <a:pt x="616" y="2136"/>
                </a:lnTo>
                <a:lnTo>
                  <a:pt x="616" y="2129"/>
                </a:lnTo>
                <a:lnTo>
                  <a:pt x="618" y="2126"/>
                </a:lnTo>
                <a:lnTo>
                  <a:pt x="625" y="2123"/>
                </a:lnTo>
                <a:lnTo>
                  <a:pt x="630" y="2116"/>
                </a:lnTo>
                <a:lnTo>
                  <a:pt x="632" y="2112"/>
                </a:lnTo>
                <a:lnTo>
                  <a:pt x="629" y="2112"/>
                </a:lnTo>
                <a:lnTo>
                  <a:pt x="622" y="2112"/>
                </a:lnTo>
                <a:lnTo>
                  <a:pt x="619" y="2108"/>
                </a:lnTo>
                <a:lnTo>
                  <a:pt x="615" y="2108"/>
                </a:lnTo>
                <a:lnTo>
                  <a:pt x="616" y="2103"/>
                </a:lnTo>
                <a:lnTo>
                  <a:pt x="622" y="2098"/>
                </a:lnTo>
                <a:lnTo>
                  <a:pt x="622" y="2096"/>
                </a:lnTo>
                <a:lnTo>
                  <a:pt x="623" y="2096"/>
                </a:lnTo>
                <a:lnTo>
                  <a:pt x="627" y="2094"/>
                </a:lnTo>
                <a:lnTo>
                  <a:pt x="630" y="2093"/>
                </a:lnTo>
                <a:lnTo>
                  <a:pt x="630" y="2089"/>
                </a:lnTo>
                <a:lnTo>
                  <a:pt x="634" y="2086"/>
                </a:lnTo>
                <a:lnTo>
                  <a:pt x="634" y="2084"/>
                </a:lnTo>
                <a:lnTo>
                  <a:pt x="633" y="2082"/>
                </a:lnTo>
                <a:lnTo>
                  <a:pt x="629" y="2082"/>
                </a:lnTo>
                <a:lnTo>
                  <a:pt x="625" y="2076"/>
                </a:lnTo>
                <a:lnTo>
                  <a:pt x="622" y="2076"/>
                </a:lnTo>
                <a:lnTo>
                  <a:pt x="622" y="2074"/>
                </a:lnTo>
                <a:lnTo>
                  <a:pt x="621" y="2071"/>
                </a:lnTo>
                <a:lnTo>
                  <a:pt x="619" y="2071"/>
                </a:lnTo>
                <a:lnTo>
                  <a:pt x="618" y="2070"/>
                </a:lnTo>
                <a:lnTo>
                  <a:pt x="619" y="2068"/>
                </a:lnTo>
                <a:lnTo>
                  <a:pt x="621" y="2069"/>
                </a:lnTo>
                <a:lnTo>
                  <a:pt x="622" y="2069"/>
                </a:lnTo>
                <a:lnTo>
                  <a:pt x="623" y="2069"/>
                </a:lnTo>
                <a:lnTo>
                  <a:pt x="625" y="2065"/>
                </a:lnTo>
                <a:lnTo>
                  <a:pt x="623" y="2064"/>
                </a:lnTo>
                <a:lnTo>
                  <a:pt x="623" y="2061"/>
                </a:lnTo>
                <a:lnTo>
                  <a:pt x="621" y="2062"/>
                </a:lnTo>
                <a:lnTo>
                  <a:pt x="619" y="2062"/>
                </a:lnTo>
                <a:lnTo>
                  <a:pt x="621" y="2059"/>
                </a:lnTo>
                <a:lnTo>
                  <a:pt x="619" y="2053"/>
                </a:lnTo>
                <a:lnTo>
                  <a:pt x="615" y="2052"/>
                </a:lnTo>
                <a:lnTo>
                  <a:pt x="613" y="2049"/>
                </a:lnTo>
                <a:lnTo>
                  <a:pt x="613" y="2045"/>
                </a:lnTo>
                <a:lnTo>
                  <a:pt x="616" y="2044"/>
                </a:lnTo>
                <a:lnTo>
                  <a:pt x="618" y="2042"/>
                </a:lnTo>
                <a:lnTo>
                  <a:pt x="615" y="2033"/>
                </a:lnTo>
                <a:lnTo>
                  <a:pt x="609" y="2031"/>
                </a:lnTo>
                <a:lnTo>
                  <a:pt x="605" y="2032"/>
                </a:lnTo>
                <a:lnTo>
                  <a:pt x="601" y="2029"/>
                </a:lnTo>
                <a:lnTo>
                  <a:pt x="598" y="2031"/>
                </a:lnTo>
                <a:lnTo>
                  <a:pt x="598" y="2032"/>
                </a:lnTo>
                <a:lnTo>
                  <a:pt x="598" y="2033"/>
                </a:lnTo>
                <a:lnTo>
                  <a:pt x="591" y="2034"/>
                </a:lnTo>
                <a:lnTo>
                  <a:pt x="586" y="2033"/>
                </a:lnTo>
                <a:lnTo>
                  <a:pt x="584" y="2027"/>
                </a:lnTo>
                <a:lnTo>
                  <a:pt x="586" y="2026"/>
                </a:lnTo>
                <a:lnTo>
                  <a:pt x="584" y="2023"/>
                </a:lnTo>
                <a:lnTo>
                  <a:pt x="583" y="2016"/>
                </a:lnTo>
                <a:lnTo>
                  <a:pt x="586" y="2014"/>
                </a:lnTo>
                <a:lnTo>
                  <a:pt x="586" y="2011"/>
                </a:lnTo>
                <a:lnTo>
                  <a:pt x="582" y="2004"/>
                </a:lnTo>
                <a:lnTo>
                  <a:pt x="583" y="2000"/>
                </a:lnTo>
                <a:lnTo>
                  <a:pt x="580" y="2000"/>
                </a:lnTo>
                <a:lnTo>
                  <a:pt x="580" y="1996"/>
                </a:lnTo>
                <a:lnTo>
                  <a:pt x="577" y="1994"/>
                </a:lnTo>
                <a:lnTo>
                  <a:pt x="574" y="1996"/>
                </a:lnTo>
                <a:lnTo>
                  <a:pt x="573" y="1996"/>
                </a:lnTo>
                <a:lnTo>
                  <a:pt x="572" y="1994"/>
                </a:lnTo>
                <a:lnTo>
                  <a:pt x="568" y="1994"/>
                </a:lnTo>
                <a:lnTo>
                  <a:pt x="565" y="1990"/>
                </a:lnTo>
                <a:lnTo>
                  <a:pt x="565" y="1989"/>
                </a:lnTo>
                <a:lnTo>
                  <a:pt x="566" y="1984"/>
                </a:lnTo>
                <a:lnTo>
                  <a:pt x="563" y="1982"/>
                </a:lnTo>
                <a:lnTo>
                  <a:pt x="563" y="1978"/>
                </a:lnTo>
                <a:lnTo>
                  <a:pt x="568" y="1975"/>
                </a:lnTo>
                <a:lnTo>
                  <a:pt x="566" y="1973"/>
                </a:lnTo>
                <a:lnTo>
                  <a:pt x="566" y="1971"/>
                </a:lnTo>
                <a:lnTo>
                  <a:pt x="569" y="1970"/>
                </a:lnTo>
                <a:lnTo>
                  <a:pt x="569" y="1969"/>
                </a:lnTo>
                <a:lnTo>
                  <a:pt x="569" y="1967"/>
                </a:lnTo>
                <a:lnTo>
                  <a:pt x="562" y="1965"/>
                </a:lnTo>
                <a:lnTo>
                  <a:pt x="559" y="1962"/>
                </a:lnTo>
                <a:lnTo>
                  <a:pt x="549" y="1962"/>
                </a:lnTo>
                <a:lnTo>
                  <a:pt x="547" y="1959"/>
                </a:lnTo>
                <a:lnTo>
                  <a:pt x="548" y="1955"/>
                </a:lnTo>
                <a:lnTo>
                  <a:pt x="552" y="1946"/>
                </a:lnTo>
                <a:lnTo>
                  <a:pt x="551" y="1944"/>
                </a:lnTo>
                <a:lnTo>
                  <a:pt x="552" y="1941"/>
                </a:lnTo>
                <a:lnTo>
                  <a:pt x="549" y="1939"/>
                </a:lnTo>
                <a:lnTo>
                  <a:pt x="548" y="1933"/>
                </a:lnTo>
                <a:lnTo>
                  <a:pt x="548" y="1929"/>
                </a:lnTo>
                <a:lnTo>
                  <a:pt x="549" y="1928"/>
                </a:lnTo>
                <a:lnTo>
                  <a:pt x="552" y="1925"/>
                </a:lnTo>
                <a:lnTo>
                  <a:pt x="558" y="1925"/>
                </a:lnTo>
                <a:lnTo>
                  <a:pt x="561" y="1928"/>
                </a:lnTo>
                <a:lnTo>
                  <a:pt x="562" y="1933"/>
                </a:lnTo>
                <a:lnTo>
                  <a:pt x="569" y="1933"/>
                </a:lnTo>
                <a:lnTo>
                  <a:pt x="571" y="1932"/>
                </a:lnTo>
                <a:lnTo>
                  <a:pt x="572" y="1928"/>
                </a:lnTo>
                <a:lnTo>
                  <a:pt x="574" y="1927"/>
                </a:lnTo>
                <a:lnTo>
                  <a:pt x="574" y="1925"/>
                </a:lnTo>
                <a:lnTo>
                  <a:pt x="569" y="1923"/>
                </a:lnTo>
                <a:lnTo>
                  <a:pt x="572" y="1917"/>
                </a:lnTo>
                <a:lnTo>
                  <a:pt x="573" y="1917"/>
                </a:lnTo>
                <a:lnTo>
                  <a:pt x="576" y="1919"/>
                </a:lnTo>
                <a:lnTo>
                  <a:pt x="583" y="1921"/>
                </a:lnTo>
                <a:lnTo>
                  <a:pt x="587" y="1920"/>
                </a:lnTo>
                <a:lnTo>
                  <a:pt x="594" y="1915"/>
                </a:lnTo>
                <a:lnTo>
                  <a:pt x="596" y="1905"/>
                </a:lnTo>
                <a:lnTo>
                  <a:pt x="594" y="1904"/>
                </a:lnTo>
                <a:lnTo>
                  <a:pt x="591" y="1904"/>
                </a:lnTo>
                <a:lnTo>
                  <a:pt x="584" y="1905"/>
                </a:lnTo>
                <a:lnTo>
                  <a:pt x="577" y="1907"/>
                </a:lnTo>
                <a:lnTo>
                  <a:pt x="572" y="1903"/>
                </a:lnTo>
                <a:lnTo>
                  <a:pt x="572" y="1900"/>
                </a:lnTo>
                <a:lnTo>
                  <a:pt x="574" y="1900"/>
                </a:lnTo>
                <a:lnTo>
                  <a:pt x="574" y="1899"/>
                </a:lnTo>
                <a:lnTo>
                  <a:pt x="571" y="1896"/>
                </a:lnTo>
                <a:lnTo>
                  <a:pt x="572" y="1888"/>
                </a:lnTo>
                <a:lnTo>
                  <a:pt x="568" y="1884"/>
                </a:lnTo>
                <a:lnTo>
                  <a:pt x="566" y="1879"/>
                </a:lnTo>
                <a:lnTo>
                  <a:pt x="568" y="1874"/>
                </a:lnTo>
                <a:lnTo>
                  <a:pt x="572" y="1870"/>
                </a:lnTo>
                <a:lnTo>
                  <a:pt x="571" y="1866"/>
                </a:lnTo>
                <a:lnTo>
                  <a:pt x="571" y="1862"/>
                </a:lnTo>
                <a:lnTo>
                  <a:pt x="574" y="1862"/>
                </a:lnTo>
                <a:lnTo>
                  <a:pt x="576" y="1858"/>
                </a:lnTo>
                <a:lnTo>
                  <a:pt x="571" y="1853"/>
                </a:lnTo>
                <a:lnTo>
                  <a:pt x="568" y="1846"/>
                </a:lnTo>
                <a:lnTo>
                  <a:pt x="565" y="1843"/>
                </a:lnTo>
                <a:lnTo>
                  <a:pt x="563" y="1840"/>
                </a:lnTo>
                <a:lnTo>
                  <a:pt x="561" y="1840"/>
                </a:lnTo>
                <a:lnTo>
                  <a:pt x="557" y="1840"/>
                </a:lnTo>
                <a:lnTo>
                  <a:pt x="552" y="1840"/>
                </a:lnTo>
                <a:lnTo>
                  <a:pt x="549" y="1836"/>
                </a:lnTo>
                <a:lnTo>
                  <a:pt x="548" y="1833"/>
                </a:lnTo>
                <a:lnTo>
                  <a:pt x="551" y="1830"/>
                </a:lnTo>
                <a:lnTo>
                  <a:pt x="554" y="1824"/>
                </a:lnTo>
                <a:lnTo>
                  <a:pt x="551" y="1820"/>
                </a:lnTo>
                <a:lnTo>
                  <a:pt x="551" y="1812"/>
                </a:lnTo>
                <a:lnTo>
                  <a:pt x="555" y="1808"/>
                </a:lnTo>
                <a:lnTo>
                  <a:pt x="555" y="1807"/>
                </a:lnTo>
                <a:lnTo>
                  <a:pt x="551" y="1807"/>
                </a:lnTo>
                <a:lnTo>
                  <a:pt x="551" y="1804"/>
                </a:lnTo>
                <a:lnTo>
                  <a:pt x="554" y="1801"/>
                </a:lnTo>
                <a:lnTo>
                  <a:pt x="549" y="1795"/>
                </a:lnTo>
                <a:lnTo>
                  <a:pt x="554" y="1791"/>
                </a:lnTo>
                <a:lnTo>
                  <a:pt x="552" y="1790"/>
                </a:lnTo>
                <a:lnTo>
                  <a:pt x="548" y="1790"/>
                </a:lnTo>
                <a:lnTo>
                  <a:pt x="546" y="1791"/>
                </a:lnTo>
                <a:lnTo>
                  <a:pt x="543" y="1791"/>
                </a:lnTo>
                <a:lnTo>
                  <a:pt x="540" y="1790"/>
                </a:lnTo>
                <a:lnTo>
                  <a:pt x="533" y="1787"/>
                </a:lnTo>
                <a:lnTo>
                  <a:pt x="533" y="1783"/>
                </a:lnTo>
                <a:lnTo>
                  <a:pt x="533" y="1780"/>
                </a:lnTo>
                <a:lnTo>
                  <a:pt x="536" y="1776"/>
                </a:lnTo>
                <a:lnTo>
                  <a:pt x="540" y="1774"/>
                </a:lnTo>
                <a:lnTo>
                  <a:pt x="540" y="1771"/>
                </a:lnTo>
                <a:lnTo>
                  <a:pt x="537" y="1768"/>
                </a:lnTo>
                <a:lnTo>
                  <a:pt x="536" y="1765"/>
                </a:lnTo>
                <a:lnTo>
                  <a:pt x="524" y="1762"/>
                </a:lnTo>
                <a:lnTo>
                  <a:pt x="521" y="1761"/>
                </a:lnTo>
                <a:lnTo>
                  <a:pt x="515" y="1754"/>
                </a:lnTo>
                <a:lnTo>
                  <a:pt x="516" y="1749"/>
                </a:lnTo>
                <a:lnTo>
                  <a:pt x="515" y="1745"/>
                </a:lnTo>
                <a:lnTo>
                  <a:pt x="515" y="1741"/>
                </a:lnTo>
                <a:lnTo>
                  <a:pt x="496" y="1733"/>
                </a:lnTo>
                <a:lnTo>
                  <a:pt x="493" y="1731"/>
                </a:lnTo>
                <a:lnTo>
                  <a:pt x="491" y="1728"/>
                </a:lnTo>
                <a:lnTo>
                  <a:pt x="497" y="1722"/>
                </a:lnTo>
                <a:lnTo>
                  <a:pt x="498" y="1718"/>
                </a:lnTo>
                <a:lnTo>
                  <a:pt x="493" y="1709"/>
                </a:lnTo>
                <a:lnTo>
                  <a:pt x="490" y="1708"/>
                </a:lnTo>
                <a:lnTo>
                  <a:pt x="484" y="1711"/>
                </a:lnTo>
                <a:lnTo>
                  <a:pt x="480" y="1709"/>
                </a:lnTo>
                <a:lnTo>
                  <a:pt x="474" y="1712"/>
                </a:lnTo>
                <a:lnTo>
                  <a:pt x="469" y="1716"/>
                </a:lnTo>
                <a:lnTo>
                  <a:pt x="465" y="1713"/>
                </a:lnTo>
                <a:lnTo>
                  <a:pt x="463" y="1709"/>
                </a:lnTo>
                <a:lnTo>
                  <a:pt x="465" y="1704"/>
                </a:lnTo>
                <a:lnTo>
                  <a:pt x="462" y="1701"/>
                </a:lnTo>
                <a:lnTo>
                  <a:pt x="462" y="1697"/>
                </a:lnTo>
                <a:lnTo>
                  <a:pt x="463" y="1693"/>
                </a:lnTo>
                <a:lnTo>
                  <a:pt x="452" y="1688"/>
                </a:lnTo>
                <a:lnTo>
                  <a:pt x="451" y="1684"/>
                </a:lnTo>
                <a:lnTo>
                  <a:pt x="449" y="1683"/>
                </a:lnTo>
                <a:lnTo>
                  <a:pt x="449" y="1678"/>
                </a:lnTo>
                <a:lnTo>
                  <a:pt x="447" y="1674"/>
                </a:lnTo>
                <a:lnTo>
                  <a:pt x="444" y="1671"/>
                </a:lnTo>
                <a:lnTo>
                  <a:pt x="438" y="1669"/>
                </a:lnTo>
                <a:lnTo>
                  <a:pt x="431" y="1664"/>
                </a:lnTo>
                <a:lnTo>
                  <a:pt x="427" y="1664"/>
                </a:lnTo>
                <a:lnTo>
                  <a:pt x="424" y="1661"/>
                </a:lnTo>
                <a:lnTo>
                  <a:pt x="424" y="1658"/>
                </a:lnTo>
                <a:lnTo>
                  <a:pt x="427" y="1655"/>
                </a:lnTo>
                <a:lnTo>
                  <a:pt x="426" y="1652"/>
                </a:lnTo>
                <a:lnTo>
                  <a:pt x="427" y="1646"/>
                </a:lnTo>
                <a:lnTo>
                  <a:pt x="429" y="1644"/>
                </a:lnTo>
                <a:lnTo>
                  <a:pt x="431" y="1643"/>
                </a:lnTo>
                <a:lnTo>
                  <a:pt x="429" y="1639"/>
                </a:lnTo>
                <a:lnTo>
                  <a:pt x="427" y="1633"/>
                </a:lnTo>
                <a:lnTo>
                  <a:pt x="424" y="1630"/>
                </a:lnTo>
                <a:lnTo>
                  <a:pt x="422" y="1626"/>
                </a:lnTo>
                <a:lnTo>
                  <a:pt x="420" y="1625"/>
                </a:lnTo>
                <a:lnTo>
                  <a:pt x="423" y="1618"/>
                </a:lnTo>
                <a:lnTo>
                  <a:pt x="423" y="1616"/>
                </a:lnTo>
                <a:lnTo>
                  <a:pt x="419" y="1614"/>
                </a:lnTo>
                <a:lnTo>
                  <a:pt x="417" y="1613"/>
                </a:lnTo>
                <a:lnTo>
                  <a:pt x="416" y="1607"/>
                </a:lnTo>
                <a:lnTo>
                  <a:pt x="419" y="1604"/>
                </a:lnTo>
                <a:lnTo>
                  <a:pt x="419" y="1602"/>
                </a:lnTo>
                <a:lnTo>
                  <a:pt x="417" y="1600"/>
                </a:lnTo>
                <a:lnTo>
                  <a:pt x="412" y="1599"/>
                </a:lnTo>
                <a:lnTo>
                  <a:pt x="406" y="1592"/>
                </a:lnTo>
                <a:lnTo>
                  <a:pt x="402" y="1581"/>
                </a:lnTo>
                <a:lnTo>
                  <a:pt x="392" y="1576"/>
                </a:lnTo>
                <a:lnTo>
                  <a:pt x="389" y="1571"/>
                </a:lnTo>
                <a:lnTo>
                  <a:pt x="391" y="1567"/>
                </a:lnTo>
                <a:lnTo>
                  <a:pt x="394" y="1563"/>
                </a:lnTo>
                <a:lnTo>
                  <a:pt x="391" y="1555"/>
                </a:lnTo>
                <a:lnTo>
                  <a:pt x="388" y="1555"/>
                </a:lnTo>
                <a:lnTo>
                  <a:pt x="387" y="1555"/>
                </a:lnTo>
                <a:lnTo>
                  <a:pt x="377" y="1562"/>
                </a:lnTo>
                <a:lnTo>
                  <a:pt x="373" y="1563"/>
                </a:lnTo>
                <a:lnTo>
                  <a:pt x="356" y="1559"/>
                </a:lnTo>
                <a:lnTo>
                  <a:pt x="351" y="1548"/>
                </a:lnTo>
                <a:lnTo>
                  <a:pt x="338" y="1540"/>
                </a:lnTo>
                <a:lnTo>
                  <a:pt x="337" y="1537"/>
                </a:lnTo>
                <a:lnTo>
                  <a:pt x="338" y="1531"/>
                </a:lnTo>
                <a:lnTo>
                  <a:pt x="330" y="1518"/>
                </a:lnTo>
                <a:lnTo>
                  <a:pt x="312" y="1510"/>
                </a:lnTo>
                <a:lnTo>
                  <a:pt x="302" y="1500"/>
                </a:lnTo>
                <a:lnTo>
                  <a:pt x="294" y="1500"/>
                </a:lnTo>
                <a:lnTo>
                  <a:pt x="277" y="1487"/>
                </a:lnTo>
                <a:lnTo>
                  <a:pt x="274" y="1481"/>
                </a:lnTo>
                <a:lnTo>
                  <a:pt x="274" y="1478"/>
                </a:lnTo>
                <a:lnTo>
                  <a:pt x="277" y="1473"/>
                </a:lnTo>
                <a:lnTo>
                  <a:pt x="274" y="1469"/>
                </a:lnTo>
                <a:lnTo>
                  <a:pt x="272" y="1465"/>
                </a:lnTo>
                <a:lnTo>
                  <a:pt x="263" y="1468"/>
                </a:lnTo>
                <a:lnTo>
                  <a:pt x="261" y="1464"/>
                </a:lnTo>
                <a:lnTo>
                  <a:pt x="261" y="1456"/>
                </a:lnTo>
                <a:lnTo>
                  <a:pt x="266" y="1451"/>
                </a:lnTo>
                <a:lnTo>
                  <a:pt x="269" y="1447"/>
                </a:lnTo>
                <a:lnTo>
                  <a:pt x="264" y="1443"/>
                </a:lnTo>
                <a:lnTo>
                  <a:pt x="252" y="1439"/>
                </a:lnTo>
                <a:lnTo>
                  <a:pt x="248" y="1438"/>
                </a:lnTo>
                <a:lnTo>
                  <a:pt x="247" y="1435"/>
                </a:lnTo>
                <a:lnTo>
                  <a:pt x="241" y="1428"/>
                </a:lnTo>
                <a:lnTo>
                  <a:pt x="241" y="1426"/>
                </a:lnTo>
                <a:lnTo>
                  <a:pt x="237" y="1417"/>
                </a:lnTo>
                <a:lnTo>
                  <a:pt x="238" y="1413"/>
                </a:lnTo>
                <a:lnTo>
                  <a:pt x="237" y="1409"/>
                </a:lnTo>
                <a:lnTo>
                  <a:pt x="231" y="1406"/>
                </a:lnTo>
                <a:lnTo>
                  <a:pt x="219" y="1406"/>
                </a:lnTo>
                <a:lnTo>
                  <a:pt x="209" y="1405"/>
                </a:lnTo>
                <a:lnTo>
                  <a:pt x="203" y="1398"/>
                </a:lnTo>
                <a:lnTo>
                  <a:pt x="197" y="1393"/>
                </a:lnTo>
                <a:lnTo>
                  <a:pt x="189" y="1390"/>
                </a:lnTo>
                <a:lnTo>
                  <a:pt x="183" y="1385"/>
                </a:lnTo>
                <a:lnTo>
                  <a:pt x="174" y="1381"/>
                </a:lnTo>
                <a:lnTo>
                  <a:pt x="163" y="1378"/>
                </a:lnTo>
                <a:lnTo>
                  <a:pt x="159" y="1368"/>
                </a:lnTo>
                <a:lnTo>
                  <a:pt x="142" y="1370"/>
                </a:lnTo>
                <a:lnTo>
                  <a:pt x="137" y="1375"/>
                </a:lnTo>
                <a:lnTo>
                  <a:pt x="134" y="1375"/>
                </a:lnTo>
                <a:lnTo>
                  <a:pt x="131" y="1368"/>
                </a:lnTo>
                <a:lnTo>
                  <a:pt x="129" y="1357"/>
                </a:lnTo>
                <a:lnTo>
                  <a:pt x="125" y="1351"/>
                </a:lnTo>
                <a:lnTo>
                  <a:pt x="125" y="1348"/>
                </a:lnTo>
                <a:lnTo>
                  <a:pt x="123" y="1344"/>
                </a:lnTo>
                <a:lnTo>
                  <a:pt x="120" y="1341"/>
                </a:lnTo>
                <a:lnTo>
                  <a:pt x="118" y="1339"/>
                </a:lnTo>
                <a:lnTo>
                  <a:pt x="117" y="1339"/>
                </a:lnTo>
                <a:lnTo>
                  <a:pt x="117" y="1340"/>
                </a:lnTo>
                <a:lnTo>
                  <a:pt x="114" y="1339"/>
                </a:lnTo>
                <a:lnTo>
                  <a:pt x="114" y="1332"/>
                </a:lnTo>
                <a:lnTo>
                  <a:pt x="112" y="1331"/>
                </a:lnTo>
                <a:lnTo>
                  <a:pt x="110" y="1327"/>
                </a:lnTo>
                <a:lnTo>
                  <a:pt x="107" y="1323"/>
                </a:lnTo>
                <a:lnTo>
                  <a:pt x="107" y="1318"/>
                </a:lnTo>
                <a:lnTo>
                  <a:pt x="104" y="1316"/>
                </a:lnTo>
                <a:lnTo>
                  <a:pt x="104" y="1313"/>
                </a:lnTo>
                <a:lnTo>
                  <a:pt x="100" y="1313"/>
                </a:lnTo>
                <a:lnTo>
                  <a:pt x="102" y="1310"/>
                </a:lnTo>
                <a:lnTo>
                  <a:pt x="100" y="1310"/>
                </a:lnTo>
                <a:lnTo>
                  <a:pt x="98" y="1310"/>
                </a:lnTo>
                <a:lnTo>
                  <a:pt x="96" y="1304"/>
                </a:lnTo>
                <a:lnTo>
                  <a:pt x="98" y="1297"/>
                </a:lnTo>
                <a:lnTo>
                  <a:pt x="92" y="1293"/>
                </a:lnTo>
                <a:lnTo>
                  <a:pt x="85" y="1288"/>
                </a:lnTo>
                <a:lnTo>
                  <a:pt x="89" y="1285"/>
                </a:lnTo>
                <a:lnTo>
                  <a:pt x="88" y="1281"/>
                </a:lnTo>
                <a:lnTo>
                  <a:pt x="91" y="1274"/>
                </a:lnTo>
                <a:lnTo>
                  <a:pt x="96" y="1274"/>
                </a:lnTo>
                <a:lnTo>
                  <a:pt x="93" y="1269"/>
                </a:lnTo>
                <a:lnTo>
                  <a:pt x="99" y="1265"/>
                </a:lnTo>
                <a:lnTo>
                  <a:pt x="98" y="1260"/>
                </a:lnTo>
                <a:lnTo>
                  <a:pt x="102" y="1256"/>
                </a:lnTo>
                <a:lnTo>
                  <a:pt x="100" y="1248"/>
                </a:lnTo>
                <a:lnTo>
                  <a:pt x="104" y="1245"/>
                </a:lnTo>
                <a:lnTo>
                  <a:pt x="106" y="1241"/>
                </a:lnTo>
                <a:lnTo>
                  <a:pt x="104" y="1237"/>
                </a:lnTo>
                <a:lnTo>
                  <a:pt x="109" y="1229"/>
                </a:lnTo>
                <a:lnTo>
                  <a:pt x="110" y="1224"/>
                </a:lnTo>
                <a:lnTo>
                  <a:pt x="113" y="1222"/>
                </a:lnTo>
                <a:lnTo>
                  <a:pt x="114" y="1212"/>
                </a:lnTo>
                <a:lnTo>
                  <a:pt x="117" y="1207"/>
                </a:lnTo>
                <a:lnTo>
                  <a:pt x="116" y="1203"/>
                </a:lnTo>
                <a:lnTo>
                  <a:pt x="118" y="1202"/>
                </a:lnTo>
                <a:lnTo>
                  <a:pt x="117" y="1199"/>
                </a:lnTo>
                <a:lnTo>
                  <a:pt x="121" y="1197"/>
                </a:lnTo>
                <a:lnTo>
                  <a:pt x="117" y="1192"/>
                </a:lnTo>
                <a:lnTo>
                  <a:pt x="117" y="1189"/>
                </a:lnTo>
                <a:lnTo>
                  <a:pt x="117" y="1187"/>
                </a:lnTo>
                <a:lnTo>
                  <a:pt x="123" y="1179"/>
                </a:lnTo>
                <a:lnTo>
                  <a:pt x="121" y="1177"/>
                </a:lnTo>
                <a:lnTo>
                  <a:pt x="116" y="1170"/>
                </a:lnTo>
                <a:lnTo>
                  <a:pt x="120" y="1166"/>
                </a:lnTo>
                <a:lnTo>
                  <a:pt x="120" y="1162"/>
                </a:lnTo>
                <a:lnTo>
                  <a:pt x="125" y="1154"/>
                </a:lnTo>
                <a:lnTo>
                  <a:pt x="124" y="1153"/>
                </a:lnTo>
                <a:lnTo>
                  <a:pt x="127" y="1150"/>
                </a:lnTo>
                <a:lnTo>
                  <a:pt x="125" y="1148"/>
                </a:lnTo>
                <a:lnTo>
                  <a:pt x="125" y="1147"/>
                </a:lnTo>
                <a:lnTo>
                  <a:pt x="129" y="1145"/>
                </a:lnTo>
                <a:lnTo>
                  <a:pt x="134" y="1149"/>
                </a:lnTo>
                <a:lnTo>
                  <a:pt x="137" y="1149"/>
                </a:lnTo>
                <a:lnTo>
                  <a:pt x="148" y="1141"/>
                </a:lnTo>
                <a:lnTo>
                  <a:pt x="152" y="1140"/>
                </a:lnTo>
                <a:lnTo>
                  <a:pt x="155" y="1140"/>
                </a:lnTo>
                <a:lnTo>
                  <a:pt x="163" y="1145"/>
                </a:lnTo>
                <a:lnTo>
                  <a:pt x="170" y="1145"/>
                </a:lnTo>
                <a:lnTo>
                  <a:pt x="174" y="1149"/>
                </a:lnTo>
                <a:lnTo>
                  <a:pt x="178" y="1148"/>
                </a:lnTo>
                <a:lnTo>
                  <a:pt x="180" y="1145"/>
                </a:lnTo>
                <a:lnTo>
                  <a:pt x="180" y="1144"/>
                </a:lnTo>
                <a:lnTo>
                  <a:pt x="173" y="1140"/>
                </a:lnTo>
                <a:lnTo>
                  <a:pt x="171" y="1132"/>
                </a:lnTo>
                <a:lnTo>
                  <a:pt x="164" y="1127"/>
                </a:lnTo>
                <a:lnTo>
                  <a:pt x="166" y="1123"/>
                </a:lnTo>
                <a:lnTo>
                  <a:pt x="162" y="1117"/>
                </a:lnTo>
                <a:lnTo>
                  <a:pt x="160" y="1110"/>
                </a:lnTo>
                <a:lnTo>
                  <a:pt x="160" y="1103"/>
                </a:lnTo>
                <a:lnTo>
                  <a:pt x="160" y="1098"/>
                </a:lnTo>
                <a:lnTo>
                  <a:pt x="157" y="1097"/>
                </a:lnTo>
                <a:lnTo>
                  <a:pt x="156" y="1094"/>
                </a:lnTo>
                <a:lnTo>
                  <a:pt x="156" y="1087"/>
                </a:lnTo>
                <a:lnTo>
                  <a:pt x="164" y="1073"/>
                </a:lnTo>
                <a:lnTo>
                  <a:pt x="164" y="1070"/>
                </a:lnTo>
                <a:lnTo>
                  <a:pt x="167" y="1067"/>
                </a:lnTo>
                <a:lnTo>
                  <a:pt x="170" y="1065"/>
                </a:lnTo>
                <a:lnTo>
                  <a:pt x="170" y="1063"/>
                </a:lnTo>
                <a:lnTo>
                  <a:pt x="167" y="1061"/>
                </a:lnTo>
                <a:lnTo>
                  <a:pt x="170" y="1060"/>
                </a:lnTo>
                <a:lnTo>
                  <a:pt x="170" y="1055"/>
                </a:lnTo>
                <a:lnTo>
                  <a:pt x="166" y="1049"/>
                </a:lnTo>
                <a:lnTo>
                  <a:pt x="156" y="1048"/>
                </a:lnTo>
                <a:lnTo>
                  <a:pt x="145" y="1038"/>
                </a:lnTo>
                <a:lnTo>
                  <a:pt x="137" y="1035"/>
                </a:lnTo>
                <a:lnTo>
                  <a:pt x="135" y="1032"/>
                </a:lnTo>
                <a:lnTo>
                  <a:pt x="137" y="1029"/>
                </a:lnTo>
                <a:lnTo>
                  <a:pt x="135" y="1028"/>
                </a:lnTo>
                <a:lnTo>
                  <a:pt x="135" y="1020"/>
                </a:lnTo>
                <a:lnTo>
                  <a:pt x="134" y="1018"/>
                </a:lnTo>
                <a:lnTo>
                  <a:pt x="134" y="1012"/>
                </a:lnTo>
                <a:lnTo>
                  <a:pt x="139" y="1007"/>
                </a:lnTo>
                <a:lnTo>
                  <a:pt x="141" y="998"/>
                </a:lnTo>
                <a:lnTo>
                  <a:pt x="143" y="993"/>
                </a:lnTo>
                <a:lnTo>
                  <a:pt x="142" y="990"/>
                </a:lnTo>
                <a:lnTo>
                  <a:pt x="143" y="984"/>
                </a:lnTo>
                <a:lnTo>
                  <a:pt x="146" y="979"/>
                </a:lnTo>
                <a:lnTo>
                  <a:pt x="143" y="970"/>
                </a:lnTo>
                <a:lnTo>
                  <a:pt x="143" y="962"/>
                </a:lnTo>
                <a:lnTo>
                  <a:pt x="145" y="961"/>
                </a:lnTo>
                <a:lnTo>
                  <a:pt x="157" y="961"/>
                </a:lnTo>
                <a:lnTo>
                  <a:pt x="160" y="958"/>
                </a:lnTo>
                <a:lnTo>
                  <a:pt x="162" y="954"/>
                </a:lnTo>
                <a:lnTo>
                  <a:pt x="163" y="949"/>
                </a:lnTo>
                <a:lnTo>
                  <a:pt x="162" y="945"/>
                </a:lnTo>
                <a:lnTo>
                  <a:pt x="163" y="941"/>
                </a:lnTo>
                <a:lnTo>
                  <a:pt x="162" y="938"/>
                </a:lnTo>
                <a:lnTo>
                  <a:pt x="159" y="933"/>
                </a:lnTo>
                <a:lnTo>
                  <a:pt x="160" y="926"/>
                </a:lnTo>
                <a:lnTo>
                  <a:pt x="157" y="923"/>
                </a:lnTo>
                <a:lnTo>
                  <a:pt x="157" y="921"/>
                </a:lnTo>
                <a:lnTo>
                  <a:pt x="155" y="918"/>
                </a:lnTo>
                <a:lnTo>
                  <a:pt x="153" y="914"/>
                </a:lnTo>
                <a:lnTo>
                  <a:pt x="151" y="911"/>
                </a:lnTo>
                <a:lnTo>
                  <a:pt x="141" y="909"/>
                </a:lnTo>
                <a:lnTo>
                  <a:pt x="137" y="905"/>
                </a:lnTo>
                <a:lnTo>
                  <a:pt x="135" y="900"/>
                </a:lnTo>
                <a:lnTo>
                  <a:pt x="137" y="896"/>
                </a:lnTo>
                <a:lnTo>
                  <a:pt x="138" y="892"/>
                </a:lnTo>
                <a:lnTo>
                  <a:pt x="132" y="887"/>
                </a:lnTo>
                <a:lnTo>
                  <a:pt x="134" y="883"/>
                </a:lnTo>
                <a:lnTo>
                  <a:pt x="132" y="872"/>
                </a:lnTo>
                <a:lnTo>
                  <a:pt x="134" y="868"/>
                </a:lnTo>
                <a:lnTo>
                  <a:pt x="139" y="862"/>
                </a:lnTo>
                <a:lnTo>
                  <a:pt x="146" y="841"/>
                </a:lnTo>
                <a:lnTo>
                  <a:pt x="104" y="824"/>
                </a:lnTo>
                <a:lnTo>
                  <a:pt x="75" y="799"/>
                </a:lnTo>
                <a:lnTo>
                  <a:pt x="70" y="789"/>
                </a:lnTo>
                <a:lnTo>
                  <a:pt x="28" y="726"/>
                </a:lnTo>
                <a:lnTo>
                  <a:pt x="6" y="671"/>
                </a:lnTo>
                <a:lnTo>
                  <a:pt x="7" y="663"/>
                </a:lnTo>
                <a:lnTo>
                  <a:pt x="24" y="631"/>
                </a:lnTo>
                <a:lnTo>
                  <a:pt x="7" y="597"/>
                </a:lnTo>
                <a:lnTo>
                  <a:pt x="0" y="586"/>
                </a:lnTo>
                <a:lnTo>
                  <a:pt x="21" y="533"/>
                </a:lnTo>
                <a:lnTo>
                  <a:pt x="27" y="531"/>
                </a:lnTo>
                <a:lnTo>
                  <a:pt x="32" y="535"/>
                </a:lnTo>
                <a:lnTo>
                  <a:pt x="35" y="534"/>
                </a:lnTo>
                <a:lnTo>
                  <a:pt x="38" y="530"/>
                </a:lnTo>
                <a:lnTo>
                  <a:pt x="35" y="516"/>
                </a:lnTo>
                <a:lnTo>
                  <a:pt x="39" y="507"/>
                </a:lnTo>
                <a:lnTo>
                  <a:pt x="43" y="503"/>
                </a:lnTo>
                <a:lnTo>
                  <a:pt x="60" y="499"/>
                </a:lnTo>
                <a:lnTo>
                  <a:pt x="66" y="491"/>
                </a:lnTo>
                <a:lnTo>
                  <a:pt x="64" y="485"/>
                </a:lnTo>
                <a:lnTo>
                  <a:pt x="59" y="472"/>
                </a:lnTo>
                <a:lnTo>
                  <a:pt x="60" y="465"/>
                </a:lnTo>
                <a:lnTo>
                  <a:pt x="63" y="461"/>
                </a:lnTo>
                <a:lnTo>
                  <a:pt x="77" y="461"/>
                </a:lnTo>
                <a:lnTo>
                  <a:pt x="84" y="457"/>
                </a:lnTo>
                <a:lnTo>
                  <a:pt x="85" y="463"/>
                </a:lnTo>
                <a:lnTo>
                  <a:pt x="91" y="463"/>
                </a:lnTo>
                <a:lnTo>
                  <a:pt x="109" y="440"/>
                </a:lnTo>
                <a:lnTo>
                  <a:pt x="121" y="437"/>
                </a:lnTo>
                <a:lnTo>
                  <a:pt x="129" y="432"/>
                </a:lnTo>
                <a:lnTo>
                  <a:pt x="132" y="431"/>
                </a:lnTo>
                <a:lnTo>
                  <a:pt x="137" y="419"/>
                </a:lnTo>
                <a:lnTo>
                  <a:pt x="148" y="414"/>
                </a:lnTo>
                <a:lnTo>
                  <a:pt x="152" y="412"/>
                </a:lnTo>
                <a:lnTo>
                  <a:pt x="156" y="412"/>
                </a:lnTo>
                <a:lnTo>
                  <a:pt x="159" y="414"/>
                </a:lnTo>
                <a:lnTo>
                  <a:pt x="162" y="416"/>
                </a:lnTo>
                <a:lnTo>
                  <a:pt x="164" y="416"/>
                </a:lnTo>
                <a:lnTo>
                  <a:pt x="170" y="415"/>
                </a:lnTo>
                <a:lnTo>
                  <a:pt x="174" y="412"/>
                </a:lnTo>
                <a:lnTo>
                  <a:pt x="180" y="416"/>
                </a:lnTo>
                <a:lnTo>
                  <a:pt x="184" y="416"/>
                </a:lnTo>
                <a:lnTo>
                  <a:pt x="194" y="409"/>
                </a:lnTo>
                <a:lnTo>
                  <a:pt x="203" y="404"/>
                </a:lnTo>
                <a:lnTo>
                  <a:pt x="209" y="402"/>
                </a:lnTo>
                <a:lnTo>
                  <a:pt x="219" y="397"/>
                </a:lnTo>
                <a:lnTo>
                  <a:pt x="220" y="395"/>
                </a:lnTo>
                <a:lnTo>
                  <a:pt x="223" y="398"/>
                </a:lnTo>
                <a:lnTo>
                  <a:pt x="224" y="398"/>
                </a:lnTo>
                <a:lnTo>
                  <a:pt x="234" y="390"/>
                </a:lnTo>
                <a:lnTo>
                  <a:pt x="237" y="391"/>
                </a:lnTo>
                <a:lnTo>
                  <a:pt x="239" y="391"/>
                </a:lnTo>
                <a:lnTo>
                  <a:pt x="244" y="379"/>
                </a:lnTo>
                <a:lnTo>
                  <a:pt x="242" y="376"/>
                </a:lnTo>
                <a:lnTo>
                  <a:pt x="244" y="373"/>
                </a:lnTo>
                <a:lnTo>
                  <a:pt x="249" y="367"/>
                </a:lnTo>
                <a:lnTo>
                  <a:pt x="255" y="367"/>
                </a:lnTo>
                <a:lnTo>
                  <a:pt x="261" y="364"/>
                </a:lnTo>
                <a:lnTo>
                  <a:pt x="266" y="353"/>
                </a:lnTo>
                <a:lnTo>
                  <a:pt x="270" y="352"/>
                </a:lnTo>
                <a:lnTo>
                  <a:pt x="272" y="348"/>
                </a:lnTo>
                <a:lnTo>
                  <a:pt x="283" y="342"/>
                </a:lnTo>
                <a:lnTo>
                  <a:pt x="289" y="341"/>
                </a:lnTo>
                <a:lnTo>
                  <a:pt x="291" y="339"/>
                </a:lnTo>
                <a:lnTo>
                  <a:pt x="302" y="337"/>
                </a:lnTo>
                <a:lnTo>
                  <a:pt x="303" y="337"/>
                </a:lnTo>
                <a:lnTo>
                  <a:pt x="306" y="339"/>
                </a:lnTo>
                <a:lnTo>
                  <a:pt x="313" y="339"/>
                </a:lnTo>
                <a:lnTo>
                  <a:pt x="316" y="342"/>
                </a:lnTo>
                <a:lnTo>
                  <a:pt x="319" y="344"/>
                </a:lnTo>
                <a:lnTo>
                  <a:pt x="331" y="342"/>
                </a:lnTo>
                <a:lnTo>
                  <a:pt x="337" y="348"/>
                </a:lnTo>
                <a:lnTo>
                  <a:pt x="345" y="349"/>
                </a:lnTo>
                <a:lnTo>
                  <a:pt x="349" y="350"/>
                </a:lnTo>
                <a:lnTo>
                  <a:pt x="361" y="350"/>
                </a:lnTo>
                <a:lnTo>
                  <a:pt x="364" y="348"/>
                </a:lnTo>
                <a:lnTo>
                  <a:pt x="367" y="347"/>
                </a:lnTo>
                <a:lnTo>
                  <a:pt x="370" y="348"/>
                </a:lnTo>
                <a:lnTo>
                  <a:pt x="374" y="350"/>
                </a:lnTo>
                <a:lnTo>
                  <a:pt x="376" y="350"/>
                </a:lnTo>
                <a:lnTo>
                  <a:pt x="386" y="348"/>
                </a:lnTo>
                <a:lnTo>
                  <a:pt x="391" y="341"/>
                </a:lnTo>
                <a:lnTo>
                  <a:pt x="401" y="341"/>
                </a:lnTo>
                <a:lnTo>
                  <a:pt x="406" y="344"/>
                </a:lnTo>
                <a:lnTo>
                  <a:pt x="405" y="349"/>
                </a:lnTo>
                <a:lnTo>
                  <a:pt x="406" y="350"/>
                </a:lnTo>
                <a:lnTo>
                  <a:pt x="415" y="353"/>
                </a:lnTo>
                <a:lnTo>
                  <a:pt x="422" y="356"/>
                </a:lnTo>
                <a:lnTo>
                  <a:pt x="427" y="364"/>
                </a:lnTo>
                <a:lnTo>
                  <a:pt x="431" y="361"/>
                </a:lnTo>
                <a:lnTo>
                  <a:pt x="437" y="361"/>
                </a:lnTo>
                <a:lnTo>
                  <a:pt x="440" y="366"/>
                </a:lnTo>
                <a:lnTo>
                  <a:pt x="445" y="365"/>
                </a:lnTo>
                <a:lnTo>
                  <a:pt x="452" y="370"/>
                </a:lnTo>
                <a:lnTo>
                  <a:pt x="458" y="372"/>
                </a:lnTo>
                <a:lnTo>
                  <a:pt x="463" y="376"/>
                </a:lnTo>
                <a:lnTo>
                  <a:pt x="466" y="374"/>
                </a:lnTo>
                <a:lnTo>
                  <a:pt x="474" y="367"/>
                </a:lnTo>
                <a:lnTo>
                  <a:pt x="479" y="369"/>
                </a:lnTo>
                <a:lnTo>
                  <a:pt x="486" y="365"/>
                </a:lnTo>
                <a:lnTo>
                  <a:pt x="490" y="361"/>
                </a:lnTo>
                <a:lnTo>
                  <a:pt x="490" y="356"/>
                </a:lnTo>
                <a:lnTo>
                  <a:pt x="490" y="353"/>
                </a:lnTo>
                <a:lnTo>
                  <a:pt x="499" y="350"/>
                </a:lnTo>
                <a:lnTo>
                  <a:pt x="501" y="345"/>
                </a:lnTo>
                <a:lnTo>
                  <a:pt x="507" y="344"/>
                </a:lnTo>
                <a:lnTo>
                  <a:pt x="508" y="347"/>
                </a:lnTo>
                <a:lnTo>
                  <a:pt x="516" y="348"/>
                </a:lnTo>
                <a:lnTo>
                  <a:pt x="523" y="347"/>
                </a:lnTo>
                <a:lnTo>
                  <a:pt x="529" y="350"/>
                </a:lnTo>
                <a:lnTo>
                  <a:pt x="530" y="350"/>
                </a:lnTo>
                <a:lnTo>
                  <a:pt x="532" y="349"/>
                </a:lnTo>
                <a:lnTo>
                  <a:pt x="537" y="349"/>
                </a:lnTo>
                <a:lnTo>
                  <a:pt x="538" y="353"/>
                </a:lnTo>
                <a:lnTo>
                  <a:pt x="544" y="353"/>
                </a:lnTo>
                <a:lnTo>
                  <a:pt x="552" y="361"/>
                </a:lnTo>
                <a:lnTo>
                  <a:pt x="561" y="364"/>
                </a:lnTo>
                <a:lnTo>
                  <a:pt x="561" y="366"/>
                </a:lnTo>
                <a:lnTo>
                  <a:pt x="566" y="369"/>
                </a:lnTo>
                <a:lnTo>
                  <a:pt x="571" y="366"/>
                </a:lnTo>
                <a:lnTo>
                  <a:pt x="580" y="364"/>
                </a:lnTo>
                <a:lnTo>
                  <a:pt x="584" y="361"/>
                </a:lnTo>
                <a:lnTo>
                  <a:pt x="591" y="361"/>
                </a:lnTo>
                <a:lnTo>
                  <a:pt x="596" y="356"/>
                </a:lnTo>
                <a:lnTo>
                  <a:pt x="599" y="356"/>
                </a:lnTo>
                <a:lnTo>
                  <a:pt x="602" y="357"/>
                </a:lnTo>
                <a:lnTo>
                  <a:pt x="605" y="357"/>
                </a:lnTo>
                <a:lnTo>
                  <a:pt x="608" y="353"/>
                </a:lnTo>
                <a:lnTo>
                  <a:pt x="612" y="352"/>
                </a:lnTo>
                <a:lnTo>
                  <a:pt x="612" y="348"/>
                </a:lnTo>
                <a:lnTo>
                  <a:pt x="615" y="345"/>
                </a:lnTo>
                <a:lnTo>
                  <a:pt x="616" y="344"/>
                </a:lnTo>
                <a:lnTo>
                  <a:pt x="615" y="342"/>
                </a:lnTo>
                <a:lnTo>
                  <a:pt x="612" y="341"/>
                </a:lnTo>
                <a:lnTo>
                  <a:pt x="612" y="337"/>
                </a:lnTo>
                <a:lnTo>
                  <a:pt x="613" y="335"/>
                </a:lnTo>
                <a:lnTo>
                  <a:pt x="618" y="335"/>
                </a:lnTo>
                <a:lnTo>
                  <a:pt x="621" y="333"/>
                </a:lnTo>
                <a:lnTo>
                  <a:pt x="622" y="327"/>
                </a:lnTo>
                <a:lnTo>
                  <a:pt x="625" y="324"/>
                </a:lnTo>
                <a:lnTo>
                  <a:pt x="626" y="316"/>
                </a:lnTo>
                <a:lnTo>
                  <a:pt x="625" y="312"/>
                </a:lnTo>
                <a:lnTo>
                  <a:pt x="625" y="308"/>
                </a:lnTo>
                <a:lnTo>
                  <a:pt x="623" y="304"/>
                </a:lnTo>
                <a:lnTo>
                  <a:pt x="623" y="298"/>
                </a:lnTo>
                <a:lnTo>
                  <a:pt x="625" y="295"/>
                </a:lnTo>
                <a:lnTo>
                  <a:pt x="630" y="294"/>
                </a:lnTo>
                <a:lnTo>
                  <a:pt x="632" y="289"/>
                </a:lnTo>
                <a:lnTo>
                  <a:pt x="638" y="286"/>
                </a:lnTo>
                <a:lnTo>
                  <a:pt x="643" y="282"/>
                </a:lnTo>
                <a:lnTo>
                  <a:pt x="646" y="282"/>
                </a:lnTo>
                <a:lnTo>
                  <a:pt x="648" y="282"/>
                </a:lnTo>
                <a:lnTo>
                  <a:pt x="652" y="286"/>
                </a:lnTo>
                <a:lnTo>
                  <a:pt x="676" y="286"/>
                </a:lnTo>
                <a:lnTo>
                  <a:pt x="683" y="285"/>
                </a:lnTo>
                <a:lnTo>
                  <a:pt x="686" y="282"/>
                </a:lnTo>
                <a:lnTo>
                  <a:pt x="687" y="281"/>
                </a:lnTo>
                <a:lnTo>
                  <a:pt x="697" y="278"/>
                </a:lnTo>
                <a:lnTo>
                  <a:pt x="703" y="278"/>
                </a:lnTo>
                <a:lnTo>
                  <a:pt x="707" y="275"/>
                </a:lnTo>
                <a:lnTo>
                  <a:pt x="712" y="274"/>
                </a:lnTo>
                <a:lnTo>
                  <a:pt x="719" y="275"/>
                </a:lnTo>
                <a:lnTo>
                  <a:pt x="725" y="274"/>
                </a:lnTo>
                <a:lnTo>
                  <a:pt x="730" y="277"/>
                </a:lnTo>
                <a:lnTo>
                  <a:pt x="736" y="277"/>
                </a:lnTo>
                <a:lnTo>
                  <a:pt x="746" y="272"/>
                </a:lnTo>
                <a:lnTo>
                  <a:pt x="748" y="272"/>
                </a:lnTo>
                <a:lnTo>
                  <a:pt x="751" y="267"/>
                </a:lnTo>
                <a:lnTo>
                  <a:pt x="754" y="267"/>
                </a:lnTo>
                <a:lnTo>
                  <a:pt x="758" y="270"/>
                </a:lnTo>
                <a:lnTo>
                  <a:pt x="769" y="267"/>
                </a:lnTo>
                <a:lnTo>
                  <a:pt x="772" y="267"/>
                </a:lnTo>
                <a:lnTo>
                  <a:pt x="772" y="273"/>
                </a:lnTo>
                <a:lnTo>
                  <a:pt x="778" y="274"/>
                </a:lnTo>
                <a:lnTo>
                  <a:pt x="782" y="277"/>
                </a:lnTo>
                <a:lnTo>
                  <a:pt x="782" y="282"/>
                </a:lnTo>
                <a:lnTo>
                  <a:pt x="786" y="290"/>
                </a:lnTo>
                <a:lnTo>
                  <a:pt x="789" y="290"/>
                </a:lnTo>
                <a:lnTo>
                  <a:pt x="793" y="289"/>
                </a:lnTo>
                <a:lnTo>
                  <a:pt x="797" y="285"/>
                </a:lnTo>
                <a:lnTo>
                  <a:pt x="801" y="286"/>
                </a:lnTo>
                <a:lnTo>
                  <a:pt x="801" y="289"/>
                </a:lnTo>
                <a:lnTo>
                  <a:pt x="803" y="289"/>
                </a:lnTo>
                <a:lnTo>
                  <a:pt x="808" y="286"/>
                </a:lnTo>
                <a:lnTo>
                  <a:pt x="810" y="289"/>
                </a:lnTo>
                <a:lnTo>
                  <a:pt x="814" y="289"/>
                </a:lnTo>
                <a:lnTo>
                  <a:pt x="826" y="285"/>
                </a:lnTo>
                <a:lnTo>
                  <a:pt x="826" y="281"/>
                </a:lnTo>
                <a:lnTo>
                  <a:pt x="828" y="278"/>
                </a:lnTo>
                <a:lnTo>
                  <a:pt x="836" y="277"/>
                </a:lnTo>
                <a:lnTo>
                  <a:pt x="842" y="273"/>
                </a:lnTo>
                <a:lnTo>
                  <a:pt x="845" y="260"/>
                </a:lnTo>
                <a:lnTo>
                  <a:pt x="847" y="256"/>
                </a:lnTo>
                <a:lnTo>
                  <a:pt x="847" y="253"/>
                </a:lnTo>
                <a:lnTo>
                  <a:pt x="850" y="250"/>
                </a:lnTo>
                <a:lnTo>
                  <a:pt x="854" y="250"/>
                </a:lnTo>
                <a:lnTo>
                  <a:pt x="862" y="245"/>
                </a:lnTo>
                <a:lnTo>
                  <a:pt x="865" y="245"/>
                </a:lnTo>
                <a:lnTo>
                  <a:pt x="868" y="245"/>
                </a:lnTo>
                <a:lnTo>
                  <a:pt x="871" y="244"/>
                </a:lnTo>
                <a:lnTo>
                  <a:pt x="875" y="245"/>
                </a:lnTo>
                <a:lnTo>
                  <a:pt x="876" y="245"/>
                </a:lnTo>
                <a:lnTo>
                  <a:pt x="882" y="248"/>
                </a:lnTo>
                <a:lnTo>
                  <a:pt x="885" y="250"/>
                </a:lnTo>
                <a:lnTo>
                  <a:pt x="889" y="260"/>
                </a:lnTo>
                <a:lnTo>
                  <a:pt x="895" y="260"/>
                </a:lnTo>
                <a:lnTo>
                  <a:pt x="898" y="262"/>
                </a:lnTo>
                <a:lnTo>
                  <a:pt x="900" y="263"/>
                </a:lnTo>
                <a:lnTo>
                  <a:pt x="900" y="270"/>
                </a:lnTo>
                <a:lnTo>
                  <a:pt x="901" y="273"/>
                </a:lnTo>
                <a:lnTo>
                  <a:pt x="907" y="275"/>
                </a:lnTo>
                <a:lnTo>
                  <a:pt x="912" y="274"/>
                </a:lnTo>
                <a:lnTo>
                  <a:pt x="914" y="274"/>
                </a:lnTo>
                <a:lnTo>
                  <a:pt x="918" y="277"/>
                </a:lnTo>
                <a:lnTo>
                  <a:pt x="922" y="281"/>
                </a:lnTo>
                <a:lnTo>
                  <a:pt x="926" y="282"/>
                </a:lnTo>
                <a:lnTo>
                  <a:pt x="931" y="289"/>
                </a:lnTo>
                <a:lnTo>
                  <a:pt x="935" y="289"/>
                </a:lnTo>
                <a:lnTo>
                  <a:pt x="937" y="285"/>
                </a:lnTo>
                <a:lnTo>
                  <a:pt x="950" y="285"/>
                </a:lnTo>
                <a:lnTo>
                  <a:pt x="951" y="285"/>
                </a:lnTo>
                <a:lnTo>
                  <a:pt x="956" y="279"/>
                </a:lnTo>
                <a:lnTo>
                  <a:pt x="956" y="277"/>
                </a:lnTo>
                <a:lnTo>
                  <a:pt x="954" y="273"/>
                </a:lnTo>
                <a:lnTo>
                  <a:pt x="956" y="267"/>
                </a:lnTo>
                <a:lnTo>
                  <a:pt x="964" y="263"/>
                </a:lnTo>
                <a:lnTo>
                  <a:pt x="967" y="260"/>
                </a:lnTo>
                <a:lnTo>
                  <a:pt x="970" y="256"/>
                </a:lnTo>
                <a:lnTo>
                  <a:pt x="974" y="256"/>
                </a:lnTo>
                <a:lnTo>
                  <a:pt x="976" y="257"/>
                </a:lnTo>
                <a:lnTo>
                  <a:pt x="979" y="256"/>
                </a:lnTo>
                <a:lnTo>
                  <a:pt x="986" y="249"/>
                </a:lnTo>
                <a:lnTo>
                  <a:pt x="985" y="245"/>
                </a:lnTo>
                <a:lnTo>
                  <a:pt x="990" y="240"/>
                </a:lnTo>
                <a:lnTo>
                  <a:pt x="993" y="231"/>
                </a:lnTo>
                <a:lnTo>
                  <a:pt x="1000" y="228"/>
                </a:lnTo>
                <a:lnTo>
                  <a:pt x="1010" y="227"/>
                </a:lnTo>
                <a:lnTo>
                  <a:pt x="1014" y="223"/>
                </a:lnTo>
                <a:lnTo>
                  <a:pt x="1014" y="217"/>
                </a:lnTo>
                <a:lnTo>
                  <a:pt x="1024" y="215"/>
                </a:lnTo>
                <a:lnTo>
                  <a:pt x="1025" y="211"/>
                </a:lnTo>
                <a:lnTo>
                  <a:pt x="1025" y="208"/>
                </a:lnTo>
                <a:lnTo>
                  <a:pt x="1027" y="206"/>
                </a:lnTo>
                <a:lnTo>
                  <a:pt x="1035" y="203"/>
                </a:lnTo>
                <a:lnTo>
                  <a:pt x="1035" y="200"/>
                </a:lnTo>
                <a:lnTo>
                  <a:pt x="1033" y="196"/>
                </a:lnTo>
                <a:lnTo>
                  <a:pt x="1035" y="195"/>
                </a:lnTo>
                <a:lnTo>
                  <a:pt x="1039" y="191"/>
                </a:lnTo>
                <a:lnTo>
                  <a:pt x="1039" y="186"/>
                </a:lnTo>
                <a:lnTo>
                  <a:pt x="1038" y="181"/>
                </a:lnTo>
                <a:lnTo>
                  <a:pt x="1038" y="178"/>
                </a:lnTo>
                <a:lnTo>
                  <a:pt x="1039" y="173"/>
                </a:lnTo>
                <a:lnTo>
                  <a:pt x="1045" y="169"/>
                </a:lnTo>
                <a:lnTo>
                  <a:pt x="1050" y="166"/>
                </a:lnTo>
                <a:lnTo>
                  <a:pt x="1063" y="166"/>
                </a:lnTo>
                <a:lnTo>
                  <a:pt x="1066" y="166"/>
                </a:lnTo>
                <a:lnTo>
                  <a:pt x="1068" y="170"/>
                </a:lnTo>
                <a:lnTo>
                  <a:pt x="1071" y="170"/>
                </a:lnTo>
                <a:lnTo>
                  <a:pt x="1074" y="169"/>
                </a:lnTo>
                <a:lnTo>
                  <a:pt x="1075" y="165"/>
                </a:lnTo>
                <a:lnTo>
                  <a:pt x="1081" y="162"/>
                </a:lnTo>
                <a:lnTo>
                  <a:pt x="1082" y="158"/>
                </a:lnTo>
                <a:lnTo>
                  <a:pt x="1088" y="148"/>
                </a:lnTo>
                <a:lnTo>
                  <a:pt x="1093" y="148"/>
                </a:lnTo>
                <a:lnTo>
                  <a:pt x="1100" y="148"/>
                </a:lnTo>
                <a:lnTo>
                  <a:pt x="1106" y="144"/>
                </a:lnTo>
                <a:lnTo>
                  <a:pt x="1110" y="144"/>
                </a:lnTo>
                <a:lnTo>
                  <a:pt x="1114" y="148"/>
                </a:lnTo>
                <a:lnTo>
                  <a:pt x="1121" y="146"/>
                </a:lnTo>
                <a:lnTo>
                  <a:pt x="1122" y="142"/>
                </a:lnTo>
                <a:lnTo>
                  <a:pt x="1132" y="142"/>
                </a:lnTo>
                <a:lnTo>
                  <a:pt x="1138" y="144"/>
                </a:lnTo>
                <a:lnTo>
                  <a:pt x="1146" y="140"/>
                </a:lnTo>
                <a:lnTo>
                  <a:pt x="1145" y="137"/>
                </a:lnTo>
                <a:lnTo>
                  <a:pt x="1146" y="134"/>
                </a:lnTo>
                <a:lnTo>
                  <a:pt x="1160" y="129"/>
                </a:lnTo>
                <a:lnTo>
                  <a:pt x="1167" y="121"/>
                </a:lnTo>
                <a:lnTo>
                  <a:pt x="1172" y="124"/>
                </a:lnTo>
                <a:lnTo>
                  <a:pt x="1175" y="121"/>
                </a:lnTo>
                <a:lnTo>
                  <a:pt x="1177" y="121"/>
                </a:lnTo>
                <a:lnTo>
                  <a:pt x="1177" y="117"/>
                </a:lnTo>
                <a:lnTo>
                  <a:pt x="1185" y="112"/>
                </a:lnTo>
                <a:lnTo>
                  <a:pt x="1188" y="112"/>
                </a:lnTo>
                <a:lnTo>
                  <a:pt x="1189" y="115"/>
                </a:lnTo>
                <a:lnTo>
                  <a:pt x="1192" y="115"/>
                </a:lnTo>
                <a:lnTo>
                  <a:pt x="1193" y="115"/>
                </a:lnTo>
                <a:lnTo>
                  <a:pt x="1196" y="111"/>
                </a:lnTo>
                <a:lnTo>
                  <a:pt x="1200" y="109"/>
                </a:lnTo>
                <a:lnTo>
                  <a:pt x="1203" y="107"/>
                </a:lnTo>
                <a:lnTo>
                  <a:pt x="1211" y="109"/>
                </a:lnTo>
                <a:lnTo>
                  <a:pt x="1214" y="112"/>
                </a:lnTo>
                <a:lnTo>
                  <a:pt x="1218" y="112"/>
                </a:lnTo>
                <a:lnTo>
                  <a:pt x="1222" y="115"/>
                </a:lnTo>
                <a:lnTo>
                  <a:pt x="1228" y="117"/>
                </a:lnTo>
                <a:lnTo>
                  <a:pt x="1235" y="117"/>
                </a:lnTo>
                <a:lnTo>
                  <a:pt x="1235" y="124"/>
                </a:lnTo>
                <a:lnTo>
                  <a:pt x="1243" y="131"/>
                </a:lnTo>
                <a:lnTo>
                  <a:pt x="1250" y="129"/>
                </a:lnTo>
                <a:lnTo>
                  <a:pt x="1256" y="132"/>
                </a:lnTo>
                <a:lnTo>
                  <a:pt x="1260" y="136"/>
                </a:lnTo>
                <a:lnTo>
                  <a:pt x="1266" y="136"/>
                </a:lnTo>
                <a:lnTo>
                  <a:pt x="1271" y="140"/>
                </a:lnTo>
                <a:lnTo>
                  <a:pt x="1277" y="140"/>
                </a:lnTo>
                <a:lnTo>
                  <a:pt x="1282" y="140"/>
                </a:lnTo>
                <a:lnTo>
                  <a:pt x="1287" y="138"/>
                </a:lnTo>
                <a:lnTo>
                  <a:pt x="1295" y="132"/>
                </a:lnTo>
                <a:lnTo>
                  <a:pt x="1295" y="125"/>
                </a:lnTo>
                <a:lnTo>
                  <a:pt x="1301" y="120"/>
                </a:lnTo>
                <a:lnTo>
                  <a:pt x="1302" y="116"/>
                </a:lnTo>
                <a:lnTo>
                  <a:pt x="1307" y="109"/>
                </a:lnTo>
                <a:lnTo>
                  <a:pt x="1315" y="107"/>
                </a:lnTo>
                <a:lnTo>
                  <a:pt x="1315" y="101"/>
                </a:lnTo>
                <a:lnTo>
                  <a:pt x="1319" y="98"/>
                </a:lnTo>
                <a:lnTo>
                  <a:pt x="1324" y="98"/>
                </a:lnTo>
                <a:lnTo>
                  <a:pt x="1327" y="99"/>
                </a:lnTo>
                <a:lnTo>
                  <a:pt x="1331" y="98"/>
                </a:lnTo>
                <a:lnTo>
                  <a:pt x="1331" y="95"/>
                </a:lnTo>
                <a:lnTo>
                  <a:pt x="1334" y="89"/>
                </a:lnTo>
                <a:lnTo>
                  <a:pt x="1332" y="86"/>
                </a:lnTo>
                <a:lnTo>
                  <a:pt x="1335" y="81"/>
                </a:lnTo>
                <a:lnTo>
                  <a:pt x="1341" y="83"/>
                </a:lnTo>
                <a:lnTo>
                  <a:pt x="1359" y="75"/>
                </a:lnTo>
                <a:lnTo>
                  <a:pt x="1362" y="75"/>
                </a:lnTo>
                <a:lnTo>
                  <a:pt x="1366" y="75"/>
                </a:lnTo>
                <a:lnTo>
                  <a:pt x="1367" y="71"/>
                </a:lnTo>
                <a:lnTo>
                  <a:pt x="1373" y="70"/>
                </a:lnTo>
                <a:lnTo>
                  <a:pt x="1376" y="66"/>
                </a:lnTo>
                <a:lnTo>
                  <a:pt x="1381" y="66"/>
                </a:lnTo>
                <a:lnTo>
                  <a:pt x="1385" y="61"/>
                </a:lnTo>
                <a:lnTo>
                  <a:pt x="1385" y="57"/>
                </a:lnTo>
                <a:lnTo>
                  <a:pt x="1394" y="50"/>
                </a:lnTo>
                <a:lnTo>
                  <a:pt x="1396" y="50"/>
                </a:lnTo>
                <a:lnTo>
                  <a:pt x="1399" y="54"/>
                </a:lnTo>
                <a:lnTo>
                  <a:pt x="1406" y="53"/>
                </a:lnTo>
                <a:lnTo>
                  <a:pt x="1409" y="54"/>
                </a:lnTo>
                <a:lnTo>
                  <a:pt x="1410" y="50"/>
                </a:lnTo>
                <a:lnTo>
                  <a:pt x="1407" y="46"/>
                </a:lnTo>
                <a:lnTo>
                  <a:pt x="1413" y="41"/>
                </a:lnTo>
                <a:lnTo>
                  <a:pt x="1416" y="41"/>
                </a:lnTo>
                <a:lnTo>
                  <a:pt x="1420" y="45"/>
                </a:lnTo>
                <a:lnTo>
                  <a:pt x="1421" y="45"/>
                </a:lnTo>
                <a:lnTo>
                  <a:pt x="1434" y="37"/>
                </a:lnTo>
                <a:lnTo>
                  <a:pt x="1437" y="32"/>
                </a:lnTo>
                <a:lnTo>
                  <a:pt x="1441" y="30"/>
                </a:lnTo>
                <a:lnTo>
                  <a:pt x="1441" y="28"/>
                </a:lnTo>
                <a:lnTo>
                  <a:pt x="1451" y="28"/>
                </a:lnTo>
                <a:lnTo>
                  <a:pt x="1455" y="26"/>
                </a:lnTo>
                <a:lnTo>
                  <a:pt x="1469" y="26"/>
                </a:lnTo>
                <a:lnTo>
                  <a:pt x="1473" y="28"/>
                </a:lnTo>
                <a:lnTo>
                  <a:pt x="1477" y="28"/>
                </a:lnTo>
                <a:lnTo>
                  <a:pt x="1492" y="22"/>
                </a:lnTo>
                <a:lnTo>
                  <a:pt x="1508" y="20"/>
                </a:lnTo>
                <a:lnTo>
                  <a:pt x="1519" y="13"/>
                </a:lnTo>
                <a:lnTo>
                  <a:pt x="1524" y="14"/>
                </a:lnTo>
                <a:lnTo>
                  <a:pt x="1533" y="14"/>
                </a:lnTo>
                <a:lnTo>
                  <a:pt x="1538" y="9"/>
                </a:lnTo>
                <a:lnTo>
                  <a:pt x="1541" y="5"/>
                </a:lnTo>
                <a:lnTo>
                  <a:pt x="1544" y="1"/>
                </a:lnTo>
                <a:lnTo>
                  <a:pt x="1551" y="5"/>
                </a:lnTo>
                <a:lnTo>
                  <a:pt x="1561" y="5"/>
                </a:lnTo>
                <a:lnTo>
                  <a:pt x="1567" y="4"/>
                </a:lnTo>
                <a:lnTo>
                  <a:pt x="1570" y="5"/>
                </a:lnTo>
                <a:lnTo>
                  <a:pt x="1570" y="12"/>
                </a:lnTo>
                <a:lnTo>
                  <a:pt x="1573" y="16"/>
                </a:lnTo>
                <a:lnTo>
                  <a:pt x="1577" y="9"/>
                </a:lnTo>
                <a:lnTo>
                  <a:pt x="1576" y="9"/>
                </a:lnTo>
                <a:lnTo>
                  <a:pt x="1575" y="5"/>
                </a:lnTo>
                <a:lnTo>
                  <a:pt x="1577" y="5"/>
                </a:lnTo>
                <a:lnTo>
                  <a:pt x="1579" y="0"/>
                </a:lnTo>
                <a:lnTo>
                  <a:pt x="1581" y="0"/>
                </a:lnTo>
                <a:lnTo>
                  <a:pt x="1584" y="1"/>
                </a:lnTo>
                <a:lnTo>
                  <a:pt x="1572" y="26"/>
                </a:lnTo>
                <a:lnTo>
                  <a:pt x="1570" y="32"/>
                </a:lnTo>
                <a:lnTo>
                  <a:pt x="1566" y="42"/>
                </a:lnTo>
                <a:lnTo>
                  <a:pt x="1565" y="54"/>
                </a:lnTo>
                <a:lnTo>
                  <a:pt x="1558" y="66"/>
                </a:lnTo>
                <a:lnTo>
                  <a:pt x="1556" y="67"/>
                </a:lnTo>
                <a:lnTo>
                  <a:pt x="1555" y="62"/>
                </a:lnTo>
                <a:lnTo>
                  <a:pt x="1558" y="62"/>
                </a:lnTo>
                <a:lnTo>
                  <a:pt x="1559" y="61"/>
                </a:lnTo>
                <a:lnTo>
                  <a:pt x="1556" y="58"/>
                </a:lnTo>
                <a:lnTo>
                  <a:pt x="1556" y="57"/>
                </a:lnTo>
                <a:lnTo>
                  <a:pt x="1559" y="57"/>
                </a:lnTo>
                <a:lnTo>
                  <a:pt x="1559" y="54"/>
                </a:lnTo>
                <a:lnTo>
                  <a:pt x="1556" y="46"/>
                </a:lnTo>
                <a:lnTo>
                  <a:pt x="1554" y="46"/>
                </a:lnTo>
                <a:lnTo>
                  <a:pt x="1549" y="49"/>
                </a:lnTo>
                <a:lnTo>
                  <a:pt x="1548" y="46"/>
                </a:lnTo>
                <a:lnTo>
                  <a:pt x="1542" y="50"/>
                </a:lnTo>
                <a:lnTo>
                  <a:pt x="1538" y="57"/>
                </a:lnTo>
                <a:lnTo>
                  <a:pt x="1537" y="58"/>
                </a:lnTo>
                <a:lnTo>
                  <a:pt x="1540" y="62"/>
                </a:lnTo>
                <a:lnTo>
                  <a:pt x="1545" y="58"/>
                </a:lnTo>
                <a:lnTo>
                  <a:pt x="1542" y="66"/>
                </a:lnTo>
                <a:lnTo>
                  <a:pt x="1544" y="71"/>
                </a:lnTo>
                <a:lnTo>
                  <a:pt x="1548" y="75"/>
                </a:lnTo>
                <a:lnTo>
                  <a:pt x="1554" y="76"/>
                </a:lnTo>
                <a:lnTo>
                  <a:pt x="1551" y="99"/>
                </a:lnTo>
                <a:lnTo>
                  <a:pt x="1548" y="106"/>
                </a:lnTo>
                <a:lnTo>
                  <a:pt x="1540" y="103"/>
                </a:lnTo>
                <a:lnTo>
                  <a:pt x="1540" y="101"/>
                </a:lnTo>
                <a:lnTo>
                  <a:pt x="1542" y="99"/>
                </a:lnTo>
                <a:lnTo>
                  <a:pt x="1540" y="95"/>
                </a:lnTo>
                <a:lnTo>
                  <a:pt x="1535" y="98"/>
                </a:lnTo>
                <a:lnTo>
                  <a:pt x="1535" y="99"/>
                </a:lnTo>
                <a:lnTo>
                  <a:pt x="1534" y="101"/>
                </a:lnTo>
                <a:lnTo>
                  <a:pt x="1524" y="103"/>
                </a:lnTo>
                <a:lnTo>
                  <a:pt x="1519" y="108"/>
                </a:lnTo>
                <a:lnTo>
                  <a:pt x="1517" y="108"/>
                </a:lnTo>
                <a:lnTo>
                  <a:pt x="1517" y="107"/>
                </a:lnTo>
                <a:lnTo>
                  <a:pt x="1519" y="103"/>
                </a:lnTo>
                <a:lnTo>
                  <a:pt x="1516" y="95"/>
                </a:lnTo>
                <a:lnTo>
                  <a:pt x="1517" y="91"/>
                </a:lnTo>
                <a:lnTo>
                  <a:pt x="1513" y="94"/>
                </a:lnTo>
                <a:lnTo>
                  <a:pt x="1512" y="98"/>
                </a:lnTo>
                <a:lnTo>
                  <a:pt x="1512" y="99"/>
                </a:lnTo>
                <a:lnTo>
                  <a:pt x="1515" y="101"/>
                </a:lnTo>
                <a:lnTo>
                  <a:pt x="1509" y="103"/>
                </a:lnTo>
                <a:lnTo>
                  <a:pt x="1505" y="101"/>
                </a:lnTo>
                <a:lnTo>
                  <a:pt x="1504" y="98"/>
                </a:lnTo>
                <a:lnTo>
                  <a:pt x="1505" y="92"/>
                </a:lnTo>
                <a:lnTo>
                  <a:pt x="1501" y="89"/>
                </a:lnTo>
                <a:lnTo>
                  <a:pt x="1502" y="94"/>
                </a:lnTo>
                <a:lnTo>
                  <a:pt x="1501" y="95"/>
                </a:lnTo>
                <a:lnTo>
                  <a:pt x="1496" y="92"/>
                </a:lnTo>
                <a:lnTo>
                  <a:pt x="1491" y="91"/>
                </a:lnTo>
                <a:lnTo>
                  <a:pt x="1490" y="91"/>
                </a:lnTo>
                <a:lnTo>
                  <a:pt x="1491" y="95"/>
                </a:lnTo>
                <a:lnTo>
                  <a:pt x="1494" y="95"/>
                </a:lnTo>
                <a:lnTo>
                  <a:pt x="1498" y="106"/>
                </a:lnTo>
                <a:lnTo>
                  <a:pt x="1498" y="108"/>
                </a:lnTo>
                <a:lnTo>
                  <a:pt x="1496" y="108"/>
                </a:lnTo>
                <a:lnTo>
                  <a:pt x="1499" y="115"/>
                </a:lnTo>
                <a:lnTo>
                  <a:pt x="1498" y="116"/>
                </a:lnTo>
                <a:lnTo>
                  <a:pt x="1498" y="117"/>
                </a:lnTo>
                <a:lnTo>
                  <a:pt x="1494" y="121"/>
                </a:lnTo>
                <a:lnTo>
                  <a:pt x="1492" y="121"/>
                </a:lnTo>
                <a:lnTo>
                  <a:pt x="1491" y="117"/>
                </a:lnTo>
                <a:lnTo>
                  <a:pt x="1490" y="117"/>
                </a:lnTo>
                <a:lnTo>
                  <a:pt x="1490" y="121"/>
                </a:lnTo>
                <a:lnTo>
                  <a:pt x="1484" y="125"/>
                </a:lnTo>
                <a:lnTo>
                  <a:pt x="1485" y="128"/>
                </a:lnTo>
                <a:lnTo>
                  <a:pt x="1490" y="125"/>
                </a:lnTo>
                <a:lnTo>
                  <a:pt x="1498" y="125"/>
                </a:lnTo>
                <a:lnTo>
                  <a:pt x="1505" y="129"/>
                </a:lnTo>
                <a:lnTo>
                  <a:pt x="1504" y="132"/>
                </a:lnTo>
                <a:lnTo>
                  <a:pt x="1506" y="133"/>
                </a:lnTo>
                <a:lnTo>
                  <a:pt x="1508" y="133"/>
                </a:lnTo>
                <a:lnTo>
                  <a:pt x="1513" y="140"/>
                </a:lnTo>
                <a:lnTo>
                  <a:pt x="1513" y="142"/>
                </a:lnTo>
                <a:lnTo>
                  <a:pt x="1510" y="144"/>
                </a:lnTo>
                <a:lnTo>
                  <a:pt x="1512" y="148"/>
                </a:lnTo>
                <a:lnTo>
                  <a:pt x="1509" y="148"/>
                </a:lnTo>
                <a:lnTo>
                  <a:pt x="1512" y="151"/>
                </a:lnTo>
                <a:lnTo>
                  <a:pt x="1513" y="150"/>
                </a:lnTo>
                <a:lnTo>
                  <a:pt x="1513" y="144"/>
                </a:lnTo>
                <a:lnTo>
                  <a:pt x="1515" y="144"/>
                </a:lnTo>
                <a:lnTo>
                  <a:pt x="1515" y="146"/>
                </a:lnTo>
                <a:lnTo>
                  <a:pt x="1516" y="146"/>
                </a:lnTo>
                <a:lnTo>
                  <a:pt x="1516" y="144"/>
                </a:lnTo>
                <a:lnTo>
                  <a:pt x="1520" y="140"/>
                </a:lnTo>
                <a:lnTo>
                  <a:pt x="1520" y="137"/>
                </a:lnTo>
                <a:lnTo>
                  <a:pt x="1521" y="134"/>
                </a:lnTo>
                <a:lnTo>
                  <a:pt x="1523" y="133"/>
                </a:lnTo>
                <a:lnTo>
                  <a:pt x="1526" y="136"/>
                </a:lnTo>
                <a:lnTo>
                  <a:pt x="1531" y="144"/>
                </a:lnTo>
                <a:lnTo>
                  <a:pt x="1531" y="154"/>
                </a:lnTo>
                <a:lnTo>
                  <a:pt x="1529" y="160"/>
                </a:lnTo>
                <a:lnTo>
                  <a:pt x="1527" y="161"/>
                </a:lnTo>
                <a:lnTo>
                  <a:pt x="1523" y="161"/>
                </a:lnTo>
                <a:lnTo>
                  <a:pt x="1520" y="165"/>
                </a:lnTo>
                <a:lnTo>
                  <a:pt x="1520" y="166"/>
                </a:lnTo>
                <a:lnTo>
                  <a:pt x="1513" y="169"/>
                </a:lnTo>
                <a:lnTo>
                  <a:pt x="1510" y="170"/>
                </a:lnTo>
                <a:lnTo>
                  <a:pt x="1516" y="170"/>
                </a:lnTo>
                <a:lnTo>
                  <a:pt x="1515" y="173"/>
                </a:lnTo>
                <a:lnTo>
                  <a:pt x="1517" y="174"/>
                </a:lnTo>
                <a:lnTo>
                  <a:pt x="1517" y="176"/>
                </a:lnTo>
                <a:lnTo>
                  <a:pt x="1516" y="179"/>
                </a:lnTo>
                <a:lnTo>
                  <a:pt x="1519" y="183"/>
                </a:lnTo>
                <a:lnTo>
                  <a:pt x="1520" y="183"/>
                </a:lnTo>
                <a:lnTo>
                  <a:pt x="1520" y="179"/>
                </a:lnTo>
                <a:lnTo>
                  <a:pt x="1520" y="178"/>
                </a:lnTo>
                <a:lnTo>
                  <a:pt x="1527" y="174"/>
                </a:lnTo>
                <a:lnTo>
                  <a:pt x="1529" y="176"/>
                </a:lnTo>
                <a:lnTo>
                  <a:pt x="1531" y="182"/>
                </a:lnTo>
                <a:lnTo>
                  <a:pt x="1535" y="181"/>
                </a:lnTo>
                <a:lnTo>
                  <a:pt x="1541" y="183"/>
                </a:lnTo>
                <a:lnTo>
                  <a:pt x="1541" y="188"/>
                </a:lnTo>
                <a:lnTo>
                  <a:pt x="1537" y="187"/>
                </a:lnTo>
                <a:lnTo>
                  <a:pt x="1534" y="191"/>
                </a:lnTo>
                <a:lnTo>
                  <a:pt x="1535" y="192"/>
                </a:lnTo>
                <a:lnTo>
                  <a:pt x="1537" y="188"/>
                </a:lnTo>
                <a:lnTo>
                  <a:pt x="1544" y="196"/>
                </a:lnTo>
                <a:lnTo>
                  <a:pt x="1542" y="200"/>
                </a:lnTo>
                <a:lnTo>
                  <a:pt x="1547" y="202"/>
                </a:lnTo>
                <a:lnTo>
                  <a:pt x="1547" y="203"/>
                </a:lnTo>
                <a:lnTo>
                  <a:pt x="1545" y="206"/>
                </a:lnTo>
                <a:lnTo>
                  <a:pt x="1547" y="208"/>
                </a:lnTo>
                <a:lnTo>
                  <a:pt x="1545" y="210"/>
                </a:lnTo>
                <a:lnTo>
                  <a:pt x="1547" y="211"/>
                </a:lnTo>
                <a:lnTo>
                  <a:pt x="1549" y="207"/>
                </a:lnTo>
                <a:lnTo>
                  <a:pt x="1552" y="206"/>
                </a:lnTo>
                <a:lnTo>
                  <a:pt x="1552" y="202"/>
                </a:lnTo>
                <a:lnTo>
                  <a:pt x="1554" y="196"/>
                </a:lnTo>
                <a:lnTo>
                  <a:pt x="1556" y="200"/>
                </a:lnTo>
                <a:lnTo>
                  <a:pt x="1559" y="202"/>
                </a:lnTo>
                <a:lnTo>
                  <a:pt x="1558" y="202"/>
                </a:lnTo>
                <a:lnTo>
                  <a:pt x="1558" y="203"/>
                </a:lnTo>
                <a:lnTo>
                  <a:pt x="1562" y="204"/>
                </a:lnTo>
                <a:lnTo>
                  <a:pt x="1562" y="210"/>
                </a:lnTo>
                <a:lnTo>
                  <a:pt x="1562" y="213"/>
                </a:lnTo>
                <a:lnTo>
                  <a:pt x="1563" y="215"/>
                </a:lnTo>
                <a:lnTo>
                  <a:pt x="1561" y="219"/>
                </a:lnTo>
                <a:lnTo>
                  <a:pt x="1561" y="221"/>
                </a:lnTo>
                <a:lnTo>
                  <a:pt x="1558" y="224"/>
                </a:lnTo>
                <a:lnTo>
                  <a:pt x="1556" y="229"/>
                </a:lnTo>
                <a:lnTo>
                  <a:pt x="1554" y="235"/>
                </a:lnTo>
                <a:lnTo>
                  <a:pt x="1549" y="227"/>
                </a:lnTo>
                <a:lnTo>
                  <a:pt x="1548" y="225"/>
                </a:lnTo>
                <a:lnTo>
                  <a:pt x="1538" y="227"/>
                </a:lnTo>
                <a:lnTo>
                  <a:pt x="1533" y="231"/>
                </a:lnTo>
                <a:lnTo>
                  <a:pt x="1524" y="231"/>
                </a:lnTo>
                <a:lnTo>
                  <a:pt x="1523" y="228"/>
                </a:lnTo>
                <a:lnTo>
                  <a:pt x="1526" y="229"/>
                </a:lnTo>
                <a:lnTo>
                  <a:pt x="1527" y="227"/>
                </a:lnTo>
                <a:lnTo>
                  <a:pt x="1524" y="225"/>
                </a:lnTo>
                <a:lnTo>
                  <a:pt x="1521" y="225"/>
                </a:lnTo>
                <a:lnTo>
                  <a:pt x="1519" y="215"/>
                </a:lnTo>
                <a:lnTo>
                  <a:pt x="1515" y="215"/>
                </a:lnTo>
                <a:lnTo>
                  <a:pt x="1519" y="224"/>
                </a:lnTo>
                <a:lnTo>
                  <a:pt x="1517" y="228"/>
                </a:lnTo>
                <a:lnTo>
                  <a:pt x="1519" y="232"/>
                </a:lnTo>
                <a:lnTo>
                  <a:pt x="1516" y="236"/>
                </a:lnTo>
                <a:lnTo>
                  <a:pt x="1521" y="237"/>
                </a:lnTo>
                <a:lnTo>
                  <a:pt x="1527" y="240"/>
                </a:lnTo>
                <a:lnTo>
                  <a:pt x="1537" y="237"/>
                </a:lnTo>
                <a:lnTo>
                  <a:pt x="1541" y="241"/>
                </a:lnTo>
                <a:lnTo>
                  <a:pt x="1540" y="245"/>
                </a:lnTo>
                <a:lnTo>
                  <a:pt x="1531" y="252"/>
                </a:lnTo>
                <a:lnTo>
                  <a:pt x="1533" y="253"/>
                </a:lnTo>
                <a:lnTo>
                  <a:pt x="1538" y="253"/>
                </a:lnTo>
                <a:lnTo>
                  <a:pt x="1535" y="254"/>
                </a:lnTo>
                <a:lnTo>
                  <a:pt x="1529" y="253"/>
                </a:lnTo>
                <a:lnTo>
                  <a:pt x="1529" y="254"/>
                </a:lnTo>
                <a:lnTo>
                  <a:pt x="1531" y="256"/>
                </a:lnTo>
                <a:lnTo>
                  <a:pt x="1529" y="256"/>
                </a:lnTo>
                <a:lnTo>
                  <a:pt x="1529" y="257"/>
                </a:lnTo>
                <a:lnTo>
                  <a:pt x="1530" y="258"/>
                </a:lnTo>
                <a:lnTo>
                  <a:pt x="1530" y="260"/>
                </a:lnTo>
                <a:lnTo>
                  <a:pt x="1534" y="260"/>
                </a:lnTo>
                <a:lnTo>
                  <a:pt x="1540" y="262"/>
                </a:lnTo>
                <a:lnTo>
                  <a:pt x="1541" y="272"/>
                </a:lnTo>
                <a:lnTo>
                  <a:pt x="1537" y="278"/>
                </a:lnTo>
                <a:lnTo>
                  <a:pt x="1540" y="285"/>
                </a:lnTo>
                <a:lnTo>
                  <a:pt x="1541" y="290"/>
                </a:lnTo>
                <a:lnTo>
                  <a:pt x="1542" y="289"/>
                </a:lnTo>
                <a:lnTo>
                  <a:pt x="1545" y="282"/>
                </a:lnTo>
                <a:lnTo>
                  <a:pt x="1552" y="281"/>
                </a:lnTo>
                <a:lnTo>
                  <a:pt x="1555" y="275"/>
                </a:lnTo>
                <a:lnTo>
                  <a:pt x="1561" y="272"/>
                </a:lnTo>
                <a:lnTo>
                  <a:pt x="1561" y="270"/>
                </a:lnTo>
                <a:lnTo>
                  <a:pt x="1559" y="272"/>
                </a:lnTo>
                <a:lnTo>
                  <a:pt x="1558" y="272"/>
                </a:lnTo>
                <a:lnTo>
                  <a:pt x="1563" y="263"/>
                </a:lnTo>
                <a:lnTo>
                  <a:pt x="1566" y="245"/>
                </a:lnTo>
                <a:lnTo>
                  <a:pt x="1569" y="240"/>
                </a:lnTo>
                <a:lnTo>
                  <a:pt x="1572" y="240"/>
                </a:lnTo>
                <a:lnTo>
                  <a:pt x="1567" y="277"/>
                </a:lnTo>
                <a:lnTo>
                  <a:pt x="1567" y="290"/>
                </a:lnTo>
                <a:lnTo>
                  <a:pt x="1570" y="311"/>
                </a:lnTo>
                <a:lnTo>
                  <a:pt x="1575" y="331"/>
                </a:lnTo>
                <a:lnTo>
                  <a:pt x="1584" y="360"/>
                </a:lnTo>
                <a:lnTo>
                  <a:pt x="1591" y="376"/>
                </a:lnTo>
                <a:lnTo>
                  <a:pt x="1600" y="392"/>
                </a:lnTo>
                <a:lnTo>
                  <a:pt x="1631" y="444"/>
                </a:lnTo>
                <a:lnTo>
                  <a:pt x="1640" y="461"/>
                </a:lnTo>
                <a:lnTo>
                  <a:pt x="1650" y="476"/>
                </a:lnTo>
                <a:lnTo>
                  <a:pt x="1679" y="503"/>
                </a:lnTo>
                <a:lnTo>
                  <a:pt x="1683" y="513"/>
                </a:lnTo>
                <a:lnTo>
                  <a:pt x="1684" y="526"/>
                </a:lnTo>
                <a:lnTo>
                  <a:pt x="1690" y="538"/>
                </a:lnTo>
                <a:lnTo>
                  <a:pt x="1692" y="543"/>
                </a:lnTo>
                <a:lnTo>
                  <a:pt x="1697" y="544"/>
                </a:lnTo>
                <a:lnTo>
                  <a:pt x="1697" y="548"/>
                </a:lnTo>
                <a:lnTo>
                  <a:pt x="1701" y="551"/>
                </a:lnTo>
                <a:lnTo>
                  <a:pt x="1698" y="552"/>
                </a:lnTo>
                <a:lnTo>
                  <a:pt x="1698" y="556"/>
                </a:lnTo>
                <a:lnTo>
                  <a:pt x="1700" y="560"/>
                </a:lnTo>
                <a:lnTo>
                  <a:pt x="1697" y="564"/>
                </a:lnTo>
                <a:lnTo>
                  <a:pt x="1698" y="573"/>
                </a:lnTo>
                <a:lnTo>
                  <a:pt x="1694" y="603"/>
                </a:lnTo>
                <a:lnTo>
                  <a:pt x="1694" y="606"/>
                </a:lnTo>
                <a:lnTo>
                  <a:pt x="1695" y="606"/>
                </a:lnTo>
                <a:lnTo>
                  <a:pt x="1694" y="608"/>
                </a:lnTo>
                <a:lnTo>
                  <a:pt x="1695" y="611"/>
                </a:lnTo>
                <a:lnTo>
                  <a:pt x="1700" y="611"/>
                </a:lnTo>
                <a:lnTo>
                  <a:pt x="1701" y="615"/>
                </a:lnTo>
                <a:lnTo>
                  <a:pt x="1704" y="618"/>
                </a:lnTo>
                <a:lnTo>
                  <a:pt x="1706" y="625"/>
                </a:lnTo>
                <a:lnTo>
                  <a:pt x="1704" y="634"/>
                </a:lnTo>
                <a:lnTo>
                  <a:pt x="1701" y="653"/>
                </a:lnTo>
                <a:lnTo>
                  <a:pt x="1704" y="664"/>
                </a:lnTo>
                <a:lnTo>
                  <a:pt x="1706" y="667"/>
                </a:lnTo>
                <a:lnTo>
                  <a:pt x="1705" y="675"/>
                </a:lnTo>
                <a:lnTo>
                  <a:pt x="1708" y="679"/>
                </a:lnTo>
                <a:lnTo>
                  <a:pt x="1706" y="693"/>
                </a:lnTo>
                <a:lnTo>
                  <a:pt x="1711" y="705"/>
                </a:lnTo>
                <a:lnTo>
                  <a:pt x="1714" y="705"/>
                </a:lnTo>
                <a:lnTo>
                  <a:pt x="1716" y="715"/>
                </a:lnTo>
                <a:lnTo>
                  <a:pt x="1719" y="717"/>
                </a:lnTo>
                <a:lnTo>
                  <a:pt x="1720" y="722"/>
                </a:lnTo>
                <a:lnTo>
                  <a:pt x="1720" y="730"/>
                </a:lnTo>
                <a:lnTo>
                  <a:pt x="1723" y="747"/>
                </a:lnTo>
                <a:lnTo>
                  <a:pt x="1726" y="756"/>
                </a:lnTo>
                <a:lnTo>
                  <a:pt x="1736" y="767"/>
                </a:lnTo>
                <a:lnTo>
                  <a:pt x="1736" y="770"/>
                </a:lnTo>
                <a:lnTo>
                  <a:pt x="1731" y="788"/>
                </a:lnTo>
                <a:lnTo>
                  <a:pt x="1733" y="791"/>
                </a:lnTo>
                <a:lnTo>
                  <a:pt x="1736" y="791"/>
                </a:lnTo>
                <a:lnTo>
                  <a:pt x="1736" y="793"/>
                </a:lnTo>
                <a:lnTo>
                  <a:pt x="1730" y="806"/>
                </a:lnTo>
                <a:lnTo>
                  <a:pt x="1729" y="814"/>
                </a:lnTo>
                <a:lnTo>
                  <a:pt x="1730" y="820"/>
                </a:lnTo>
                <a:lnTo>
                  <a:pt x="1733" y="825"/>
                </a:lnTo>
                <a:lnTo>
                  <a:pt x="1736" y="825"/>
                </a:lnTo>
                <a:lnTo>
                  <a:pt x="1739" y="825"/>
                </a:lnTo>
                <a:lnTo>
                  <a:pt x="1740" y="834"/>
                </a:lnTo>
                <a:lnTo>
                  <a:pt x="1737" y="859"/>
                </a:lnTo>
                <a:lnTo>
                  <a:pt x="1739" y="868"/>
                </a:lnTo>
                <a:lnTo>
                  <a:pt x="1739" y="876"/>
                </a:lnTo>
                <a:lnTo>
                  <a:pt x="1740" y="891"/>
                </a:lnTo>
                <a:lnTo>
                  <a:pt x="1747" y="911"/>
                </a:lnTo>
                <a:lnTo>
                  <a:pt x="1747" y="926"/>
                </a:lnTo>
                <a:lnTo>
                  <a:pt x="1747" y="940"/>
                </a:lnTo>
                <a:lnTo>
                  <a:pt x="1745" y="943"/>
                </a:lnTo>
                <a:lnTo>
                  <a:pt x="1747" y="949"/>
                </a:lnTo>
                <a:lnTo>
                  <a:pt x="1745" y="954"/>
                </a:lnTo>
                <a:lnTo>
                  <a:pt x="1747" y="956"/>
                </a:lnTo>
                <a:lnTo>
                  <a:pt x="1745" y="958"/>
                </a:lnTo>
                <a:lnTo>
                  <a:pt x="1745" y="963"/>
                </a:lnTo>
                <a:lnTo>
                  <a:pt x="1742" y="988"/>
                </a:lnTo>
                <a:lnTo>
                  <a:pt x="1747" y="990"/>
                </a:lnTo>
                <a:lnTo>
                  <a:pt x="1748" y="992"/>
                </a:lnTo>
                <a:lnTo>
                  <a:pt x="1750" y="992"/>
                </a:lnTo>
                <a:lnTo>
                  <a:pt x="1750" y="993"/>
                </a:lnTo>
                <a:lnTo>
                  <a:pt x="1751" y="993"/>
                </a:lnTo>
                <a:lnTo>
                  <a:pt x="1750" y="996"/>
                </a:lnTo>
                <a:lnTo>
                  <a:pt x="1751" y="998"/>
                </a:lnTo>
                <a:lnTo>
                  <a:pt x="1750" y="1003"/>
                </a:lnTo>
                <a:lnTo>
                  <a:pt x="1748" y="1004"/>
                </a:lnTo>
                <a:lnTo>
                  <a:pt x="1747" y="1003"/>
                </a:lnTo>
                <a:lnTo>
                  <a:pt x="1747" y="1005"/>
                </a:lnTo>
                <a:lnTo>
                  <a:pt x="1751" y="1008"/>
                </a:lnTo>
                <a:lnTo>
                  <a:pt x="1750" y="1011"/>
                </a:lnTo>
                <a:lnTo>
                  <a:pt x="1751" y="1011"/>
                </a:lnTo>
                <a:lnTo>
                  <a:pt x="1751" y="1012"/>
                </a:lnTo>
                <a:lnTo>
                  <a:pt x="1752" y="1012"/>
                </a:lnTo>
                <a:lnTo>
                  <a:pt x="1751" y="1015"/>
                </a:lnTo>
                <a:lnTo>
                  <a:pt x="1748" y="1018"/>
                </a:lnTo>
                <a:lnTo>
                  <a:pt x="1754" y="1016"/>
                </a:lnTo>
                <a:lnTo>
                  <a:pt x="1754" y="1020"/>
                </a:lnTo>
                <a:lnTo>
                  <a:pt x="1755" y="1020"/>
                </a:lnTo>
                <a:lnTo>
                  <a:pt x="1758" y="1018"/>
                </a:lnTo>
                <a:lnTo>
                  <a:pt x="1759" y="1020"/>
                </a:lnTo>
                <a:lnTo>
                  <a:pt x="1759" y="1018"/>
                </a:lnTo>
                <a:lnTo>
                  <a:pt x="1762" y="1012"/>
                </a:lnTo>
                <a:lnTo>
                  <a:pt x="1761" y="1012"/>
                </a:lnTo>
                <a:lnTo>
                  <a:pt x="1758" y="1012"/>
                </a:lnTo>
                <a:lnTo>
                  <a:pt x="1758" y="1008"/>
                </a:lnTo>
                <a:lnTo>
                  <a:pt x="1766" y="1000"/>
                </a:lnTo>
                <a:lnTo>
                  <a:pt x="1766" y="1003"/>
                </a:lnTo>
                <a:lnTo>
                  <a:pt x="1762" y="1005"/>
                </a:lnTo>
                <a:lnTo>
                  <a:pt x="1761" y="1011"/>
                </a:lnTo>
                <a:lnTo>
                  <a:pt x="1766" y="1010"/>
                </a:lnTo>
                <a:lnTo>
                  <a:pt x="1767" y="1005"/>
                </a:lnTo>
                <a:lnTo>
                  <a:pt x="1775" y="1007"/>
                </a:lnTo>
                <a:lnTo>
                  <a:pt x="1775" y="1010"/>
                </a:lnTo>
                <a:lnTo>
                  <a:pt x="1779" y="1011"/>
                </a:lnTo>
                <a:lnTo>
                  <a:pt x="1779" y="1020"/>
                </a:lnTo>
                <a:lnTo>
                  <a:pt x="1781" y="1016"/>
                </a:lnTo>
                <a:lnTo>
                  <a:pt x="1783" y="1012"/>
                </a:lnTo>
                <a:lnTo>
                  <a:pt x="1784" y="1015"/>
                </a:lnTo>
                <a:lnTo>
                  <a:pt x="1784" y="1011"/>
                </a:lnTo>
                <a:lnTo>
                  <a:pt x="1787" y="1010"/>
                </a:lnTo>
                <a:lnTo>
                  <a:pt x="1789" y="1010"/>
                </a:lnTo>
                <a:lnTo>
                  <a:pt x="1789" y="1007"/>
                </a:lnTo>
                <a:lnTo>
                  <a:pt x="1791" y="1008"/>
                </a:lnTo>
                <a:lnTo>
                  <a:pt x="1793" y="1007"/>
                </a:lnTo>
                <a:lnTo>
                  <a:pt x="1795" y="1007"/>
                </a:lnTo>
                <a:lnTo>
                  <a:pt x="1797" y="1010"/>
                </a:lnTo>
                <a:lnTo>
                  <a:pt x="1798" y="1015"/>
                </a:lnTo>
                <a:lnTo>
                  <a:pt x="1800" y="1004"/>
                </a:lnTo>
                <a:lnTo>
                  <a:pt x="1804" y="999"/>
                </a:lnTo>
                <a:lnTo>
                  <a:pt x="1805" y="1000"/>
                </a:lnTo>
                <a:lnTo>
                  <a:pt x="1808" y="999"/>
                </a:lnTo>
                <a:lnTo>
                  <a:pt x="1808" y="998"/>
                </a:lnTo>
                <a:lnTo>
                  <a:pt x="1811" y="998"/>
                </a:lnTo>
                <a:lnTo>
                  <a:pt x="1815" y="999"/>
                </a:lnTo>
                <a:lnTo>
                  <a:pt x="1811" y="993"/>
                </a:lnTo>
                <a:lnTo>
                  <a:pt x="1812" y="988"/>
                </a:lnTo>
                <a:lnTo>
                  <a:pt x="1816" y="990"/>
                </a:lnTo>
                <a:lnTo>
                  <a:pt x="1819" y="990"/>
                </a:lnTo>
                <a:lnTo>
                  <a:pt x="1816" y="988"/>
                </a:lnTo>
                <a:lnTo>
                  <a:pt x="1811" y="984"/>
                </a:lnTo>
                <a:lnTo>
                  <a:pt x="1814" y="979"/>
                </a:lnTo>
                <a:lnTo>
                  <a:pt x="1822" y="971"/>
                </a:lnTo>
                <a:lnTo>
                  <a:pt x="1837" y="963"/>
                </a:lnTo>
                <a:lnTo>
                  <a:pt x="1837" y="961"/>
                </a:lnTo>
                <a:lnTo>
                  <a:pt x="1840" y="959"/>
                </a:lnTo>
                <a:lnTo>
                  <a:pt x="1839" y="955"/>
                </a:lnTo>
                <a:lnTo>
                  <a:pt x="1839" y="954"/>
                </a:lnTo>
                <a:lnTo>
                  <a:pt x="1833" y="941"/>
                </a:lnTo>
                <a:lnTo>
                  <a:pt x="1836" y="938"/>
                </a:lnTo>
                <a:lnTo>
                  <a:pt x="1840" y="933"/>
                </a:lnTo>
                <a:lnTo>
                  <a:pt x="1844" y="931"/>
                </a:lnTo>
                <a:lnTo>
                  <a:pt x="1844" y="926"/>
                </a:lnTo>
                <a:lnTo>
                  <a:pt x="1847" y="925"/>
                </a:lnTo>
                <a:lnTo>
                  <a:pt x="1849" y="917"/>
                </a:lnTo>
                <a:lnTo>
                  <a:pt x="1851" y="916"/>
                </a:lnTo>
                <a:lnTo>
                  <a:pt x="1862" y="917"/>
                </a:lnTo>
                <a:lnTo>
                  <a:pt x="1868" y="918"/>
                </a:lnTo>
                <a:lnTo>
                  <a:pt x="1871" y="923"/>
                </a:lnTo>
                <a:lnTo>
                  <a:pt x="1875" y="931"/>
                </a:lnTo>
                <a:lnTo>
                  <a:pt x="1874" y="943"/>
                </a:lnTo>
                <a:lnTo>
                  <a:pt x="1878" y="953"/>
                </a:lnTo>
                <a:lnTo>
                  <a:pt x="1878" y="961"/>
                </a:lnTo>
                <a:lnTo>
                  <a:pt x="1885" y="974"/>
                </a:lnTo>
                <a:lnTo>
                  <a:pt x="1891" y="988"/>
                </a:lnTo>
                <a:lnTo>
                  <a:pt x="1897" y="1012"/>
                </a:lnTo>
                <a:lnTo>
                  <a:pt x="1897" y="1020"/>
                </a:lnTo>
                <a:lnTo>
                  <a:pt x="1901" y="1016"/>
                </a:lnTo>
                <a:lnTo>
                  <a:pt x="1900" y="1011"/>
                </a:lnTo>
                <a:lnTo>
                  <a:pt x="1903" y="1010"/>
                </a:lnTo>
                <a:lnTo>
                  <a:pt x="1901" y="1004"/>
                </a:lnTo>
                <a:lnTo>
                  <a:pt x="1904" y="1000"/>
                </a:lnTo>
                <a:lnTo>
                  <a:pt x="1903" y="998"/>
                </a:lnTo>
                <a:lnTo>
                  <a:pt x="1904" y="993"/>
                </a:lnTo>
                <a:lnTo>
                  <a:pt x="1905" y="992"/>
                </a:lnTo>
                <a:lnTo>
                  <a:pt x="1908" y="990"/>
                </a:lnTo>
                <a:lnTo>
                  <a:pt x="1911" y="982"/>
                </a:lnTo>
                <a:lnTo>
                  <a:pt x="1911" y="978"/>
                </a:lnTo>
                <a:lnTo>
                  <a:pt x="1912" y="976"/>
                </a:lnTo>
                <a:lnTo>
                  <a:pt x="1912" y="975"/>
                </a:lnTo>
                <a:lnTo>
                  <a:pt x="1910" y="974"/>
                </a:lnTo>
                <a:lnTo>
                  <a:pt x="1910" y="967"/>
                </a:lnTo>
                <a:lnTo>
                  <a:pt x="1915" y="967"/>
                </a:lnTo>
                <a:lnTo>
                  <a:pt x="1912" y="967"/>
                </a:lnTo>
                <a:lnTo>
                  <a:pt x="1912" y="963"/>
                </a:lnTo>
                <a:lnTo>
                  <a:pt x="1914" y="963"/>
                </a:lnTo>
                <a:lnTo>
                  <a:pt x="1914" y="962"/>
                </a:lnTo>
                <a:lnTo>
                  <a:pt x="1915" y="959"/>
                </a:lnTo>
                <a:lnTo>
                  <a:pt x="1915" y="958"/>
                </a:lnTo>
                <a:lnTo>
                  <a:pt x="1916" y="954"/>
                </a:lnTo>
                <a:lnTo>
                  <a:pt x="1916" y="951"/>
                </a:lnTo>
                <a:lnTo>
                  <a:pt x="1915" y="948"/>
                </a:lnTo>
                <a:lnTo>
                  <a:pt x="1914" y="940"/>
                </a:lnTo>
                <a:lnTo>
                  <a:pt x="1911" y="933"/>
                </a:lnTo>
                <a:lnTo>
                  <a:pt x="1915" y="937"/>
                </a:lnTo>
                <a:lnTo>
                  <a:pt x="1918" y="949"/>
                </a:lnTo>
                <a:lnTo>
                  <a:pt x="1918" y="962"/>
                </a:lnTo>
                <a:lnTo>
                  <a:pt x="1910" y="993"/>
                </a:lnTo>
                <a:lnTo>
                  <a:pt x="1904" y="1032"/>
                </a:lnTo>
                <a:lnTo>
                  <a:pt x="1905" y="1033"/>
                </a:lnTo>
                <a:lnTo>
                  <a:pt x="1904" y="1041"/>
                </a:lnTo>
                <a:lnTo>
                  <a:pt x="1904" y="1048"/>
                </a:lnTo>
                <a:lnTo>
                  <a:pt x="1908" y="1055"/>
                </a:lnTo>
                <a:lnTo>
                  <a:pt x="1908" y="1070"/>
                </a:lnTo>
                <a:lnTo>
                  <a:pt x="1911" y="1079"/>
                </a:lnTo>
                <a:lnTo>
                  <a:pt x="1914" y="1095"/>
                </a:lnTo>
                <a:lnTo>
                  <a:pt x="1915" y="1098"/>
                </a:lnTo>
                <a:lnTo>
                  <a:pt x="1914" y="1136"/>
                </a:lnTo>
                <a:lnTo>
                  <a:pt x="1912" y="1173"/>
                </a:lnTo>
                <a:lnTo>
                  <a:pt x="1912" y="1177"/>
                </a:lnTo>
                <a:lnTo>
                  <a:pt x="1908" y="1212"/>
                </a:lnTo>
                <a:lnTo>
                  <a:pt x="1901" y="1237"/>
                </a:lnTo>
                <a:lnTo>
                  <a:pt x="1899" y="1248"/>
                </a:lnTo>
                <a:lnTo>
                  <a:pt x="1887" y="1284"/>
                </a:lnTo>
                <a:lnTo>
                  <a:pt x="1883" y="1310"/>
                </a:lnTo>
                <a:lnTo>
                  <a:pt x="1883" y="1322"/>
                </a:lnTo>
                <a:lnTo>
                  <a:pt x="1885" y="1323"/>
                </a:lnTo>
                <a:lnTo>
                  <a:pt x="1885" y="1336"/>
                </a:lnTo>
                <a:lnTo>
                  <a:pt x="1887" y="1344"/>
                </a:lnTo>
                <a:lnTo>
                  <a:pt x="1887" y="1353"/>
                </a:lnTo>
                <a:lnTo>
                  <a:pt x="1890" y="1360"/>
                </a:lnTo>
                <a:lnTo>
                  <a:pt x="1890" y="1372"/>
                </a:lnTo>
                <a:lnTo>
                  <a:pt x="1893" y="1384"/>
                </a:lnTo>
                <a:lnTo>
                  <a:pt x="1893" y="1397"/>
                </a:lnTo>
                <a:lnTo>
                  <a:pt x="1891" y="1411"/>
                </a:lnTo>
                <a:lnTo>
                  <a:pt x="1891" y="1420"/>
                </a:lnTo>
                <a:lnTo>
                  <a:pt x="1890" y="1450"/>
                </a:lnTo>
                <a:lnTo>
                  <a:pt x="1891" y="1456"/>
                </a:lnTo>
                <a:lnTo>
                  <a:pt x="1891" y="1472"/>
                </a:lnTo>
                <a:lnTo>
                  <a:pt x="1894" y="1493"/>
                </a:lnTo>
                <a:lnTo>
                  <a:pt x="1894" y="1502"/>
                </a:lnTo>
                <a:lnTo>
                  <a:pt x="1900" y="1523"/>
                </a:lnTo>
                <a:lnTo>
                  <a:pt x="1904" y="1532"/>
                </a:lnTo>
                <a:lnTo>
                  <a:pt x="1903" y="1537"/>
                </a:lnTo>
                <a:lnTo>
                  <a:pt x="1911" y="1548"/>
                </a:lnTo>
                <a:lnTo>
                  <a:pt x="1911" y="1555"/>
                </a:lnTo>
                <a:lnTo>
                  <a:pt x="1916" y="1563"/>
                </a:lnTo>
                <a:lnTo>
                  <a:pt x="1915" y="1567"/>
                </a:lnTo>
                <a:lnTo>
                  <a:pt x="1918" y="1575"/>
                </a:lnTo>
                <a:lnTo>
                  <a:pt x="1916" y="1577"/>
                </a:lnTo>
                <a:lnTo>
                  <a:pt x="1916" y="1581"/>
                </a:lnTo>
                <a:lnTo>
                  <a:pt x="1918" y="1584"/>
                </a:lnTo>
                <a:lnTo>
                  <a:pt x="1928" y="1584"/>
                </a:lnTo>
                <a:lnTo>
                  <a:pt x="1936" y="1589"/>
                </a:lnTo>
                <a:lnTo>
                  <a:pt x="1939" y="1588"/>
                </a:lnTo>
                <a:lnTo>
                  <a:pt x="1941" y="1593"/>
                </a:lnTo>
                <a:lnTo>
                  <a:pt x="1943" y="1591"/>
                </a:lnTo>
                <a:lnTo>
                  <a:pt x="1941" y="1585"/>
                </a:lnTo>
                <a:lnTo>
                  <a:pt x="1936" y="1581"/>
                </a:lnTo>
                <a:lnTo>
                  <a:pt x="1929" y="1571"/>
                </a:lnTo>
                <a:lnTo>
                  <a:pt x="1926" y="1569"/>
                </a:lnTo>
                <a:lnTo>
                  <a:pt x="1922" y="1562"/>
                </a:lnTo>
                <a:lnTo>
                  <a:pt x="1919" y="1559"/>
                </a:lnTo>
                <a:lnTo>
                  <a:pt x="1919" y="1555"/>
                </a:lnTo>
                <a:lnTo>
                  <a:pt x="1918" y="1554"/>
                </a:lnTo>
                <a:lnTo>
                  <a:pt x="1916" y="1550"/>
                </a:lnTo>
                <a:lnTo>
                  <a:pt x="1918" y="1550"/>
                </a:lnTo>
                <a:lnTo>
                  <a:pt x="1926" y="1564"/>
                </a:lnTo>
                <a:lnTo>
                  <a:pt x="1932" y="1574"/>
                </a:lnTo>
                <a:lnTo>
                  <a:pt x="1939" y="1575"/>
                </a:lnTo>
                <a:lnTo>
                  <a:pt x="1941" y="1577"/>
                </a:lnTo>
                <a:lnTo>
                  <a:pt x="1955" y="1580"/>
                </a:lnTo>
                <a:lnTo>
                  <a:pt x="1958" y="1581"/>
                </a:lnTo>
                <a:lnTo>
                  <a:pt x="1962" y="1581"/>
                </a:lnTo>
                <a:close/>
                <a:moveTo>
                  <a:pt x="1874" y="513"/>
                </a:moveTo>
                <a:lnTo>
                  <a:pt x="1874" y="518"/>
                </a:lnTo>
                <a:lnTo>
                  <a:pt x="1875" y="524"/>
                </a:lnTo>
                <a:lnTo>
                  <a:pt x="1869" y="543"/>
                </a:lnTo>
                <a:lnTo>
                  <a:pt x="1872" y="548"/>
                </a:lnTo>
                <a:lnTo>
                  <a:pt x="1875" y="551"/>
                </a:lnTo>
                <a:lnTo>
                  <a:pt x="1878" y="551"/>
                </a:lnTo>
                <a:lnTo>
                  <a:pt x="1878" y="552"/>
                </a:lnTo>
                <a:lnTo>
                  <a:pt x="1868" y="583"/>
                </a:lnTo>
                <a:lnTo>
                  <a:pt x="1866" y="600"/>
                </a:lnTo>
                <a:lnTo>
                  <a:pt x="1855" y="620"/>
                </a:lnTo>
                <a:lnTo>
                  <a:pt x="1852" y="623"/>
                </a:lnTo>
                <a:lnTo>
                  <a:pt x="1849" y="634"/>
                </a:lnTo>
                <a:lnTo>
                  <a:pt x="1847" y="652"/>
                </a:lnTo>
                <a:lnTo>
                  <a:pt x="1850" y="660"/>
                </a:lnTo>
                <a:lnTo>
                  <a:pt x="1850" y="664"/>
                </a:lnTo>
                <a:lnTo>
                  <a:pt x="1844" y="675"/>
                </a:lnTo>
                <a:lnTo>
                  <a:pt x="1835" y="660"/>
                </a:lnTo>
                <a:lnTo>
                  <a:pt x="1833" y="659"/>
                </a:lnTo>
                <a:lnTo>
                  <a:pt x="1829" y="653"/>
                </a:lnTo>
                <a:lnTo>
                  <a:pt x="1827" y="650"/>
                </a:lnTo>
                <a:lnTo>
                  <a:pt x="1827" y="648"/>
                </a:lnTo>
                <a:lnTo>
                  <a:pt x="1829" y="647"/>
                </a:lnTo>
                <a:lnTo>
                  <a:pt x="1830" y="642"/>
                </a:lnTo>
                <a:lnTo>
                  <a:pt x="1829" y="637"/>
                </a:lnTo>
                <a:lnTo>
                  <a:pt x="1827" y="634"/>
                </a:lnTo>
                <a:lnTo>
                  <a:pt x="1827" y="631"/>
                </a:lnTo>
                <a:lnTo>
                  <a:pt x="1825" y="625"/>
                </a:lnTo>
                <a:lnTo>
                  <a:pt x="1819" y="620"/>
                </a:lnTo>
                <a:lnTo>
                  <a:pt x="1821" y="615"/>
                </a:lnTo>
                <a:lnTo>
                  <a:pt x="1826" y="615"/>
                </a:lnTo>
                <a:lnTo>
                  <a:pt x="1833" y="609"/>
                </a:lnTo>
                <a:lnTo>
                  <a:pt x="1837" y="601"/>
                </a:lnTo>
                <a:lnTo>
                  <a:pt x="1837" y="596"/>
                </a:lnTo>
                <a:lnTo>
                  <a:pt x="1835" y="586"/>
                </a:lnTo>
                <a:lnTo>
                  <a:pt x="1835" y="584"/>
                </a:lnTo>
                <a:lnTo>
                  <a:pt x="1832" y="576"/>
                </a:lnTo>
                <a:lnTo>
                  <a:pt x="1829" y="573"/>
                </a:lnTo>
                <a:lnTo>
                  <a:pt x="1826" y="566"/>
                </a:lnTo>
                <a:lnTo>
                  <a:pt x="1825" y="564"/>
                </a:lnTo>
                <a:lnTo>
                  <a:pt x="1841" y="552"/>
                </a:lnTo>
                <a:lnTo>
                  <a:pt x="1850" y="539"/>
                </a:lnTo>
                <a:lnTo>
                  <a:pt x="1850" y="526"/>
                </a:lnTo>
                <a:lnTo>
                  <a:pt x="1850" y="522"/>
                </a:lnTo>
                <a:lnTo>
                  <a:pt x="1852" y="522"/>
                </a:lnTo>
                <a:lnTo>
                  <a:pt x="1852" y="521"/>
                </a:lnTo>
                <a:lnTo>
                  <a:pt x="1852" y="510"/>
                </a:lnTo>
                <a:lnTo>
                  <a:pt x="1849" y="489"/>
                </a:lnTo>
                <a:lnTo>
                  <a:pt x="1854" y="484"/>
                </a:lnTo>
                <a:lnTo>
                  <a:pt x="1857" y="476"/>
                </a:lnTo>
                <a:lnTo>
                  <a:pt x="1857" y="463"/>
                </a:lnTo>
                <a:lnTo>
                  <a:pt x="1861" y="460"/>
                </a:lnTo>
                <a:lnTo>
                  <a:pt x="1864" y="457"/>
                </a:lnTo>
                <a:lnTo>
                  <a:pt x="1862" y="454"/>
                </a:lnTo>
                <a:lnTo>
                  <a:pt x="1861" y="451"/>
                </a:lnTo>
                <a:lnTo>
                  <a:pt x="1846" y="444"/>
                </a:lnTo>
                <a:lnTo>
                  <a:pt x="1841" y="441"/>
                </a:lnTo>
                <a:lnTo>
                  <a:pt x="1837" y="440"/>
                </a:lnTo>
                <a:lnTo>
                  <a:pt x="1840" y="440"/>
                </a:lnTo>
                <a:lnTo>
                  <a:pt x="1860" y="449"/>
                </a:lnTo>
                <a:lnTo>
                  <a:pt x="1865" y="447"/>
                </a:lnTo>
                <a:lnTo>
                  <a:pt x="1871" y="459"/>
                </a:lnTo>
                <a:lnTo>
                  <a:pt x="1875" y="464"/>
                </a:lnTo>
                <a:lnTo>
                  <a:pt x="1875" y="485"/>
                </a:lnTo>
                <a:lnTo>
                  <a:pt x="1878" y="488"/>
                </a:lnTo>
                <a:lnTo>
                  <a:pt x="1878" y="490"/>
                </a:lnTo>
                <a:lnTo>
                  <a:pt x="1874" y="513"/>
                </a:lnTo>
                <a:close/>
                <a:moveTo>
                  <a:pt x="1854" y="687"/>
                </a:moveTo>
                <a:lnTo>
                  <a:pt x="1854" y="693"/>
                </a:lnTo>
                <a:lnTo>
                  <a:pt x="1851" y="698"/>
                </a:lnTo>
                <a:lnTo>
                  <a:pt x="1847" y="715"/>
                </a:lnTo>
                <a:lnTo>
                  <a:pt x="1846" y="718"/>
                </a:lnTo>
                <a:lnTo>
                  <a:pt x="1843" y="749"/>
                </a:lnTo>
                <a:lnTo>
                  <a:pt x="1840" y="760"/>
                </a:lnTo>
                <a:lnTo>
                  <a:pt x="1836" y="770"/>
                </a:lnTo>
                <a:lnTo>
                  <a:pt x="1832" y="766"/>
                </a:lnTo>
                <a:lnTo>
                  <a:pt x="1822" y="762"/>
                </a:lnTo>
                <a:lnTo>
                  <a:pt x="1821" y="762"/>
                </a:lnTo>
                <a:lnTo>
                  <a:pt x="1818" y="754"/>
                </a:lnTo>
                <a:lnTo>
                  <a:pt x="1819" y="750"/>
                </a:lnTo>
                <a:lnTo>
                  <a:pt x="1818" y="743"/>
                </a:lnTo>
                <a:lnTo>
                  <a:pt x="1816" y="739"/>
                </a:lnTo>
                <a:lnTo>
                  <a:pt x="1809" y="734"/>
                </a:lnTo>
                <a:lnTo>
                  <a:pt x="1809" y="730"/>
                </a:lnTo>
                <a:lnTo>
                  <a:pt x="1815" y="729"/>
                </a:lnTo>
                <a:lnTo>
                  <a:pt x="1822" y="720"/>
                </a:lnTo>
                <a:lnTo>
                  <a:pt x="1830" y="717"/>
                </a:lnTo>
                <a:lnTo>
                  <a:pt x="1832" y="713"/>
                </a:lnTo>
                <a:lnTo>
                  <a:pt x="1843" y="715"/>
                </a:lnTo>
                <a:lnTo>
                  <a:pt x="1841" y="709"/>
                </a:lnTo>
                <a:lnTo>
                  <a:pt x="1841" y="705"/>
                </a:lnTo>
                <a:lnTo>
                  <a:pt x="1843" y="702"/>
                </a:lnTo>
                <a:lnTo>
                  <a:pt x="1847" y="700"/>
                </a:lnTo>
                <a:lnTo>
                  <a:pt x="1847" y="693"/>
                </a:lnTo>
                <a:lnTo>
                  <a:pt x="1850" y="687"/>
                </a:lnTo>
                <a:lnTo>
                  <a:pt x="1849" y="687"/>
                </a:lnTo>
                <a:lnTo>
                  <a:pt x="1849" y="683"/>
                </a:lnTo>
                <a:lnTo>
                  <a:pt x="1851" y="685"/>
                </a:lnTo>
                <a:lnTo>
                  <a:pt x="1854" y="687"/>
                </a:lnTo>
                <a:close/>
                <a:moveTo>
                  <a:pt x="1905" y="953"/>
                </a:moveTo>
                <a:lnTo>
                  <a:pt x="1907" y="958"/>
                </a:lnTo>
                <a:lnTo>
                  <a:pt x="1905" y="959"/>
                </a:lnTo>
                <a:lnTo>
                  <a:pt x="1904" y="963"/>
                </a:lnTo>
                <a:lnTo>
                  <a:pt x="1904" y="967"/>
                </a:lnTo>
                <a:lnTo>
                  <a:pt x="1897" y="963"/>
                </a:lnTo>
                <a:lnTo>
                  <a:pt x="1896" y="956"/>
                </a:lnTo>
                <a:lnTo>
                  <a:pt x="1896" y="951"/>
                </a:lnTo>
                <a:lnTo>
                  <a:pt x="1897" y="949"/>
                </a:lnTo>
                <a:lnTo>
                  <a:pt x="1900" y="945"/>
                </a:lnTo>
                <a:lnTo>
                  <a:pt x="1903" y="945"/>
                </a:lnTo>
                <a:lnTo>
                  <a:pt x="1904" y="949"/>
                </a:lnTo>
                <a:lnTo>
                  <a:pt x="1907" y="949"/>
                </a:lnTo>
                <a:lnTo>
                  <a:pt x="1907" y="951"/>
                </a:lnTo>
                <a:lnTo>
                  <a:pt x="1905" y="953"/>
                </a:lnTo>
                <a:close/>
                <a:moveTo>
                  <a:pt x="1826" y="806"/>
                </a:moveTo>
                <a:lnTo>
                  <a:pt x="1826" y="813"/>
                </a:lnTo>
                <a:lnTo>
                  <a:pt x="1829" y="824"/>
                </a:lnTo>
                <a:lnTo>
                  <a:pt x="1823" y="818"/>
                </a:lnTo>
                <a:lnTo>
                  <a:pt x="1818" y="824"/>
                </a:lnTo>
                <a:lnTo>
                  <a:pt x="1815" y="824"/>
                </a:lnTo>
                <a:lnTo>
                  <a:pt x="1816" y="816"/>
                </a:lnTo>
                <a:lnTo>
                  <a:pt x="1819" y="812"/>
                </a:lnTo>
                <a:lnTo>
                  <a:pt x="1822" y="806"/>
                </a:lnTo>
                <a:lnTo>
                  <a:pt x="1823" y="806"/>
                </a:lnTo>
                <a:lnTo>
                  <a:pt x="1826" y="806"/>
                </a:lnTo>
                <a:close/>
                <a:moveTo>
                  <a:pt x="1583" y="187"/>
                </a:moveTo>
                <a:lnTo>
                  <a:pt x="1583" y="192"/>
                </a:lnTo>
                <a:lnTo>
                  <a:pt x="1581" y="195"/>
                </a:lnTo>
                <a:lnTo>
                  <a:pt x="1580" y="186"/>
                </a:lnTo>
                <a:lnTo>
                  <a:pt x="1576" y="179"/>
                </a:lnTo>
                <a:lnTo>
                  <a:pt x="1577" y="173"/>
                </a:lnTo>
                <a:lnTo>
                  <a:pt x="1575" y="169"/>
                </a:lnTo>
                <a:lnTo>
                  <a:pt x="1575" y="166"/>
                </a:lnTo>
                <a:lnTo>
                  <a:pt x="1576" y="166"/>
                </a:lnTo>
                <a:lnTo>
                  <a:pt x="1580" y="173"/>
                </a:lnTo>
                <a:lnTo>
                  <a:pt x="1581" y="176"/>
                </a:lnTo>
                <a:lnTo>
                  <a:pt x="1583" y="187"/>
                </a:lnTo>
                <a:close/>
                <a:moveTo>
                  <a:pt x="1900" y="978"/>
                </a:moveTo>
                <a:lnTo>
                  <a:pt x="1901" y="982"/>
                </a:lnTo>
                <a:lnTo>
                  <a:pt x="1900" y="986"/>
                </a:lnTo>
                <a:lnTo>
                  <a:pt x="1896" y="987"/>
                </a:lnTo>
                <a:lnTo>
                  <a:pt x="1896" y="986"/>
                </a:lnTo>
                <a:lnTo>
                  <a:pt x="1896" y="980"/>
                </a:lnTo>
                <a:lnTo>
                  <a:pt x="1897" y="978"/>
                </a:lnTo>
                <a:lnTo>
                  <a:pt x="1897" y="976"/>
                </a:lnTo>
                <a:lnTo>
                  <a:pt x="1900" y="978"/>
                </a:lnTo>
                <a:close/>
                <a:moveTo>
                  <a:pt x="1754" y="531"/>
                </a:moveTo>
                <a:lnTo>
                  <a:pt x="1752" y="539"/>
                </a:lnTo>
                <a:lnTo>
                  <a:pt x="1750" y="538"/>
                </a:lnTo>
                <a:lnTo>
                  <a:pt x="1751" y="534"/>
                </a:lnTo>
                <a:lnTo>
                  <a:pt x="1751" y="531"/>
                </a:lnTo>
                <a:lnTo>
                  <a:pt x="1747" y="530"/>
                </a:lnTo>
                <a:lnTo>
                  <a:pt x="1747" y="526"/>
                </a:lnTo>
                <a:lnTo>
                  <a:pt x="1754" y="53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132" name="Freeform 131"/>
          <p:cNvSpPr>
            <a:spLocks noEditPoints="1"/>
          </p:cNvSpPr>
          <p:nvPr/>
        </p:nvSpPr>
        <p:spPr bwMode="auto">
          <a:xfrm>
            <a:off x="6222902" y="5443283"/>
            <a:ext cx="291445" cy="688671"/>
          </a:xfrm>
          <a:custGeom>
            <a:avLst/>
            <a:gdLst>
              <a:gd name="T0" fmla="*/ 679 w 970"/>
              <a:gd name="T1" fmla="*/ 1183 h 2143"/>
              <a:gd name="T2" fmla="*/ 650 w 970"/>
              <a:gd name="T3" fmla="*/ 1324 h 2143"/>
              <a:gd name="T4" fmla="*/ 618 w 970"/>
              <a:gd name="T5" fmla="*/ 1310 h 2143"/>
              <a:gd name="T6" fmla="*/ 464 w 970"/>
              <a:gd name="T7" fmla="*/ 1397 h 2143"/>
              <a:gd name="T8" fmla="*/ 455 w 970"/>
              <a:gd name="T9" fmla="*/ 1451 h 2143"/>
              <a:gd name="T10" fmla="*/ 425 w 970"/>
              <a:gd name="T11" fmla="*/ 1519 h 2143"/>
              <a:gd name="T12" fmla="*/ 542 w 970"/>
              <a:gd name="T13" fmla="*/ 1480 h 2143"/>
              <a:gd name="T14" fmla="*/ 617 w 970"/>
              <a:gd name="T15" fmla="*/ 1596 h 2143"/>
              <a:gd name="T16" fmla="*/ 756 w 970"/>
              <a:gd name="T17" fmla="*/ 1667 h 2143"/>
              <a:gd name="T18" fmla="*/ 769 w 970"/>
              <a:gd name="T19" fmla="*/ 1576 h 2143"/>
              <a:gd name="T20" fmla="*/ 786 w 970"/>
              <a:gd name="T21" fmla="*/ 1571 h 2143"/>
              <a:gd name="T22" fmla="*/ 797 w 970"/>
              <a:gd name="T23" fmla="*/ 1530 h 2143"/>
              <a:gd name="T24" fmla="*/ 799 w 970"/>
              <a:gd name="T25" fmla="*/ 1525 h 2143"/>
              <a:gd name="T26" fmla="*/ 821 w 970"/>
              <a:gd name="T27" fmla="*/ 1571 h 2143"/>
              <a:gd name="T28" fmla="*/ 808 w 970"/>
              <a:gd name="T29" fmla="*/ 1733 h 2143"/>
              <a:gd name="T30" fmla="*/ 794 w 970"/>
              <a:gd name="T31" fmla="*/ 1859 h 2143"/>
              <a:gd name="T32" fmla="*/ 785 w 970"/>
              <a:gd name="T33" fmla="*/ 2013 h 2143"/>
              <a:gd name="T34" fmla="*/ 775 w 970"/>
              <a:gd name="T35" fmla="*/ 2064 h 2143"/>
              <a:gd name="T36" fmla="*/ 769 w 970"/>
              <a:gd name="T37" fmla="*/ 2114 h 2143"/>
              <a:gd name="T38" fmla="*/ 778 w 970"/>
              <a:gd name="T39" fmla="*/ 2123 h 2143"/>
              <a:gd name="T40" fmla="*/ 326 w 970"/>
              <a:gd name="T41" fmla="*/ 2131 h 2143"/>
              <a:gd name="T42" fmla="*/ 311 w 970"/>
              <a:gd name="T43" fmla="*/ 2129 h 2143"/>
              <a:gd name="T44" fmla="*/ 293 w 970"/>
              <a:gd name="T45" fmla="*/ 2129 h 2143"/>
              <a:gd name="T46" fmla="*/ 276 w 970"/>
              <a:gd name="T47" fmla="*/ 2125 h 2143"/>
              <a:gd name="T48" fmla="*/ 258 w 970"/>
              <a:gd name="T49" fmla="*/ 2119 h 2143"/>
              <a:gd name="T50" fmla="*/ 241 w 970"/>
              <a:gd name="T51" fmla="*/ 2114 h 2143"/>
              <a:gd name="T52" fmla="*/ 226 w 970"/>
              <a:gd name="T53" fmla="*/ 2119 h 2143"/>
              <a:gd name="T54" fmla="*/ 218 w 970"/>
              <a:gd name="T55" fmla="*/ 2129 h 2143"/>
              <a:gd name="T56" fmla="*/ 201 w 970"/>
              <a:gd name="T57" fmla="*/ 2135 h 2143"/>
              <a:gd name="T58" fmla="*/ 184 w 970"/>
              <a:gd name="T59" fmla="*/ 2127 h 2143"/>
              <a:gd name="T60" fmla="*/ 170 w 970"/>
              <a:gd name="T61" fmla="*/ 2119 h 2143"/>
              <a:gd name="T62" fmla="*/ 168 w 970"/>
              <a:gd name="T63" fmla="*/ 1960 h 2143"/>
              <a:gd name="T64" fmla="*/ 138 w 970"/>
              <a:gd name="T65" fmla="*/ 1600 h 2143"/>
              <a:gd name="T66" fmla="*/ 35 w 970"/>
              <a:gd name="T67" fmla="*/ 1407 h 2143"/>
              <a:gd name="T68" fmla="*/ 48 w 970"/>
              <a:gd name="T69" fmla="*/ 989 h 2143"/>
              <a:gd name="T70" fmla="*/ 38 w 970"/>
              <a:gd name="T71" fmla="*/ 33 h 2143"/>
              <a:gd name="T72" fmla="*/ 113 w 970"/>
              <a:gd name="T73" fmla="*/ 0 h 2143"/>
              <a:gd name="T74" fmla="*/ 193 w 970"/>
              <a:gd name="T75" fmla="*/ 11 h 2143"/>
              <a:gd name="T76" fmla="*/ 222 w 970"/>
              <a:gd name="T77" fmla="*/ 20 h 2143"/>
              <a:gd name="T78" fmla="*/ 284 w 970"/>
              <a:gd name="T79" fmla="*/ 43 h 2143"/>
              <a:gd name="T80" fmla="*/ 332 w 970"/>
              <a:gd name="T81" fmla="*/ 35 h 2143"/>
              <a:gd name="T82" fmla="*/ 395 w 970"/>
              <a:gd name="T83" fmla="*/ 56 h 2143"/>
              <a:gd name="T84" fmla="*/ 457 w 970"/>
              <a:gd name="T85" fmla="*/ 105 h 2143"/>
              <a:gd name="T86" fmla="*/ 536 w 970"/>
              <a:gd name="T87" fmla="*/ 127 h 2143"/>
              <a:gd name="T88" fmla="*/ 624 w 970"/>
              <a:gd name="T89" fmla="*/ 156 h 2143"/>
              <a:gd name="T90" fmla="*/ 639 w 970"/>
              <a:gd name="T91" fmla="*/ 256 h 2143"/>
              <a:gd name="T92" fmla="*/ 672 w 970"/>
              <a:gd name="T93" fmla="*/ 294 h 2143"/>
              <a:gd name="T94" fmla="*/ 703 w 970"/>
              <a:gd name="T95" fmla="*/ 346 h 2143"/>
              <a:gd name="T96" fmla="*/ 733 w 970"/>
              <a:gd name="T97" fmla="*/ 391 h 2143"/>
              <a:gd name="T98" fmla="*/ 747 w 970"/>
              <a:gd name="T99" fmla="*/ 433 h 2143"/>
              <a:gd name="T100" fmla="*/ 785 w 970"/>
              <a:gd name="T101" fmla="*/ 450 h 2143"/>
              <a:gd name="T102" fmla="*/ 791 w 970"/>
              <a:gd name="T103" fmla="*/ 538 h 2143"/>
              <a:gd name="T104" fmla="*/ 799 w 970"/>
              <a:gd name="T105" fmla="*/ 560 h 2143"/>
              <a:gd name="T106" fmla="*/ 810 w 970"/>
              <a:gd name="T107" fmla="*/ 574 h 2143"/>
              <a:gd name="T108" fmla="*/ 791 w 970"/>
              <a:gd name="T109" fmla="*/ 588 h 2143"/>
              <a:gd name="T110" fmla="*/ 797 w 970"/>
              <a:gd name="T111" fmla="*/ 642 h 2143"/>
              <a:gd name="T112" fmla="*/ 813 w 970"/>
              <a:gd name="T113" fmla="*/ 698 h 2143"/>
              <a:gd name="T114" fmla="*/ 860 w 970"/>
              <a:gd name="T115" fmla="*/ 712 h 2143"/>
              <a:gd name="T116" fmla="*/ 846 w 970"/>
              <a:gd name="T117" fmla="*/ 741 h 2143"/>
              <a:gd name="T118" fmla="*/ 856 w 970"/>
              <a:gd name="T119" fmla="*/ 783 h 2143"/>
              <a:gd name="T120" fmla="*/ 967 w 970"/>
              <a:gd name="T121" fmla="*/ 866 h 2143"/>
              <a:gd name="T122" fmla="*/ 628 w 970"/>
              <a:gd name="T123" fmla="*/ 1310 h 214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970"/>
              <a:gd name="T187" fmla="*/ 0 h 2143"/>
              <a:gd name="T188" fmla="*/ 970 w 970"/>
              <a:gd name="T189" fmla="*/ 2143 h 214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970" h="2143">
                <a:moveTo>
                  <a:pt x="967" y="947"/>
                </a:moveTo>
                <a:lnTo>
                  <a:pt x="948" y="960"/>
                </a:lnTo>
                <a:lnTo>
                  <a:pt x="916" y="976"/>
                </a:lnTo>
                <a:lnTo>
                  <a:pt x="887" y="991"/>
                </a:lnTo>
                <a:lnTo>
                  <a:pt x="841" y="1023"/>
                </a:lnTo>
                <a:lnTo>
                  <a:pt x="810" y="1043"/>
                </a:lnTo>
                <a:lnTo>
                  <a:pt x="788" y="1057"/>
                </a:lnTo>
                <a:lnTo>
                  <a:pt x="743" y="1094"/>
                </a:lnTo>
                <a:lnTo>
                  <a:pt x="725" y="1111"/>
                </a:lnTo>
                <a:lnTo>
                  <a:pt x="717" y="1121"/>
                </a:lnTo>
                <a:lnTo>
                  <a:pt x="706" y="1135"/>
                </a:lnTo>
                <a:lnTo>
                  <a:pt x="694" y="1156"/>
                </a:lnTo>
                <a:lnTo>
                  <a:pt x="679" y="1183"/>
                </a:lnTo>
                <a:lnTo>
                  <a:pt x="661" y="1222"/>
                </a:lnTo>
                <a:lnTo>
                  <a:pt x="654" y="1242"/>
                </a:lnTo>
                <a:lnTo>
                  <a:pt x="649" y="1273"/>
                </a:lnTo>
                <a:lnTo>
                  <a:pt x="647" y="1288"/>
                </a:lnTo>
                <a:lnTo>
                  <a:pt x="653" y="1324"/>
                </a:lnTo>
                <a:lnTo>
                  <a:pt x="657" y="1334"/>
                </a:lnTo>
                <a:lnTo>
                  <a:pt x="661" y="1342"/>
                </a:lnTo>
                <a:lnTo>
                  <a:pt x="656" y="1342"/>
                </a:lnTo>
                <a:lnTo>
                  <a:pt x="654" y="1339"/>
                </a:lnTo>
                <a:lnTo>
                  <a:pt x="654" y="1335"/>
                </a:lnTo>
                <a:lnTo>
                  <a:pt x="652" y="1333"/>
                </a:lnTo>
                <a:lnTo>
                  <a:pt x="650" y="1332"/>
                </a:lnTo>
                <a:lnTo>
                  <a:pt x="650" y="1324"/>
                </a:lnTo>
                <a:lnTo>
                  <a:pt x="647" y="1317"/>
                </a:lnTo>
                <a:lnTo>
                  <a:pt x="649" y="1309"/>
                </a:lnTo>
                <a:lnTo>
                  <a:pt x="646" y="1298"/>
                </a:lnTo>
                <a:lnTo>
                  <a:pt x="646" y="1295"/>
                </a:lnTo>
                <a:lnTo>
                  <a:pt x="644" y="1289"/>
                </a:lnTo>
                <a:lnTo>
                  <a:pt x="642" y="1289"/>
                </a:lnTo>
                <a:lnTo>
                  <a:pt x="638" y="1289"/>
                </a:lnTo>
                <a:lnTo>
                  <a:pt x="636" y="1295"/>
                </a:lnTo>
                <a:lnTo>
                  <a:pt x="633" y="1300"/>
                </a:lnTo>
                <a:lnTo>
                  <a:pt x="627" y="1300"/>
                </a:lnTo>
                <a:lnTo>
                  <a:pt x="621" y="1302"/>
                </a:lnTo>
                <a:lnTo>
                  <a:pt x="621" y="1308"/>
                </a:lnTo>
                <a:lnTo>
                  <a:pt x="618" y="1310"/>
                </a:lnTo>
                <a:lnTo>
                  <a:pt x="618" y="1317"/>
                </a:lnTo>
                <a:lnTo>
                  <a:pt x="617" y="1318"/>
                </a:lnTo>
                <a:lnTo>
                  <a:pt x="617" y="1326"/>
                </a:lnTo>
                <a:lnTo>
                  <a:pt x="514" y="1292"/>
                </a:lnTo>
                <a:lnTo>
                  <a:pt x="508" y="1327"/>
                </a:lnTo>
                <a:lnTo>
                  <a:pt x="508" y="1347"/>
                </a:lnTo>
                <a:lnTo>
                  <a:pt x="505" y="1358"/>
                </a:lnTo>
                <a:lnTo>
                  <a:pt x="501" y="1367"/>
                </a:lnTo>
                <a:lnTo>
                  <a:pt x="497" y="1376"/>
                </a:lnTo>
                <a:lnTo>
                  <a:pt x="493" y="1379"/>
                </a:lnTo>
                <a:lnTo>
                  <a:pt x="484" y="1384"/>
                </a:lnTo>
                <a:lnTo>
                  <a:pt x="467" y="1392"/>
                </a:lnTo>
                <a:lnTo>
                  <a:pt x="464" y="1397"/>
                </a:lnTo>
                <a:lnTo>
                  <a:pt x="459" y="1412"/>
                </a:lnTo>
                <a:lnTo>
                  <a:pt x="455" y="1414"/>
                </a:lnTo>
                <a:lnTo>
                  <a:pt x="454" y="1413"/>
                </a:lnTo>
                <a:lnTo>
                  <a:pt x="451" y="1412"/>
                </a:lnTo>
                <a:lnTo>
                  <a:pt x="447" y="1414"/>
                </a:lnTo>
                <a:lnTo>
                  <a:pt x="447" y="1419"/>
                </a:lnTo>
                <a:lnTo>
                  <a:pt x="444" y="1420"/>
                </a:lnTo>
                <a:lnTo>
                  <a:pt x="443" y="1424"/>
                </a:lnTo>
                <a:lnTo>
                  <a:pt x="437" y="1432"/>
                </a:lnTo>
                <a:lnTo>
                  <a:pt x="437" y="1437"/>
                </a:lnTo>
                <a:lnTo>
                  <a:pt x="442" y="1449"/>
                </a:lnTo>
                <a:lnTo>
                  <a:pt x="448" y="1453"/>
                </a:lnTo>
                <a:lnTo>
                  <a:pt x="455" y="1451"/>
                </a:lnTo>
                <a:lnTo>
                  <a:pt x="457" y="1461"/>
                </a:lnTo>
                <a:lnTo>
                  <a:pt x="455" y="1466"/>
                </a:lnTo>
                <a:lnTo>
                  <a:pt x="451" y="1474"/>
                </a:lnTo>
                <a:lnTo>
                  <a:pt x="437" y="1489"/>
                </a:lnTo>
                <a:lnTo>
                  <a:pt x="430" y="1491"/>
                </a:lnTo>
                <a:lnTo>
                  <a:pt x="420" y="1487"/>
                </a:lnTo>
                <a:lnTo>
                  <a:pt x="417" y="1487"/>
                </a:lnTo>
                <a:lnTo>
                  <a:pt x="412" y="1489"/>
                </a:lnTo>
                <a:lnTo>
                  <a:pt x="411" y="1492"/>
                </a:lnTo>
                <a:lnTo>
                  <a:pt x="411" y="1498"/>
                </a:lnTo>
                <a:lnTo>
                  <a:pt x="417" y="1507"/>
                </a:lnTo>
                <a:lnTo>
                  <a:pt x="422" y="1517"/>
                </a:lnTo>
                <a:lnTo>
                  <a:pt x="425" y="1519"/>
                </a:lnTo>
                <a:lnTo>
                  <a:pt x="430" y="1514"/>
                </a:lnTo>
                <a:lnTo>
                  <a:pt x="433" y="1514"/>
                </a:lnTo>
                <a:lnTo>
                  <a:pt x="440" y="1517"/>
                </a:lnTo>
                <a:lnTo>
                  <a:pt x="444" y="1520"/>
                </a:lnTo>
                <a:lnTo>
                  <a:pt x="464" y="1512"/>
                </a:lnTo>
                <a:lnTo>
                  <a:pt x="469" y="1507"/>
                </a:lnTo>
                <a:lnTo>
                  <a:pt x="482" y="1505"/>
                </a:lnTo>
                <a:lnTo>
                  <a:pt x="497" y="1505"/>
                </a:lnTo>
                <a:lnTo>
                  <a:pt x="505" y="1507"/>
                </a:lnTo>
                <a:lnTo>
                  <a:pt x="509" y="1511"/>
                </a:lnTo>
                <a:lnTo>
                  <a:pt x="515" y="1512"/>
                </a:lnTo>
                <a:lnTo>
                  <a:pt x="523" y="1492"/>
                </a:lnTo>
                <a:lnTo>
                  <a:pt x="542" y="1480"/>
                </a:lnTo>
                <a:lnTo>
                  <a:pt x="546" y="1472"/>
                </a:lnTo>
                <a:lnTo>
                  <a:pt x="548" y="1478"/>
                </a:lnTo>
                <a:lnTo>
                  <a:pt x="562" y="1501"/>
                </a:lnTo>
                <a:lnTo>
                  <a:pt x="581" y="1521"/>
                </a:lnTo>
                <a:lnTo>
                  <a:pt x="592" y="1541"/>
                </a:lnTo>
                <a:lnTo>
                  <a:pt x="593" y="1546"/>
                </a:lnTo>
                <a:lnTo>
                  <a:pt x="592" y="1551"/>
                </a:lnTo>
                <a:lnTo>
                  <a:pt x="592" y="1557"/>
                </a:lnTo>
                <a:lnTo>
                  <a:pt x="593" y="1563"/>
                </a:lnTo>
                <a:lnTo>
                  <a:pt x="599" y="1573"/>
                </a:lnTo>
                <a:lnTo>
                  <a:pt x="604" y="1592"/>
                </a:lnTo>
                <a:lnTo>
                  <a:pt x="608" y="1595"/>
                </a:lnTo>
                <a:lnTo>
                  <a:pt x="617" y="1596"/>
                </a:lnTo>
                <a:lnTo>
                  <a:pt x="625" y="1594"/>
                </a:lnTo>
                <a:lnTo>
                  <a:pt x="635" y="1591"/>
                </a:lnTo>
                <a:lnTo>
                  <a:pt x="639" y="1591"/>
                </a:lnTo>
                <a:lnTo>
                  <a:pt x="646" y="1600"/>
                </a:lnTo>
                <a:lnTo>
                  <a:pt x="664" y="1613"/>
                </a:lnTo>
                <a:lnTo>
                  <a:pt x="682" y="1630"/>
                </a:lnTo>
                <a:lnTo>
                  <a:pt x="696" y="1640"/>
                </a:lnTo>
                <a:lnTo>
                  <a:pt x="706" y="1662"/>
                </a:lnTo>
                <a:lnTo>
                  <a:pt x="710" y="1666"/>
                </a:lnTo>
                <a:lnTo>
                  <a:pt x="727" y="1675"/>
                </a:lnTo>
                <a:lnTo>
                  <a:pt x="739" y="1675"/>
                </a:lnTo>
                <a:lnTo>
                  <a:pt x="746" y="1669"/>
                </a:lnTo>
                <a:lnTo>
                  <a:pt x="756" y="1667"/>
                </a:lnTo>
                <a:lnTo>
                  <a:pt x="764" y="1669"/>
                </a:lnTo>
                <a:lnTo>
                  <a:pt x="768" y="1672"/>
                </a:lnTo>
                <a:lnTo>
                  <a:pt x="768" y="1669"/>
                </a:lnTo>
                <a:lnTo>
                  <a:pt x="764" y="1663"/>
                </a:lnTo>
                <a:lnTo>
                  <a:pt x="758" y="1661"/>
                </a:lnTo>
                <a:lnTo>
                  <a:pt x="753" y="1652"/>
                </a:lnTo>
                <a:lnTo>
                  <a:pt x="756" y="1644"/>
                </a:lnTo>
                <a:lnTo>
                  <a:pt x="754" y="1619"/>
                </a:lnTo>
                <a:lnTo>
                  <a:pt x="754" y="1610"/>
                </a:lnTo>
                <a:lnTo>
                  <a:pt x="756" y="1603"/>
                </a:lnTo>
                <a:lnTo>
                  <a:pt x="761" y="1594"/>
                </a:lnTo>
                <a:lnTo>
                  <a:pt x="769" y="1571"/>
                </a:lnTo>
                <a:lnTo>
                  <a:pt x="769" y="1576"/>
                </a:lnTo>
                <a:lnTo>
                  <a:pt x="763" y="1594"/>
                </a:lnTo>
                <a:lnTo>
                  <a:pt x="757" y="1603"/>
                </a:lnTo>
                <a:lnTo>
                  <a:pt x="757" y="1607"/>
                </a:lnTo>
                <a:lnTo>
                  <a:pt x="761" y="1604"/>
                </a:lnTo>
                <a:lnTo>
                  <a:pt x="769" y="1592"/>
                </a:lnTo>
                <a:lnTo>
                  <a:pt x="769" y="1586"/>
                </a:lnTo>
                <a:lnTo>
                  <a:pt x="771" y="1582"/>
                </a:lnTo>
                <a:lnTo>
                  <a:pt x="772" y="1571"/>
                </a:lnTo>
                <a:lnTo>
                  <a:pt x="775" y="1570"/>
                </a:lnTo>
                <a:lnTo>
                  <a:pt x="775" y="1571"/>
                </a:lnTo>
                <a:lnTo>
                  <a:pt x="778" y="1571"/>
                </a:lnTo>
                <a:lnTo>
                  <a:pt x="781" y="1573"/>
                </a:lnTo>
                <a:lnTo>
                  <a:pt x="786" y="1571"/>
                </a:lnTo>
                <a:lnTo>
                  <a:pt x="783" y="1569"/>
                </a:lnTo>
                <a:lnTo>
                  <a:pt x="781" y="1570"/>
                </a:lnTo>
                <a:lnTo>
                  <a:pt x="782" y="1565"/>
                </a:lnTo>
                <a:lnTo>
                  <a:pt x="782" y="1561"/>
                </a:lnTo>
                <a:lnTo>
                  <a:pt x="778" y="1557"/>
                </a:lnTo>
                <a:lnTo>
                  <a:pt x="781" y="1554"/>
                </a:lnTo>
                <a:lnTo>
                  <a:pt x="781" y="1553"/>
                </a:lnTo>
                <a:lnTo>
                  <a:pt x="783" y="1549"/>
                </a:lnTo>
                <a:lnTo>
                  <a:pt x="783" y="1544"/>
                </a:lnTo>
                <a:lnTo>
                  <a:pt x="785" y="1540"/>
                </a:lnTo>
                <a:lnTo>
                  <a:pt x="793" y="1534"/>
                </a:lnTo>
                <a:lnTo>
                  <a:pt x="794" y="1530"/>
                </a:lnTo>
                <a:lnTo>
                  <a:pt x="797" y="1530"/>
                </a:lnTo>
                <a:lnTo>
                  <a:pt x="797" y="1526"/>
                </a:lnTo>
                <a:lnTo>
                  <a:pt x="791" y="1530"/>
                </a:lnTo>
                <a:lnTo>
                  <a:pt x="785" y="1537"/>
                </a:lnTo>
                <a:lnTo>
                  <a:pt x="777" y="1557"/>
                </a:lnTo>
                <a:lnTo>
                  <a:pt x="777" y="1558"/>
                </a:lnTo>
                <a:lnTo>
                  <a:pt x="778" y="1559"/>
                </a:lnTo>
                <a:lnTo>
                  <a:pt x="775" y="1558"/>
                </a:lnTo>
                <a:lnTo>
                  <a:pt x="774" y="1565"/>
                </a:lnTo>
                <a:lnTo>
                  <a:pt x="771" y="1570"/>
                </a:lnTo>
                <a:lnTo>
                  <a:pt x="775" y="1557"/>
                </a:lnTo>
                <a:lnTo>
                  <a:pt x="788" y="1532"/>
                </a:lnTo>
                <a:lnTo>
                  <a:pt x="796" y="1525"/>
                </a:lnTo>
                <a:lnTo>
                  <a:pt x="799" y="1525"/>
                </a:lnTo>
                <a:lnTo>
                  <a:pt x="800" y="1526"/>
                </a:lnTo>
                <a:lnTo>
                  <a:pt x="804" y="1524"/>
                </a:lnTo>
                <a:lnTo>
                  <a:pt x="822" y="1517"/>
                </a:lnTo>
                <a:lnTo>
                  <a:pt x="824" y="1513"/>
                </a:lnTo>
                <a:lnTo>
                  <a:pt x="822" y="1509"/>
                </a:lnTo>
                <a:lnTo>
                  <a:pt x="831" y="1509"/>
                </a:lnTo>
                <a:lnTo>
                  <a:pt x="831" y="1513"/>
                </a:lnTo>
                <a:lnTo>
                  <a:pt x="827" y="1528"/>
                </a:lnTo>
                <a:lnTo>
                  <a:pt x="827" y="1529"/>
                </a:lnTo>
                <a:lnTo>
                  <a:pt x="829" y="1529"/>
                </a:lnTo>
                <a:lnTo>
                  <a:pt x="831" y="1533"/>
                </a:lnTo>
                <a:lnTo>
                  <a:pt x="821" y="1561"/>
                </a:lnTo>
                <a:lnTo>
                  <a:pt x="821" y="1571"/>
                </a:lnTo>
                <a:lnTo>
                  <a:pt x="818" y="1587"/>
                </a:lnTo>
                <a:lnTo>
                  <a:pt x="819" y="1594"/>
                </a:lnTo>
                <a:lnTo>
                  <a:pt x="818" y="1601"/>
                </a:lnTo>
                <a:lnTo>
                  <a:pt x="818" y="1608"/>
                </a:lnTo>
                <a:lnTo>
                  <a:pt x="811" y="1644"/>
                </a:lnTo>
                <a:lnTo>
                  <a:pt x="811" y="1646"/>
                </a:lnTo>
                <a:lnTo>
                  <a:pt x="816" y="1653"/>
                </a:lnTo>
                <a:lnTo>
                  <a:pt x="810" y="1669"/>
                </a:lnTo>
                <a:lnTo>
                  <a:pt x="806" y="1699"/>
                </a:lnTo>
                <a:lnTo>
                  <a:pt x="807" y="1703"/>
                </a:lnTo>
                <a:lnTo>
                  <a:pt x="806" y="1717"/>
                </a:lnTo>
                <a:lnTo>
                  <a:pt x="808" y="1728"/>
                </a:lnTo>
                <a:lnTo>
                  <a:pt x="808" y="1733"/>
                </a:lnTo>
                <a:lnTo>
                  <a:pt x="804" y="1744"/>
                </a:lnTo>
                <a:lnTo>
                  <a:pt x="800" y="1762"/>
                </a:lnTo>
                <a:lnTo>
                  <a:pt x="800" y="1766"/>
                </a:lnTo>
                <a:lnTo>
                  <a:pt x="802" y="1770"/>
                </a:lnTo>
                <a:lnTo>
                  <a:pt x="799" y="1782"/>
                </a:lnTo>
                <a:lnTo>
                  <a:pt x="797" y="1795"/>
                </a:lnTo>
                <a:lnTo>
                  <a:pt x="800" y="1802"/>
                </a:lnTo>
                <a:lnTo>
                  <a:pt x="803" y="1804"/>
                </a:lnTo>
                <a:lnTo>
                  <a:pt x="806" y="1806"/>
                </a:lnTo>
                <a:lnTo>
                  <a:pt x="806" y="1809"/>
                </a:lnTo>
                <a:lnTo>
                  <a:pt x="796" y="1834"/>
                </a:lnTo>
                <a:lnTo>
                  <a:pt x="793" y="1854"/>
                </a:lnTo>
                <a:lnTo>
                  <a:pt x="794" y="1859"/>
                </a:lnTo>
                <a:lnTo>
                  <a:pt x="797" y="1860"/>
                </a:lnTo>
                <a:lnTo>
                  <a:pt x="797" y="1862"/>
                </a:lnTo>
                <a:lnTo>
                  <a:pt x="789" y="1888"/>
                </a:lnTo>
                <a:lnTo>
                  <a:pt x="791" y="1889"/>
                </a:lnTo>
                <a:lnTo>
                  <a:pt x="786" y="1906"/>
                </a:lnTo>
                <a:lnTo>
                  <a:pt x="786" y="1918"/>
                </a:lnTo>
                <a:lnTo>
                  <a:pt x="782" y="1938"/>
                </a:lnTo>
                <a:lnTo>
                  <a:pt x="775" y="1972"/>
                </a:lnTo>
                <a:lnTo>
                  <a:pt x="777" y="1985"/>
                </a:lnTo>
                <a:lnTo>
                  <a:pt x="782" y="1996"/>
                </a:lnTo>
                <a:lnTo>
                  <a:pt x="781" y="2006"/>
                </a:lnTo>
                <a:lnTo>
                  <a:pt x="781" y="2010"/>
                </a:lnTo>
                <a:lnTo>
                  <a:pt x="785" y="2013"/>
                </a:lnTo>
                <a:lnTo>
                  <a:pt x="785" y="2015"/>
                </a:lnTo>
                <a:lnTo>
                  <a:pt x="782" y="2022"/>
                </a:lnTo>
                <a:lnTo>
                  <a:pt x="782" y="2025"/>
                </a:lnTo>
                <a:lnTo>
                  <a:pt x="781" y="2030"/>
                </a:lnTo>
                <a:lnTo>
                  <a:pt x="781" y="2031"/>
                </a:lnTo>
                <a:lnTo>
                  <a:pt x="782" y="2036"/>
                </a:lnTo>
                <a:lnTo>
                  <a:pt x="782" y="2038"/>
                </a:lnTo>
                <a:lnTo>
                  <a:pt x="782" y="2039"/>
                </a:lnTo>
                <a:lnTo>
                  <a:pt x="782" y="2040"/>
                </a:lnTo>
                <a:lnTo>
                  <a:pt x="782" y="2044"/>
                </a:lnTo>
                <a:lnTo>
                  <a:pt x="779" y="2050"/>
                </a:lnTo>
                <a:lnTo>
                  <a:pt x="777" y="2060"/>
                </a:lnTo>
                <a:lnTo>
                  <a:pt x="775" y="2064"/>
                </a:lnTo>
                <a:lnTo>
                  <a:pt x="774" y="2072"/>
                </a:lnTo>
                <a:lnTo>
                  <a:pt x="774" y="2075"/>
                </a:lnTo>
                <a:lnTo>
                  <a:pt x="772" y="2078"/>
                </a:lnTo>
                <a:lnTo>
                  <a:pt x="772" y="2080"/>
                </a:lnTo>
                <a:lnTo>
                  <a:pt x="774" y="2081"/>
                </a:lnTo>
                <a:lnTo>
                  <a:pt x="775" y="2083"/>
                </a:lnTo>
                <a:lnTo>
                  <a:pt x="775" y="2084"/>
                </a:lnTo>
                <a:lnTo>
                  <a:pt x="775" y="2085"/>
                </a:lnTo>
                <a:lnTo>
                  <a:pt x="774" y="2090"/>
                </a:lnTo>
                <a:lnTo>
                  <a:pt x="771" y="2097"/>
                </a:lnTo>
                <a:lnTo>
                  <a:pt x="771" y="2104"/>
                </a:lnTo>
                <a:lnTo>
                  <a:pt x="769" y="2110"/>
                </a:lnTo>
                <a:lnTo>
                  <a:pt x="769" y="2114"/>
                </a:lnTo>
                <a:lnTo>
                  <a:pt x="769" y="2115"/>
                </a:lnTo>
                <a:lnTo>
                  <a:pt x="769" y="2117"/>
                </a:lnTo>
                <a:lnTo>
                  <a:pt x="771" y="2117"/>
                </a:lnTo>
                <a:lnTo>
                  <a:pt x="771" y="2118"/>
                </a:lnTo>
                <a:lnTo>
                  <a:pt x="771" y="2119"/>
                </a:lnTo>
                <a:lnTo>
                  <a:pt x="772" y="2121"/>
                </a:lnTo>
                <a:lnTo>
                  <a:pt x="772" y="2122"/>
                </a:lnTo>
                <a:lnTo>
                  <a:pt x="774" y="2122"/>
                </a:lnTo>
                <a:lnTo>
                  <a:pt x="775" y="2122"/>
                </a:lnTo>
                <a:lnTo>
                  <a:pt x="775" y="2121"/>
                </a:lnTo>
                <a:lnTo>
                  <a:pt x="777" y="2121"/>
                </a:lnTo>
                <a:lnTo>
                  <a:pt x="778" y="2122"/>
                </a:lnTo>
                <a:lnTo>
                  <a:pt x="778" y="2123"/>
                </a:lnTo>
                <a:lnTo>
                  <a:pt x="777" y="2129"/>
                </a:lnTo>
                <a:lnTo>
                  <a:pt x="777" y="2133"/>
                </a:lnTo>
                <a:lnTo>
                  <a:pt x="774" y="2134"/>
                </a:lnTo>
                <a:lnTo>
                  <a:pt x="772" y="2134"/>
                </a:lnTo>
                <a:lnTo>
                  <a:pt x="758" y="2139"/>
                </a:lnTo>
                <a:lnTo>
                  <a:pt x="749" y="2140"/>
                </a:lnTo>
                <a:lnTo>
                  <a:pt x="738" y="2142"/>
                </a:lnTo>
                <a:lnTo>
                  <a:pt x="716" y="2143"/>
                </a:lnTo>
                <a:lnTo>
                  <a:pt x="679" y="2140"/>
                </a:lnTo>
                <a:lnTo>
                  <a:pt x="653" y="2140"/>
                </a:lnTo>
                <a:lnTo>
                  <a:pt x="333" y="2131"/>
                </a:lnTo>
                <a:lnTo>
                  <a:pt x="327" y="2131"/>
                </a:lnTo>
                <a:lnTo>
                  <a:pt x="326" y="2131"/>
                </a:lnTo>
                <a:lnTo>
                  <a:pt x="326" y="2130"/>
                </a:lnTo>
                <a:lnTo>
                  <a:pt x="325" y="2130"/>
                </a:lnTo>
                <a:lnTo>
                  <a:pt x="323" y="2130"/>
                </a:lnTo>
                <a:lnTo>
                  <a:pt x="322" y="2130"/>
                </a:lnTo>
                <a:lnTo>
                  <a:pt x="320" y="2130"/>
                </a:lnTo>
                <a:lnTo>
                  <a:pt x="319" y="2130"/>
                </a:lnTo>
                <a:lnTo>
                  <a:pt x="318" y="2130"/>
                </a:lnTo>
                <a:lnTo>
                  <a:pt x="316" y="2130"/>
                </a:lnTo>
                <a:lnTo>
                  <a:pt x="316" y="2129"/>
                </a:lnTo>
                <a:lnTo>
                  <a:pt x="315" y="2129"/>
                </a:lnTo>
                <a:lnTo>
                  <a:pt x="313" y="2129"/>
                </a:lnTo>
                <a:lnTo>
                  <a:pt x="312" y="2129"/>
                </a:lnTo>
                <a:lnTo>
                  <a:pt x="311" y="2129"/>
                </a:lnTo>
                <a:lnTo>
                  <a:pt x="309" y="2129"/>
                </a:lnTo>
                <a:lnTo>
                  <a:pt x="308" y="2129"/>
                </a:lnTo>
                <a:lnTo>
                  <a:pt x="307" y="2129"/>
                </a:lnTo>
                <a:lnTo>
                  <a:pt x="305" y="2129"/>
                </a:lnTo>
                <a:lnTo>
                  <a:pt x="304" y="2129"/>
                </a:lnTo>
                <a:lnTo>
                  <a:pt x="302" y="2129"/>
                </a:lnTo>
                <a:lnTo>
                  <a:pt x="301" y="2129"/>
                </a:lnTo>
                <a:lnTo>
                  <a:pt x="300" y="2129"/>
                </a:lnTo>
                <a:lnTo>
                  <a:pt x="298" y="2129"/>
                </a:lnTo>
                <a:lnTo>
                  <a:pt x="297" y="2129"/>
                </a:lnTo>
                <a:lnTo>
                  <a:pt x="295" y="2129"/>
                </a:lnTo>
                <a:lnTo>
                  <a:pt x="294" y="2129"/>
                </a:lnTo>
                <a:lnTo>
                  <a:pt x="293" y="2129"/>
                </a:lnTo>
                <a:lnTo>
                  <a:pt x="291" y="2129"/>
                </a:lnTo>
                <a:lnTo>
                  <a:pt x="290" y="2127"/>
                </a:lnTo>
                <a:lnTo>
                  <a:pt x="288" y="2127"/>
                </a:lnTo>
                <a:lnTo>
                  <a:pt x="287" y="2127"/>
                </a:lnTo>
                <a:lnTo>
                  <a:pt x="286" y="2127"/>
                </a:lnTo>
                <a:lnTo>
                  <a:pt x="284" y="2127"/>
                </a:lnTo>
                <a:lnTo>
                  <a:pt x="283" y="2127"/>
                </a:lnTo>
                <a:lnTo>
                  <a:pt x="282" y="2126"/>
                </a:lnTo>
                <a:lnTo>
                  <a:pt x="280" y="2126"/>
                </a:lnTo>
                <a:lnTo>
                  <a:pt x="279" y="2126"/>
                </a:lnTo>
                <a:lnTo>
                  <a:pt x="277" y="2126"/>
                </a:lnTo>
                <a:lnTo>
                  <a:pt x="277" y="2125"/>
                </a:lnTo>
                <a:lnTo>
                  <a:pt x="276" y="2125"/>
                </a:lnTo>
                <a:lnTo>
                  <a:pt x="274" y="2125"/>
                </a:lnTo>
                <a:lnTo>
                  <a:pt x="273" y="2125"/>
                </a:lnTo>
                <a:lnTo>
                  <a:pt x="272" y="2123"/>
                </a:lnTo>
                <a:lnTo>
                  <a:pt x="270" y="2123"/>
                </a:lnTo>
                <a:lnTo>
                  <a:pt x="269" y="2123"/>
                </a:lnTo>
                <a:lnTo>
                  <a:pt x="268" y="2122"/>
                </a:lnTo>
                <a:lnTo>
                  <a:pt x="266" y="2122"/>
                </a:lnTo>
                <a:lnTo>
                  <a:pt x="265" y="2122"/>
                </a:lnTo>
                <a:lnTo>
                  <a:pt x="263" y="2121"/>
                </a:lnTo>
                <a:lnTo>
                  <a:pt x="262" y="2121"/>
                </a:lnTo>
                <a:lnTo>
                  <a:pt x="260" y="2121"/>
                </a:lnTo>
                <a:lnTo>
                  <a:pt x="259" y="2119"/>
                </a:lnTo>
                <a:lnTo>
                  <a:pt x="258" y="2119"/>
                </a:lnTo>
                <a:lnTo>
                  <a:pt x="257" y="2119"/>
                </a:lnTo>
                <a:lnTo>
                  <a:pt x="255" y="2118"/>
                </a:lnTo>
                <a:lnTo>
                  <a:pt x="254" y="2118"/>
                </a:lnTo>
                <a:lnTo>
                  <a:pt x="252" y="2118"/>
                </a:lnTo>
                <a:lnTo>
                  <a:pt x="251" y="2117"/>
                </a:lnTo>
                <a:lnTo>
                  <a:pt x="249" y="2117"/>
                </a:lnTo>
                <a:lnTo>
                  <a:pt x="248" y="2117"/>
                </a:lnTo>
                <a:lnTo>
                  <a:pt x="248" y="2115"/>
                </a:lnTo>
                <a:lnTo>
                  <a:pt x="247" y="2115"/>
                </a:lnTo>
                <a:lnTo>
                  <a:pt x="245" y="2115"/>
                </a:lnTo>
                <a:lnTo>
                  <a:pt x="244" y="2114"/>
                </a:lnTo>
                <a:lnTo>
                  <a:pt x="243" y="2114"/>
                </a:lnTo>
                <a:lnTo>
                  <a:pt x="241" y="2114"/>
                </a:lnTo>
                <a:lnTo>
                  <a:pt x="240" y="2114"/>
                </a:lnTo>
                <a:lnTo>
                  <a:pt x="238" y="2114"/>
                </a:lnTo>
                <a:lnTo>
                  <a:pt x="237" y="2114"/>
                </a:lnTo>
                <a:lnTo>
                  <a:pt x="235" y="2114"/>
                </a:lnTo>
                <a:lnTo>
                  <a:pt x="234" y="2114"/>
                </a:lnTo>
                <a:lnTo>
                  <a:pt x="233" y="2114"/>
                </a:lnTo>
                <a:lnTo>
                  <a:pt x="233" y="2115"/>
                </a:lnTo>
                <a:lnTo>
                  <a:pt x="232" y="2115"/>
                </a:lnTo>
                <a:lnTo>
                  <a:pt x="230" y="2117"/>
                </a:lnTo>
                <a:lnTo>
                  <a:pt x="229" y="2117"/>
                </a:lnTo>
                <a:lnTo>
                  <a:pt x="229" y="2118"/>
                </a:lnTo>
                <a:lnTo>
                  <a:pt x="227" y="2119"/>
                </a:lnTo>
                <a:lnTo>
                  <a:pt x="226" y="2119"/>
                </a:lnTo>
                <a:lnTo>
                  <a:pt x="226" y="2121"/>
                </a:lnTo>
                <a:lnTo>
                  <a:pt x="224" y="2121"/>
                </a:lnTo>
                <a:lnTo>
                  <a:pt x="224" y="2122"/>
                </a:lnTo>
                <a:lnTo>
                  <a:pt x="223" y="2122"/>
                </a:lnTo>
                <a:lnTo>
                  <a:pt x="223" y="2123"/>
                </a:lnTo>
                <a:lnTo>
                  <a:pt x="222" y="2123"/>
                </a:lnTo>
                <a:lnTo>
                  <a:pt x="222" y="2125"/>
                </a:lnTo>
                <a:lnTo>
                  <a:pt x="220" y="2125"/>
                </a:lnTo>
                <a:lnTo>
                  <a:pt x="220" y="2126"/>
                </a:lnTo>
                <a:lnTo>
                  <a:pt x="219" y="2126"/>
                </a:lnTo>
                <a:lnTo>
                  <a:pt x="219" y="2127"/>
                </a:lnTo>
                <a:lnTo>
                  <a:pt x="218" y="2127"/>
                </a:lnTo>
                <a:lnTo>
                  <a:pt x="218" y="2129"/>
                </a:lnTo>
                <a:lnTo>
                  <a:pt x="216" y="2130"/>
                </a:lnTo>
                <a:lnTo>
                  <a:pt x="215" y="2131"/>
                </a:lnTo>
                <a:lnTo>
                  <a:pt x="213" y="2133"/>
                </a:lnTo>
                <a:lnTo>
                  <a:pt x="212" y="2134"/>
                </a:lnTo>
                <a:lnTo>
                  <a:pt x="210" y="2135"/>
                </a:lnTo>
                <a:lnTo>
                  <a:pt x="209" y="2135"/>
                </a:lnTo>
                <a:lnTo>
                  <a:pt x="208" y="2135"/>
                </a:lnTo>
                <a:lnTo>
                  <a:pt x="207" y="2135"/>
                </a:lnTo>
                <a:lnTo>
                  <a:pt x="207" y="2137"/>
                </a:lnTo>
                <a:lnTo>
                  <a:pt x="205" y="2137"/>
                </a:lnTo>
                <a:lnTo>
                  <a:pt x="204" y="2135"/>
                </a:lnTo>
                <a:lnTo>
                  <a:pt x="202" y="2135"/>
                </a:lnTo>
                <a:lnTo>
                  <a:pt x="201" y="2135"/>
                </a:lnTo>
                <a:lnTo>
                  <a:pt x="199" y="2135"/>
                </a:lnTo>
                <a:lnTo>
                  <a:pt x="198" y="2134"/>
                </a:lnTo>
                <a:lnTo>
                  <a:pt x="197" y="2134"/>
                </a:lnTo>
                <a:lnTo>
                  <a:pt x="195" y="2134"/>
                </a:lnTo>
                <a:lnTo>
                  <a:pt x="194" y="2133"/>
                </a:lnTo>
                <a:lnTo>
                  <a:pt x="193" y="2133"/>
                </a:lnTo>
                <a:lnTo>
                  <a:pt x="191" y="2131"/>
                </a:lnTo>
                <a:lnTo>
                  <a:pt x="190" y="2131"/>
                </a:lnTo>
                <a:lnTo>
                  <a:pt x="188" y="2130"/>
                </a:lnTo>
                <a:lnTo>
                  <a:pt x="187" y="2130"/>
                </a:lnTo>
                <a:lnTo>
                  <a:pt x="185" y="2129"/>
                </a:lnTo>
                <a:lnTo>
                  <a:pt x="184" y="2129"/>
                </a:lnTo>
                <a:lnTo>
                  <a:pt x="184" y="2127"/>
                </a:lnTo>
                <a:lnTo>
                  <a:pt x="183" y="2127"/>
                </a:lnTo>
                <a:lnTo>
                  <a:pt x="182" y="2126"/>
                </a:lnTo>
                <a:lnTo>
                  <a:pt x="180" y="2126"/>
                </a:lnTo>
                <a:lnTo>
                  <a:pt x="180" y="2125"/>
                </a:lnTo>
                <a:lnTo>
                  <a:pt x="179" y="2125"/>
                </a:lnTo>
                <a:lnTo>
                  <a:pt x="177" y="2123"/>
                </a:lnTo>
                <a:lnTo>
                  <a:pt x="176" y="2123"/>
                </a:lnTo>
                <a:lnTo>
                  <a:pt x="176" y="2122"/>
                </a:lnTo>
                <a:lnTo>
                  <a:pt x="174" y="2122"/>
                </a:lnTo>
                <a:lnTo>
                  <a:pt x="173" y="2121"/>
                </a:lnTo>
                <a:lnTo>
                  <a:pt x="172" y="2121"/>
                </a:lnTo>
                <a:lnTo>
                  <a:pt x="172" y="2119"/>
                </a:lnTo>
                <a:lnTo>
                  <a:pt x="170" y="2119"/>
                </a:lnTo>
                <a:lnTo>
                  <a:pt x="170" y="2118"/>
                </a:lnTo>
                <a:lnTo>
                  <a:pt x="169" y="2118"/>
                </a:lnTo>
                <a:lnTo>
                  <a:pt x="168" y="2118"/>
                </a:lnTo>
                <a:lnTo>
                  <a:pt x="168" y="2117"/>
                </a:lnTo>
                <a:lnTo>
                  <a:pt x="166" y="2117"/>
                </a:lnTo>
                <a:lnTo>
                  <a:pt x="165" y="2117"/>
                </a:lnTo>
                <a:lnTo>
                  <a:pt x="165" y="2115"/>
                </a:lnTo>
                <a:lnTo>
                  <a:pt x="163" y="2115"/>
                </a:lnTo>
                <a:lnTo>
                  <a:pt x="163" y="2104"/>
                </a:lnTo>
                <a:lnTo>
                  <a:pt x="165" y="2028"/>
                </a:lnTo>
                <a:lnTo>
                  <a:pt x="166" y="2023"/>
                </a:lnTo>
                <a:lnTo>
                  <a:pt x="165" y="1984"/>
                </a:lnTo>
                <a:lnTo>
                  <a:pt x="168" y="1960"/>
                </a:lnTo>
                <a:lnTo>
                  <a:pt x="166" y="1948"/>
                </a:lnTo>
                <a:lnTo>
                  <a:pt x="166" y="1874"/>
                </a:lnTo>
                <a:lnTo>
                  <a:pt x="135" y="1809"/>
                </a:lnTo>
                <a:lnTo>
                  <a:pt x="129" y="1791"/>
                </a:lnTo>
                <a:lnTo>
                  <a:pt x="122" y="1773"/>
                </a:lnTo>
                <a:lnTo>
                  <a:pt x="122" y="1765"/>
                </a:lnTo>
                <a:lnTo>
                  <a:pt x="119" y="1737"/>
                </a:lnTo>
                <a:lnTo>
                  <a:pt x="118" y="1707"/>
                </a:lnTo>
                <a:lnTo>
                  <a:pt x="116" y="1695"/>
                </a:lnTo>
                <a:lnTo>
                  <a:pt x="130" y="1641"/>
                </a:lnTo>
                <a:lnTo>
                  <a:pt x="134" y="1620"/>
                </a:lnTo>
                <a:lnTo>
                  <a:pt x="134" y="1613"/>
                </a:lnTo>
                <a:lnTo>
                  <a:pt x="138" y="1600"/>
                </a:lnTo>
                <a:lnTo>
                  <a:pt x="144" y="1578"/>
                </a:lnTo>
                <a:lnTo>
                  <a:pt x="135" y="1524"/>
                </a:lnTo>
                <a:lnTo>
                  <a:pt x="134" y="1503"/>
                </a:lnTo>
                <a:lnTo>
                  <a:pt x="127" y="1453"/>
                </a:lnTo>
                <a:lnTo>
                  <a:pt x="119" y="1451"/>
                </a:lnTo>
                <a:lnTo>
                  <a:pt x="112" y="1451"/>
                </a:lnTo>
                <a:lnTo>
                  <a:pt x="109" y="1449"/>
                </a:lnTo>
                <a:lnTo>
                  <a:pt x="102" y="1449"/>
                </a:lnTo>
                <a:lnTo>
                  <a:pt x="98" y="1446"/>
                </a:lnTo>
                <a:lnTo>
                  <a:pt x="80" y="1442"/>
                </a:lnTo>
                <a:lnTo>
                  <a:pt x="80" y="1444"/>
                </a:lnTo>
                <a:lnTo>
                  <a:pt x="60" y="1437"/>
                </a:lnTo>
                <a:lnTo>
                  <a:pt x="35" y="1407"/>
                </a:lnTo>
                <a:lnTo>
                  <a:pt x="0" y="1315"/>
                </a:lnTo>
                <a:lnTo>
                  <a:pt x="40" y="1198"/>
                </a:lnTo>
                <a:lnTo>
                  <a:pt x="52" y="1185"/>
                </a:lnTo>
                <a:lnTo>
                  <a:pt x="54" y="1184"/>
                </a:lnTo>
                <a:lnTo>
                  <a:pt x="62" y="1159"/>
                </a:lnTo>
                <a:lnTo>
                  <a:pt x="55" y="1080"/>
                </a:lnTo>
                <a:lnTo>
                  <a:pt x="54" y="1063"/>
                </a:lnTo>
                <a:lnTo>
                  <a:pt x="42" y="1060"/>
                </a:lnTo>
                <a:lnTo>
                  <a:pt x="38" y="1049"/>
                </a:lnTo>
                <a:lnTo>
                  <a:pt x="40" y="1006"/>
                </a:lnTo>
                <a:lnTo>
                  <a:pt x="47" y="993"/>
                </a:lnTo>
                <a:lnTo>
                  <a:pt x="48" y="991"/>
                </a:lnTo>
                <a:lnTo>
                  <a:pt x="48" y="989"/>
                </a:lnTo>
                <a:lnTo>
                  <a:pt x="70" y="940"/>
                </a:lnTo>
                <a:lnTo>
                  <a:pt x="80" y="840"/>
                </a:lnTo>
                <a:lnTo>
                  <a:pt x="83" y="787"/>
                </a:lnTo>
                <a:lnTo>
                  <a:pt x="84" y="746"/>
                </a:lnTo>
                <a:lnTo>
                  <a:pt x="66" y="520"/>
                </a:lnTo>
                <a:lnTo>
                  <a:pt x="62" y="471"/>
                </a:lnTo>
                <a:lnTo>
                  <a:pt x="55" y="391"/>
                </a:lnTo>
                <a:lnTo>
                  <a:pt x="63" y="298"/>
                </a:lnTo>
                <a:lnTo>
                  <a:pt x="68" y="202"/>
                </a:lnTo>
                <a:lnTo>
                  <a:pt x="47" y="80"/>
                </a:lnTo>
                <a:lnTo>
                  <a:pt x="24" y="45"/>
                </a:lnTo>
                <a:lnTo>
                  <a:pt x="19" y="38"/>
                </a:lnTo>
                <a:lnTo>
                  <a:pt x="38" y="33"/>
                </a:lnTo>
                <a:lnTo>
                  <a:pt x="42" y="30"/>
                </a:lnTo>
                <a:lnTo>
                  <a:pt x="56" y="24"/>
                </a:lnTo>
                <a:lnTo>
                  <a:pt x="58" y="22"/>
                </a:lnTo>
                <a:lnTo>
                  <a:pt x="68" y="20"/>
                </a:lnTo>
                <a:lnTo>
                  <a:pt x="77" y="13"/>
                </a:lnTo>
                <a:lnTo>
                  <a:pt x="80" y="13"/>
                </a:lnTo>
                <a:lnTo>
                  <a:pt x="81" y="11"/>
                </a:lnTo>
                <a:lnTo>
                  <a:pt x="85" y="11"/>
                </a:lnTo>
                <a:lnTo>
                  <a:pt x="87" y="8"/>
                </a:lnTo>
                <a:lnTo>
                  <a:pt x="95" y="5"/>
                </a:lnTo>
                <a:lnTo>
                  <a:pt x="109" y="5"/>
                </a:lnTo>
                <a:lnTo>
                  <a:pt x="109" y="3"/>
                </a:lnTo>
                <a:lnTo>
                  <a:pt x="113" y="0"/>
                </a:lnTo>
                <a:lnTo>
                  <a:pt x="119" y="0"/>
                </a:lnTo>
                <a:lnTo>
                  <a:pt x="141" y="5"/>
                </a:lnTo>
                <a:lnTo>
                  <a:pt x="144" y="5"/>
                </a:lnTo>
                <a:lnTo>
                  <a:pt x="151" y="5"/>
                </a:lnTo>
                <a:lnTo>
                  <a:pt x="152" y="10"/>
                </a:lnTo>
                <a:lnTo>
                  <a:pt x="166" y="10"/>
                </a:lnTo>
                <a:lnTo>
                  <a:pt x="172" y="12"/>
                </a:lnTo>
                <a:lnTo>
                  <a:pt x="174" y="8"/>
                </a:lnTo>
                <a:lnTo>
                  <a:pt x="179" y="10"/>
                </a:lnTo>
                <a:lnTo>
                  <a:pt x="183" y="8"/>
                </a:lnTo>
                <a:lnTo>
                  <a:pt x="187" y="8"/>
                </a:lnTo>
                <a:lnTo>
                  <a:pt x="190" y="12"/>
                </a:lnTo>
                <a:lnTo>
                  <a:pt x="193" y="11"/>
                </a:lnTo>
                <a:lnTo>
                  <a:pt x="195" y="12"/>
                </a:lnTo>
                <a:lnTo>
                  <a:pt x="199" y="12"/>
                </a:lnTo>
                <a:lnTo>
                  <a:pt x="201" y="11"/>
                </a:lnTo>
                <a:lnTo>
                  <a:pt x="204" y="12"/>
                </a:lnTo>
                <a:lnTo>
                  <a:pt x="205" y="11"/>
                </a:lnTo>
                <a:lnTo>
                  <a:pt x="207" y="12"/>
                </a:lnTo>
                <a:lnTo>
                  <a:pt x="208" y="11"/>
                </a:lnTo>
                <a:lnTo>
                  <a:pt x="212" y="11"/>
                </a:lnTo>
                <a:lnTo>
                  <a:pt x="215" y="13"/>
                </a:lnTo>
                <a:lnTo>
                  <a:pt x="215" y="18"/>
                </a:lnTo>
                <a:lnTo>
                  <a:pt x="218" y="16"/>
                </a:lnTo>
                <a:lnTo>
                  <a:pt x="218" y="19"/>
                </a:lnTo>
                <a:lnTo>
                  <a:pt x="222" y="20"/>
                </a:lnTo>
                <a:lnTo>
                  <a:pt x="226" y="25"/>
                </a:lnTo>
                <a:lnTo>
                  <a:pt x="232" y="25"/>
                </a:lnTo>
                <a:lnTo>
                  <a:pt x="237" y="27"/>
                </a:lnTo>
                <a:lnTo>
                  <a:pt x="240" y="32"/>
                </a:lnTo>
                <a:lnTo>
                  <a:pt x="244" y="24"/>
                </a:lnTo>
                <a:lnTo>
                  <a:pt x="245" y="25"/>
                </a:lnTo>
                <a:lnTo>
                  <a:pt x="247" y="23"/>
                </a:lnTo>
                <a:lnTo>
                  <a:pt x="255" y="27"/>
                </a:lnTo>
                <a:lnTo>
                  <a:pt x="258" y="25"/>
                </a:lnTo>
                <a:lnTo>
                  <a:pt x="266" y="31"/>
                </a:lnTo>
                <a:lnTo>
                  <a:pt x="277" y="37"/>
                </a:lnTo>
                <a:lnTo>
                  <a:pt x="279" y="40"/>
                </a:lnTo>
                <a:lnTo>
                  <a:pt x="284" y="43"/>
                </a:lnTo>
                <a:lnTo>
                  <a:pt x="287" y="43"/>
                </a:lnTo>
                <a:lnTo>
                  <a:pt x="290" y="38"/>
                </a:lnTo>
                <a:lnTo>
                  <a:pt x="294" y="37"/>
                </a:lnTo>
                <a:lnTo>
                  <a:pt x="300" y="37"/>
                </a:lnTo>
                <a:lnTo>
                  <a:pt x="302" y="38"/>
                </a:lnTo>
                <a:lnTo>
                  <a:pt x="307" y="40"/>
                </a:lnTo>
                <a:lnTo>
                  <a:pt x="311" y="38"/>
                </a:lnTo>
                <a:lnTo>
                  <a:pt x="316" y="40"/>
                </a:lnTo>
                <a:lnTo>
                  <a:pt x="320" y="36"/>
                </a:lnTo>
                <a:lnTo>
                  <a:pt x="326" y="35"/>
                </a:lnTo>
                <a:lnTo>
                  <a:pt x="326" y="33"/>
                </a:lnTo>
                <a:lnTo>
                  <a:pt x="327" y="33"/>
                </a:lnTo>
                <a:lnTo>
                  <a:pt x="332" y="35"/>
                </a:lnTo>
                <a:lnTo>
                  <a:pt x="337" y="33"/>
                </a:lnTo>
                <a:lnTo>
                  <a:pt x="341" y="36"/>
                </a:lnTo>
                <a:lnTo>
                  <a:pt x="350" y="36"/>
                </a:lnTo>
                <a:lnTo>
                  <a:pt x="357" y="40"/>
                </a:lnTo>
                <a:lnTo>
                  <a:pt x="368" y="40"/>
                </a:lnTo>
                <a:lnTo>
                  <a:pt x="378" y="45"/>
                </a:lnTo>
                <a:lnTo>
                  <a:pt x="379" y="43"/>
                </a:lnTo>
                <a:lnTo>
                  <a:pt x="382" y="43"/>
                </a:lnTo>
                <a:lnTo>
                  <a:pt x="384" y="44"/>
                </a:lnTo>
                <a:lnTo>
                  <a:pt x="386" y="48"/>
                </a:lnTo>
                <a:lnTo>
                  <a:pt x="389" y="48"/>
                </a:lnTo>
                <a:lnTo>
                  <a:pt x="393" y="52"/>
                </a:lnTo>
                <a:lnTo>
                  <a:pt x="395" y="56"/>
                </a:lnTo>
                <a:lnTo>
                  <a:pt x="403" y="62"/>
                </a:lnTo>
                <a:lnTo>
                  <a:pt x="409" y="60"/>
                </a:lnTo>
                <a:lnTo>
                  <a:pt x="414" y="72"/>
                </a:lnTo>
                <a:lnTo>
                  <a:pt x="418" y="74"/>
                </a:lnTo>
                <a:lnTo>
                  <a:pt x="419" y="82"/>
                </a:lnTo>
                <a:lnTo>
                  <a:pt x="423" y="83"/>
                </a:lnTo>
                <a:lnTo>
                  <a:pt x="428" y="83"/>
                </a:lnTo>
                <a:lnTo>
                  <a:pt x="440" y="100"/>
                </a:lnTo>
                <a:lnTo>
                  <a:pt x="443" y="102"/>
                </a:lnTo>
                <a:lnTo>
                  <a:pt x="446" y="102"/>
                </a:lnTo>
                <a:lnTo>
                  <a:pt x="450" y="103"/>
                </a:lnTo>
                <a:lnTo>
                  <a:pt x="454" y="103"/>
                </a:lnTo>
                <a:lnTo>
                  <a:pt x="457" y="105"/>
                </a:lnTo>
                <a:lnTo>
                  <a:pt x="467" y="103"/>
                </a:lnTo>
                <a:lnTo>
                  <a:pt x="476" y="107"/>
                </a:lnTo>
                <a:lnTo>
                  <a:pt x="480" y="106"/>
                </a:lnTo>
                <a:lnTo>
                  <a:pt x="484" y="114"/>
                </a:lnTo>
                <a:lnTo>
                  <a:pt x="492" y="117"/>
                </a:lnTo>
                <a:lnTo>
                  <a:pt x="497" y="115"/>
                </a:lnTo>
                <a:lnTo>
                  <a:pt x="507" y="106"/>
                </a:lnTo>
                <a:lnTo>
                  <a:pt x="517" y="110"/>
                </a:lnTo>
                <a:lnTo>
                  <a:pt x="528" y="117"/>
                </a:lnTo>
                <a:lnTo>
                  <a:pt x="529" y="119"/>
                </a:lnTo>
                <a:lnTo>
                  <a:pt x="532" y="120"/>
                </a:lnTo>
                <a:lnTo>
                  <a:pt x="533" y="124"/>
                </a:lnTo>
                <a:lnTo>
                  <a:pt x="536" y="127"/>
                </a:lnTo>
                <a:lnTo>
                  <a:pt x="537" y="132"/>
                </a:lnTo>
                <a:lnTo>
                  <a:pt x="543" y="137"/>
                </a:lnTo>
                <a:lnTo>
                  <a:pt x="547" y="143"/>
                </a:lnTo>
                <a:lnTo>
                  <a:pt x="551" y="142"/>
                </a:lnTo>
                <a:lnTo>
                  <a:pt x="557" y="143"/>
                </a:lnTo>
                <a:lnTo>
                  <a:pt x="572" y="140"/>
                </a:lnTo>
                <a:lnTo>
                  <a:pt x="581" y="142"/>
                </a:lnTo>
                <a:lnTo>
                  <a:pt x="585" y="142"/>
                </a:lnTo>
                <a:lnTo>
                  <a:pt x="597" y="149"/>
                </a:lnTo>
                <a:lnTo>
                  <a:pt x="617" y="152"/>
                </a:lnTo>
                <a:lnTo>
                  <a:pt x="615" y="153"/>
                </a:lnTo>
                <a:lnTo>
                  <a:pt x="619" y="156"/>
                </a:lnTo>
                <a:lnTo>
                  <a:pt x="624" y="156"/>
                </a:lnTo>
                <a:lnTo>
                  <a:pt x="638" y="164"/>
                </a:lnTo>
                <a:lnTo>
                  <a:pt x="640" y="176"/>
                </a:lnTo>
                <a:lnTo>
                  <a:pt x="639" y="187"/>
                </a:lnTo>
                <a:lnTo>
                  <a:pt x="642" y="201"/>
                </a:lnTo>
                <a:lnTo>
                  <a:pt x="640" y="207"/>
                </a:lnTo>
                <a:lnTo>
                  <a:pt x="642" y="209"/>
                </a:lnTo>
                <a:lnTo>
                  <a:pt x="642" y="222"/>
                </a:lnTo>
                <a:lnTo>
                  <a:pt x="635" y="230"/>
                </a:lnTo>
                <a:lnTo>
                  <a:pt x="635" y="234"/>
                </a:lnTo>
                <a:lnTo>
                  <a:pt x="632" y="239"/>
                </a:lnTo>
                <a:lnTo>
                  <a:pt x="632" y="251"/>
                </a:lnTo>
                <a:lnTo>
                  <a:pt x="633" y="254"/>
                </a:lnTo>
                <a:lnTo>
                  <a:pt x="639" y="256"/>
                </a:lnTo>
                <a:lnTo>
                  <a:pt x="639" y="263"/>
                </a:lnTo>
                <a:lnTo>
                  <a:pt x="647" y="269"/>
                </a:lnTo>
                <a:lnTo>
                  <a:pt x="647" y="272"/>
                </a:lnTo>
                <a:lnTo>
                  <a:pt x="649" y="272"/>
                </a:lnTo>
                <a:lnTo>
                  <a:pt x="652" y="271"/>
                </a:lnTo>
                <a:lnTo>
                  <a:pt x="654" y="272"/>
                </a:lnTo>
                <a:lnTo>
                  <a:pt x="658" y="274"/>
                </a:lnTo>
                <a:lnTo>
                  <a:pt x="657" y="280"/>
                </a:lnTo>
                <a:lnTo>
                  <a:pt x="660" y="285"/>
                </a:lnTo>
                <a:lnTo>
                  <a:pt x="664" y="285"/>
                </a:lnTo>
                <a:lnTo>
                  <a:pt x="671" y="291"/>
                </a:lnTo>
                <a:lnTo>
                  <a:pt x="671" y="292"/>
                </a:lnTo>
                <a:lnTo>
                  <a:pt x="672" y="294"/>
                </a:lnTo>
                <a:lnTo>
                  <a:pt x="671" y="299"/>
                </a:lnTo>
                <a:lnTo>
                  <a:pt x="675" y="301"/>
                </a:lnTo>
                <a:lnTo>
                  <a:pt x="675" y="302"/>
                </a:lnTo>
                <a:lnTo>
                  <a:pt x="678" y="308"/>
                </a:lnTo>
                <a:lnTo>
                  <a:pt x="679" y="317"/>
                </a:lnTo>
                <a:lnTo>
                  <a:pt x="681" y="319"/>
                </a:lnTo>
                <a:lnTo>
                  <a:pt x="682" y="323"/>
                </a:lnTo>
                <a:lnTo>
                  <a:pt x="686" y="326"/>
                </a:lnTo>
                <a:lnTo>
                  <a:pt x="688" y="330"/>
                </a:lnTo>
                <a:lnTo>
                  <a:pt x="693" y="334"/>
                </a:lnTo>
                <a:lnTo>
                  <a:pt x="694" y="336"/>
                </a:lnTo>
                <a:lnTo>
                  <a:pt x="697" y="339"/>
                </a:lnTo>
                <a:lnTo>
                  <a:pt x="703" y="346"/>
                </a:lnTo>
                <a:lnTo>
                  <a:pt x="703" y="350"/>
                </a:lnTo>
                <a:lnTo>
                  <a:pt x="706" y="352"/>
                </a:lnTo>
                <a:lnTo>
                  <a:pt x="708" y="352"/>
                </a:lnTo>
                <a:lnTo>
                  <a:pt x="710" y="356"/>
                </a:lnTo>
                <a:lnTo>
                  <a:pt x="708" y="359"/>
                </a:lnTo>
                <a:lnTo>
                  <a:pt x="718" y="375"/>
                </a:lnTo>
                <a:lnTo>
                  <a:pt x="719" y="375"/>
                </a:lnTo>
                <a:lnTo>
                  <a:pt x="724" y="375"/>
                </a:lnTo>
                <a:lnTo>
                  <a:pt x="727" y="376"/>
                </a:lnTo>
                <a:lnTo>
                  <a:pt x="729" y="381"/>
                </a:lnTo>
                <a:lnTo>
                  <a:pt x="729" y="386"/>
                </a:lnTo>
                <a:lnTo>
                  <a:pt x="733" y="388"/>
                </a:lnTo>
                <a:lnTo>
                  <a:pt x="733" y="391"/>
                </a:lnTo>
                <a:lnTo>
                  <a:pt x="736" y="393"/>
                </a:lnTo>
                <a:lnTo>
                  <a:pt x="735" y="396"/>
                </a:lnTo>
                <a:lnTo>
                  <a:pt x="731" y="397"/>
                </a:lnTo>
                <a:lnTo>
                  <a:pt x="733" y="401"/>
                </a:lnTo>
                <a:lnTo>
                  <a:pt x="732" y="401"/>
                </a:lnTo>
                <a:lnTo>
                  <a:pt x="731" y="405"/>
                </a:lnTo>
                <a:lnTo>
                  <a:pt x="732" y="412"/>
                </a:lnTo>
                <a:lnTo>
                  <a:pt x="729" y="417"/>
                </a:lnTo>
                <a:lnTo>
                  <a:pt x="731" y="420"/>
                </a:lnTo>
                <a:lnTo>
                  <a:pt x="736" y="425"/>
                </a:lnTo>
                <a:lnTo>
                  <a:pt x="738" y="425"/>
                </a:lnTo>
                <a:lnTo>
                  <a:pt x="747" y="430"/>
                </a:lnTo>
                <a:lnTo>
                  <a:pt x="747" y="433"/>
                </a:lnTo>
                <a:lnTo>
                  <a:pt x="749" y="435"/>
                </a:lnTo>
                <a:lnTo>
                  <a:pt x="749" y="437"/>
                </a:lnTo>
                <a:lnTo>
                  <a:pt x="753" y="439"/>
                </a:lnTo>
                <a:lnTo>
                  <a:pt x="756" y="438"/>
                </a:lnTo>
                <a:lnTo>
                  <a:pt x="760" y="441"/>
                </a:lnTo>
                <a:lnTo>
                  <a:pt x="758" y="447"/>
                </a:lnTo>
                <a:lnTo>
                  <a:pt x="756" y="450"/>
                </a:lnTo>
                <a:lnTo>
                  <a:pt x="757" y="454"/>
                </a:lnTo>
                <a:lnTo>
                  <a:pt x="753" y="457"/>
                </a:lnTo>
                <a:lnTo>
                  <a:pt x="753" y="462"/>
                </a:lnTo>
                <a:lnTo>
                  <a:pt x="757" y="460"/>
                </a:lnTo>
                <a:lnTo>
                  <a:pt x="769" y="450"/>
                </a:lnTo>
                <a:lnTo>
                  <a:pt x="785" y="450"/>
                </a:lnTo>
                <a:lnTo>
                  <a:pt x="824" y="450"/>
                </a:lnTo>
                <a:lnTo>
                  <a:pt x="803" y="499"/>
                </a:lnTo>
                <a:lnTo>
                  <a:pt x="793" y="509"/>
                </a:lnTo>
                <a:lnTo>
                  <a:pt x="782" y="525"/>
                </a:lnTo>
                <a:lnTo>
                  <a:pt x="782" y="526"/>
                </a:lnTo>
                <a:lnTo>
                  <a:pt x="788" y="526"/>
                </a:lnTo>
                <a:lnTo>
                  <a:pt x="788" y="527"/>
                </a:lnTo>
                <a:lnTo>
                  <a:pt x="788" y="529"/>
                </a:lnTo>
                <a:lnTo>
                  <a:pt x="786" y="529"/>
                </a:lnTo>
                <a:lnTo>
                  <a:pt x="788" y="532"/>
                </a:lnTo>
                <a:lnTo>
                  <a:pt x="785" y="533"/>
                </a:lnTo>
                <a:lnTo>
                  <a:pt x="783" y="535"/>
                </a:lnTo>
                <a:lnTo>
                  <a:pt x="791" y="538"/>
                </a:lnTo>
                <a:lnTo>
                  <a:pt x="789" y="539"/>
                </a:lnTo>
                <a:lnTo>
                  <a:pt x="791" y="541"/>
                </a:lnTo>
                <a:lnTo>
                  <a:pt x="789" y="542"/>
                </a:lnTo>
                <a:lnTo>
                  <a:pt x="789" y="546"/>
                </a:lnTo>
                <a:lnTo>
                  <a:pt x="791" y="547"/>
                </a:lnTo>
                <a:lnTo>
                  <a:pt x="793" y="547"/>
                </a:lnTo>
                <a:lnTo>
                  <a:pt x="794" y="549"/>
                </a:lnTo>
                <a:lnTo>
                  <a:pt x="792" y="551"/>
                </a:lnTo>
                <a:lnTo>
                  <a:pt x="794" y="552"/>
                </a:lnTo>
                <a:lnTo>
                  <a:pt x="792" y="554"/>
                </a:lnTo>
                <a:lnTo>
                  <a:pt x="794" y="555"/>
                </a:lnTo>
                <a:lnTo>
                  <a:pt x="793" y="558"/>
                </a:lnTo>
                <a:lnTo>
                  <a:pt x="799" y="560"/>
                </a:lnTo>
                <a:lnTo>
                  <a:pt x="802" y="560"/>
                </a:lnTo>
                <a:lnTo>
                  <a:pt x="803" y="559"/>
                </a:lnTo>
                <a:lnTo>
                  <a:pt x="810" y="560"/>
                </a:lnTo>
                <a:lnTo>
                  <a:pt x="811" y="559"/>
                </a:lnTo>
                <a:lnTo>
                  <a:pt x="813" y="560"/>
                </a:lnTo>
                <a:lnTo>
                  <a:pt x="813" y="563"/>
                </a:lnTo>
                <a:lnTo>
                  <a:pt x="813" y="564"/>
                </a:lnTo>
                <a:lnTo>
                  <a:pt x="811" y="566"/>
                </a:lnTo>
                <a:lnTo>
                  <a:pt x="814" y="569"/>
                </a:lnTo>
                <a:lnTo>
                  <a:pt x="816" y="572"/>
                </a:lnTo>
                <a:lnTo>
                  <a:pt x="814" y="574"/>
                </a:lnTo>
                <a:lnTo>
                  <a:pt x="813" y="572"/>
                </a:lnTo>
                <a:lnTo>
                  <a:pt x="810" y="574"/>
                </a:lnTo>
                <a:lnTo>
                  <a:pt x="808" y="572"/>
                </a:lnTo>
                <a:lnTo>
                  <a:pt x="806" y="574"/>
                </a:lnTo>
                <a:lnTo>
                  <a:pt x="806" y="575"/>
                </a:lnTo>
                <a:lnTo>
                  <a:pt x="803" y="575"/>
                </a:lnTo>
                <a:lnTo>
                  <a:pt x="803" y="577"/>
                </a:lnTo>
                <a:lnTo>
                  <a:pt x="797" y="579"/>
                </a:lnTo>
                <a:lnTo>
                  <a:pt x="796" y="582"/>
                </a:lnTo>
                <a:lnTo>
                  <a:pt x="799" y="582"/>
                </a:lnTo>
                <a:lnTo>
                  <a:pt x="797" y="583"/>
                </a:lnTo>
                <a:lnTo>
                  <a:pt x="793" y="580"/>
                </a:lnTo>
                <a:lnTo>
                  <a:pt x="792" y="582"/>
                </a:lnTo>
                <a:lnTo>
                  <a:pt x="792" y="586"/>
                </a:lnTo>
                <a:lnTo>
                  <a:pt x="791" y="588"/>
                </a:lnTo>
                <a:lnTo>
                  <a:pt x="786" y="592"/>
                </a:lnTo>
                <a:lnTo>
                  <a:pt x="783" y="597"/>
                </a:lnTo>
                <a:lnTo>
                  <a:pt x="782" y="611"/>
                </a:lnTo>
                <a:lnTo>
                  <a:pt x="783" y="614"/>
                </a:lnTo>
                <a:lnTo>
                  <a:pt x="792" y="620"/>
                </a:lnTo>
                <a:lnTo>
                  <a:pt x="799" y="621"/>
                </a:lnTo>
                <a:lnTo>
                  <a:pt x="800" y="625"/>
                </a:lnTo>
                <a:lnTo>
                  <a:pt x="799" y="629"/>
                </a:lnTo>
                <a:lnTo>
                  <a:pt x="796" y="630"/>
                </a:lnTo>
                <a:lnTo>
                  <a:pt x="794" y="633"/>
                </a:lnTo>
                <a:lnTo>
                  <a:pt x="799" y="636"/>
                </a:lnTo>
                <a:lnTo>
                  <a:pt x="799" y="639"/>
                </a:lnTo>
                <a:lnTo>
                  <a:pt x="797" y="642"/>
                </a:lnTo>
                <a:lnTo>
                  <a:pt x="793" y="642"/>
                </a:lnTo>
                <a:lnTo>
                  <a:pt x="792" y="644"/>
                </a:lnTo>
                <a:lnTo>
                  <a:pt x="796" y="647"/>
                </a:lnTo>
                <a:lnTo>
                  <a:pt x="797" y="650"/>
                </a:lnTo>
                <a:lnTo>
                  <a:pt x="792" y="673"/>
                </a:lnTo>
                <a:lnTo>
                  <a:pt x="792" y="675"/>
                </a:lnTo>
                <a:lnTo>
                  <a:pt x="793" y="678"/>
                </a:lnTo>
                <a:lnTo>
                  <a:pt x="800" y="684"/>
                </a:lnTo>
                <a:lnTo>
                  <a:pt x="800" y="688"/>
                </a:lnTo>
                <a:lnTo>
                  <a:pt x="797" y="692"/>
                </a:lnTo>
                <a:lnTo>
                  <a:pt x="799" y="696"/>
                </a:lnTo>
                <a:lnTo>
                  <a:pt x="810" y="696"/>
                </a:lnTo>
                <a:lnTo>
                  <a:pt x="813" y="698"/>
                </a:lnTo>
                <a:lnTo>
                  <a:pt x="814" y="700"/>
                </a:lnTo>
                <a:lnTo>
                  <a:pt x="818" y="700"/>
                </a:lnTo>
                <a:lnTo>
                  <a:pt x="819" y="703"/>
                </a:lnTo>
                <a:lnTo>
                  <a:pt x="827" y="704"/>
                </a:lnTo>
                <a:lnTo>
                  <a:pt x="831" y="707"/>
                </a:lnTo>
                <a:lnTo>
                  <a:pt x="838" y="706"/>
                </a:lnTo>
                <a:lnTo>
                  <a:pt x="841" y="707"/>
                </a:lnTo>
                <a:lnTo>
                  <a:pt x="845" y="707"/>
                </a:lnTo>
                <a:lnTo>
                  <a:pt x="849" y="708"/>
                </a:lnTo>
                <a:lnTo>
                  <a:pt x="852" y="708"/>
                </a:lnTo>
                <a:lnTo>
                  <a:pt x="854" y="708"/>
                </a:lnTo>
                <a:lnTo>
                  <a:pt x="857" y="708"/>
                </a:lnTo>
                <a:lnTo>
                  <a:pt x="860" y="712"/>
                </a:lnTo>
                <a:lnTo>
                  <a:pt x="860" y="713"/>
                </a:lnTo>
                <a:lnTo>
                  <a:pt x="857" y="716"/>
                </a:lnTo>
                <a:lnTo>
                  <a:pt x="856" y="715"/>
                </a:lnTo>
                <a:lnTo>
                  <a:pt x="854" y="720"/>
                </a:lnTo>
                <a:lnTo>
                  <a:pt x="852" y="721"/>
                </a:lnTo>
                <a:lnTo>
                  <a:pt x="852" y="724"/>
                </a:lnTo>
                <a:lnTo>
                  <a:pt x="850" y="728"/>
                </a:lnTo>
                <a:lnTo>
                  <a:pt x="850" y="731"/>
                </a:lnTo>
                <a:lnTo>
                  <a:pt x="846" y="731"/>
                </a:lnTo>
                <a:lnTo>
                  <a:pt x="847" y="737"/>
                </a:lnTo>
                <a:lnTo>
                  <a:pt x="845" y="738"/>
                </a:lnTo>
                <a:lnTo>
                  <a:pt x="845" y="740"/>
                </a:lnTo>
                <a:lnTo>
                  <a:pt x="846" y="741"/>
                </a:lnTo>
                <a:lnTo>
                  <a:pt x="850" y="743"/>
                </a:lnTo>
                <a:lnTo>
                  <a:pt x="856" y="750"/>
                </a:lnTo>
                <a:lnTo>
                  <a:pt x="861" y="748"/>
                </a:lnTo>
                <a:lnTo>
                  <a:pt x="866" y="748"/>
                </a:lnTo>
                <a:lnTo>
                  <a:pt x="868" y="754"/>
                </a:lnTo>
                <a:lnTo>
                  <a:pt x="867" y="757"/>
                </a:lnTo>
                <a:lnTo>
                  <a:pt x="868" y="763"/>
                </a:lnTo>
                <a:lnTo>
                  <a:pt x="867" y="766"/>
                </a:lnTo>
                <a:lnTo>
                  <a:pt x="863" y="769"/>
                </a:lnTo>
                <a:lnTo>
                  <a:pt x="861" y="774"/>
                </a:lnTo>
                <a:lnTo>
                  <a:pt x="859" y="775"/>
                </a:lnTo>
                <a:lnTo>
                  <a:pt x="854" y="779"/>
                </a:lnTo>
                <a:lnTo>
                  <a:pt x="856" y="783"/>
                </a:lnTo>
                <a:lnTo>
                  <a:pt x="854" y="783"/>
                </a:lnTo>
                <a:lnTo>
                  <a:pt x="854" y="785"/>
                </a:lnTo>
                <a:lnTo>
                  <a:pt x="857" y="786"/>
                </a:lnTo>
                <a:lnTo>
                  <a:pt x="859" y="787"/>
                </a:lnTo>
                <a:lnTo>
                  <a:pt x="856" y="795"/>
                </a:lnTo>
                <a:lnTo>
                  <a:pt x="856" y="798"/>
                </a:lnTo>
                <a:lnTo>
                  <a:pt x="852" y="799"/>
                </a:lnTo>
                <a:lnTo>
                  <a:pt x="852" y="804"/>
                </a:lnTo>
                <a:lnTo>
                  <a:pt x="939" y="802"/>
                </a:lnTo>
                <a:lnTo>
                  <a:pt x="954" y="824"/>
                </a:lnTo>
                <a:lnTo>
                  <a:pt x="963" y="838"/>
                </a:lnTo>
                <a:lnTo>
                  <a:pt x="966" y="845"/>
                </a:lnTo>
                <a:lnTo>
                  <a:pt x="967" y="866"/>
                </a:lnTo>
                <a:lnTo>
                  <a:pt x="970" y="880"/>
                </a:lnTo>
                <a:lnTo>
                  <a:pt x="967" y="910"/>
                </a:lnTo>
                <a:lnTo>
                  <a:pt x="967" y="947"/>
                </a:lnTo>
                <a:close/>
                <a:moveTo>
                  <a:pt x="640" y="1301"/>
                </a:moveTo>
                <a:lnTo>
                  <a:pt x="642" y="1309"/>
                </a:lnTo>
                <a:lnTo>
                  <a:pt x="638" y="1315"/>
                </a:lnTo>
                <a:lnTo>
                  <a:pt x="636" y="1327"/>
                </a:lnTo>
                <a:lnTo>
                  <a:pt x="635" y="1330"/>
                </a:lnTo>
                <a:lnTo>
                  <a:pt x="632" y="1330"/>
                </a:lnTo>
                <a:lnTo>
                  <a:pt x="631" y="1329"/>
                </a:lnTo>
                <a:lnTo>
                  <a:pt x="631" y="1326"/>
                </a:lnTo>
                <a:lnTo>
                  <a:pt x="627" y="1318"/>
                </a:lnTo>
                <a:lnTo>
                  <a:pt x="628" y="1310"/>
                </a:lnTo>
                <a:lnTo>
                  <a:pt x="632" y="1305"/>
                </a:lnTo>
                <a:lnTo>
                  <a:pt x="639" y="1298"/>
                </a:lnTo>
                <a:lnTo>
                  <a:pt x="640" y="130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133" name="Freeform 132"/>
          <p:cNvSpPr>
            <a:spLocks noEditPoints="1"/>
          </p:cNvSpPr>
          <p:nvPr/>
        </p:nvSpPr>
        <p:spPr bwMode="auto">
          <a:xfrm>
            <a:off x="6574137" y="3530558"/>
            <a:ext cx="677234" cy="1167173"/>
          </a:xfrm>
          <a:custGeom>
            <a:avLst/>
            <a:gdLst>
              <a:gd name="T0" fmla="*/ 1355 w 2254"/>
              <a:gd name="T1" fmla="*/ 3305 h 3632"/>
              <a:gd name="T2" fmla="*/ 2151 w 2254"/>
              <a:gd name="T3" fmla="*/ 1708 h 3632"/>
              <a:gd name="T4" fmla="*/ 2073 w 2254"/>
              <a:gd name="T5" fmla="*/ 1699 h 3632"/>
              <a:gd name="T6" fmla="*/ 1874 w 2254"/>
              <a:gd name="T7" fmla="*/ 1841 h 3632"/>
              <a:gd name="T8" fmla="*/ 1800 w 2254"/>
              <a:gd name="T9" fmla="*/ 1929 h 3632"/>
              <a:gd name="T10" fmla="*/ 1667 w 2254"/>
              <a:gd name="T11" fmla="*/ 2069 h 3632"/>
              <a:gd name="T12" fmla="*/ 1500 w 2254"/>
              <a:gd name="T13" fmla="*/ 2247 h 3632"/>
              <a:gd name="T14" fmla="*/ 1289 w 2254"/>
              <a:gd name="T15" fmla="*/ 2397 h 3632"/>
              <a:gd name="T16" fmla="*/ 1135 w 2254"/>
              <a:gd name="T17" fmla="*/ 2381 h 3632"/>
              <a:gd name="T18" fmla="*/ 1113 w 2254"/>
              <a:gd name="T19" fmla="*/ 2430 h 3632"/>
              <a:gd name="T20" fmla="*/ 1097 w 2254"/>
              <a:gd name="T21" fmla="*/ 2599 h 3632"/>
              <a:gd name="T22" fmla="*/ 1077 w 2254"/>
              <a:gd name="T23" fmla="*/ 2692 h 3632"/>
              <a:gd name="T24" fmla="*/ 1072 w 2254"/>
              <a:gd name="T25" fmla="*/ 2755 h 3632"/>
              <a:gd name="T26" fmla="*/ 1075 w 2254"/>
              <a:gd name="T27" fmla="*/ 2786 h 3632"/>
              <a:gd name="T28" fmla="*/ 1033 w 2254"/>
              <a:gd name="T29" fmla="*/ 2849 h 3632"/>
              <a:gd name="T30" fmla="*/ 1030 w 2254"/>
              <a:gd name="T31" fmla="*/ 2894 h 3632"/>
              <a:gd name="T32" fmla="*/ 1044 w 2254"/>
              <a:gd name="T33" fmla="*/ 2931 h 3632"/>
              <a:gd name="T34" fmla="*/ 1033 w 2254"/>
              <a:gd name="T35" fmla="*/ 3040 h 3632"/>
              <a:gd name="T36" fmla="*/ 1073 w 2254"/>
              <a:gd name="T37" fmla="*/ 2991 h 3632"/>
              <a:gd name="T38" fmla="*/ 1162 w 2254"/>
              <a:gd name="T39" fmla="*/ 3069 h 3632"/>
              <a:gd name="T40" fmla="*/ 1133 w 2254"/>
              <a:gd name="T41" fmla="*/ 3126 h 3632"/>
              <a:gd name="T42" fmla="*/ 1205 w 2254"/>
              <a:gd name="T43" fmla="*/ 3145 h 3632"/>
              <a:gd name="T44" fmla="*/ 1257 w 2254"/>
              <a:gd name="T45" fmla="*/ 3138 h 3632"/>
              <a:gd name="T46" fmla="*/ 1268 w 2254"/>
              <a:gd name="T47" fmla="*/ 3182 h 3632"/>
              <a:gd name="T48" fmla="*/ 1279 w 2254"/>
              <a:gd name="T49" fmla="*/ 3222 h 3632"/>
              <a:gd name="T50" fmla="*/ 1335 w 2254"/>
              <a:gd name="T51" fmla="*/ 3263 h 3632"/>
              <a:gd name="T52" fmla="*/ 1271 w 2254"/>
              <a:gd name="T53" fmla="*/ 3370 h 3632"/>
              <a:gd name="T54" fmla="*/ 1147 w 2254"/>
              <a:gd name="T55" fmla="*/ 3441 h 3632"/>
              <a:gd name="T56" fmla="*/ 1009 w 2254"/>
              <a:gd name="T57" fmla="*/ 3457 h 3632"/>
              <a:gd name="T58" fmla="*/ 865 w 2254"/>
              <a:gd name="T59" fmla="*/ 3511 h 3632"/>
              <a:gd name="T60" fmla="*/ 776 w 2254"/>
              <a:gd name="T61" fmla="*/ 3621 h 3632"/>
              <a:gd name="T62" fmla="*/ 662 w 2254"/>
              <a:gd name="T63" fmla="*/ 3615 h 3632"/>
              <a:gd name="T64" fmla="*/ 527 w 2254"/>
              <a:gd name="T65" fmla="*/ 3617 h 3632"/>
              <a:gd name="T66" fmla="*/ 343 w 2254"/>
              <a:gd name="T67" fmla="*/ 3168 h 3632"/>
              <a:gd name="T68" fmla="*/ 71 w 2254"/>
              <a:gd name="T69" fmla="*/ 2909 h 3632"/>
              <a:gd name="T70" fmla="*/ 15 w 2254"/>
              <a:gd name="T71" fmla="*/ 2633 h 3632"/>
              <a:gd name="T72" fmla="*/ 103 w 2254"/>
              <a:gd name="T73" fmla="*/ 2564 h 3632"/>
              <a:gd name="T74" fmla="*/ 194 w 2254"/>
              <a:gd name="T75" fmla="*/ 2531 h 3632"/>
              <a:gd name="T76" fmla="*/ 354 w 2254"/>
              <a:gd name="T77" fmla="*/ 2491 h 3632"/>
              <a:gd name="T78" fmla="*/ 292 w 2254"/>
              <a:gd name="T79" fmla="*/ 2264 h 3632"/>
              <a:gd name="T80" fmla="*/ 499 w 2254"/>
              <a:gd name="T81" fmla="*/ 1708 h 3632"/>
              <a:gd name="T82" fmla="*/ 339 w 2254"/>
              <a:gd name="T83" fmla="*/ 1568 h 3632"/>
              <a:gd name="T84" fmla="*/ 374 w 2254"/>
              <a:gd name="T85" fmla="*/ 1378 h 3632"/>
              <a:gd name="T86" fmla="*/ 368 w 2254"/>
              <a:gd name="T87" fmla="*/ 1303 h 3632"/>
              <a:gd name="T88" fmla="*/ 361 w 2254"/>
              <a:gd name="T89" fmla="*/ 1182 h 3632"/>
              <a:gd name="T90" fmla="*/ 534 w 2254"/>
              <a:gd name="T91" fmla="*/ 1119 h 3632"/>
              <a:gd name="T92" fmla="*/ 695 w 2254"/>
              <a:gd name="T93" fmla="*/ 1135 h 3632"/>
              <a:gd name="T94" fmla="*/ 680 w 2254"/>
              <a:gd name="T95" fmla="*/ 869 h 3632"/>
              <a:gd name="T96" fmla="*/ 649 w 2254"/>
              <a:gd name="T97" fmla="*/ 457 h 3632"/>
              <a:gd name="T98" fmla="*/ 913 w 2254"/>
              <a:gd name="T99" fmla="*/ 31 h 3632"/>
              <a:gd name="T100" fmla="*/ 1166 w 2254"/>
              <a:gd name="T101" fmla="*/ 158 h 3632"/>
              <a:gd name="T102" fmla="*/ 1286 w 2254"/>
              <a:gd name="T103" fmla="*/ 423 h 3632"/>
              <a:gd name="T104" fmla="*/ 1446 w 2254"/>
              <a:gd name="T105" fmla="*/ 663 h 3632"/>
              <a:gd name="T106" fmla="*/ 1621 w 2254"/>
              <a:gd name="T107" fmla="*/ 813 h 3632"/>
              <a:gd name="T108" fmla="*/ 1784 w 2254"/>
              <a:gd name="T109" fmla="*/ 987 h 3632"/>
              <a:gd name="T110" fmla="*/ 2063 w 2254"/>
              <a:gd name="T111" fmla="*/ 1187 h 3632"/>
              <a:gd name="T112" fmla="*/ 2225 w 2254"/>
              <a:gd name="T113" fmla="*/ 1438 h 3632"/>
              <a:gd name="T114" fmla="*/ 2220 w 2254"/>
              <a:gd name="T115" fmla="*/ 1546 h 3632"/>
              <a:gd name="T116" fmla="*/ 1227 w 2254"/>
              <a:gd name="T117" fmla="*/ 3080 h 3632"/>
              <a:gd name="T118" fmla="*/ 1036 w 2254"/>
              <a:gd name="T119" fmla="*/ 2345 h 3632"/>
              <a:gd name="T120" fmla="*/ 1122 w 2254"/>
              <a:gd name="T121" fmla="*/ 2396 h 3632"/>
              <a:gd name="T122" fmla="*/ 1058 w 2254"/>
              <a:gd name="T123" fmla="*/ 2377 h 3632"/>
              <a:gd name="T124" fmla="*/ 1144 w 2254"/>
              <a:gd name="T125" fmla="*/ 2399 h 36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254"/>
              <a:gd name="T190" fmla="*/ 0 h 3632"/>
              <a:gd name="T191" fmla="*/ 2254 w 2254"/>
              <a:gd name="T192" fmla="*/ 3632 h 363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254" h="3632">
                <a:moveTo>
                  <a:pt x="1400" y="3329"/>
                </a:moveTo>
                <a:lnTo>
                  <a:pt x="1396" y="3329"/>
                </a:lnTo>
                <a:lnTo>
                  <a:pt x="1393" y="3325"/>
                </a:lnTo>
                <a:lnTo>
                  <a:pt x="1390" y="3325"/>
                </a:lnTo>
                <a:lnTo>
                  <a:pt x="1389" y="3325"/>
                </a:lnTo>
                <a:lnTo>
                  <a:pt x="1392" y="3328"/>
                </a:lnTo>
                <a:lnTo>
                  <a:pt x="1393" y="3329"/>
                </a:lnTo>
                <a:lnTo>
                  <a:pt x="1395" y="3331"/>
                </a:lnTo>
                <a:lnTo>
                  <a:pt x="1393" y="3334"/>
                </a:lnTo>
                <a:lnTo>
                  <a:pt x="1382" y="3338"/>
                </a:lnTo>
                <a:lnTo>
                  <a:pt x="1375" y="3337"/>
                </a:lnTo>
                <a:lnTo>
                  <a:pt x="1371" y="3339"/>
                </a:lnTo>
                <a:lnTo>
                  <a:pt x="1364" y="3338"/>
                </a:lnTo>
                <a:lnTo>
                  <a:pt x="1371" y="3341"/>
                </a:lnTo>
                <a:lnTo>
                  <a:pt x="1378" y="3341"/>
                </a:lnTo>
                <a:lnTo>
                  <a:pt x="1378" y="3342"/>
                </a:lnTo>
                <a:lnTo>
                  <a:pt x="1375" y="3343"/>
                </a:lnTo>
                <a:lnTo>
                  <a:pt x="1372" y="3343"/>
                </a:lnTo>
                <a:lnTo>
                  <a:pt x="1365" y="3342"/>
                </a:lnTo>
                <a:lnTo>
                  <a:pt x="1362" y="3343"/>
                </a:lnTo>
                <a:lnTo>
                  <a:pt x="1353" y="3354"/>
                </a:lnTo>
                <a:lnTo>
                  <a:pt x="1346" y="3355"/>
                </a:lnTo>
                <a:lnTo>
                  <a:pt x="1343" y="3354"/>
                </a:lnTo>
                <a:lnTo>
                  <a:pt x="1347" y="3346"/>
                </a:lnTo>
                <a:lnTo>
                  <a:pt x="1347" y="3333"/>
                </a:lnTo>
                <a:lnTo>
                  <a:pt x="1343" y="3329"/>
                </a:lnTo>
                <a:lnTo>
                  <a:pt x="1336" y="3331"/>
                </a:lnTo>
                <a:lnTo>
                  <a:pt x="1335" y="3329"/>
                </a:lnTo>
                <a:lnTo>
                  <a:pt x="1350" y="3321"/>
                </a:lnTo>
                <a:lnTo>
                  <a:pt x="1358" y="3312"/>
                </a:lnTo>
                <a:lnTo>
                  <a:pt x="1355" y="3305"/>
                </a:lnTo>
                <a:lnTo>
                  <a:pt x="1369" y="3302"/>
                </a:lnTo>
                <a:lnTo>
                  <a:pt x="1378" y="3311"/>
                </a:lnTo>
                <a:lnTo>
                  <a:pt x="1379" y="3302"/>
                </a:lnTo>
                <a:lnTo>
                  <a:pt x="1382" y="3301"/>
                </a:lnTo>
                <a:lnTo>
                  <a:pt x="1385" y="3301"/>
                </a:lnTo>
                <a:lnTo>
                  <a:pt x="1385" y="3297"/>
                </a:lnTo>
                <a:lnTo>
                  <a:pt x="1386" y="3297"/>
                </a:lnTo>
                <a:lnTo>
                  <a:pt x="1390" y="3311"/>
                </a:lnTo>
                <a:lnTo>
                  <a:pt x="1401" y="3328"/>
                </a:lnTo>
                <a:lnTo>
                  <a:pt x="1403" y="3333"/>
                </a:lnTo>
                <a:lnTo>
                  <a:pt x="1400" y="3329"/>
                </a:lnTo>
                <a:close/>
                <a:moveTo>
                  <a:pt x="2250" y="1587"/>
                </a:moveTo>
                <a:lnTo>
                  <a:pt x="2233" y="1587"/>
                </a:lnTo>
                <a:lnTo>
                  <a:pt x="2230" y="1588"/>
                </a:lnTo>
                <a:lnTo>
                  <a:pt x="2228" y="1592"/>
                </a:lnTo>
                <a:lnTo>
                  <a:pt x="2229" y="1605"/>
                </a:lnTo>
                <a:lnTo>
                  <a:pt x="2206" y="1617"/>
                </a:lnTo>
                <a:lnTo>
                  <a:pt x="2198" y="1629"/>
                </a:lnTo>
                <a:lnTo>
                  <a:pt x="2195" y="1636"/>
                </a:lnTo>
                <a:lnTo>
                  <a:pt x="2195" y="1645"/>
                </a:lnTo>
                <a:lnTo>
                  <a:pt x="2197" y="1647"/>
                </a:lnTo>
                <a:lnTo>
                  <a:pt x="2200" y="1651"/>
                </a:lnTo>
                <a:lnTo>
                  <a:pt x="2202" y="1659"/>
                </a:lnTo>
                <a:lnTo>
                  <a:pt x="2204" y="1670"/>
                </a:lnTo>
                <a:lnTo>
                  <a:pt x="2201" y="1678"/>
                </a:lnTo>
                <a:lnTo>
                  <a:pt x="2194" y="1686"/>
                </a:lnTo>
                <a:lnTo>
                  <a:pt x="2193" y="1696"/>
                </a:lnTo>
                <a:lnTo>
                  <a:pt x="2190" y="1700"/>
                </a:lnTo>
                <a:lnTo>
                  <a:pt x="2184" y="1704"/>
                </a:lnTo>
                <a:lnTo>
                  <a:pt x="2173" y="1704"/>
                </a:lnTo>
                <a:lnTo>
                  <a:pt x="2151" y="1708"/>
                </a:lnTo>
                <a:lnTo>
                  <a:pt x="2149" y="1704"/>
                </a:lnTo>
                <a:lnTo>
                  <a:pt x="2154" y="1700"/>
                </a:lnTo>
                <a:lnTo>
                  <a:pt x="2165" y="1699"/>
                </a:lnTo>
                <a:lnTo>
                  <a:pt x="2172" y="1695"/>
                </a:lnTo>
                <a:lnTo>
                  <a:pt x="2172" y="1692"/>
                </a:lnTo>
                <a:lnTo>
                  <a:pt x="2170" y="1686"/>
                </a:lnTo>
                <a:lnTo>
                  <a:pt x="2168" y="1688"/>
                </a:lnTo>
                <a:lnTo>
                  <a:pt x="2163" y="1686"/>
                </a:lnTo>
                <a:lnTo>
                  <a:pt x="2155" y="1695"/>
                </a:lnTo>
                <a:lnTo>
                  <a:pt x="2149" y="1694"/>
                </a:lnTo>
                <a:lnTo>
                  <a:pt x="2141" y="1699"/>
                </a:lnTo>
                <a:lnTo>
                  <a:pt x="2133" y="1700"/>
                </a:lnTo>
                <a:lnTo>
                  <a:pt x="2131" y="1704"/>
                </a:lnTo>
                <a:lnTo>
                  <a:pt x="2133" y="1711"/>
                </a:lnTo>
                <a:lnTo>
                  <a:pt x="2130" y="1712"/>
                </a:lnTo>
                <a:lnTo>
                  <a:pt x="2102" y="1721"/>
                </a:lnTo>
                <a:lnTo>
                  <a:pt x="2088" y="1719"/>
                </a:lnTo>
                <a:lnTo>
                  <a:pt x="2088" y="1716"/>
                </a:lnTo>
                <a:lnTo>
                  <a:pt x="2094" y="1713"/>
                </a:lnTo>
                <a:lnTo>
                  <a:pt x="2102" y="1704"/>
                </a:lnTo>
                <a:lnTo>
                  <a:pt x="2113" y="1696"/>
                </a:lnTo>
                <a:lnTo>
                  <a:pt x="2123" y="1663"/>
                </a:lnTo>
                <a:lnTo>
                  <a:pt x="2123" y="1655"/>
                </a:lnTo>
                <a:lnTo>
                  <a:pt x="2118" y="1666"/>
                </a:lnTo>
                <a:lnTo>
                  <a:pt x="2112" y="1674"/>
                </a:lnTo>
                <a:lnTo>
                  <a:pt x="2109" y="1686"/>
                </a:lnTo>
                <a:lnTo>
                  <a:pt x="2105" y="1695"/>
                </a:lnTo>
                <a:lnTo>
                  <a:pt x="2101" y="1696"/>
                </a:lnTo>
                <a:lnTo>
                  <a:pt x="2094" y="1694"/>
                </a:lnTo>
                <a:lnTo>
                  <a:pt x="2087" y="1694"/>
                </a:lnTo>
                <a:lnTo>
                  <a:pt x="2073" y="1699"/>
                </a:lnTo>
                <a:lnTo>
                  <a:pt x="2068" y="1704"/>
                </a:lnTo>
                <a:lnTo>
                  <a:pt x="2065" y="1708"/>
                </a:lnTo>
                <a:lnTo>
                  <a:pt x="2065" y="1714"/>
                </a:lnTo>
                <a:lnTo>
                  <a:pt x="2069" y="1719"/>
                </a:lnTo>
                <a:lnTo>
                  <a:pt x="2069" y="1726"/>
                </a:lnTo>
                <a:lnTo>
                  <a:pt x="2066" y="1731"/>
                </a:lnTo>
                <a:lnTo>
                  <a:pt x="2062" y="1734"/>
                </a:lnTo>
                <a:lnTo>
                  <a:pt x="2055" y="1737"/>
                </a:lnTo>
                <a:lnTo>
                  <a:pt x="2048" y="1738"/>
                </a:lnTo>
                <a:lnTo>
                  <a:pt x="2035" y="1733"/>
                </a:lnTo>
                <a:lnTo>
                  <a:pt x="2029" y="1734"/>
                </a:lnTo>
                <a:lnTo>
                  <a:pt x="2024" y="1731"/>
                </a:lnTo>
                <a:lnTo>
                  <a:pt x="2019" y="1731"/>
                </a:lnTo>
                <a:lnTo>
                  <a:pt x="2015" y="1725"/>
                </a:lnTo>
                <a:lnTo>
                  <a:pt x="2015" y="1729"/>
                </a:lnTo>
                <a:lnTo>
                  <a:pt x="2012" y="1736"/>
                </a:lnTo>
                <a:lnTo>
                  <a:pt x="2012" y="1737"/>
                </a:lnTo>
                <a:lnTo>
                  <a:pt x="2006" y="1739"/>
                </a:lnTo>
                <a:lnTo>
                  <a:pt x="2006" y="1741"/>
                </a:lnTo>
                <a:lnTo>
                  <a:pt x="2015" y="1738"/>
                </a:lnTo>
                <a:lnTo>
                  <a:pt x="2021" y="1741"/>
                </a:lnTo>
                <a:lnTo>
                  <a:pt x="2030" y="1741"/>
                </a:lnTo>
                <a:lnTo>
                  <a:pt x="2029" y="1745"/>
                </a:lnTo>
                <a:lnTo>
                  <a:pt x="1973" y="1775"/>
                </a:lnTo>
                <a:lnTo>
                  <a:pt x="1916" y="1812"/>
                </a:lnTo>
                <a:lnTo>
                  <a:pt x="1905" y="1820"/>
                </a:lnTo>
                <a:lnTo>
                  <a:pt x="1896" y="1829"/>
                </a:lnTo>
                <a:lnTo>
                  <a:pt x="1891" y="1831"/>
                </a:lnTo>
                <a:lnTo>
                  <a:pt x="1881" y="1837"/>
                </a:lnTo>
                <a:lnTo>
                  <a:pt x="1875" y="1838"/>
                </a:lnTo>
                <a:lnTo>
                  <a:pt x="1874" y="1841"/>
                </a:lnTo>
                <a:lnTo>
                  <a:pt x="1874" y="1846"/>
                </a:lnTo>
                <a:lnTo>
                  <a:pt x="1870" y="1850"/>
                </a:lnTo>
                <a:lnTo>
                  <a:pt x="1874" y="1850"/>
                </a:lnTo>
                <a:lnTo>
                  <a:pt x="1878" y="1849"/>
                </a:lnTo>
                <a:lnTo>
                  <a:pt x="1880" y="1849"/>
                </a:lnTo>
                <a:lnTo>
                  <a:pt x="1867" y="1858"/>
                </a:lnTo>
                <a:lnTo>
                  <a:pt x="1863" y="1863"/>
                </a:lnTo>
                <a:lnTo>
                  <a:pt x="1860" y="1865"/>
                </a:lnTo>
                <a:lnTo>
                  <a:pt x="1860" y="1861"/>
                </a:lnTo>
                <a:lnTo>
                  <a:pt x="1859" y="1861"/>
                </a:lnTo>
                <a:lnTo>
                  <a:pt x="1852" y="1865"/>
                </a:lnTo>
                <a:lnTo>
                  <a:pt x="1846" y="1857"/>
                </a:lnTo>
                <a:lnTo>
                  <a:pt x="1845" y="1857"/>
                </a:lnTo>
                <a:lnTo>
                  <a:pt x="1845" y="1860"/>
                </a:lnTo>
                <a:lnTo>
                  <a:pt x="1846" y="1861"/>
                </a:lnTo>
                <a:lnTo>
                  <a:pt x="1848" y="1865"/>
                </a:lnTo>
                <a:lnTo>
                  <a:pt x="1841" y="1869"/>
                </a:lnTo>
                <a:lnTo>
                  <a:pt x="1845" y="1871"/>
                </a:lnTo>
                <a:lnTo>
                  <a:pt x="1848" y="1875"/>
                </a:lnTo>
                <a:lnTo>
                  <a:pt x="1849" y="1877"/>
                </a:lnTo>
                <a:lnTo>
                  <a:pt x="1839" y="1881"/>
                </a:lnTo>
                <a:lnTo>
                  <a:pt x="1833" y="1882"/>
                </a:lnTo>
                <a:lnTo>
                  <a:pt x="1828" y="1883"/>
                </a:lnTo>
                <a:lnTo>
                  <a:pt x="1828" y="1886"/>
                </a:lnTo>
                <a:lnTo>
                  <a:pt x="1828" y="1891"/>
                </a:lnTo>
                <a:lnTo>
                  <a:pt x="1833" y="1887"/>
                </a:lnTo>
                <a:lnTo>
                  <a:pt x="1838" y="1891"/>
                </a:lnTo>
                <a:lnTo>
                  <a:pt x="1838" y="1895"/>
                </a:lnTo>
                <a:lnTo>
                  <a:pt x="1824" y="1904"/>
                </a:lnTo>
                <a:lnTo>
                  <a:pt x="1814" y="1916"/>
                </a:lnTo>
                <a:lnTo>
                  <a:pt x="1800" y="1929"/>
                </a:lnTo>
                <a:lnTo>
                  <a:pt x="1795" y="1936"/>
                </a:lnTo>
                <a:lnTo>
                  <a:pt x="1788" y="1942"/>
                </a:lnTo>
                <a:lnTo>
                  <a:pt x="1785" y="1947"/>
                </a:lnTo>
                <a:lnTo>
                  <a:pt x="1767" y="1958"/>
                </a:lnTo>
                <a:lnTo>
                  <a:pt x="1767" y="1962"/>
                </a:lnTo>
                <a:lnTo>
                  <a:pt x="1769" y="1962"/>
                </a:lnTo>
                <a:lnTo>
                  <a:pt x="1764" y="1965"/>
                </a:lnTo>
                <a:lnTo>
                  <a:pt x="1763" y="1969"/>
                </a:lnTo>
                <a:lnTo>
                  <a:pt x="1763" y="1970"/>
                </a:lnTo>
                <a:lnTo>
                  <a:pt x="1767" y="1966"/>
                </a:lnTo>
                <a:lnTo>
                  <a:pt x="1770" y="1966"/>
                </a:lnTo>
                <a:lnTo>
                  <a:pt x="1755" y="1981"/>
                </a:lnTo>
                <a:lnTo>
                  <a:pt x="1725" y="2014"/>
                </a:lnTo>
                <a:lnTo>
                  <a:pt x="1723" y="2015"/>
                </a:lnTo>
                <a:lnTo>
                  <a:pt x="1721" y="2011"/>
                </a:lnTo>
                <a:lnTo>
                  <a:pt x="1719" y="2011"/>
                </a:lnTo>
                <a:lnTo>
                  <a:pt x="1719" y="2014"/>
                </a:lnTo>
                <a:lnTo>
                  <a:pt x="1716" y="2017"/>
                </a:lnTo>
                <a:lnTo>
                  <a:pt x="1711" y="2029"/>
                </a:lnTo>
                <a:lnTo>
                  <a:pt x="1706" y="2037"/>
                </a:lnTo>
                <a:lnTo>
                  <a:pt x="1699" y="2040"/>
                </a:lnTo>
                <a:lnTo>
                  <a:pt x="1694" y="2047"/>
                </a:lnTo>
                <a:lnTo>
                  <a:pt x="1688" y="2052"/>
                </a:lnTo>
                <a:lnTo>
                  <a:pt x="1686" y="2056"/>
                </a:lnTo>
                <a:lnTo>
                  <a:pt x="1686" y="2060"/>
                </a:lnTo>
                <a:lnTo>
                  <a:pt x="1672" y="2078"/>
                </a:lnTo>
                <a:lnTo>
                  <a:pt x="1670" y="2078"/>
                </a:lnTo>
                <a:lnTo>
                  <a:pt x="1667" y="2078"/>
                </a:lnTo>
                <a:lnTo>
                  <a:pt x="1667" y="2074"/>
                </a:lnTo>
                <a:lnTo>
                  <a:pt x="1670" y="2069"/>
                </a:lnTo>
                <a:lnTo>
                  <a:pt x="1667" y="2069"/>
                </a:lnTo>
                <a:lnTo>
                  <a:pt x="1663" y="2070"/>
                </a:lnTo>
                <a:lnTo>
                  <a:pt x="1661" y="2073"/>
                </a:lnTo>
                <a:lnTo>
                  <a:pt x="1661" y="2077"/>
                </a:lnTo>
                <a:lnTo>
                  <a:pt x="1659" y="2082"/>
                </a:lnTo>
                <a:lnTo>
                  <a:pt x="1661" y="2086"/>
                </a:lnTo>
                <a:lnTo>
                  <a:pt x="1666" y="2086"/>
                </a:lnTo>
                <a:lnTo>
                  <a:pt x="1666" y="2089"/>
                </a:lnTo>
                <a:lnTo>
                  <a:pt x="1647" y="2109"/>
                </a:lnTo>
                <a:lnTo>
                  <a:pt x="1642" y="2109"/>
                </a:lnTo>
                <a:lnTo>
                  <a:pt x="1638" y="2114"/>
                </a:lnTo>
                <a:lnTo>
                  <a:pt x="1635" y="2118"/>
                </a:lnTo>
                <a:lnTo>
                  <a:pt x="1634" y="2123"/>
                </a:lnTo>
                <a:lnTo>
                  <a:pt x="1628" y="2129"/>
                </a:lnTo>
                <a:lnTo>
                  <a:pt x="1625" y="2131"/>
                </a:lnTo>
                <a:lnTo>
                  <a:pt x="1621" y="2131"/>
                </a:lnTo>
                <a:lnTo>
                  <a:pt x="1618" y="2136"/>
                </a:lnTo>
                <a:lnTo>
                  <a:pt x="1611" y="2141"/>
                </a:lnTo>
                <a:lnTo>
                  <a:pt x="1604" y="2149"/>
                </a:lnTo>
                <a:lnTo>
                  <a:pt x="1603" y="2153"/>
                </a:lnTo>
                <a:lnTo>
                  <a:pt x="1586" y="2172"/>
                </a:lnTo>
                <a:lnTo>
                  <a:pt x="1582" y="2176"/>
                </a:lnTo>
                <a:lnTo>
                  <a:pt x="1578" y="2176"/>
                </a:lnTo>
                <a:lnTo>
                  <a:pt x="1574" y="2178"/>
                </a:lnTo>
                <a:lnTo>
                  <a:pt x="1556" y="2194"/>
                </a:lnTo>
                <a:lnTo>
                  <a:pt x="1559" y="2194"/>
                </a:lnTo>
                <a:lnTo>
                  <a:pt x="1557" y="2198"/>
                </a:lnTo>
                <a:lnTo>
                  <a:pt x="1551" y="2202"/>
                </a:lnTo>
                <a:lnTo>
                  <a:pt x="1532" y="2221"/>
                </a:lnTo>
                <a:lnTo>
                  <a:pt x="1515" y="2231"/>
                </a:lnTo>
                <a:lnTo>
                  <a:pt x="1501" y="2243"/>
                </a:lnTo>
                <a:lnTo>
                  <a:pt x="1500" y="2247"/>
                </a:lnTo>
                <a:lnTo>
                  <a:pt x="1482" y="2261"/>
                </a:lnTo>
                <a:lnTo>
                  <a:pt x="1474" y="2265"/>
                </a:lnTo>
                <a:lnTo>
                  <a:pt x="1465" y="2273"/>
                </a:lnTo>
                <a:lnTo>
                  <a:pt x="1449" y="2288"/>
                </a:lnTo>
                <a:lnTo>
                  <a:pt x="1415" y="2318"/>
                </a:lnTo>
                <a:lnTo>
                  <a:pt x="1412" y="2318"/>
                </a:lnTo>
                <a:lnTo>
                  <a:pt x="1410" y="2318"/>
                </a:lnTo>
                <a:lnTo>
                  <a:pt x="1411" y="2309"/>
                </a:lnTo>
                <a:lnTo>
                  <a:pt x="1407" y="2314"/>
                </a:lnTo>
                <a:lnTo>
                  <a:pt x="1396" y="2322"/>
                </a:lnTo>
                <a:lnTo>
                  <a:pt x="1399" y="2327"/>
                </a:lnTo>
                <a:lnTo>
                  <a:pt x="1389" y="2337"/>
                </a:lnTo>
                <a:lnTo>
                  <a:pt x="1382" y="2340"/>
                </a:lnTo>
                <a:lnTo>
                  <a:pt x="1372" y="2340"/>
                </a:lnTo>
                <a:lnTo>
                  <a:pt x="1371" y="2343"/>
                </a:lnTo>
                <a:lnTo>
                  <a:pt x="1364" y="2345"/>
                </a:lnTo>
                <a:lnTo>
                  <a:pt x="1364" y="2348"/>
                </a:lnTo>
                <a:lnTo>
                  <a:pt x="1361" y="2351"/>
                </a:lnTo>
                <a:lnTo>
                  <a:pt x="1353" y="2355"/>
                </a:lnTo>
                <a:lnTo>
                  <a:pt x="1321" y="2377"/>
                </a:lnTo>
                <a:lnTo>
                  <a:pt x="1308" y="2393"/>
                </a:lnTo>
                <a:lnTo>
                  <a:pt x="1287" y="2408"/>
                </a:lnTo>
                <a:lnTo>
                  <a:pt x="1283" y="2412"/>
                </a:lnTo>
                <a:lnTo>
                  <a:pt x="1285" y="2410"/>
                </a:lnTo>
                <a:lnTo>
                  <a:pt x="1283" y="2408"/>
                </a:lnTo>
                <a:lnTo>
                  <a:pt x="1287" y="2404"/>
                </a:lnTo>
                <a:lnTo>
                  <a:pt x="1294" y="2402"/>
                </a:lnTo>
                <a:lnTo>
                  <a:pt x="1299" y="2399"/>
                </a:lnTo>
                <a:lnTo>
                  <a:pt x="1299" y="2393"/>
                </a:lnTo>
                <a:lnTo>
                  <a:pt x="1293" y="2399"/>
                </a:lnTo>
                <a:lnTo>
                  <a:pt x="1289" y="2397"/>
                </a:lnTo>
                <a:lnTo>
                  <a:pt x="1290" y="2399"/>
                </a:lnTo>
                <a:lnTo>
                  <a:pt x="1286" y="2400"/>
                </a:lnTo>
                <a:lnTo>
                  <a:pt x="1283" y="2400"/>
                </a:lnTo>
                <a:lnTo>
                  <a:pt x="1280" y="2404"/>
                </a:lnTo>
                <a:lnTo>
                  <a:pt x="1275" y="2406"/>
                </a:lnTo>
                <a:lnTo>
                  <a:pt x="1272" y="2412"/>
                </a:lnTo>
                <a:lnTo>
                  <a:pt x="1265" y="2416"/>
                </a:lnTo>
                <a:lnTo>
                  <a:pt x="1258" y="2422"/>
                </a:lnTo>
                <a:lnTo>
                  <a:pt x="1254" y="2422"/>
                </a:lnTo>
                <a:lnTo>
                  <a:pt x="1241" y="2426"/>
                </a:lnTo>
                <a:lnTo>
                  <a:pt x="1222" y="2445"/>
                </a:lnTo>
                <a:lnTo>
                  <a:pt x="1208" y="2452"/>
                </a:lnTo>
                <a:lnTo>
                  <a:pt x="1204" y="2455"/>
                </a:lnTo>
                <a:lnTo>
                  <a:pt x="1180" y="2452"/>
                </a:lnTo>
                <a:lnTo>
                  <a:pt x="1171" y="2452"/>
                </a:lnTo>
                <a:lnTo>
                  <a:pt x="1165" y="2449"/>
                </a:lnTo>
                <a:lnTo>
                  <a:pt x="1161" y="2443"/>
                </a:lnTo>
                <a:lnTo>
                  <a:pt x="1165" y="2438"/>
                </a:lnTo>
                <a:lnTo>
                  <a:pt x="1164" y="2434"/>
                </a:lnTo>
                <a:lnTo>
                  <a:pt x="1166" y="2434"/>
                </a:lnTo>
                <a:lnTo>
                  <a:pt x="1165" y="2433"/>
                </a:lnTo>
                <a:lnTo>
                  <a:pt x="1166" y="2426"/>
                </a:lnTo>
                <a:lnTo>
                  <a:pt x="1165" y="2420"/>
                </a:lnTo>
                <a:lnTo>
                  <a:pt x="1165" y="2418"/>
                </a:lnTo>
                <a:lnTo>
                  <a:pt x="1162" y="2412"/>
                </a:lnTo>
                <a:lnTo>
                  <a:pt x="1164" y="2410"/>
                </a:lnTo>
                <a:lnTo>
                  <a:pt x="1161" y="2408"/>
                </a:lnTo>
                <a:lnTo>
                  <a:pt x="1158" y="2404"/>
                </a:lnTo>
                <a:lnTo>
                  <a:pt x="1147" y="2392"/>
                </a:lnTo>
                <a:lnTo>
                  <a:pt x="1140" y="2385"/>
                </a:lnTo>
                <a:lnTo>
                  <a:pt x="1135" y="2381"/>
                </a:lnTo>
                <a:lnTo>
                  <a:pt x="1122" y="2374"/>
                </a:lnTo>
                <a:lnTo>
                  <a:pt x="1113" y="2372"/>
                </a:lnTo>
                <a:lnTo>
                  <a:pt x="1102" y="2363"/>
                </a:lnTo>
                <a:lnTo>
                  <a:pt x="1090" y="2358"/>
                </a:lnTo>
                <a:lnTo>
                  <a:pt x="1082" y="2355"/>
                </a:lnTo>
                <a:lnTo>
                  <a:pt x="1069" y="2359"/>
                </a:lnTo>
                <a:lnTo>
                  <a:pt x="1062" y="2359"/>
                </a:lnTo>
                <a:lnTo>
                  <a:pt x="1055" y="2352"/>
                </a:lnTo>
                <a:lnTo>
                  <a:pt x="1055" y="2348"/>
                </a:lnTo>
                <a:lnTo>
                  <a:pt x="1056" y="2340"/>
                </a:lnTo>
                <a:lnTo>
                  <a:pt x="1055" y="2333"/>
                </a:lnTo>
                <a:lnTo>
                  <a:pt x="1051" y="2326"/>
                </a:lnTo>
                <a:lnTo>
                  <a:pt x="1042" y="2329"/>
                </a:lnTo>
                <a:lnTo>
                  <a:pt x="1037" y="2333"/>
                </a:lnTo>
                <a:lnTo>
                  <a:pt x="1036" y="2343"/>
                </a:lnTo>
                <a:lnTo>
                  <a:pt x="1033" y="2345"/>
                </a:lnTo>
                <a:lnTo>
                  <a:pt x="1029" y="2343"/>
                </a:lnTo>
                <a:lnTo>
                  <a:pt x="1026" y="2345"/>
                </a:lnTo>
                <a:lnTo>
                  <a:pt x="1026" y="2350"/>
                </a:lnTo>
                <a:lnTo>
                  <a:pt x="1027" y="2355"/>
                </a:lnTo>
                <a:lnTo>
                  <a:pt x="1037" y="2363"/>
                </a:lnTo>
                <a:lnTo>
                  <a:pt x="1040" y="2367"/>
                </a:lnTo>
                <a:lnTo>
                  <a:pt x="1050" y="2377"/>
                </a:lnTo>
                <a:lnTo>
                  <a:pt x="1054" y="2380"/>
                </a:lnTo>
                <a:lnTo>
                  <a:pt x="1062" y="2377"/>
                </a:lnTo>
                <a:lnTo>
                  <a:pt x="1080" y="2381"/>
                </a:lnTo>
                <a:lnTo>
                  <a:pt x="1091" y="2395"/>
                </a:lnTo>
                <a:lnTo>
                  <a:pt x="1101" y="2400"/>
                </a:lnTo>
                <a:lnTo>
                  <a:pt x="1102" y="2404"/>
                </a:lnTo>
                <a:lnTo>
                  <a:pt x="1107" y="2420"/>
                </a:lnTo>
                <a:lnTo>
                  <a:pt x="1113" y="2430"/>
                </a:lnTo>
                <a:lnTo>
                  <a:pt x="1115" y="2439"/>
                </a:lnTo>
                <a:lnTo>
                  <a:pt x="1118" y="2443"/>
                </a:lnTo>
                <a:lnTo>
                  <a:pt x="1119" y="2449"/>
                </a:lnTo>
                <a:lnTo>
                  <a:pt x="1116" y="2460"/>
                </a:lnTo>
                <a:lnTo>
                  <a:pt x="1109" y="2460"/>
                </a:lnTo>
                <a:lnTo>
                  <a:pt x="1102" y="2463"/>
                </a:lnTo>
                <a:lnTo>
                  <a:pt x="1098" y="2470"/>
                </a:lnTo>
                <a:lnTo>
                  <a:pt x="1091" y="2475"/>
                </a:lnTo>
                <a:lnTo>
                  <a:pt x="1088" y="2479"/>
                </a:lnTo>
                <a:lnTo>
                  <a:pt x="1093" y="2483"/>
                </a:lnTo>
                <a:lnTo>
                  <a:pt x="1094" y="2483"/>
                </a:lnTo>
                <a:lnTo>
                  <a:pt x="1097" y="2483"/>
                </a:lnTo>
                <a:lnTo>
                  <a:pt x="1102" y="2487"/>
                </a:lnTo>
                <a:lnTo>
                  <a:pt x="1105" y="2492"/>
                </a:lnTo>
                <a:lnTo>
                  <a:pt x="1107" y="2500"/>
                </a:lnTo>
                <a:lnTo>
                  <a:pt x="1107" y="2512"/>
                </a:lnTo>
                <a:lnTo>
                  <a:pt x="1108" y="2517"/>
                </a:lnTo>
                <a:lnTo>
                  <a:pt x="1109" y="2522"/>
                </a:lnTo>
                <a:lnTo>
                  <a:pt x="1108" y="2528"/>
                </a:lnTo>
                <a:lnTo>
                  <a:pt x="1107" y="2528"/>
                </a:lnTo>
                <a:lnTo>
                  <a:pt x="1105" y="2531"/>
                </a:lnTo>
                <a:lnTo>
                  <a:pt x="1104" y="2536"/>
                </a:lnTo>
                <a:lnTo>
                  <a:pt x="1107" y="2541"/>
                </a:lnTo>
                <a:lnTo>
                  <a:pt x="1105" y="2549"/>
                </a:lnTo>
                <a:lnTo>
                  <a:pt x="1102" y="2554"/>
                </a:lnTo>
                <a:lnTo>
                  <a:pt x="1104" y="2562"/>
                </a:lnTo>
                <a:lnTo>
                  <a:pt x="1101" y="2573"/>
                </a:lnTo>
                <a:lnTo>
                  <a:pt x="1100" y="2580"/>
                </a:lnTo>
                <a:lnTo>
                  <a:pt x="1094" y="2590"/>
                </a:lnTo>
                <a:lnTo>
                  <a:pt x="1094" y="2595"/>
                </a:lnTo>
                <a:lnTo>
                  <a:pt x="1097" y="2599"/>
                </a:lnTo>
                <a:lnTo>
                  <a:pt x="1096" y="2591"/>
                </a:lnTo>
                <a:lnTo>
                  <a:pt x="1097" y="2591"/>
                </a:lnTo>
                <a:lnTo>
                  <a:pt x="1098" y="2591"/>
                </a:lnTo>
                <a:lnTo>
                  <a:pt x="1100" y="2611"/>
                </a:lnTo>
                <a:lnTo>
                  <a:pt x="1104" y="2638"/>
                </a:lnTo>
                <a:lnTo>
                  <a:pt x="1107" y="2643"/>
                </a:lnTo>
                <a:lnTo>
                  <a:pt x="1115" y="2658"/>
                </a:lnTo>
                <a:lnTo>
                  <a:pt x="1119" y="2670"/>
                </a:lnTo>
                <a:lnTo>
                  <a:pt x="1122" y="2687"/>
                </a:lnTo>
                <a:lnTo>
                  <a:pt x="1121" y="2688"/>
                </a:lnTo>
                <a:lnTo>
                  <a:pt x="1116" y="2688"/>
                </a:lnTo>
                <a:lnTo>
                  <a:pt x="1121" y="2688"/>
                </a:lnTo>
                <a:lnTo>
                  <a:pt x="1121" y="2692"/>
                </a:lnTo>
                <a:lnTo>
                  <a:pt x="1118" y="2699"/>
                </a:lnTo>
                <a:lnTo>
                  <a:pt x="1113" y="2703"/>
                </a:lnTo>
                <a:lnTo>
                  <a:pt x="1112" y="2703"/>
                </a:lnTo>
                <a:lnTo>
                  <a:pt x="1112" y="2704"/>
                </a:lnTo>
                <a:lnTo>
                  <a:pt x="1113" y="2704"/>
                </a:lnTo>
                <a:lnTo>
                  <a:pt x="1112" y="2707"/>
                </a:lnTo>
                <a:lnTo>
                  <a:pt x="1109" y="2711"/>
                </a:lnTo>
                <a:lnTo>
                  <a:pt x="1105" y="2711"/>
                </a:lnTo>
                <a:lnTo>
                  <a:pt x="1100" y="2710"/>
                </a:lnTo>
                <a:lnTo>
                  <a:pt x="1096" y="2703"/>
                </a:lnTo>
                <a:lnTo>
                  <a:pt x="1090" y="2699"/>
                </a:lnTo>
                <a:lnTo>
                  <a:pt x="1083" y="2702"/>
                </a:lnTo>
                <a:lnTo>
                  <a:pt x="1080" y="2699"/>
                </a:lnTo>
                <a:lnTo>
                  <a:pt x="1075" y="2702"/>
                </a:lnTo>
                <a:lnTo>
                  <a:pt x="1069" y="2700"/>
                </a:lnTo>
                <a:lnTo>
                  <a:pt x="1070" y="2699"/>
                </a:lnTo>
                <a:lnTo>
                  <a:pt x="1076" y="2696"/>
                </a:lnTo>
                <a:lnTo>
                  <a:pt x="1077" y="2692"/>
                </a:lnTo>
                <a:lnTo>
                  <a:pt x="1075" y="2692"/>
                </a:lnTo>
                <a:lnTo>
                  <a:pt x="1077" y="2688"/>
                </a:lnTo>
                <a:lnTo>
                  <a:pt x="1073" y="2691"/>
                </a:lnTo>
                <a:lnTo>
                  <a:pt x="1073" y="2695"/>
                </a:lnTo>
                <a:lnTo>
                  <a:pt x="1069" y="2696"/>
                </a:lnTo>
                <a:lnTo>
                  <a:pt x="1068" y="2699"/>
                </a:lnTo>
                <a:lnTo>
                  <a:pt x="1063" y="2703"/>
                </a:lnTo>
                <a:lnTo>
                  <a:pt x="1058" y="2703"/>
                </a:lnTo>
                <a:lnTo>
                  <a:pt x="1058" y="2700"/>
                </a:lnTo>
                <a:lnTo>
                  <a:pt x="1056" y="2702"/>
                </a:lnTo>
                <a:lnTo>
                  <a:pt x="1055" y="2707"/>
                </a:lnTo>
                <a:lnTo>
                  <a:pt x="1051" y="2707"/>
                </a:lnTo>
                <a:lnTo>
                  <a:pt x="1041" y="2715"/>
                </a:lnTo>
                <a:lnTo>
                  <a:pt x="1041" y="2717"/>
                </a:lnTo>
                <a:lnTo>
                  <a:pt x="1045" y="2717"/>
                </a:lnTo>
                <a:lnTo>
                  <a:pt x="1038" y="2724"/>
                </a:lnTo>
                <a:lnTo>
                  <a:pt x="1044" y="2719"/>
                </a:lnTo>
                <a:lnTo>
                  <a:pt x="1048" y="2723"/>
                </a:lnTo>
                <a:lnTo>
                  <a:pt x="1055" y="2721"/>
                </a:lnTo>
                <a:lnTo>
                  <a:pt x="1061" y="2725"/>
                </a:lnTo>
                <a:lnTo>
                  <a:pt x="1063" y="2728"/>
                </a:lnTo>
                <a:lnTo>
                  <a:pt x="1062" y="2729"/>
                </a:lnTo>
                <a:lnTo>
                  <a:pt x="1058" y="2733"/>
                </a:lnTo>
                <a:lnTo>
                  <a:pt x="1063" y="2729"/>
                </a:lnTo>
                <a:lnTo>
                  <a:pt x="1063" y="2733"/>
                </a:lnTo>
                <a:lnTo>
                  <a:pt x="1066" y="2737"/>
                </a:lnTo>
                <a:lnTo>
                  <a:pt x="1070" y="2741"/>
                </a:lnTo>
                <a:lnTo>
                  <a:pt x="1079" y="2744"/>
                </a:lnTo>
                <a:lnTo>
                  <a:pt x="1077" y="2752"/>
                </a:lnTo>
                <a:lnTo>
                  <a:pt x="1072" y="2753"/>
                </a:lnTo>
                <a:lnTo>
                  <a:pt x="1072" y="2755"/>
                </a:lnTo>
                <a:lnTo>
                  <a:pt x="1073" y="2755"/>
                </a:lnTo>
                <a:lnTo>
                  <a:pt x="1072" y="2754"/>
                </a:lnTo>
                <a:lnTo>
                  <a:pt x="1077" y="2753"/>
                </a:lnTo>
                <a:lnTo>
                  <a:pt x="1079" y="2749"/>
                </a:lnTo>
                <a:lnTo>
                  <a:pt x="1080" y="2747"/>
                </a:lnTo>
                <a:lnTo>
                  <a:pt x="1083" y="2749"/>
                </a:lnTo>
                <a:lnTo>
                  <a:pt x="1087" y="2747"/>
                </a:lnTo>
                <a:lnTo>
                  <a:pt x="1090" y="2747"/>
                </a:lnTo>
                <a:lnTo>
                  <a:pt x="1091" y="2748"/>
                </a:lnTo>
                <a:lnTo>
                  <a:pt x="1090" y="2750"/>
                </a:lnTo>
                <a:lnTo>
                  <a:pt x="1083" y="2754"/>
                </a:lnTo>
                <a:lnTo>
                  <a:pt x="1080" y="2760"/>
                </a:lnTo>
                <a:lnTo>
                  <a:pt x="1082" y="2764"/>
                </a:lnTo>
                <a:lnTo>
                  <a:pt x="1079" y="2770"/>
                </a:lnTo>
                <a:lnTo>
                  <a:pt x="1077" y="2772"/>
                </a:lnTo>
                <a:lnTo>
                  <a:pt x="1077" y="2774"/>
                </a:lnTo>
                <a:lnTo>
                  <a:pt x="1079" y="2772"/>
                </a:lnTo>
                <a:lnTo>
                  <a:pt x="1082" y="2770"/>
                </a:lnTo>
                <a:lnTo>
                  <a:pt x="1083" y="2762"/>
                </a:lnTo>
                <a:lnTo>
                  <a:pt x="1086" y="2758"/>
                </a:lnTo>
                <a:lnTo>
                  <a:pt x="1088" y="2755"/>
                </a:lnTo>
                <a:lnTo>
                  <a:pt x="1088" y="2760"/>
                </a:lnTo>
                <a:lnTo>
                  <a:pt x="1087" y="2767"/>
                </a:lnTo>
                <a:lnTo>
                  <a:pt x="1086" y="2766"/>
                </a:lnTo>
                <a:lnTo>
                  <a:pt x="1084" y="2769"/>
                </a:lnTo>
                <a:lnTo>
                  <a:pt x="1084" y="2772"/>
                </a:lnTo>
                <a:lnTo>
                  <a:pt x="1082" y="2774"/>
                </a:lnTo>
                <a:lnTo>
                  <a:pt x="1080" y="2780"/>
                </a:lnTo>
                <a:lnTo>
                  <a:pt x="1077" y="2782"/>
                </a:lnTo>
                <a:lnTo>
                  <a:pt x="1076" y="2786"/>
                </a:lnTo>
                <a:lnTo>
                  <a:pt x="1075" y="2786"/>
                </a:lnTo>
                <a:lnTo>
                  <a:pt x="1075" y="2790"/>
                </a:lnTo>
                <a:lnTo>
                  <a:pt x="1072" y="2794"/>
                </a:lnTo>
                <a:lnTo>
                  <a:pt x="1073" y="2794"/>
                </a:lnTo>
                <a:lnTo>
                  <a:pt x="1072" y="2797"/>
                </a:lnTo>
                <a:lnTo>
                  <a:pt x="1070" y="2798"/>
                </a:lnTo>
                <a:lnTo>
                  <a:pt x="1069" y="2799"/>
                </a:lnTo>
                <a:lnTo>
                  <a:pt x="1069" y="2800"/>
                </a:lnTo>
                <a:lnTo>
                  <a:pt x="1070" y="2800"/>
                </a:lnTo>
                <a:lnTo>
                  <a:pt x="1066" y="2817"/>
                </a:lnTo>
                <a:lnTo>
                  <a:pt x="1063" y="2819"/>
                </a:lnTo>
                <a:lnTo>
                  <a:pt x="1056" y="2822"/>
                </a:lnTo>
                <a:lnTo>
                  <a:pt x="1052" y="2827"/>
                </a:lnTo>
                <a:lnTo>
                  <a:pt x="1047" y="2829"/>
                </a:lnTo>
                <a:lnTo>
                  <a:pt x="1047" y="2831"/>
                </a:lnTo>
                <a:lnTo>
                  <a:pt x="1044" y="2831"/>
                </a:lnTo>
                <a:lnTo>
                  <a:pt x="1041" y="2837"/>
                </a:lnTo>
                <a:lnTo>
                  <a:pt x="1037" y="2840"/>
                </a:lnTo>
                <a:lnTo>
                  <a:pt x="1036" y="2840"/>
                </a:lnTo>
                <a:lnTo>
                  <a:pt x="1034" y="2837"/>
                </a:lnTo>
                <a:lnTo>
                  <a:pt x="1031" y="2835"/>
                </a:lnTo>
                <a:lnTo>
                  <a:pt x="1027" y="2840"/>
                </a:lnTo>
                <a:lnTo>
                  <a:pt x="1023" y="2840"/>
                </a:lnTo>
                <a:lnTo>
                  <a:pt x="1019" y="2835"/>
                </a:lnTo>
                <a:lnTo>
                  <a:pt x="1020" y="2840"/>
                </a:lnTo>
                <a:lnTo>
                  <a:pt x="1023" y="2842"/>
                </a:lnTo>
                <a:lnTo>
                  <a:pt x="1026" y="2842"/>
                </a:lnTo>
                <a:lnTo>
                  <a:pt x="1030" y="2841"/>
                </a:lnTo>
                <a:lnTo>
                  <a:pt x="1034" y="2844"/>
                </a:lnTo>
                <a:lnTo>
                  <a:pt x="1036" y="2845"/>
                </a:lnTo>
                <a:lnTo>
                  <a:pt x="1033" y="2847"/>
                </a:lnTo>
                <a:lnTo>
                  <a:pt x="1033" y="2849"/>
                </a:lnTo>
                <a:lnTo>
                  <a:pt x="1036" y="2848"/>
                </a:lnTo>
                <a:lnTo>
                  <a:pt x="1040" y="2852"/>
                </a:lnTo>
                <a:lnTo>
                  <a:pt x="1042" y="2847"/>
                </a:lnTo>
                <a:lnTo>
                  <a:pt x="1050" y="2844"/>
                </a:lnTo>
                <a:lnTo>
                  <a:pt x="1055" y="2849"/>
                </a:lnTo>
                <a:lnTo>
                  <a:pt x="1055" y="2860"/>
                </a:lnTo>
                <a:lnTo>
                  <a:pt x="1056" y="2857"/>
                </a:lnTo>
                <a:lnTo>
                  <a:pt x="1058" y="2861"/>
                </a:lnTo>
                <a:lnTo>
                  <a:pt x="1056" y="2861"/>
                </a:lnTo>
                <a:lnTo>
                  <a:pt x="1056" y="2865"/>
                </a:lnTo>
                <a:lnTo>
                  <a:pt x="1061" y="2872"/>
                </a:lnTo>
                <a:lnTo>
                  <a:pt x="1062" y="2876"/>
                </a:lnTo>
                <a:lnTo>
                  <a:pt x="1059" y="2878"/>
                </a:lnTo>
                <a:lnTo>
                  <a:pt x="1058" y="2876"/>
                </a:lnTo>
                <a:lnTo>
                  <a:pt x="1055" y="2876"/>
                </a:lnTo>
                <a:lnTo>
                  <a:pt x="1050" y="2879"/>
                </a:lnTo>
                <a:lnTo>
                  <a:pt x="1047" y="2884"/>
                </a:lnTo>
                <a:lnTo>
                  <a:pt x="1042" y="2879"/>
                </a:lnTo>
                <a:lnTo>
                  <a:pt x="1047" y="2882"/>
                </a:lnTo>
                <a:lnTo>
                  <a:pt x="1047" y="2879"/>
                </a:lnTo>
                <a:lnTo>
                  <a:pt x="1045" y="2878"/>
                </a:lnTo>
                <a:lnTo>
                  <a:pt x="1045" y="2879"/>
                </a:lnTo>
                <a:lnTo>
                  <a:pt x="1044" y="2878"/>
                </a:lnTo>
                <a:lnTo>
                  <a:pt x="1041" y="2878"/>
                </a:lnTo>
                <a:lnTo>
                  <a:pt x="1041" y="2879"/>
                </a:lnTo>
                <a:lnTo>
                  <a:pt x="1042" y="2884"/>
                </a:lnTo>
                <a:lnTo>
                  <a:pt x="1041" y="2887"/>
                </a:lnTo>
                <a:lnTo>
                  <a:pt x="1037" y="2889"/>
                </a:lnTo>
                <a:lnTo>
                  <a:pt x="1036" y="2891"/>
                </a:lnTo>
                <a:lnTo>
                  <a:pt x="1033" y="2893"/>
                </a:lnTo>
                <a:lnTo>
                  <a:pt x="1030" y="2894"/>
                </a:lnTo>
                <a:lnTo>
                  <a:pt x="1030" y="2897"/>
                </a:lnTo>
                <a:lnTo>
                  <a:pt x="1027" y="2894"/>
                </a:lnTo>
                <a:lnTo>
                  <a:pt x="1026" y="2894"/>
                </a:lnTo>
                <a:lnTo>
                  <a:pt x="1030" y="2887"/>
                </a:lnTo>
                <a:lnTo>
                  <a:pt x="1026" y="2886"/>
                </a:lnTo>
                <a:lnTo>
                  <a:pt x="1023" y="2891"/>
                </a:lnTo>
                <a:lnTo>
                  <a:pt x="1016" y="2894"/>
                </a:lnTo>
                <a:lnTo>
                  <a:pt x="1013" y="2897"/>
                </a:lnTo>
                <a:lnTo>
                  <a:pt x="1012" y="2898"/>
                </a:lnTo>
                <a:lnTo>
                  <a:pt x="1015" y="2898"/>
                </a:lnTo>
                <a:lnTo>
                  <a:pt x="1019" y="2894"/>
                </a:lnTo>
                <a:lnTo>
                  <a:pt x="1022" y="2894"/>
                </a:lnTo>
                <a:lnTo>
                  <a:pt x="1023" y="2902"/>
                </a:lnTo>
                <a:lnTo>
                  <a:pt x="1022" y="2911"/>
                </a:lnTo>
                <a:lnTo>
                  <a:pt x="1025" y="2915"/>
                </a:lnTo>
                <a:lnTo>
                  <a:pt x="1027" y="2914"/>
                </a:lnTo>
                <a:lnTo>
                  <a:pt x="1026" y="2909"/>
                </a:lnTo>
                <a:lnTo>
                  <a:pt x="1029" y="2906"/>
                </a:lnTo>
                <a:lnTo>
                  <a:pt x="1034" y="2911"/>
                </a:lnTo>
                <a:lnTo>
                  <a:pt x="1034" y="2914"/>
                </a:lnTo>
                <a:lnTo>
                  <a:pt x="1036" y="2915"/>
                </a:lnTo>
                <a:lnTo>
                  <a:pt x="1036" y="2916"/>
                </a:lnTo>
                <a:lnTo>
                  <a:pt x="1037" y="2915"/>
                </a:lnTo>
                <a:lnTo>
                  <a:pt x="1038" y="2923"/>
                </a:lnTo>
                <a:lnTo>
                  <a:pt x="1033" y="2928"/>
                </a:lnTo>
                <a:lnTo>
                  <a:pt x="1034" y="2932"/>
                </a:lnTo>
                <a:lnTo>
                  <a:pt x="1037" y="2928"/>
                </a:lnTo>
                <a:lnTo>
                  <a:pt x="1041" y="2928"/>
                </a:lnTo>
                <a:lnTo>
                  <a:pt x="1044" y="2932"/>
                </a:lnTo>
                <a:lnTo>
                  <a:pt x="1047" y="2934"/>
                </a:lnTo>
                <a:lnTo>
                  <a:pt x="1044" y="2931"/>
                </a:lnTo>
                <a:lnTo>
                  <a:pt x="1051" y="2924"/>
                </a:lnTo>
                <a:lnTo>
                  <a:pt x="1056" y="2920"/>
                </a:lnTo>
                <a:lnTo>
                  <a:pt x="1061" y="2924"/>
                </a:lnTo>
                <a:lnTo>
                  <a:pt x="1065" y="2928"/>
                </a:lnTo>
                <a:lnTo>
                  <a:pt x="1063" y="2928"/>
                </a:lnTo>
                <a:lnTo>
                  <a:pt x="1065" y="2932"/>
                </a:lnTo>
                <a:lnTo>
                  <a:pt x="1066" y="2938"/>
                </a:lnTo>
                <a:lnTo>
                  <a:pt x="1066" y="2941"/>
                </a:lnTo>
                <a:lnTo>
                  <a:pt x="1068" y="2941"/>
                </a:lnTo>
                <a:lnTo>
                  <a:pt x="1072" y="2953"/>
                </a:lnTo>
                <a:lnTo>
                  <a:pt x="1061" y="2973"/>
                </a:lnTo>
                <a:lnTo>
                  <a:pt x="1058" y="2977"/>
                </a:lnTo>
                <a:lnTo>
                  <a:pt x="1051" y="2980"/>
                </a:lnTo>
                <a:lnTo>
                  <a:pt x="1048" y="2981"/>
                </a:lnTo>
                <a:lnTo>
                  <a:pt x="1048" y="2985"/>
                </a:lnTo>
                <a:lnTo>
                  <a:pt x="1047" y="2988"/>
                </a:lnTo>
                <a:lnTo>
                  <a:pt x="1045" y="2988"/>
                </a:lnTo>
                <a:lnTo>
                  <a:pt x="1041" y="2985"/>
                </a:lnTo>
                <a:lnTo>
                  <a:pt x="1037" y="2984"/>
                </a:lnTo>
                <a:lnTo>
                  <a:pt x="1029" y="2986"/>
                </a:lnTo>
                <a:lnTo>
                  <a:pt x="1027" y="2988"/>
                </a:lnTo>
                <a:lnTo>
                  <a:pt x="1029" y="2988"/>
                </a:lnTo>
                <a:lnTo>
                  <a:pt x="1034" y="2988"/>
                </a:lnTo>
                <a:lnTo>
                  <a:pt x="1036" y="2988"/>
                </a:lnTo>
                <a:lnTo>
                  <a:pt x="1036" y="2990"/>
                </a:lnTo>
                <a:lnTo>
                  <a:pt x="1031" y="2994"/>
                </a:lnTo>
                <a:lnTo>
                  <a:pt x="1031" y="3009"/>
                </a:lnTo>
                <a:lnTo>
                  <a:pt x="1027" y="3014"/>
                </a:lnTo>
                <a:lnTo>
                  <a:pt x="1027" y="3022"/>
                </a:lnTo>
                <a:lnTo>
                  <a:pt x="1031" y="3031"/>
                </a:lnTo>
                <a:lnTo>
                  <a:pt x="1033" y="3040"/>
                </a:lnTo>
                <a:lnTo>
                  <a:pt x="1034" y="3044"/>
                </a:lnTo>
                <a:lnTo>
                  <a:pt x="1041" y="3050"/>
                </a:lnTo>
                <a:lnTo>
                  <a:pt x="1045" y="3063"/>
                </a:lnTo>
                <a:lnTo>
                  <a:pt x="1042" y="3048"/>
                </a:lnTo>
                <a:lnTo>
                  <a:pt x="1036" y="3040"/>
                </a:lnTo>
                <a:lnTo>
                  <a:pt x="1037" y="3031"/>
                </a:lnTo>
                <a:lnTo>
                  <a:pt x="1042" y="3030"/>
                </a:lnTo>
                <a:lnTo>
                  <a:pt x="1044" y="3032"/>
                </a:lnTo>
                <a:lnTo>
                  <a:pt x="1045" y="3031"/>
                </a:lnTo>
                <a:lnTo>
                  <a:pt x="1044" y="3028"/>
                </a:lnTo>
                <a:lnTo>
                  <a:pt x="1038" y="3028"/>
                </a:lnTo>
                <a:lnTo>
                  <a:pt x="1036" y="3026"/>
                </a:lnTo>
                <a:lnTo>
                  <a:pt x="1042" y="3013"/>
                </a:lnTo>
                <a:lnTo>
                  <a:pt x="1042" y="3010"/>
                </a:lnTo>
                <a:lnTo>
                  <a:pt x="1040" y="3005"/>
                </a:lnTo>
                <a:lnTo>
                  <a:pt x="1040" y="3002"/>
                </a:lnTo>
                <a:lnTo>
                  <a:pt x="1041" y="2999"/>
                </a:lnTo>
                <a:lnTo>
                  <a:pt x="1042" y="2999"/>
                </a:lnTo>
                <a:lnTo>
                  <a:pt x="1047" y="3005"/>
                </a:lnTo>
                <a:lnTo>
                  <a:pt x="1052" y="3007"/>
                </a:lnTo>
                <a:lnTo>
                  <a:pt x="1051" y="3005"/>
                </a:lnTo>
                <a:lnTo>
                  <a:pt x="1047" y="3002"/>
                </a:lnTo>
                <a:lnTo>
                  <a:pt x="1044" y="2991"/>
                </a:lnTo>
                <a:lnTo>
                  <a:pt x="1045" y="2991"/>
                </a:lnTo>
                <a:lnTo>
                  <a:pt x="1054" y="2995"/>
                </a:lnTo>
                <a:lnTo>
                  <a:pt x="1056" y="2998"/>
                </a:lnTo>
                <a:lnTo>
                  <a:pt x="1058" y="3003"/>
                </a:lnTo>
                <a:lnTo>
                  <a:pt x="1062" y="3003"/>
                </a:lnTo>
                <a:lnTo>
                  <a:pt x="1059" y="2999"/>
                </a:lnTo>
                <a:lnTo>
                  <a:pt x="1063" y="2991"/>
                </a:lnTo>
                <a:lnTo>
                  <a:pt x="1073" y="2991"/>
                </a:lnTo>
                <a:lnTo>
                  <a:pt x="1088" y="2985"/>
                </a:lnTo>
                <a:lnTo>
                  <a:pt x="1093" y="2988"/>
                </a:lnTo>
                <a:lnTo>
                  <a:pt x="1096" y="2991"/>
                </a:lnTo>
                <a:lnTo>
                  <a:pt x="1098" y="2995"/>
                </a:lnTo>
                <a:lnTo>
                  <a:pt x="1098" y="3002"/>
                </a:lnTo>
                <a:lnTo>
                  <a:pt x="1097" y="3006"/>
                </a:lnTo>
                <a:lnTo>
                  <a:pt x="1090" y="3007"/>
                </a:lnTo>
                <a:lnTo>
                  <a:pt x="1087" y="3010"/>
                </a:lnTo>
                <a:lnTo>
                  <a:pt x="1091" y="3009"/>
                </a:lnTo>
                <a:lnTo>
                  <a:pt x="1097" y="3011"/>
                </a:lnTo>
                <a:lnTo>
                  <a:pt x="1101" y="3013"/>
                </a:lnTo>
                <a:lnTo>
                  <a:pt x="1102" y="3016"/>
                </a:lnTo>
                <a:lnTo>
                  <a:pt x="1104" y="3014"/>
                </a:lnTo>
                <a:lnTo>
                  <a:pt x="1109" y="3014"/>
                </a:lnTo>
                <a:lnTo>
                  <a:pt x="1116" y="3018"/>
                </a:lnTo>
                <a:lnTo>
                  <a:pt x="1116" y="3022"/>
                </a:lnTo>
                <a:lnTo>
                  <a:pt x="1125" y="3026"/>
                </a:lnTo>
                <a:lnTo>
                  <a:pt x="1127" y="3028"/>
                </a:lnTo>
                <a:lnTo>
                  <a:pt x="1129" y="3036"/>
                </a:lnTo>
                <a:lnTo>
                  <a:pt x="1125" y="3035"/>
                </a:lnTo>
                <a:lnTo>
                  <a:pt x="1123" y="3036"/>
                </a:lnTo>
                <a:lnTo>
                  <a:pt x="1125" y="3039"/>
                </a:lnTo>
                <a:lnTo>
                  <a:pt x="1127" y="3040"/>
                </a:lnTo>
                <a:lnTo>
                  <a:pt x="1130" y="3044"/>
                </a:lnTo>
                <a:lnTo>
                  <a:pt x="1133" y="3040"/>
                </a:lnTo>
                <a:lnTo>
                  <a:pt x="1137" y="3040"/>
                </a:lnTo>
                <a:lnTo>
                  <a:pt x="1139" y="3040"/>
                </a:lnTo>
                <a:lnTo>
                  <a:pt x="1139" y="3043"/>
                </a:lnTo>
                <a:lnTo>
                  <a:pt x="1143" y="3043"/>
                </a:lnTo>
                <a:lnTo>
                  <a:pt x="1144" y="3043"/>
                </a:lnTo>
                <a:lnTo>
                  <a:pt x="1162" y="3069"/>
                </a:lnTo>
                <a:lnTo>
                  <a:pt x="1168" y="3075"/>
                </a:lnTo>
                <a:lnTo>
                  <a:pt x="1177" y="3082"/>
                </a:lnTo>
                <a:lnTo>
                  <a:pt x="1177" y="3085"/>
                </a:lnTo>
                <a:lnTo>
                  <a:pt x="1172" y="3084"/>
                </a:lnTo>
                <a:lnTo>
                  <a:pt x="1166" y="3089"/>
                </a:lnTo>
                <a:lnTo>
                  <a:pt x="1164" y="3088"/>
                </a:lnTo>
                <a:lnTo>
                  <a:pt x="1161" y="3084"/>
                </a:lnTo>
                <a:lnTo>
                  <a:pt x="1160" y="3085"/>
                </a:lnTo>
                <a:lnTo>
                  <a:pt x="1164" y="3089"/>
                </a:lnTo>
                <a:lnTo>
                  <a:pt x="1169" y="3089"/>
                </a:lnTo>
                <a:lnTo>
                  <a:pt x="1173" y="3088"/>
                </a:lnTo>
                <a:lnTo>
                  <a:pt x="1177" y="3089"/>
                </a:lnTo>
                <a:lnTo>
                  <a:pt x="1176" y="3102"/>
                </a:lnTo>
                <a:lnTo>
                  <a:pt x="1175" y="3102"/>
                </a:lnTo>
                <a:lnTo>
                  <a:pt x="1172" y="3098"/>
                </a:lnTo>
                <a:lnTo>
                  <a:pt x="1166" y="3093"/>
                </a:lnTo>
                <a:lnTo>
                  <a:pt x="1171" y="3101"/>
                </a:lnTo>
                <a:lnTo>
                  <a:pt x="1173" y="3105"/>
                </a:lnTo>
                <a:lnTo>
                  <a:pt x="1175" y="3105"/>
                </a:lnTo>
                <a:lnTo>
                  <a:pt x="1176" y="3110"/>
                </a:lnTo>
                <a:lnTo>
                  <a:pt x="1175" y="3111"/>
                </a:lnTo>
                <a:lnTo>
                  <a:pt x="1172" y="3114"/>
                </a:lnTo>
                <a:lnTo>
                  <a:pt x="1165" y="3115"/>
                </a:lnTo>
                <a:lnTo>
                  <a:pt x="1154" y="3114"/>
                </a:lnTo>
                <a:lnTo>
                  <a:pt x="1155" y="3115"/>
                </a:lnTo>
                <a:lnTo>
                  <a:pt x="1155" y="3118"/>
                </a:lnTo>
                <a:lnTo>
                  <a:pt x="1148" y="3119"/>
                </a:lnTo>
                <a:lnTo>
                  <a:pt x="1154" y="3120"/>
                </a:lnTo>
                <a:lnTo>
                  <a:pt x="1151" y="3123"/>
                </a:lnTo>
                <a:lnTo>
                  <a:pt x="1147" y="3126"/>
                </a:lnTo>
                <a:lnTo>
                  <a:pt x="1133" y="3126"/>
                </a:lnTo>
                <a:lnTo>
                  <a:pt x="1135" y="3127"/>
                </a:lnTo>
                <a:lnTo>
                  <a:pt x="1144" y="3130"/>
                </a:lnTo>
                <a:lnTo>
                  <a:pt x="1161" y="3123"/>
                </a:lnTo>
                <a:lnTo>
                  <a:pt x="1168" y="3119"/>
                </a:lnTo>
                <a:lnTo>
                  <a:pt x="1175" y="3119"/>
                </a:lnTo>
                <a:lnTo>
                  <a:pt x="1177" y="3120"/>
                </a:lnTo>
                <a:lnTo>
                  <a:pt x="1177" y="3123"/>
                </a:lnTo>
                <a:lnTo>
                  <a:pt x="1182" y="3126"/>
                </a:lnTo>
                <a:lnTo>
                  <a:pt x="1179" y="3134"/>
                </a:lnTo>
                <a:lnTo>
                  <a:pt x="1180" y="3138"/>
                </a:lnTo>
                <a:lnTo>
                  <a:pt x="1182" y="3142"/>
                </a:lnTo>
                <a:lnTo>
                  <a:pt x="1182" y="3137"/>
                </a:lnTo>
                <a:lnTo>
                  <a:pt x="1186" y="3123"/>
                </a:lnTo>
                <a:lnTo>
                  <a:pt x="1185" y="3122"/>
                </a:lnTo>
                <a:lnTo>
                  <a:pt x="1182" y="3120"/>
                </a:lnTo>
                <a:lnTo>
                  <a:pt x="1182" y="3118"/>
                </a:lnTo>
                <a:lnTo>
                  <a:pt x="1187" y="3111"/>
                </a:lnTo>
                <a:lnTo>
                  <a:pt x="1190" y="3110"/>
                </a:lnTo>
                <a:lnTo>
                  <a:pt x="1198" y="3103"/>
                </a:lnTo>
                <a:lnTo>
                  <a:pt x="1210" y="3093"/>
                </a:lnTo>
                <a:lnTo>
                  <a:pt x="1214" y="3093"/>
                </a:lnTo>
                <a:lnTo>
                  <a:pt x="1221" y="3097"/>
                </a:lnTo>
                <a:lnTo>
                  <a:pt x="1222" y="3102"/>
                </a:lnTo>
                <a:lnTo>
                  <a:pt x="1222" y="3106"/>
                </a:lnTo>
                <a:lnTo>
                  <a:pt x="1216" y="3115"/>
                </a:lnTo>
                <a:lnTo>
                  <a:pt x="1211" y="3120"/>
                </a:lnTo>
                <a:lnTo>
                  <a:pt x="1202" y="3123"/>
                </a:lnTo>
                <a:lnTo>
                  <a:pt x="1197" y="3130"/>
                </a:lnTo>
                <a:lnTo>
                  <a:pt x="1196" y="3138"/>
                </a:lnTo>
                <a:lnTo>
                  <a:pt x="1198" y="3142"/>
                </a:lnTo>
                <a:lnTo>
                  <a:pt x="1205" y="3145"/>
                </a:lnTo>
                <a:lnTo>
                  <a:pt x="1211" y="3163"/>
                </a:lnTo>
                <a:lnTo>
                  <a:pt x="1210" y="3164"/>
                </a:lnTo>
                <a:lnTo>
                  <a:pt x="1205" y="3168"/>
                </a:lnTo>
                <a:lnTo>
                  <a:pt x="1202" y="3170"/>
                </a:lnTo>
                <a:lnTo>
                  <a:pt x="1197" y="3173"/>
                </a:lnTo>
                <a:lnTo>
                  <a:pt x="1196" y="3176"/>
                </a:lnTo>
                <a:lnTo>
                  <a:pt x="1197" y="3179"/>
                </a:lnTo>
                <a:lnTo>
                  <a:pt x="1198" y="3179"/>
                </a:lnTo>
                <a:lnTo>
                  <a:pt x="1198" y="3176"/>
                </a:lnTo>
                <a:lnTo>
                  <a:pt x="1204" y="3172"/>
                </a:lnTo>
                <a:lnTo>
                  <a:pt x="1212" y="3168"/>
                </a:lnTo>
                <a:lnTo>
                  <a:pt x="1215" y="3160"/>
                </a:lnTo>
                <a:lnTo>
                  <a:pt x="1215" y="3156"/>
                </a:lnTo>
                <a:lnTo>
                  <a:pt x="1212" y="3152"/>
                </a:lnTo>
                <a:lnTo>
                  <a:pt x="1214" y="3142"/>
                </a:lnTo>
                <a:lnTo>
                  <a:pt x="1210" y="3137"/>
                </a:lnTo>
                <a:lnTo>
                  <a:pt x="1214" y="3132"/>
                </a:lnTo>
                <a:lnTo>
                  <a:pt x="1224" y="3128"/>
                </a:lnTo>
                <a:lnTo>
                  <a:pt x="1229" y="3128"/>
                </a:lnTo>
                <a:lnTo>
                  <a:pt x="1240" y="3125"/>
                </a:lnTo>
                <a:lnTo>
                  <a:pt x="1240" y="3127"/>
                </a:lnTo>
                <a:lnTo>
                  <a:pt x="1239" y="3130"/>
                </a:lnTo>
                <a:lnTo>
                  <a:pt x="1237" y="3138"/>
                </a:lnTo>
                <a:lnTo>
                  <a:pt x="1240" y="3145"/>
                </a:lnTo>
                <a:lnTo>
                  <a:pt x="1243" y="3147"/>
                </a:lnTo>
                <a:lnTo>
                  <a:pt x="1252" y="3142"/>
                </a:lnTo>
                <a:lnTo>
                  <a:pt x="1254" y="3142"/>
                </a:lnTo>
                <a:lnTo>
                  <a:pt x="1261" y="3152"/>
                </a:lnTo>
                <a:lnTo>
                  <a:pt x="1261" y="3150"/>
                </a:lnTo>
                <a:lnTo>
                  <a:pt x="1260" y="3142"/>
                </a:lnTo>
                <a:lnTo>
                  <a:pt x="1257" y="3138"/>
                </a:lnTo>
                <a:lnTo>
                  <a:pt x="1250" y="3138"/>
                </a:lnTo>
                <a:lnTo>
                  <a:pt x="1243" y="3144"/>
                </a:lnTo>
                <a:lnTo>
                  <a:pt x="1240" y="3144"/>
                </a:lnTo>
                <a:lnTo>
                  <a:pt x="1239" y="3142"/>
                </a:lnTo>
                <a:lnTo>
                  <a:pt x="1239" y="3138"/>
                </a:lnTo>
                <a:lnTo>
                  <a:pt x="1244" y="3126"/>
                </a:lnTo>
                <a:lnTo>
                  <a:pt x="1250" y="3125"/>
                </a:lnTo>
                <a:lnTo>
                  <a:pt x="1258" y="3127"/>
                </a:lnTo>
                <a:lnTo>
                  <a:pt x="1260" y="3130"/>
                </a:lnTo>
                <a:lnTo>
                  <a:pt x="1266" y="3130"/>
                </a:lnTo>
                <a:lnTo>
                  <a:pt x="1272" y="3137"/>
                </a:lnTo>
                <a:lnTo>
                  <a:pt x="1276" y="3138"/>
                </a:lnTo>
                <a:lnTo>
                  <a:pt x="1276" y="3134"/>
                </a:lnTo>
                <a:lnTo>
                  <a:pt x="1280" y="3138"/>
                </a:lnTo>
                <a:lnTo>
                  <a:pt x="1289" y="3151"/>
                </a:lnTo>
                <a:lnTo>
                  <a:pt x="1287" y="3159"/>
                </a:lnTo>
                <a:lnTo>
                  <a:pt x="1291" y="3155"/>
                </a:lnTo>
                <a:lnTo>
                  <a:pt x="1291" y="3147"/>
                </a:lnTo>
                <a:lnTo>
                  <a:pt x="1294" y="3145"/>
                </a:lnTo>
                <a:lnTo>
                  <a:pt x="1296" y="3156"/>
                </a:lnTo>
                <a:lnTo>
                  <a:pt x="1300" y="3164"/>
                </a:lnTo>
                <a:lnTo>
                  <a:pt x="1304" y="3176"/>
                </a:lnTo>
                <a:lnTo>
                  <a:pt x="1304" y="3179"/>
                </a:lnTo>
                <a:lnTo>
                  <a:pt x="1299" y="3182"/>
                </a:lnTo>
                <a:lnTo>
                  <a:pt x="1291" y="3179"/>
                </a:lnTo>
                <a:lnTo>
                  <a:pt x="1286" y="3181"/>
                </a:lnTo>
                <a:lnTo>
                  <a:pt x="1275" y="3189"/>
                </a:lnTo>
                <a:lnTo>
                  <a:pt x="1272" y="3187"/>
                </a:lnTo>
                <a:lnTo>
                  <a:pt x="1271" y="3182"/>
                </a:lnTo>
                <a:lnTo>
                  <a:pt x="1266" y="3182"/>
                </a:lnTo>
                <a:lnTo>
                  <a:pt x="1268" y="3182"/>
                </a:lnTo>
                <a:lnTo>
                  <a:pt x="1271" y="3189"/>
                </a:lnTo>
                <a:lnTo>
                  <a:pt x="1275" y="3192"/>
                </a:lnTo>
                <a:lnTo>
                  <a:pt x="1277" y="3190"/>
                </a:lnTo>
                <a:lnTo>
                  <a:pt x="1283" y="3187"/>
                </a:lnTo>
                <a:lnTo>
                  <a:pt x="1289" y="3182"/>
                </a:lnTo>
                <a:lnTo>
                  <a:pt x="1296" y="3187"/>
                </a:lnTo>
                <a:lnTo>
                  <a:pt x="1296" y="3189"/>
                </a:lnTo>
                <a:lnTo>
                  <a:pt x="1300" y="3189"/>
                </a:lnTo>
                <a:lnTo>
                  <a:pt x="1304" y="3187"/>
                </a:lnTo>
                <a:lnTo>
                  <a:pt x="1308" y="3192"/>
                </a:lnTo>
                <a:lnTo>
                  <a:pt x="1308" y="3193"/>
                </a:lnTo>
                <a:lnTo>
                  <a:pt x="1304" y="3196"/>
                </a:lnTo>
                <a:lnTo>
                  <a:pt x="1305" y="3196"/>
                </a:lnTo>
                <a:lnTo>
                  <a:pt x="1308" y="3196"/>
                </a:lnTo>
                <a:lnTo>
                  <a:pt x="1311" y="3193"/>
                </a:lnTo>
                <a:lnTo>
                  <a:pt x="1311" y="3189"/>
                </a:lnTo>
                <a:lnTo>
                  <a:pt x="1308" y="3185"/>
                </a:lnTo>
                <a:lnTo>
                  <a:pt x="1310" y="3185"/>
                </a:lnTo>
                <a:lnTo>
                  <a:pt x="1311" y="3187"/>
                </a:lnTo>
                <a:lnTo>
                  <a:pt x="1318" y="3201"/>
                </a:lnTo>
                <a:lnTo>
                  <a:pt x="1319" y="3209"/>
                </a:lnTo>
                <a:lnTo>
                  <a:pt x="1315" y="3213"/>
                </a:lnTo>
                <a:lnTo>
                  <a:pt x="1314" y="3212"/>
                </a:lnTo>
                <a:lnTo>
                  <a:pt x="1312" y="3209"/>
                </a:lnTo>
                <a:lnTo>
                  <a:pt x="1310" y="3207"/>
                </a:lnTo>
                <a:lnTo>
                  <a:pt x="1308" y="3209"/>
                </a:lnTo>
                <a:lnTo>
                  <a:pt x="1302" y="3209"/>
                </a:lnTo>
                <a:lnTo>
                  <a:pt x="1297" y="3212"/>
                </a:lnTo>
                <a:lnTo>
                  <a:pt x="1289" y="3212"/>
                </a:lnTo>
                <a:lnTo>
                  <a:pt x="1283" y="3215"/>
                </a:lnTo>
                <a:lnTo>
                  <a:pt x="1279" y="3222"/>
                </a:lnTo>
                <a:lnTo>
                  <a:pt x="1272" y="3224"/>
                </a:lnTo>
                <a:lnTo>
                  <a:pt x="1269" y="3226"/>
                </a:lnTo>
                <a:lnTo>
                  <a:pt x="1279" y="3226"/>
                </a:lnTo>
                <a:lnTo>
                  <a:pt x="1282" y="3224"/>
                </a:lnTo>
                <a:lnTo>
                  <a:pt x="1287" y="3218"/>
                </a:lnTo>
                <a:lnTo>
                  <a:pt x="1301" y="3217"/>
                </a:lnTo>
                <a:lnTo>
                  <a:pt x="1301" y="3218"/>
                </a:lnTo>
                <a:lnTo>
                  <a:pt x="1301" y="3224"/>
                </a:lnTo>
                <a:lnTo>
                  <a:pt x="1299" y="3226"/>
                </a:lnTo>
                <a:lnTo>
                  <a:pt x="1299" y="3227"/>
                </a:lnTo>
                <a:lnTo>
                  <a:pt x="1300" y="3227"/>
                </a:lnTo>
                <a:lnTo>
                  <a:pt x="1302" y="3227"/>
                </a:lnTo>
                <a:lnTo>
                  <a:pt x="1304" y="3231"/>
                </a:lnTo>
                <a:lnTo>
                  <a:pt x="1307" y="3231"/>
                </a:lnTo>
                <a:lnTo>
                  <a:pt x="1314" y="3250"/>
                </a:lnTo>
                <a:lnTo>
                  <a:pt x="1312" y="3254"/>
                </a:lnTo>
                <a:lnTo>
                  <a:pt x="1307" y="3254"/>
                </a:lnTo>
                <a:lnTo>
                  <a:pt x="1305" y="3257"/>
                </a:lnTo>
                <a:lnTo>
                  <a:pt x="1312" y="3256"/>
                </a:lnTo>
                <a:lnTo>
                  <a:pt x="1315" y="3254"/>
                </a:lnTo>
                <a:lnTo>
                  <a:pt x="1318" y="3250"/>
                </a:lnTo>
                <a:lnTo>
                  <a:pt x="1316" y="3246"/>
                </a:lnTo>
                <a:lnTo>
                  <a:pt x="1319" y="3246"/>
                </a:lnTo>
                <a:lnTo>
                  <a:pt x="1319" y="3239"/>
                </a:lnTo>
                <a:lnTo>
                  <a:pt x="1318" y="3235"/>
                </a:lnTo>
                <a:lnTo>
                  <a:pt x="1319" y="3231"/>
                </a:lnTo>
                <a:lnTo>
                  <a:pt x="1321" y="3227"/>
                </a:lnTo>
                <a:lnTo>
                  <a:pt x="1322" y="3231"/>
                </a:lnTo>
                <a:lnTo>
                  <a:pt x="1330" y="3254"/>
                </a:lnTo>
                <a:lnTo>
                  <a:pt x="1336" y="3264"/>
                </a:lnTo>
                <a:lnTo>
                  <a:pt x="1335" y="3263"/>
                </a:lnTo>
                <a:lnTo>
                  <a:pt x="1335" y="3267"/>
                </a:lnTo>
                <a:lnTo>
                  <a:pt x="1344" y="3276"/>
                </a:lnTo>
                <a:lnTo>
                  <a:pt x="1349" y="3285"/>
                </a:lnTo>
                <a:lnTo>
                  <a:pt x="1344" y="3291"/>
                </a:lnTo>
                <a:lnTo>
                  <a:pt x="1343" y="3289"/>
                </a:lnTo>
                <a:lnTo>
                  <a:pt x="1343" y="3294"/>
                </a:lnTo>
                <a:lnTo>
                  <a:pt x="1341" y="3297"/>
                </a:lnTo>
                <a:lnTo>
                  <a:pt x="1340" y="3299"/>
                </a:lnTo>
                <a:lnTo>
                  <a:pt x="1336" y="3301"/>
                </a:lnTo>
                <a:lnTo>
                  <a:pt x="1339" y="3302"/>
                </a:lnTo>
                <a:lnTo>
                  <a:pt x="1346" y="3301"/>
                </a:lnTo>
                <a:lnTo>
                  <a:pt x="1346" y="3302"/>
                </a:lnTo>
                <a:lnTo>
                  <a:pt x="1349" y="3305"/>
                </a:lnTo>
                <a:lnTo>
                  <a:pt x="1354" y="3311"/>
                </a:lnTo>
                <a:lnTo>
                  <a:pt x="1346" y="3321"/>
                </a:lnTo>
                <a:lnTo>
                  <a:pt x="1344" y="3321"/>
                </a:lnTo>
                <a:lnTo>
                  <a:pt x="1335" y="3325"/>
                </a:lnTo>
                <a:lnTo>
                  <a:pt x="1332" y="3329"/>
                </a:lnTo>
                <a:lnTo>
                  <a:pt x="1332" y="3331"/>
                </a:lnTo>
                <a:lnTo>
                  <a:pt x="1333" y="3333"/>
                </a:lnTo>
                <a:lnTo>
                  <a:pt x="1343" y="3336"/>
                </a:lnTo>
                <a:lnTo>
                  <a:pt x="1341" y="3347"/>
                </a:lnTo>
                <a:lnTo>
                  <a:pt x="1337" y="3351"/>
                </a:lnTo>
                <a:lnTo>
                  <a:pt x="1339" y="3355"/>
                </a:lnTo>
                <a:lnTo>
                  <a:pt x="1328" y="3362"/>
                </a:lnTo>
                <a:lnTo>
                  <a:pt x="1312" y="3364"/>
                </a:lnTo>
                <a:lnTo>
                  <a:pt x="1297" y="3370"/>
                </a:lnTo>
                <a:lnTo>
                  <a:pt x="1293" y="3370"/>
                </a:lnTo>
                <a:lnTo>
                  <a:pt x="1289" y="3368"/>
                </a:lnTo>
                <a:lnTo>
                  <a:pt x="1275" y="3368"/>
                </a:lnTo>
                <a:lnTo>
                  <a:pt x="1271" y="3370"/>
                </a:lnTo>
                <a:lnTo>
                  <a:pt x="1261" y="3370"/>
                </a:lnTo>
                <a:lnTo>
                  <a:pt x="1261" y="3372"/>
                </a:lnTo>
                <a:lnTo>
                  <a:pt x="1257" y="3374"/>
                </a:lnTo>
                <a:lnTo>
                  <a:pt x="1254" y="3379"/>
                </a:lnTo>
                <a:lnTo>
                  <a:pt x="1241" y="3387"/>
                </a:lnTo>
                <a:lnTo>
                  <a:pt x="1240" y="3387"/>
                </a:lnTo>
                <a:lnTo>
                  <a:pt x="1236" y="3383"/>
                </a:lnTo>
                <a:lnTo>
                  <a:pt x="1233" y="3383"/>
                </a:lnTo>
                <a:lnTo>
                  <a:pt x="1227" y="3388"/>
                </a:lnTo>
                <a:lnTo>
                  <a:pt x="1230" y="3392"/>
                </a:lnTo>
                <a:lnTo>
                  <a:pt x="1229" y="3396"/>
                </a:lnTo>
                <a:lnTo>
                  <a:pt x="1226" y="3395"/>
                </a:lnTo>
                <a:lnTo>
                  <a:pt x="1219" y="3396"/>
                </a:lnTo>
                <a:lnTo>
                  <a:pt x="1216" y="3392"/>
                </a:lnTo>
                <a:lnTo>
                  <a:pt x="1214" y="3392"/>
                </a:lnTo>
                <a:lnTo>
                  <a:pt x="1205" y="3399"/>
                </a:lnTo>
                <a:lnTo>
                  <a:pt x="1205" y="3403"/>
                </a:lnTo>
                <a:lnTo>
                  <a:pt x="1201" y="3408"/>
                </a:lnTo>
                <a:lnTo>
                  <a:pt x="1196" y="3408"/>
                </a:lnTo>
                <a:lnTo>
                  <a:pt x="1193" y="3412"/>
                </a:lnTo>
                <a:lnTo>
                  <a:pt x="1187" y="3413"/>
                </a:lnTo>
                <a:lnTo>
                  <a:pt x="1186" y="3417"/>
                </a:lnTo>
                <a:lnTo>
                  <a:pt x="1182" y="3417"/>
                </a:lnTo>
                <a:lnTo>
                  <a:pt x="1179" y="3417"/>
                </a:lnTo>
                <a:lnTo>
                  <a:pt x="1161" y="3425"/>
                </a:lnTo>
                <a:lnTo>
                  <a:pt x="1155" y="3423"/>
                </a:lnTo>
                <a:lnTo>
                  <a:pt x="1152" y="3428"/>
                </a:lnTo>
                <a:lnTo>
                  <a:pt x="1154" y="3431"/>
                </a:lnTo>
                <a:lnTo>
                  <a:pt x="1151" y="3437"/>
                </a:lnTo>
                <a:lnTo>
                  <a:pt x="1151" y="3440"/>
                </a:lnTo>
                <a:lnTo>
                  <a:pt x="1147" y="3441"/>
                </a:lnTo>
                <a:lnTo>
                  <a:pt x="1144" y="3440"/>
                </a:lnTo>
                <a:lnTo>
                  <a:pt x="1139" y="3440"/>
                </a:lnTo>
                <a:lnTo>
                  <a:pt x="1135" y="3443"/>
                </a:lnTo>
                <a:lnTo>
                  <a:pt x="1135" y="3449"/>
                </a:lnTo>
                <a:lnTo>
                  <a:pt x="1127" y="3451"/>
                </a:lnTo>
                <a:lnTo>
                  <a:pt x="1122" y="3458"/>
                </a:lnTo>
                <a:lnTo>
                  <a:pt x="1121" y="3462"/>
                </a:lnTo>
                <a:lnTo>
                  <a:pt x="1115" y="3467"/>
                </a:lnTo>
                <a:lnTo>
                  <a:pt x="1115" y="3474"/>
                </a:lnTo>
                <a:lnTo>
                  <a:pt x="1107" y="3480"/>
                </a:lnTo>
                <a:lnTo>
                  <a:pt x="1102" y="3482"/>
                </a:lnTo>
                <a:lnTo>
                  <a:pt x="1097" y="3482"/>
                </a:lnTo>
                <a:lnTo>
                  <a:pt x="1091" y="3482"/>
                </a:lnTo>
                <a:lnTo>
                  <a:pt x="1086" y="3478"/>
                </a:lnTo>
                <a:lnTo>
                  <a:pt x="1080" y="3478"/>
                </a:lnTo>
                <a:lnTo>
                  <a:pt x="1076" y="3474"/>
                </a:lnTo>
                <a:lnTo>
                  <a:pt x="1070" y="3471"/>
                </a:lnTo>
                <a:lnTo>
                  <a:pt x="1063" y="3473"/>
                </a:lnTo>
                <a:lnTo>
                  <a:pt x="1055" y="3466"/>
                </a:lnTo>
                <a:lnTo>
                  <a:pt x="1055" y="3459"/>
                </a:lnTo>
                <a:lnTo>
                  <a:pt x="1048" y="3459"/>
                </a:lnTo>
                <a:lnTo>
                  <a:pt x="1042" y="3457"/>
                </a:lnTo>
                <a:lnTo>
                  <a:pt x="1038" y="3454"/>
                </a:lnTo>
                <a:lnTo>
                  <a:pt x="1034" y="3454"/>
                </a:lnTo>
                <a:lnTo>
                  <a:pt x="1031" y="3451"/>
                </a:lnTo>
                <a:lnTo>
                  <a:pt x="1023" y="3449"/>
                </a:lnTo>
                <a:lnTo>
                  <a:pt x="1020" y="3451"/>
                </a:lnTo>
                <a:lnTo>
                  <a:pt x="1016" y="3453"/>
                </a:lnTo>
                <a:lnTo>
                  <a:pt x="1013" y="3457"/>
                </a:lnTo>
                <a:lnTo>
                  <a:pt x="1012" y="3457"/>
                </a:lnTo>
                <a:lnTo>
                  <a:pt x="1009" y="3457"/>
                </a:lnTo>
                <a:lnTo>
                  <a:pt x="1008" y="3454"/>
                </a:lnTo>
                <a:lnTo>
                  <a:pt x="1005" y="3454"/>
                </a:lnTo>
                <a:lnTo>
                  <a:pt x="997" y="3459"/>
                </a:lnTo>
                <a:lnTo>
                  <a:pt x="997" y="3463"/>
                </a:lnTo>
                <a:lnTo>
                  <a:pt x="995" y="3463"/>
                </a:lnTo>
                <a:lnTo>
                  <a:pt x="992" y="3466"/>
                </a:lnTo>
                <a:lnTo>
                  <a:pt x="987" y="3463"/>
                </a:lnTo>
                <a:lnTo>
                  <a:pt x="980" y="3471"/>
                </a:lnTo>
                <a:lnTo>
                  <a:pt x="966" y="3476"/>
                </a:lnTo>
                <a:lnTo>
                  <a:pt x="965" y="3479"/>
                </a:lnTo>
                <a:lnTo>
                  <a:pt x="966" y="3482"/>
                </a:lnTo>
                <a:lnTo>
                  <a:pt x="958" y="3486"/>
                </a:lnTo>
                <a:lnTo>
                  <a:pt x="952" y="3484"/>
                </a:lnTo>
                <a:lnTo>
                  <a:pt x="942" y="3484"/>
                </a:lnTo>
                <a:lnTo>
                  <a:pt x="941" y="3488"/>
                </a:lnTo>
                <a:lnTo>
                  <a:pt x="934" y="3490"/>
                </a:lnTo>
                <a:lnTo>
                  <a:pt x="930" y="3486"/>
                </a:lnTo>
                <a:lnTo>
                  <a:pt x="926" y="3486"/>
                </a:lnTo>
                <a:lnTo>
                  <a:pt x="920" y="3490"/>
                </a:lnTo>
                <a:lnTo>
                  <a:pt x="913" y="3490"/>
                </a:lnTo>
                <a:lnTo>
                  <a:pt x="908" y="3490"/>
                </a:lnTo>
                <a:lnTo>
                  <a:pt x="902" y="3500"/>
                </a:lnTo>
                <a:lnTo>
                  <a:pt x="901" y="3504"/>
                </a:lnTo>
                <a:lnTo>
                  <a:pt x="895" y="3507"/>
                </a:lnTo>
                <a:lnTo>
                  <a:pt x="894" y="3511"/>
                </a:lnTo>
                <a:lnTo>
                  <a:pt x="891" y="3512"/>
                </a:lnTo>
                <a:lnTo>
                  <a:pt x="888" y="3512"/>
                </a:lnTo>
                <a:lnTo>
                  <a:pt x="886" y="3508"/>
                </a:lnTo>
                <a:lnTo>
                  <a:pt x="883" y="3508"/>
                </a:lnTo>
                <a:lnTo>
                  <a:pt x="870" y="3508"/>
                </a:lnTo>
                <a:lnTo>
                  <a:pt x="865" y="3511"/>
                </a:lnTo>
                <a:lnTo>
                  <a:pt x="859" y="3515"/>
                </a:lnTo>
                <a:lnTo>
                  <a:pt x="858" y="3520"/>
                </a:lnTo>
                <a:lnTo>
                  <a:pt x="858" y="3523"/>
                </a:lnTo>
                <a:lnTo>
                  <a:pt x="859" y="3528"/>
                </a:lnTo>
                <a:lnTo>
                  <a:pt x="859" y="3533"/>
                </a:lnTo>
                <a:lnTo>
                  <a:pt x="855" y="3537"/>
                </a:lnTo>
                <a:lnTo>
                  <a:pt x="853" y="3538"/>
                </a:lnTo>
                <a:lnTo>
                  <a:pt x="855" y="3542"/>
                </a:lnTo>
                <a:lnTo>
                  <a:pt x="855" y="3545"/>
                </a:lnTo>
                <a:lnTo>
                  <a:pt x="847" y="3548"/>
                </a:lnTo>
                <a:lnTo>
                  <a:pt x="845" y="3550"/>
                </a:lnTo>
                <a:lnTo>
                  <a:pt x="845" y="3553"/>
                </a:lnTo>
                <a:lnTo>
                  <a:pt x="844" y="3557"/>
                </a:lnTo>
                <a:lnTo>
                  <a:pt x="834" y="3559"/>
                </a:lnTo>
                <a:lnTo>
                  <a:pt x="834" y="3565"/>
                </a:lnTo>
                <a:lnTo>
                  <a:pt x="830" y="3569"/>
                </a:lnTo>
                <a:lnTo>
                  <a:pt x="820" y="3570"/>
                </a:lnTo>
                <a:lnTo>
                  <a:pt x="813" y="3573"/>
                </a:lnTo>
                <a:lnTo>
                  <a:pt x="810" y="3582"/>
                </a:lnTo>
                <a:lnTo>
                  <a:pt x="805" y="3587"/>
                </a:lnTo>
                <a:lnTo>
                  <a:pt x="806" y="3591"/>
                </a:lnTo>
                <a:lnTo>
                  <a:pt x="799" y="3598"/>
                </a:lnTo>
                <a:lnTo>
                  <a:pt x="796" y="3599"/>
                </a:lnTo>
                <a:lnTo>
                  <a:pt x="794" y="3598"/>
                </a:lnTo>
                <a:lnTo>
                  <a:pt x="790" y="3598"/>
                </a:lnTo>
                <a:lnTo>
                  <a:pt x="787" y="3602"/>
                </a:lnTo>
                <a:lnTo>
                  <a:pt x="784" y="3605"/>
                </a:lnTo>
                <a:lnTo>
                  <a:pt x="776" y="3609"/>
                </a:lnTo>
                <a:lnTo>
                  <a:pt x="774" y="3615"/>
                </a:lnTo>
                <a:lnTo>
                  <a:pt x="776" y="3619"/>
                </a:lnTo>
                <a:lnTo>
                  <a:pt x="776" y="3621"/>
                </a:lnTo>
                <a:lnTo>
                  <a:pt x="771" y="3627"/>
                </a:lnTo>
                <a:lnTo>
                  <a:pt x="770" y="3627"/>
                </a:lnTo>
                <a:lnTo>
                  <a:pt x="757" y="3627"/>
                </a:lnTo>
                <a:lnTo>
                  <a:pt x="755" y="3631"/>
                </a:lnTo>
                <a:lnTo>
                  <a:pt x="751" y="3631"/>
                </a:lnTo>
                <a:lnTo>
                  <a:pt x="746" y="3624"/>
                </a:lnTo>
                <a:lnTo>
                  <a:pt x="742" y="3623"/>
                </a:lnTo>
                <a:lnTo>
                  <a:pt x="738" y="3619"/>
                </a:lnTo>
                <a:lnTo>
                  <a:pt x="734" y="3616"/>
                </a:lnTo>
                <a:lnTo>
                  <a:pt x="732" y="3616"/>
                </a:lnTo>
                <a:lnTo>
                  <a:pt x="727" y="3617"/>
                </a:lnTo>
                <a:lnTo>
                  <a:pt x="721" y="3615"/>
                </a:lnTo>
                <a:lnTo>
                  <a:pt x="720" y="3612"/>
                </a:lnTo>
                <a:lnTo>
                  <a:pt x="720" y="3605"/>
                </a:lnTo>
                <a:lnTo>
                  <a:pt x="718" y="3604"/>
                </a:lnTo>
                <a:lnTo>
                  <a:pt x="715" y="3602"/>
                </a:lnTo>
                <a:lnTo>
                  <a:pt x="709" y="3602"/>
                </a:lnTo>
                <a:lnTo>
                  <a:pt x="705" y="3592"/>
                </a:lnTo>
                <a:lnTo>
                  <a:pt x="702" y="3590"/>
                </a:lnTo>
                <a:lnTo>
                  <a:pt x="696" y="3587"/>
                </a:lnTo>
                <a:lnTo>
                  <a:pt x="695" y="3587"/>
                </a:lnTo>
                <a:lnTo>
                  <a:pt x="691" y="3586"/>
                </a:lnTo>
                <a:lnTo>
                  <a:pt x="688" y="3587"/>
                </a:lnTo>
                <a:lnTo>
                  <a:pt x="685" y="3587"/>
                </a:lnTo>
                <a:lnTo>
                  <a:pt x="682" y="3587"/>
                </a:lnTo>
                <a:lnTo>
                  <a:pt x="674" y="3592"/>
                </a:lnTo>
                <a:lnTo>
                  <a:pt x="670" y="3592"/>
                </a:lnTo>
                <a:lnTo>
                  <a:pt x="667" y="3595"/>
                </a:lnTo>
                <a:lnTo>
                  <a:pt x="667" y="3598"/>
                </a:lnTo>
                <a:lnTo>
                  <a:pt x="665" y="3602"/>
                </a:lnTo>
                <a:lnTo>
                  <a:pt x="662" y="3615"/>
                </a:lnTo>
                <a:lnTo>
                  <a:pt x="656" y="3619"/>
                </a:lnTo>
                <a:lnTo>
                  <a:pt x="648" y="3620"/>
                </a:lnTo>
                <a:lnTo>
                  <a:pt x="646" y="3623"/>
                </a:lnTo>
                <a:lnTo>
                  <a:pt x="646" y="3627"/>
                </a:lnTo>
                <a:lnTo>
                  <a:pt x="634" y="3631"/>
                </a:lnTo>
                <a:lnTo>
                  <a:pt x="630" y="3631"/>
                </a:lnTo>
                <a:lnTo>
                  <a:pt x="628" y="3628"/>
                </a:lnTo>
                <a:lnTo>
                  <a:pt x="623" y="3631"/>
                </a:lnTo>
                <a:lnTo>
                  <a:pt x="621" y="3631"/>
                </a:lnTo>
                <a:lnTo>
                  <a:pt x="621" y="3628"/>
                </a:lnTo>
                <a:lnTo>
                  <a:pt x="617" y="3627"/>
                </a:lnTo>
                <a:lnTo>
                  <a:pt x="613" y="3631"/>
                </a:lnTo>
                <a:lnTo>
                  <a:pt x="609" y="3632"/>
                </a:lnTo>
                <a:lnTo>
                  <a:pt x="606" y="3632"/>
                </a:lnTo>
                <a:lnTo>
                  <a:pt x="602" y="3624"/>
                </a:lnTo>
                <a:lnTo>
                  <a:pt x="602" y="3619"/>
                </a:lnTo>
                <a:lnTo>
                  <a:pt x="598" y="3616"/>
                </a:lnTo>
                <a:lnTo>
                  <a:pt x="592" y="3615"/>
                </a:lnTo>
                <a:lnTo>
                  <a:pt x="592" y="3609"/>
                </a:lnTo>
                <a:lnTo>
                  <a:pt x="589" y="3609"/>
                </a:lnTo>
                <a:lnTo>
                  <a:pt x="578" y="3612"/>
                </a:lnTo>
                <a:lnTo>
                  <a:pt x="574" y="3609"/>
                </a:lnTo>
                <a:lnTo>
                  <a:pt x="571" y="3609"/>
                </a:lnTo>
                <a:lnTo>
                  <a:pt x="568" y="3614"/>
                </a:lnTo>
                <a:lnTo>
                  <a:pt x="566" y="3614"/>
                </a:lnTo>
                <a:lnTo>
                  <a:pt x="556" y="3619"/>
                </a:lnTo>
                <a:lnTo>
                  <a:pt x="550" y="3619"/>
                </a:lnTo>
                <a:lnTo>
                  <a:pt x="545" y="3616"/>
                </a:lnTo>
                <a:lnTo>
                  <a:pt x="539" y="3617"/>
                </a:lnTo>
                <a:lnTo>
                  <a:pt x="532" y="3616"/>
                </a:lnTo>
                <a:lnTo>
                  <a:pt x="527" y="3617"/>
                </a:lnTo>
                <a:lnTo>
                  <a:pt x="523" y="3620"/>
                </a:lnTo>
                <a:lnTo>
                  <a:pt x="517" y="3620"/>
                </a:lnTo>
                <a:lnTo>
                  <a:pt x="507" y="3623"/>
                </a:lnTo>
                <a:lnTo>
                  <a:pt x="506" y="3624"/>
                </a:lnTo>
                <a:lnTo>
                  <a:pt x="503" y="3627"/>
                </a:lnTo>
                <a:lnTo>
                  <a:pt x="502" y="3623"/>
                </a:lnTo>
                <a:lnTo>
                  <a:pt x="504" y="3582"/>
                </a:lnTo>
                <a:lnTo>
                  <a:pt x="509" y="3570"/>
                </a:lnTo>
                <a:lnTo>
                  <a:pt x="514" y="3561"/>
                </a:lnTo>
                <a:lnTo>
                  <a:pt x="524" y="3553"/>
                </a:lnTo>
                <a:lnTo>
                  <a:pt x="524" y="3541"/>
                </a:lnTo>
                <a:lnTo>
                  <a:pt x="530" y="3508"/>
                </a:lnTo>
                <a:lnTo>
                  <a:pt x="576" y="3480"/>
                </a:lnTo>
                <a:lnTo>
                  <a:pt x="585" y="3437"/>
                </a:lnTo>
                <a:lnTo>
                  <a:pt x="488" y="3378"/>
                </a:lnTo>
                <a:lnTo>
                  <a:pt x="479" y="3378"/>
                </a:lnTo>
                <a:lnTo>
                  <a:pt x="408" y="3378"/>
                </a:lnTo>
                <a:lnTo>
                  <a:pt x="417" y="3268"/>
                </a:lnTo>
                <a:lnTo>
                  <a:pt x="413" y="3213"/>
                </a:lnTo>
                <a:lnTo>
                  <a:pt x="407" y="3212"/>
                </a:lnTo>
                <a:lnTo>
                  <a:pt x="404" y="3209"/>
                </a:lnTo>
                <a:lnTo>
                  <a:pt x="402" y="3201"/>
                </a:lnTo>
                <a:lnTo>
                  <a:pt x="393" y="3196"/>
                </a:lnTo>
                <a:lnTo>
                  <a:pt x="392" y="3189"/>
                </a:lnTo>
                <a:lnTo>
                  <a:pt x="377" y="3179"/>
                </a:lnTo>
                <a:lnTo>
                  <a:pt x="372" y="3170"/>
                </a:lnTo>
                <a:lnTo>
                  <a:pt x="369" y="3168"/>
                </a:lnTo>
                <a:lnTo>
                  <a:pt x="361" y="3164"/>
                </a:lnTo>
                <a:lnTo>
                  <a:pt x="358" y="3164"/>
                </a:lnTo>
                <a:lnTo>
                  <a:pt x="353" y="3168"/>
                </a:lnTo>
                <a:lnTo>
                  <a:pt x="343" y="3168"/>
                </a:lnTo>
                <a:lnTo>
                  <a:pt x="338" y="3167"/>
                </a:lnTo>
                <a:lnTo>
                  <a:pt x="335" y="3163"/>
                </a:lnTo>
                <a:lnTo>
                  <a:pt x="329" y="3160"/>
                </a:lnTo>
                <a:lnTo>
                  <a:pt x="317" y="3160"/>
                </a:lnTo>
                <a:lnTo>
                  <a:pt x="316" y="3159"/>
                </a:lnTo>
                <a:lnTo>
                  <a:pt x="307" y="3156"/>
                </a:lnTo>
                <a:lnTo>
                  <a:pt x="306" y="3155"/>
                </a:lnTo>
                <a:lnTo>
                  <a:pt x="297" y="3152"/>
                </a:lnTo>
                <a:lnTo>
                  <a:pt x="291" y="3151"/>
                </a:lnTo>
                <a:lnTo>
                  <a:pt x="289" y="3150"/>
                </a:lnTo>
                <a:lnTo>
                  <a:pt x="285" y="3150"/>
                </a:lnTo>
                <a:lnTo>
                  <a:pt x="282" y="3145"/>
                </a:lnTo>
                <a:lnTo>
                  <a:pt x="278" y="3144"/>
                </a:lnTo>
                <a:lnTo>
                  <a:pt x="274" y="3140"/>
                </a:lnTo>
                <a:lnTo>
                  <a:pt x="271" y="3092"/>
                </a:lnTo>
                <a:lnTo>
                  <a:pt x="254" y="3085"/>
                </a:lnTo>
                <a:lnTo>
                  <a:pt x="243" y="3078"/>
                </a:lnTo>
                <a:lnTo>
                  <a:pt x="237" y="3077"/>
                </a:lnTo>
                <a:lnTo>
                  <a:pt x="236" y="3075"/>
                </a:lnTo>
                <a:lnTo>
                  <a:pt x="228" y="3070"/>
                </a:lnTo>
                <a:lnTo>
                  <a:pt x="218" y="3063"/>
                </a:lnTo>
                <a:lnTo>
                  <a:pt x="218" y="3061"/>
                </a:lnTo>
                <a:lnTo>
                  <a:pt x="218" y="3059"/>
                </a:lnTo>
                <a:lnTo>
                  <a:pt x="215" y="3057"/>
                </a:lnTo>
                <a:lnTo>
                  <a:pt x="211" y="3052"/>
                </a:lnTo>
                <a:lnTo>
                  <a:pt x="218" y="3018"/>
                </a:lnTo>
                <a:lnTo>
                  <a:pt x="225" y="3005"/>
                </a:lnTo>
                <a:lnTo>
                  <a:pt x="178" y="3002"/>
                </a:lnTo>
                <a:lnTo>
                  <a:pt x="159" y="2986"/>
                </a:lnTo>
                <a:lnTo>
                  <a:pt x="108" y="2940"/>
                </a:lnTo>
                <a:lnTo>
                  <a:pt x="71" y="2909"/>
                </a:lnTo>
                <a:lnTo>
                  <a:pt x="86" y="2857"/>
                </a:lnTo>
                <a:lnTo>
                  <a:pt x="90" y="2853"/>
                </a:lnTo>
                <a:lnTo>
                  <a:pt x="68" y="2823"/>
                </a:lnTo>
                <a:lnTo>
                  <a:pt x="69" y="2822"/>
                </a:lnTo>
                <a:lnTo>
                  <a:pt x="69" y="2820"/>
                </a:lnTo>
                <a:lnTo>
                  <a:pt x="71" y="2819"/>
                </a:lnTo>
                <a:lnTo>
                  <a:pt x="71" y="2816"/>
                </a:lnTo>
                <a:lnTo>
                  <a:pt x="73" y="2812"/>
                </a:lnTo>
                <a:lnTo>
                  <a:pt x="71" y="2808"/>
                </a:lnTo>
                <a:lnTo>
                  <a:pt x="79" y="2808"/>
                </a:lnTo>
                <a:lnTo>
                  <a:pt x="82" y="2799"/>
                </a:lnTo>
                <a:lnTo>
                  <a:pt x="90" y="2794"/>
                </a:lnTo>
                <a:lnTo>
                  <a:pt x="100" y="2792"/>
                </a:lnTo>
                <a:lnTo>
                  <a:pt x="104" y="2790"/>
                </a:lnTo>
                <a:lnTo>
                  <a:pt x="100" y="2786"/>
                </a:lnTo>
                <a:lnTo>
                  <a:pt x="92" y="2782"/>
                </a:lnTo>
                <a:lnTo>
                  <a:pt x="89" y="2777"/>
                </a:lnTo>
                <a:lnTo>
                  <a:pt x="86" y="2773"/>
                </a:lnTo>
                <a:lnTo>
                  <a:pt x="86" y="2764"/>
                </a:lnTo>
                <a:lnTo>
                  <a:pt x="73" y="2733"/>
                </a:lnTo>
                <a:lnTo>
                  <a:pt x="64" y="2725"/>
                </a:lnTo>
                <a:lnTo>
                  <a:pt x="59" y="2710"/>
                </a:lnTo>
                <a:lnTo>
                  <a:pt x="15" y="2666"/>
                </a:lnTo>
                <a:lnTo>
                  <a:pt x="14" y="2658"/>
                </a:lnTo>
                <a:lnTo>
                  <a:pt x="5" y="2657"/>
                </a:lnTo>
                <a:lnTo>
                  <a:pt x="1" y="2651"/>
                </a:lnTo>
                <a:lnTo>
                  <a:pt x="0" y="2648"/>
                </a:lnTo>
                <a:lnTo>
                  <a:pt x="3" y="2642"/>
                </a:lnTo>
                <a:lnTo>
                  <a:pt x="3" y="2636"/>
                </a:lnTo>
                <a:lnTo>
                  <a:pt x="5" y="2634"/>
                </a:lnTo>
                <a:lnTo>
                  <a:pt x="15" y="2633"/>
                </a:lnTo>
                <a:lnTo>
                  <a:pt x="18" y="2630"/>
                </a:lnTo>
                <a:lnTo>
                  <a:pt x="22" y="2629"/>
                </a:lnTo>
                <a:lnTo>
                  <a:pt x="22" y="2625"/>
                </a:lnTo>
                <a:lnTo>
                  <a:pt x="26" y="2621"/>
                </a:lnTo>
                <a:lnTo>
                  <a:pt x="29" y="2617"/>
                </a:lnTo>
                <a:lnTo>
                  <a:pt x="32" y="2616"/>
                </a:lnTo>
                <a:lnTo>
                  <a:pt x="34" y="2616"/>
                </a:lnTo>
                <a:lnTo>
                  <a:pt x="39" y="2613"/>
                </a:lnTo>
                <a:lnTo>
                  <a:pt x="43" y="2613"/>
                </a:lnTo>
                <a:lnTo>
                  <a:pt x="47" y="2612"/>
                </a:lnTo>
                <a:lnTo>
                  <a:pt x="50" y="2613"/>
                </a:lnTo>
                <a:lnTo>
                  <a:pt x="53" y="2613"/>
                </a:lnTo>
                <a:lnTo>
                  <a:pt x="57" y="2613"/>
                </a:lnTo>
                <a:lnTo>
                  <a:pt x="56" y="2611"/>
                </a:lnTo>
                <a:lnTo>
                  <a:pt x="64" y="2605"/>
                </a:lnTo>
                <a:lnTo>
                  <a:pt x="65" y="2601"/>
                </a:lnTo>
                <a:lnTo>
                  <a:pt x="65" y="2595"/>
                </a:lnTo>
                <a:lnTo>
                  <a:pt x="68" y="2591"/>
                </a:lnTo>
                <a:lnTo>
                  <a:pt x="68" y="2583"/>
                </a:lnTo>
                <a:lnTo>
                  <a:pt x="71" y="2581"/>
                </a:lnTo>
                <a:lnTo>
                  <a:pt x="71" y="2576"/>
                </a:lnTo>
                <a:lnTo>
                  <a:pt x="75" y="2573"/>
                </a:lnTo>
                <a:lnTo>
                  <a:pt x="78" y="2573"/>
                </a:lnTo>
                <a:lnTo>
                  <a:pt x="82" y="2571"/>
                </a:lnTo>
                <a:lnTo>
                  <a:pt x="89" y="2568"/>
                </a:lnTo>
                <a:lnTo>
                  <a:pt x="92" y="2573"/>
                </a:lnTo>
                <a:lnTo>
                  <a:pt x="93" y="2576"/>
                </a:lnTo>
                <a:lnTo>
                  <a:pt x="101" y="2576"/>
                </a:lnTo>
                <a:lnTo>
                  <a:pt x="103" y="2573"/>
                </a:lnTo>
                <a:lnTo>
                  <a:pt x="103" y="2568"/>
                </a:lnTo>
                <a:lnTo>
                  <a:pt x="103" y="2564"/>
                </a:lnTo>
                <a:lnTo>
                  <a:pt x="108" y="2564"/>
                </a:lnTo>
                <a:lnTo>
                  <a:pt x="111" y="2563"/>
                </a:lnTo>
                <a:lnTo>
                  <a:pt x="112" y="2567"/>
                </a:lnTo>
                <a:lnTo>
                  <a:pt x="122" y="2564"/>
                </a:lnTo>
                <a:lnTo>
                  <a:pt x="123" y="2561"/>
                </a:lnTo>
                <a:lnTo>
                  <a:pt x="126" y="2558"/>
                </a:lnTo>
                <a:lnTo>
                  <a:pt x="125" y="2554"/>
                </a:lnTo>
                <a:lnTo>
                  <a:pt x="131" y="2550"/>
                </a:lnTo>
                <a:lnTo>
                  <a:pt x="131" y="2549"/>
                </a:lnTo>
                <a:lnTo>
                  <a:pt x="133" y="2546"/>
                </a:lnTo>
                <a:lnTo>
                  <a:pt x="133" y="2542"/>
                </a:lnTo>
                <a:lnTo>
                  <a:pt x="134" y="2542"/>
                </a:lnTo>
                <a:lnTo>
                  <a:pt x="134" y="2545"/>
                </a:lnTo>
                <a:lnTo>
                  <a:pt x="137" y="2542"/>
                </a:lnTo>
                <a:lnTo>
                  <a:pt x="137" y="2539"/>
                </a:lnTo>
                <a:lnTo>
                  <a:pt x="139" y="2539"/>
                </a:lnTo>
                <a:lnTo>
                  <a:pt x="140" y="2541"/>
                </a:lnTo>
                <a:lnTo>
                  <a:pt x="144" y="2542"/>
                </a:lnTo>
                <a:lnTo>
                  <a:pt x="148" y="2542"/>
                </a:lnTo>
                <a:lnTo>
                  <a:pt x="159" y="2539"/>
                </a:lnTo>
                <a:lnTo>
                  <a:pt x="164" y="2536"/>
                </a:lnTo>
                <a:lnTo>
                  <a:pt x="168" y="2534"/>
                </a:lnTo>
                <a:lnTo>
                  <a:pt x="169" y="2531"/>
                </a:lnTo>
                <a:lnTo>
                  <a:pt x="171" y="2524"/>
                </a:lnTo>
                <a:lnTo>
                  <a:pt x="173" y="2520"/>
                </a:lnTo>
                <a:lnTo>
                  <a:pt x="172" y="2514"/>
                </a:lnTo>
                <a:lnTo>
                  <a:pt x="173" y="2512"/>
                </a:lnTo>
                <a:lnTo>
                  <a:pt x="176" y="2512"/>
                </a:lnTo>
                <a:lnTo>
                  <a:pt x="182" y="2524"/>
                </a:lnTo>
                <a:lnTo>
                  <a:pt x="186" y="2528"/>
                </a:lnTo>
                <a:lnTo>
                  <a:pt x="194" y="2531"/>
                </a:lnTo>
                <a:lnTo>
                  <a:pt x="198" y="2531"/>
                </a:lnTo>
                <a:lnTo>
                  <a:pt x="206" y="2530"/>
                </a:lnTo>
                <a:lnTo>
                  <a:pt x="208" y="2528"/>
                </a:lnTo>
                <a:lnTo>
                  <a:pt x="212" y="2520"/>
                </a:lnTo>
                <a:lnTo>
                  <a:pt x="214" y="2520"/>
                </a:lnTo>
                <a:lnTo>
                  <a:pt x="218" y="2520"/>
                </a:lnTo>
                <a:lnTo>
                  <a:pt x="219" y="2522"/>
                </a:lnTo>
                <a:lnTo>
                  <a:pt x="221" y="2524"/>
                </a:lnTo>
                <a:lnTo>
                  <a:pt x="229" y="2520"/>
                </a:lnTo>
                <a:lnTo>
                  <a:pt x="235" y="2522"/>
                </a:lnTo>
                <a:lnTo>
                  <a:pt x="246" y="2537"/>
                </a:lnTo>
                <a:lnTo>
                  <a:pt x="263" y="2549"/>
                </a:lnTo>
                <a:lnTo>
                  <a:pt x="268" y="2556"/>
                </a:lnTo>
                <a:lnTo>
                  <a:pt x="275" y="2559"/>
                </a:lnTo>
                <a:lnTo>
                  <a:pt x="285" y="2567"/>
                </a:lnTo>
                <a:lnTo>
                  <a:pt x="293" y="2568"/>
                </a:lnTo>
                <a:lnTo>
                  <a:pt x="302" y="2568"/>
                </a:lnTo>
                <a:lnTo>
                  <a:pt x="304" y="2567"/>
                </a:lnTo>
                <a:lnTo>
                  <a:pt x="307" y="2564"/>
                </a:lnTo>
                <a:lnTo>
                  <a:pt x="310" y="2558"/>
                </a:lnTo>
                <a:lnTo>
                  <a:pt x="310" y="2554"/>
                </a:lnTo>
                <a:lnTo>
                  <a:pt x="313" y="2546"/>
                </a:lnTo>
                <a:lnTo>
                  <a:pt x="322" y="2539"/>
                </a:lnTo>
                <a:lnTo>
                  <a:pt x="329" y="2530"/>
                </a:lnTo>
                <a:lnTo>
                  <a:pt x="333" y="2528"/>
                </a:lnTo>
                <a:lnTo>
                  <a:pt x="343" y="2526"/>
                </a:lnTo>
                <a:lnTo>
                  <a:pt x="349" y="2520"/>
                </a:lnTo>
                <a:lnTo>
                  <a:pt x="356" y="2518"/>
                </a:lnTo>
                <a:lnTo>
                  <a:pt x="357" y="2516"/>
                </a:lnTo>
                <a:lnTo>
                  <a:pt x="357" y="2508"/>
                </a:lnTo>
                <a:lnTo>
                  <a:pt x="354" y="2491"/>
                </a:lnTo>
                <a:lnTo>
                  <a:pt x="350" y="2477"/>
                </a:lnTo>
                <a:lnTo>
                  <a:pt x="352" y="2463"/>
                </a:lnTo>
                <a:lnTo>
                  <a:pt x="350" y="2452"/>
                </a:lnTo>
                <a:lnTo>
                  <a:pt x="357" y="2421"/>
                </a:lnTo>
                <a:lnTo>
                  <a:pt x="360" y="2416"/>
                </a:lnTo>
                <a:lnTo>
                  <a:pt x="361" y="2410"/>
                </a:lnTo>
                <a:lnTo>
                  <a:pt x="369" y="2399"/>
                </a:lnTo>
                <a:lnTo>
                  <a:pt x="371" y="2393"/>
                </a:lnTo>
                <a:lnTo>
                  <a:pt x="374" y="2389"/>
                </a:lnTo>
                <a:lnTo>
                  <a:pt x="360" y="2370"/>
                </a:lnTo>
                <a:lnTo>
                  <a:pt x="360" y="2367"/>
                </a:lnTo>
                <a:lnTo>
                  <a:pt x="360" y="2352"/>
                </a:lnTo>
                <a:lnTo>
                  <a:pt x="352" y="2343"/>
                </a:lnTo>
                <a:lnTo>
                  <a:pt x="347" y="2335"/>
                </a:lnTo>
                <a:lnTo>
                  <a:pt x="344" y="2326"/>
                </a:lnTo>
                <a:lnTo>
                  <a:pt x="342" y="2322"/>
                </a:lnTo>
                <a:lnTo>
                  <a:pt x="333" y="2318"/>
                </a:lnTo>
                <a:lnTo>
                  <a:pt x="329" y="2317"/>
                </a:lnTo>
                <a:lnTo>
                  <a:pt x="321" y="2314"/>
                </a:lnTo>
                <a:lnTo>
                  <a:pt x="310" y="2309"/>
                </a:lnTo>
                <a:lnTo>
                  <a:pt x="307" y="2303"/>
                </a:lnTo>
                <a:lnTo>
                  <a:pt x="310" y="2300"/>
                </a:lnTo>
                <a:lnTo>
                  <a:pt x="310" y="2296"/>
                </a:lnTo>
                <a:lnTo>
                  <a:pt x="304" y="2288"/>
                </a:lnTo>
                <a:lnTo>
                  <a:pt x="297" y="2283"/>
                </a:lnTo>
                <a:lnTo>
                  <a:pt x="294" y="2272"/>
                </a:lnTo>
                <a:lnTo>
                  <a:pt x="289" y="2272"/>
                </a:lnTo>
                <a:lnTo>
                  <a:pt x="288" y="2268"/>
                </a:lnTo>
                <a:lnTo>
                  <a:pt x="288" y="2265"/>
                </a:lnTo>
                <a:lnTo>
                  <a:pt x="292" y="2265"/>
                </a:lnTo>
                <a:lnTo>
                  <a:pt x="292" y="2264"/>
                </a:lnTo>
                <a:lnTo>
                  <a:pt x="286" y="2264"/>
                </a:lnTo>
                <a:lnTo>
                  <a:pt x="283" y="2261"/>
                </a:lnTo>
                <a:lnTo>
                  <a:pt x="288" y="2259"/>
                </a:lnTo>
                <a:lnTo>
                  <a:pt x="288" y="2253"/>
                </a:lnTo>
                <a:lnTo>
                  <a:pt x="291" y="2252"/>
                </a:lnTo>
                <a:lnTo>
                  <a:pt x="291" y="2253"/>
                </a:lnTo>
                <a:lnTo>
                  <a:pt x="293" y="2253"/>
                </a:lnTo>
                <a:lnTo>
                  <a:pt x="293" y="2250"/>
                </a:lnTo>
                <a:lnTo>
                  <a:pt x="416" y="2251"/>
                </a:lnTo>
                <a:lnTo>
                  <a:pt x="443" y="2251"/>
                </a:lnTo>
                <a:lnTo>
                  <a:pt x="443" y="2086"/>
                </a:lnTo>
                <a:lnTo>
                  <a:pt x="449" y="2060"/>
                </a:lnTo>
                <a:lnTo>
                  <a:pt x="445" y="2059"/>
                </a:lnTo>
                <a:lnTo>
                  <a:pt x="445" y="1974"/>
                </a:lnTo>
                <a:lnTo>
                  <a:pt x="486" y="1861"/>
                </a:lnTo>
                <a:lnTo>
                  <a:pt x="532" y="1731"/>
                </a:lnTo>
                <a:lnTo>
                  <a:pt x="536" y="1726"/>
                </a:lnTo>
                <a:lnTo>
                  <a:pt x="542" y="1726"/>
                </a:lnTo>
                <a:lnTo>
                  <a:pt x="538" y="1723"/>
                </a:lnTo>
                <a:lnTo>
                  <a:pt x="536" y="1719"/>
                </a:lnTo>
                <a:lnTo>
                  <a:pt x="534" y="1716"/>
                </a:lnTo>
                <a:lnTo>
                  <a:pt x="521" y="1707"/>
                </a:lnTo>
                <a:lnTo>
                  <a:pt x="518" y="1712"/>
                </a:lnTo>
                <a:lnTo>
                  <a:pt x="516" y="1708"/>
                </a:lnTo>
                <a:lnTo>
                  <a:pt x="514" y="1707"/>
                </a:lnTo>
                <a:lnTo>
                  <a:pt x="509" y="1707"/>
                </a:lnTo>
                <a:lnTo>
                  <a:pt x="507" y="1708"/>
                </a:lnTo>
                <a:lnTo>
                  <a:pt x="507" y="1712"/>
                </a:lnTo>
                <a:lnTo>
                  <a:pt x="504" y="1714"/>
                </a:lnTo>
                <a:lnTo>
                  <a:pt x="502" y="1712"/>
                </a:lnTo>
                <a:lnTo>
                  <a:pt x="499" y="1708"/>
                </a:lnTo>
                <a:lnTo>
                  <a:pt x="495" y="1703"/>
                </a:lnTo>
                <a:lnTo>
                  <a:pt x="486" y="1699"/>
                </a:lnTo>
                <a:lnTo>
                  <a:pt x="477" y="1689"/>
                </a:lnTo>
                <a:lnTo>
                  <a:pt x="474" y="1689"/>
                </a:lnTo>
                <a:lnTo>
                  <a:pt x="460" y="1680"/>
                </a:lnTo>
                <a:lnTo>
                  <a:pt x="453" y="1678"/>
                </a:lnTo>
                <a:lnTo>
                  <a:pt x="449" y="1672"/>
                </a:lnTo>
                <a:lnTo>
                  <a:pt x="449" y="1667"/>
                </a:lnTo>
                <a:lnTo>
                  <a:pt x="439" y="1663"/>
                </a:lnTo>
                <a:lnTo>
                  <a:pt x="438" y="1662"/>
                </a:lnTo>
                <a:lnTo>
                  <a:pt x="433" y="1650"/>
                </a:lnTo>
                <a:lnTo>
                  <a:pt x="433" y="1641"/>
                </a:lnTo>
                <a:lnTo>
                  <a:pt x="432" y="1636"/>
                </a:lnTo>
                <a:lnTo>
                  <a:pt x="425" y="1622"/>
                </a:lnTo>
                <a:lnTo>
                  <a:pt x="421" y="1621"/>
                </a:lnTo>
                <a:lnTo>
                  <a:pt x="418" y="1620"/>
                </a:lnTo>
                <a:lnTo>
                  <a:pt x="413" y="1602"/>
                </a:lnTo>
                <a:lnTo>
                  <a:pt x="407" y="1600"/>
                </a:lnTo>
                <a:lnTo>
                  <a:pt x="404" y="1596"/>
                </a:lnTo>
                <a:lnTo>
                  <a:pt x="403" y="1595"/>
                </a:lnTo>
                <a:lnTo>
                  <a:pt x="399" y="1599"/>
                </a:lnTo>
                <a:lnTo>
                  <a:pt x="396" y="1599"/>
                </a:lnTo>
                <a:lnTo>
                  <a:pt x="389" y="1597"/>
                </a:lnTo>
                <a:lnTo>
                  <a:pt x="381" y="1592"/>
                </a:lnTo>
                <a:lnTo>
                  <a:pt x="375" y="1599"/>
                </a:lnTo>
                <a:lnTo>
                  <a:pt x="367" y="1599"/>
                </a:lnTo>
                <a:lnTo>
                  <a:pt x="360" y="1588"/>
                </a:lnTo>
                <a:lnTo>
                  <a:pt x="349" y="1584"/>
                </a:lnTo>
                <a:lnTo>
                  <a:pt x="341" y="1576"/>
                </a:lnTo>
                <a:lnTo>
                  <a:pt x="339" y="1574"/>
                </a:lnTo>
                <a:lnTo>
                  <a:pt x="339" y="1568"/>
                </a:lnTo>
                <a:lnTo>
                  <a:pt x="341" y="1565"/>
                </a:lnTo>
                <a:lnTo>
                  <a:pt x="321" y="1554"/>
                </a:lnTo>
                <a:lnTo>
                  <a:pt x="318" y="1551"/>
                </a:lnTo>
                <a:lnTo>
                  <a:pt x="316" y="1550"/>
                </a:lnTo>
                <a:lnTo>
                  <a:pt x="302" y="1539"/>
                </a:lnTo>
                <a:lnTo>
                  <a:pt x="299" y="1539"/>
                </a:lnTo>
                <a:lnTo>
                  <a:pt x="297" y="1542"/>
                </a:lnTo>
                <a:lnTo>
                  <a:pt x="291" y="1539"/>
                </a:lnTo>
                <a:lnTo>
                  <a:pt x="286" y="1534"/>
                </a:lnTo>
                <a:lnTo>
                  <a:pt x="281" y="1532"/>
                </a:lnTo>
                <a:lnTo>
                  <a:pt x="272" y="1517"/>
                </a:lnTo>
                <a:lnTo>
                  <a:pt x="274" y="1512"/>
                </a:lnTo>
                <a:lnTo>
                  <a:pt x="281" y="1501"/>
                </a:lnTo>
                <a:lnTo>
                  <a:pt x="281" y="1497"/>
                </a:lnTo>
                <a:lnTo>
                  <a:pt x="285" y="1487"/>
                </a:lnTo>
                <a:lnTo>
                  <a:pt x="285" y="1483"/>
                </a:lnTo>
                <a:lnTo>
                  <a:pt x="282" y="1477"/>
                </a:lnTo>
                <a:lnTo>
                  <a:pt x="278" y="1456"/>
                </a:lnTo>
                <a:lnTo>
                  <a:pt x="282" y="1453"/>
                </a:lnTo>
                <a:lnTo>
                  <a:pt x="307" y="1450"/>
                </a:lnTo>
                <a:lnTo>
                  <a:pt x="313" y="1448"/>
                </a:lnTo>
                <a:lnTo>
                  <a:pt x="314" y="1446"/>
                </a:lnTo>
                <a:lnTo>
                  <a:pt x="316" y="1442"/>
                </a:lnTo>
                <a:lnTo>
                  <a:pt x="314" y="1411"/>
                </a:lnTo>
                <a:lnTo>
                  <a:pt x="316" y="1400"/>
                </a:lnTo>
                <a:lnTo>
                  <a:pt x="316" y="1384"/>
                </a:lnTo>
                <a:lnTo>
                  <a:pt x="318" y="1384"/>
                </a:lnTo>
                <a:lnTo>
                  <a:pt x="331" y="1389"/>
                </a:lnTo>
                <a:lnTo>
                  <a:pt x="344" y="1389"/>
                </a:lnTo>
                <a:lnTo>
                  <a:pt x="361" y="1385"/>
                </a:lnTo>
                <a:lnTo>
                  <a:pt x="374" y="1378"/>
                </a:lnTo>
                <a:lnTo>
                  <a:pt x="375" y="1378"/>
                </a:lnTo>
                <a:lnTo>
                  <a:pt x="382" y="1375"/>
                </a:lnTo>
                <a:lnTo>
                  <a:pt x="388" y="1383"/>
                </a:lnTo>
                <a:lnTo>
                  <a:pt x="392" y="1381"/>
                </a:lnTo>
                <a:lnTo>
                  <a:pt x="393" y="1385"/>
                </a:lnTo>
                <a:lnTo>
                  <a:pt x="394" y="1388"/>
                </a:lnTo>
                <a:lnTo>
                  <a:pt x="396" y="1386"/>
                </a:lnTo>
                <a:lnTo>
                  <a:pt x="397" y="1385"/>
                </a:lnTo>
                <a:lnTo>
                  <a:pt x="403" y="1383"/>
                </a:lnTo>
                <a:lnTo>
                  <a:pt x="402" y="1378"/>
                </a:lnTo>
                <a:lnTo>
                  <a:pt x="396" y="1375"/>
                </a:lnTo>
                <a:lnTo>
                  <a:pt x="393" y="1367"/>
                </a:lnTo>
                <a:lnTo>
                  <a:pt x="389" y="1365"/>
                </a:lnTo>
                <a:lnTo>
                  <a:pt x="391" y="1356"/>
                </a:lnTo>
                <a:lnTo>
                  <a:pt x="388" y="1352"/>
                </a:lnTo>
                <a:lnTo>
                  <a:pt x="389" y="1348"/>
                </a:lnTo>
                <a:lnTo>
                  <a:pt x="388" y="1343"/>
                </a:lnTo>
                <a:lnTo>
                  <a:pt x="392" y="1339"/>
                </a:lnTo>
                <a:lnTo>
                  <a:pt x="388" y="1336"/>
                </a:lnTo>
                <a:lnTo>
                  <a:pt x="386" y="1328"/>
                </a:lnTo>
                <a:lnTo>
                  <a:pt x="377" y="1326"/>
                </a:lnTo>
                <a:lnTo>
                  <a:pt x="381" y="1322"/>
                </a:lnTo>
                <a:lnTo>
                  <a:pt x="379" y="1311"/>
                </a:lnTo>
                <a:lnTo>
                  <a:pt x="383" y="1307"/>
                </a:lnTo>
                <a:lnTo>
                  <a:pt x="379" y="1303"/>
                </a:lnTo>
                <a:lnTo>
                  <a:pt x="385" y="1298"/>
                </a:lnTo>
                <a:lnTo>
                  <a:pt x="382" y="1293"/>
                </a:lnTo>
                <a:lnTo>
                  <a:pt x="379" y="1292"/>
                </a:lnTo>
                <a:lnTo>
                  <a:pt x="375" y="1294"/>
                </a:lnTo>
                <a:lnTo>
                  <a:pt x="374" y="1302"/>
                </a:lnTo>
                <a:lnTo>
                  <a:pt x="368" y="1303"/>
                </a:lnTo>
                <a:lnTo>
                  <a:pt x="364" y="1303"/>
                </a:lnTo>
                <a:lnTo>
                  <a:pt x="360" y="1298"/>
                </a:lnTo>
                <a:lnTo>
                  <a:pt x="360" y="1296"/>
                </a:lnTo>
                <a:lnTo>
                  <a:pt x="363" y="1294"/>
                </a:lnTo>
                <a:lnTo>
                  <a:pt x="364" y="1289"/>
                </a:lnTo>
                <a:lnTo>
                  <a:pt x="363" y="1277"/>
                </a:lnTo>
                <a:lnTo>
                  <a:pt x="371" y="1269"/>
                </a:lnTo>
                <a:lnTo>
                  <a:pt x="369" y="1268"/>
                </a:lnTo>
                <a:lnTo>
                  <a:pt x="363" y="1268"/>
                </a:lnTo>
                <a:lnTo>
                  <a:pt x="357" y="1261"/>
                </a:lnTo>
                <a:lnTo>
                  <a:pt x="357" y="1255"/>
                </a:lnTo>
                <a:lnTo>
                  <a:pt x="354" y="1251"/>
                </a:lnTo>
                <a:lnTo>
                  <a:pt x="356" y="1246"/>
                </a:lnTo>
                <a:lnTo>
                  <a:pt x="356" y="1236"/>
                </a:lnTo>
                <a:lnTo>
                  <a:pt x="352" y="1232"/>
                </a:lnTo>
                <a:lnTo>
                  <a:pt x="350" y="1231"/>
                </a:lnTo>
                <a:lnTo>
                  <a:pt x="354" y="1224"/>
                </a:lnTo>
                <a:lnTo>
                  <a:pt x="354" y="1220"/>
                </a:lnTo>
                <a:lnTo>
                  <a:pt x="357" y="1217"/>
                </a:lnTo>
                <a:lnTo>
                  <a:pt x="357" y="1210"/>
                </a:lnTo>
                <a:lnTo>
                  <a:pt x="356" y="1206"/>
                </a:lnTo>
                <a:lnTo>
                  <a:pt x="353" y="1202"/>
                </a:lnTo>
                <a:lnTo>
                  <a:pt x="352" y="1202"/>
                </a:lnTo>
                <a:lnTo>
                  <a:pt x="344" y="1205"/>
                </a:lnTo>
                <a:lnTo>
                  <a:pt x="339" y="1198"/>
                </a:lnTo>
                <a:lnTo>
                  <a:pt x="339" y="1195"/>
                </a:lnTo>
                <a:lnTo>
                  <a:pt x="344" y="1192"/>
                </a:lnTo>
                <a:lnTo>
                  <a:pt x="344" y="1187"/>
                </a:lnTo>
                <a:lnTo>
                  <a:pt x="349" y="1186"/>
                </a:lnTo>
                <a:lnTo>
                  <a:pt x="356" y="1184"/>
                </a:lnTo>
                <a:lnTo>
                  <a:pt x="361" y="1182"/>
                </a:lnTo>
                <a:lnTo>
                  <a:pt x="367" y="1173"/>
                </a:lnTo>
                <a:lnTo>
                  <a:pt x="369" y="1157"/>
                </a:lnTo>
                <a:lnTo>
                  <a:pt x="375" y="1153"/>
                </a:lnTo>
                <a:lnTo>
                  <a:pt x="385" y="1149"/>
                </a:lnTo>
                <a:lnTo>
                  <a:pt x="393" y="1143"/>
                </a:lnTo>
                <a:lnTo>
                  <a:pt x="411" y="1142"/>
                </a:lnTo>
                <a:lnTo>
                  <a:pt x="417" y="1137"/>
                </a:lnTo>
                <a:lnTo>
                  <a:pt x="432" y="1103"/>
                </a:lnTo>
                <a:lnTo>
                  <a:pt x="447" y="1081"/>
                </a:lnTo>
                <a:lnTo>
                  <a:pt x="454" y="1063"/>
                </a:lnTo>
                <a:lnTo>
                  <a:pt x="456" y="1068"/>
                </a:lnTo>
                <a:lnTo>
                  <a:pt x="478" y="1072"/>
                </a:lnTo>
                <a:lnTo>
                  <a:pt x="486" y="1072"/>
                </a:lnTo>
                <a:lnTo>
                  <a:pt x="495" y="1074"/>
                </a:lnTo>
                <a:lnTo>
                  <a:pt x="499" y="1068"/>
                </a:lnTo>
                <a:lnTo>
                  <a:pt x="502" y="1066"/>
                </a:lnTo>
                <a:lnTo>
                  <a:pt x="506" y="1066"/>
                </a:lnTo>
                <a:lnTo>
                  <a:pt x="517" y="1070"/>
                </a:lnTo>
                <a:lnTo>
                  <a:pt x="518" y="1074"/>
                </a:lnTo>
                <a:lnTo>
                  <a:pt x="516" y="1081"/>
                </a:lnTo>
                <a:lnTo>
                  <a:pt x="520" y="1082"/>
                </a:lnTo>
                <a:lnTo>
                  <a:pt x="521" y="1086"/>
                </a:lnTo>
                <a:lnTo>
                  <a:pt x="518" y="1093"/>
                </a:lnTo>
                <a:lnTo>
                  <a:pt x="518" y="1094"/>
                </a:lnTo>
                <a:lnTo>
                  <a:pt x="520" y="1097"/>
                </a:lnTo>
                <a:lnTo>
                  <a:pt x="534" y="1100"/>
                </a:lnTo>
                <a:lnTo>
                  <a:pt x="535" y="1108"/>
                </a:lnTo>
                <a:lnTo>
                  <a:pt x="531" y="1112"/>
                </a:lnTo>
                <a:lnTo>
                  <a:pt x="530" y="1116"/>
                </a:lnTo>
                <a:lnTo>
                  <a:pt x="530" y="1119"/>
                </a:lnTo>
                <a:lnTo>
                  <a:pt x="534" y="1119"/>
                </a:lnTo>
                <a:lnTo>
                  <a:pt x="535" y="1120"/>
                </a:lnTo>
                <a:lnTo>
                  <a:pt x="536" y="1128"/>
                </a:lnTo>
                <a:lnTo>
                  <a:pt x="538" y="1131"/>
                </a:lnTo>
                <a:lnTo>
                  <a:pt x="542" y="1135"/>
                </a:lnTo>
                <a:lnTo>
                  <a:pt x="542" y="1143"/>
                </a:lnTo>
                <a:lnTo>
                  <a:pt x="543" y="1145"/>
                </a:lnTo>
                <a:lnTo>
                  <a:pt x="546" y="1147"/>
                </a:lnTo>
                <a:lnTo>
                  <a:pt x="552" y="1142"/>
                </a:lnTo>
                <a:lnTo>
                  <a:pt x="556" y="1143"/>
                </a:lnTo>
                <a:lnTo>
                  <a:pt x="566" y="1157"/>
                </a:lnTo>
                <a:lnTo>
                  <a:pt x="574" y="1161"/>
                </a:lnTo>
                <a:lnTo>
                  <a:pt x="577" y="1168"/>
                </a:lnTo>
                <a:lnTo>
                  <a:pt x="588" y="1175"/>
                </a:lnTo>
                <a:lnTo>
                  <a:pt x="593" y="1178"/>
                </a:lnTo>
                <a:lnTo>
                  <a:pt x="602" y="1178"/>
                </a:lnTo>
                <a:lnTo>
                  <a:pt x="616" y="1173"/>
                </a:lnTo>
                <a:lnTo>
                  <a:pt x="638" y="1130"/>
                </a:lnTo>
                <a:lnTo>
                  <a:pt x="646" y="1120"/>
                </a:lnTo>
                <a:lnTo>
                  <a:pt x="652" y="1119"/>
                </a:lnTo>
                <a:lnTo>
                  <a:pt x="656" y="1120"/>
                </a:lnTo>
                <a:lnTo>
                  <a:pt x="660" y="1120"/>
                </a:lnTo>
                <a:lnTo>
                  <a:pt x="667" y="1124"/>
                </a:lnTo>
                <a:lnTo>
                  <a:pt x="667" y="1127"/>
                </a:lnTo>
                <a:lnTo>
                  <a:pt x="671" y="1131"/>
                </a:lnTo>
                <a:lnTo>
                  <a:pt x="674" y="1131"/>
                </a:lnTo>
                <a:lnTo>
                  <a:pt x="678" y="1131"/>
                </a:lnTo>
                <a:lnTo>
                  <a:pt x="681" y="1135"/>
                </a:lnTo>
                <a:lnTo>
                  <a:pt x="684" y="1135"/>
                </a:lnTo>
                <a:lnTo>
                  <a:pt x="685" y="1133"/>
                </a:lnTo>
                <a:lnTo>
                  <a:pt x="691" y="1133"/>
                </a:lnTo>
                <a:lnTo>
                  <a:pt x="695" y="1135"/>
                </a:lnTo>
                <a:lnTo>
                  <a:pt x="698" y="1142"/>
                </a:lnTo>
                <a:lnTo>
                  <a:pt x="699" y="1142"/>
                </a:lnTo>
                <a:lnTo>
                  <a:pt x="724" y="1032"/>
                </a:lnTo>
                <a:lnTo>
                  <a:pt x="728" y="1025"/>
                </a:lnTo>
                <a:lnTo>
                  <a:pt x="726" y="1011"/>
                </a:lnTo>
                <a:lnTo>
                  <a:pt x="723" y="993"/>
                </a:lnTo>
                <a:lnTo>
                  <a:pt x="720" y="978"/>
                </a:lnTo>
                <a:lnTo>
                  <a:pt x="721" y="970"/>
                </a:lnTo>
                <a:lnTo>
                  <a:pt x="712" y="951"/>
                </a:lnTo>
                <a:lnTo>
                  <a:pt x="706" y="948"/>
                </a:lnTo>
                <a:lnTo>
                  <a:pt x="730" y="917"/>
                </a:lnTo>
                <a:lnTo>
                  <a:pt x="727" y="917"/>
                </a:lnTo>
                <a:lnTo>
                  <a:pt x="726" y="914"/>
                </a:lnTo>
                <a:lnTo>
                  <a:pt x="723" y="913"/>
                </a:lnTo>
                <a:lnTo>
                  <a:pt x="717" y="907"/>
                </a:lnTo>
                <a:lnTo>
                  <a:pt x="717" y="899"/>
                </a:lnTo>
                <a:lnTo>
                  <a:pt x="716" y="899"/>
                </a:lnTo>
                <a:lnTo>
                  <a:pt x="718" y="899"/>
                </a:lnTo>
                <a:lnTo>
                  <a:pt x="718" y="898"/>
                </a:lnTo>
                <a:lnTo>
                  <a:pt x="713" y="895"/>
                </a:lnTo>
                <a:lnTo>
                  <a:pt x="712" y="895"/>
                </a:lnTo>
                <a:lnTo>
                  <a:pt x="707" y="895"/>
                </a:lnTo>
                <a:lnTo>
                  <a:pt x="705" y="888"/>
                </a:lnTo>
                <a:lnTo>
                  <a:pt x="699" y="884"/>
                </a:lnTo>
                <a:lnTo>
                  <a:pt x="695" y="884"/>
                </a:lnTo>
                <a:lnTo>
                  <a:pt x="690" y="876"/>
                </a:lnTo>
                <a:lnTo>
                  <a:pt x="688" y="876"/>
                </a:lnTo>
                <a:lnTo>
                  <a:pt x="688" y="875"/>
                </a:lnTo>
                <a:lnTo>
                  <a:pt x="690" y="872"/>
                </a:lnTo>
                <a:lnTo>
                  <a:pt x="688" y="870"/>
                </a:lnTo>
                <a:lnTo>
                  <a:pt x="680" y="869"/>
                </a:lnTo>
                <a:lnTo>
                  <a:pt x="673" y="871"/>
                </a:lnTo>
                <a:lnTo>
                  <a:pt x="670" y="867"/>
                </a:lnTo>
                <a:lnTo>
                  <a:pt x="666" y="866"/>
                </a:lnTo>
                <a:lnTo>
                  <a:pt x="666" y="862"/>
                </a:lnTo>
                <a:lnTo>
                  <a:pt x="663" y="862"/>
                </a:lnTo>
                <a:lnTo>
                  <a:pt x="653" y="864"/>
                </a:lnTo>
                <a:lnTo>
                  <a:pt x="643" y="862"/>
                </a:lnTo>
                <a:lnTo>
                  <a:pt x="652" y="836"/>
                </a:lnTo>
                <a:lnTo>
                  <a:pt x="653" y="822"/>
                </a:lnTo>
                <a:lnTo>
                  <a:pt x="657" y="808"/>
                </a:lnTo>
                <a:lnTo>
                  <a:pt x="659" y="795"/>
                </a:lnTo>
                <a:lnTo>
                  <a:pt x="662" y="785"/>
                </a:lnTo>
                <a:lnTo>
                  <a:pt x="660" y="775"/>
                </a:lnTo>
                <a:lnTo>
                  <a:pt x="663" y="763"/>
                </a:lnTo>
                <a:lnTo>
                  <a:pt x="659" y="753"/>
                </a:lnTo>
                <a:lnTo>
                  <a:pt x="659" y="746"/>
                </a:lnTo>
                <a:lnTo>
                  <a:pt x="657" y="742"/>
                </a:lnTo>
                <a:lnTo>
                  <a:pt x="627" y="724"/>
                </a:lnTo>
                <a:lnTo>
                  <a:pt x="624" y="722"/>
                </a:lnTo>
                <a:lnTo>
                  <a:pt x="624" y="718"/>
                </a:lnTo>
                <a:lnTo>
                  <a:pt x="627" y="678"/>
                </a:lnTo>
                <a:lnTo>
                  <a:pt x="626" y="671"/>
                </a:lnTo>
                <a:lnTo>
                  <a:pt x="606" y="641"/>
                </a:lnTo>
                <a:lnTo>
                  <a:pt x="635" y="581"/>
                </a:lnTo>
                <a:lnTo>
                  <a:pt x="643" y="559"/>
                </a:lnTo>
                <a:lnTo>
                  <a:pt x="656" y="510"/>
                </a:lnTo>
                <a:lnTo>
                  <a:pt x="657" y="497"/>
                </a:lnTo>
                <a:lnTo>
                  <a:pt x="651" y="486"/>
                </a:lnTo>
                <a:lnTo>
                  <a:pt x="645" y="472"/>
                </a:lnTo>
                <a:lnTo>
                  <a:pt x="645" y="469"/>
                </a:lnTo>
                <a:lnTo>
                  <a:pt x="649" y="457"/>
                </a:lnTo>
                <a:lnTo>
                  <a:pt x="659" y="417"/>
                </a:lnTo>
                <a:lnTo>
                  <a:pt x="660" y="401"/>
                </a:lnTo>
                <a:lnTo>
                  <a:pt x="674" y="386"/>
                </a:lnTo>
                <a:lnTo>
                  <a:pt x="681" y="376"/>
                </a:lnTo>
                <a:lnTo>
                  <a:pt x="680" y="372"/>
                </a:lnTo>
                <a:lnTo>
                  <a:pt x="678" y="368"/>
                </a:lnTo>
                <a:lnTo>
                  <a:pt x="673" y="364"/>
                </a:lnTo>
                <a:lnTo>
                  <a:pt x="668" y="364"/>
                </a:lnTo>
                <a:lnTo>
                  <a:pt x="667" y="364"/>
                </a:lnTo>
                <a:lnTo>
                  <a:pt x="666" y="360"/>
                </a:lnTo>
                <a:lnTo>
                  <a:pt x="665" y="356"/>
                </a:lnTo>
                <a:lnTo>
                  <a:pt x="652" y="352"/>
                </a:lnTo>
                <a:lnTo>
                  <a:pt x="635" y="344"/>
                </a:lnTo>
                <a:lnTo>
                  <a:pt x="709" y="210"/>
                </a:lnTo>
                <a:lnTo>
                  <a:pt x="745" y="185"/>
                </a:lnTo>
                <a:lnTo>
                  <a:pt x="773" y="181"/>
                </a:lnTo>
                <a:lnTo>
                  <a:pt x="798" y="175"/>
                </a:lnTo>
                <a:lnTo>
                  <a:pt x="820" y="169"/>
                </a:lnTo>
                <a:lnTo>
                  <a:pt x="873" y="153"/>
                </a:lnTo>
                <a:lnTo>
                  <a:pt x="901" y="102"/>
                </a:lnTo>
                <a:lnTo>
                  <a:pt x="906" y="94"/>
                </a:lnTo>
                <a:lnTo>
                  <a:pt x="909" y="87"/>
                </a:lnTo>
                <a:lnTo>
                  <a:pt x="913" y="78"/>
                </a:lnTo>
                <a:lnTo>
                  <a:pt x="925" y="59"/>
                </a:lnTo>
                <a:lnTo>
                  <a:pt x="926" y="57"/>
                </a:lnTo>
                <a:lnTo>
                  <a:pt x="911" y="57"/>
                </a:lnTo>
                <a:lnTo>
                  <a:pt x="903" y="56"/>
                </a:lnTo>
                <a:lnTo>
                  <a:pt x="902" y="42"/>
                </a:lnTo>
                <a:lnTo>
                  <a:pt x="905" y="34"/>
                </a:lnTo>
                <a:lnTo>
                  <a:pt x="911" y="33"/>
                </a:lnTo>
                <a:lnTo>
                  <a:pt x="913" y="31"/>
                </a:lnTo>
                <a:lnTo>
                  <a:pt x="923" y="19"/>
                </a:lnTo>
                <a:lnTo>
                  <a:pt x="925" y="12"/>
                </a:lnTo>
                <a:lnTo>
                  <a:pt x="930" y="0"/>
                </a:lnTo>
                <a:lnTo>
                  <a:pt x="931" y="4"/>
                </a:lnTo>
                <a:lnTo>
                  <a:pt x="936" y="8"/>
                </a:lnTo>
                <a:lnTo>
                  <a:pt x="950" y="7"/>
                </a:lnTo>
                <a:lnTo>
                  <a:pt x="972" y="20"/>
                </a:lnTo>
                <a:lnTo>
                  <a:pt x="976" y="27"/>
                </a:lnTo>
                <a:lnTo>
                  <a:pt x="977" y="33"/>
                </a:lnTo>
                <a:lnTo>
                  <a:pt x="981" y="39"/>
                </a:lnTo>
                <a:lnTo>
                  <a:pt x="990" y="42"/>
                </a:lnTo>
                <a:lnTo>
                  <a:pt x="997" y="57"/>
                </a:lnTo>
                <a:lnTo>
                  <a:pt x="1008" y="65"/>
                </a:lnTo>
                <a:lnTo>
                  <a:pt x="1036" y="78"/>
                </a:lnTo>
                <a:lnTo>
                  <a:pt x="1050" y="78"/>
                </a:lnTo>
                <a:lnTo>
                  <a:pt x="1068" y="82"/>
                </a:lnTo>
                <a:lnTo>
                  <a:pt x="1077" y="83"/>
                </a:lnTo>
                <a:lnTo>
                  <a:pt x="1090" y="91"/>
                </a:lnTo>
                <a:lnTo>
                  <a:pt x="1112" y="94"/>
                </a:lnTo>
                <a:lnTo>
                  <a:pt x="1121" y="102"/>
                </a:lnTo>
                <a:lnTo>
                  <a:pt x="1129" y="106"/>
                </a:lnTo>
                <a:lnTo>
                  <a:pt x="1135" y="112"/>
                </a:lnTo>
                <a:lnTo>
                  <a:pt x="1144" y="114"/>
                </a:lnTo>
                <a:lnTo>
                  <a:pt x="1146" y="119"/>
                </a:lnTo>
                <a:lnTo>
                  <a:pt x="1144" y="124"/>
                </a:lnTo>
                <a:lnTo>
                  <a:pt x="1146" y="128"/>
                </a:lnTo>
                <a:lnTo>
                  <a:pt x="1147" y="143"/>
                </a:lnTo>
                <a:lnTo>
                  <a:pt x="1150" y="146"/>
                </a:lnTo>
                <a:lnTo>
                  <a:pt x="1157" y="150"/>
                </a:lnTo>
                <a:lnTo>
                  <a:pt x="1160" y="153"/>
                </a:lnTo>
                <a:lnTo>
                  <a:pt x="1166" y="158"/>
                </a:lnTo>
                <a:lnTo>
                  <a:pt x="1173" y="171"/>
                </a:lnTo>
                <a:lnTo>
                  <a:pt x="1180" y="175"/>
                </a:lnTo>
                <a:lnTo>
                  <a:pt x="1182" y="181"/>
                </a:lnTo>
                <a:lnTo>
                  <a:pt x="1180" y="187"/>
                </a:lnTo>
                <a:lnTo>
                  <a:pt x="1182" y="190"/>
                </a:lnTo>
                <a:lnTo>
                  <a:pt x="1193" y="191"/>
                </a:lnTo>
                <a:lnTo>
                  <a:pt x="1210" y="202"/>
                </a:lnTo>
                <a:lnTo>
                  <a:pt x="1215" y="207"/>
                </a:lnTo>
                <a:lnTo>
                  <a:pt x="1216" y="211"/>
                </a:lnTo>
                <a:lnTo>
                  <a:pt x="1218" y="225"/>
                </a:lnTo>
                <a:lnTo>
                  <a:pt x="1212" y="239"/>
                </a:lnTo>
                <a:lnTo>
                  <a:pt x="1212" y="244"/>
                </a:lnTo>
                <a:lnTo>
                  <a:pt x="1214" y="248"/>
                </a:lnTo>
                <a:lnTo>
                  <a:pt x="1219" y="252"/>
                </a:lnTo>
                <a:lnTo>
                  <a:pt x="1222" y="258"/>
                </a:lnTo>
                <a:lnTo>
                  <a:pt x="1229" y="262"/>
                </a:lnTo>
                <a:lnTo>
                  <a:pt x="1232" y="266"/>
                </a:lnTo>
                <a:lnTo>
                  <a:pt x="1229" y="281"/>
                </a:lnTo>
                <a:lnTo>
                  <a:pt x="1230" y="287"/>
                </a:lnTo>
                <a:lnTo>
                  <a:pt x="1235" y="293"/>
                </a:lnTo>
                <a:lnTo>
                  <a:pt x="1243" y="300"/>
                </a:lnTo>
                <a:lnTo>
                  <a:pt x="1246" y="305"/>
                </a:lnTo>
                <a:lnTo>
                  <a:pt x="1246" y="310"/>
                </a:lnTo>
                <a:lnTo>
                  <a:pt x="1243" y="325"/>
                </a:lnTo>
                <a:lnTo>
                  <a:pt x="1243" y="332"/>
                </a:lnTo>
                <a:lnTo>
                  <a:pt x="1264" y="356"/>
                </a:lnTo>
                <a:lnTo>
                  <a:pt x="1269" y="372"/>
                </a:lnTo>
                <a:lnTo>
                  <a:pt x="1280" y="382"/>
                </a:lnTo>
                <a:lnTo>
                  <a:pt x="1282" y="386"/>
                </a:lnTo>
                <a:lnTo>
                  <a:pt x="1282" y="399"/>
                </a:lnTo>
                <a:lnTo>
                  <a:pt x="1286" y="423"/>
                </a:lnTo>
                <a:lnTo>
                  <a:pt x="1289" y="434"/>
                </a:lnTo>
                <a:lnTo>
                  <a:pt x="1297" y="447"/>
                </a:lnTo>
                <a:lnTo>
                  <a:pt x="1300" y="454"/>
                </a:lnTo>
                <a:lnTo>
                  <a:pt x="1302" y="461"/>
                </a:lnTo>
                <a:lnTo>
                  <a:pt x="1308" y="468"/>
                </a:lnTo>
                <a:lnTo>
                  <a:pt x="1312" y="469"/>
                </a:lnTo>
                <a:lnTo>
                  <a:pt x="1328" y="471"/>
                </a:lnTo>
                <a:lnTo>
                  <a:pt x="1333" y="476"/>
                </a:lnTo>
                <a:lnTo>
                  <a:pt x="1340" y="492"/>
                </a:lnTo>
                <a:lnTo>
                  <a:pt x="1346" y="501"/>
                </a:lnTo>
                <a:lnTo>
                  <a:pt x="1347" y="505"/>
                </a:lnTo>
                <a:lnTo>
                  <a:pt x="1349" y="529"/>
                </a:lnTo>
                <a:lnTo>
                  <a:pt x="1354" y="536"/>
                </a:lnTo>
                <a:lnTo>
                  <a:pt x="1357" y="541"/>
                </a:lnTo>
                <a:lnTo>
                  <a:pt x="1374" y="555"/>
                </a:lnTo>
                <a:lnTo>
                  <a:pt x="1378" y="563"/>
                </a:lnTo>
                <a:lnTo>
                  <a:pt x="1382" y="572"/>
                </a:lnTo>
                <a:lnTo>
                  <a:pt x="1381" y="578"/>
                </a:lnTo>
                <a:lnTo>
                  <a:pt x="1378" y="584"/>
                </a:lnTo>
                <a:lnTo>
                  <a:pt x="1381" y="592"/>
                </a:lnTo>
                <a:lnTo>
                  <a:pt x="1390" y="606"/>
                </a:lnTo>
                <a:lnTo>
                  <a:pt x="1395" y="609"/>
                </a:lnTo>
                <a:lnTo>
                  <a:pt x="1414" y="614"/>
                </a:lnTo>
                <a:lnTo>
                  <a:pt x="1417" y="618"/>
                </a:lnTo>
                <a:lnTo>
                  <a:pt x="1418" y="621"/>
                </a:lnTo>
                <a:lnTo>
                  <a:pt x="1424" y="639"/>
                </a:lnTo>
                <a:lnTo>
                  <a:pt x="1426" y="645"/>
                </a:lnTo>
                <a:lnTo>
                  <a:pt x="1431" y="648"/>
                </a:lnTo>
                <a:lnTo>
                  <a:pt x="1437" y="653"/>
                </a:lnTo>
                <a:lnTo>
                  <a:pt x="1445" y="658"/>
                </a:lnTo>
                <a:lnTo>
                  <a:pt x="1446" y="663"/>
                </a:lnTo>
                <a:lnTo>
                  <a:pt x="1446" y="667"/>
                </a:lnTo>
                <a:lnTo>
                  <a:pt x="1440" y="679"/>
                </a:lnTo>
                <a:lnTo>
                  <a:pt x="1442" y="689"/>
                </a:lnTo>
                <a:lnTo>
                  <a:pt x="1465" y="708"/>
                </a:lnTo>
                <a:lnTo>
                  <a:pt x="1475" y="712"/>
                </a:lnTo>
                <a:lnTo>
                  <a:pt x="1487" y="718"/>
                </a:lnTo>
                <a:lnTo>
                  <a:pt x="1492" y="718"/>
                </a:lnTo>
                <a:lnTo>
                  <a:pt x="1497" y="712"/>
                </a:lnTo>
                <a:lnTo>
                  <a:pt x="1504" y="710"/>
                </a:lnTo>
                <a:lnTo>
                  <a:pt x="1510" y="712"/>
                </a:lnTo>
                <a:lnTo>
                  <a:pt x="1515" y="714"/>
                </a:lnTo>
                <a:lnTo>
                  <a:pt x="1526" y="722"/>
                </a:lnTo>
                <a:lnTo>
                  <a:pt x="1534" y="724"/>
                </a:lnTo>
                <a:lnTo>
                  <a:pt x="1551" y="726"/>
                </a:lnTo>
                <a:lnTo>
                  <a:pt x="1557" y="722"/>
                </a:lnTo>
                <a:lnTo>
                  <a:pt x="1564" y="718"/>
                </a:lnTo>
                <a:lnTo>
                  <a:pt x="1571" y="718"/>
                </a:lnTo>
                <a:lnTo>
                  <a:pt x="1575" y="720"/>
                </a:lnTo>
                <a:lnTo>
                  <a:pt x="1578" y="722"/>
                </a:lnTo>
                <a:lnTo>
                  <a:pt x="1584" y="733"/>
                </a:lnTo>
                <a:lnTo>
                  <a:pt x="1593" y="753"/>
                </a:lnTo>
                <a:lnTo>
                  <a:pt x="1595" y="760"/>
                </a:lnTo>
                <a:lnTo>
                  <a:pt x="1595" y="767"/>
                </a:lnTo>
                <a:lnTo>
                  <a:pt x="1587" y="778"/>
                </a:lnTo>
                <a:lnTo>
                  <a:pt x="1589" y="787"/>
                </a:lnTo>
                <a:lnTo>
                  <a:pt x="1592" y="794"/>
                </a:lnTo>
                <a:lnTo>
                  <a:pt x="1599" y="799"/>
                </a:lnTo>
                <a:lnTo>
                  <a:pt x="1610" y="800"/>
                </a:lnTo>
                <a:lnTo>
                  <a:pt x="1614" y="801"/>
                </a:lnTo>
                <a:lnTo>
                  <a:pt x="1618" y="813"/>
                </a:lnTo>
                <a:lnTo>
                  <a:pt x="1621" y="813"/>
                </a:lnTo>
                <a:lnTo>
                  <a:pt x="1636" y="817"/>
                </a:lnTo>
                <a:lnTo>
                  <a:pt x="1641" y="821"/>
                </a:lnTo>
                <a:lnTo>
                  <a:pt x="1649" y="830"/>
                </a:lnTo>
                <a:lnTo>
                  <a:pt x="1657" y="836"/>
                </a:lnTo>
                <a:lnTo>
                  <a:pt x="1659" y="844"/>
                </a:lnTo>
                <a:lnTo>
                  <a:pt x="1657" y="850"/>
                </a:lnTo>
                <a:lnTo>
                  <a:pt x="1667" y="875"/>
                </a:lnTo>
                <a:lnTo>
                  <a:pt x="1669" y="883"/>
                </a:lnTo>
                <a:lnTo>
                  <a:pt x="1670" y="884"/>
                </a:lnTo>
                <a:lnTo>
                  <a:pt x="1666" y="894"/>
                </a:lnTo>
                <a:lnTo>
                  <a:pt x="1664" y="899"/>
                </a:lnTo>
                <a:lnTo>
                  <a:pt x="1663" y="903"/>
                </a:lnTo>
                <a:lnTo>
                  <a:pt x="1659" y="907"/>
                </a:lnTo>
                <a:lnTo>
                  <a:pt x="1659" y="911"/>
                </a:lnTo>
                <a:lnTo>
                  <a:pt x="1660" y="913"/>
                </a:lnTo>
                <a:lnTo>
                  <a:pt x="1674" y="921"/>
                </a:lnTo>
                <a:lnTo>
                  <a:pt x="1677" y="925"/>
                </a:lnTo>
                <a:lnTo>
                  <a:pt x="1677" y="932"/>
                </a:lnTo>
                <a:lnTo>
                  <a:pt x="1678" y="936"/>
                </a:lnTo>
                <a:lnTo>
                  <a:pt x="1689" y="938"/>
                </a:lnTo>
                <a:lnTo>
                  <a:pt x="1691" y="940"/>
                </a:lnTo>
                <a:lnTo>
                  <a:pt x="1692" y="948"/>
                </a:lnTo>
                <a:lnTo>
                  <a:pt x="1716" y="962"/>
                </a:lnTo>
                <a:lnTo>
                  <a:pt x="1739" y="970"/>
                </a:lnTo>
                <a:lnTo>
                  <a:pt x="1746" y="970"/>
                </a:lnTo>
                <a:lnTo>
                  <a:pt x="1755" y="969"/>
                </a:lnTo>
                <a:lnTo>
                  <a:pt x="1760" y="969"/>
                </a:lnTo>
                <a:lnTo>
                  <a:pt x="1764" y="974"/>
                </a:lnTo>
                <a:lnTo>
                  <a:pt x="1769" y="982"/>
                </a:lnTo>
                <a:lnTo>
                  <a:pt x="1773" y="986"/>
                </a:lnTo>
                <a:lnTo>
                  <a:pt x="1784" y="987"/>
                </a:lnTo>
                <a:lnTo>
                  <a:pt x="1803" y="987"/>
                </a:lnTo>
                <a:lnTo>
                  <a:pt x="1825" y="995"/>
                </a:lnTo>
                <a:lnTo>
                  <a:pt x="1846" y="996"/>
                </a:lnTo>
                <a:lnTo>
                  <a:pt x="1866" y="1000"/>
                </a:lnTo>
                <a:lnTo>
                  <a:pt x="1875" y="1007"/>
                </a:lnTo>
                <a:lnTo>
                  <a:pt x="1883" y="1013"/>
                </a:lnTo>
                <a:lnTo>
                  <a:pt x="1892" y="1018"/>
                </a:lnTo>
                <a:lnTo>
                  <a:pt x="1905" y="1027"/>
                </a:lnTo>
                <a:lnTo>
                  <a:pt x="1923" y="1031"/>
                </a:lnTo>
                <a:lnTo>
                  <a:pt x="1928" y="1035"/>
                </a:lnTo>
                <a:lnTo>
                  <a:pt x="1942" y="1048"/>
                </a:lnTo>
                <a:lnTo>
                  <a:pt x="1956" y="1049"/>
                </a:lnTo>
                <a:lnTo>
                  <a:pt x="1962" y="1053"/>
                </a:lnTo>
                <a:lnTo>
                  <a:pt x="1970" y="1060"/>
                </a:lnTo>
                <a:lnTo>
                  <a:pt x="1980" y="1070"/>
                </a:lnTo>
                <a:lnTo>
                  <a:pt x="1980" y="1075"/>
                </a:lnTo>
                <a:lnTo>
                  <a:pt x="1977" y="1086"/>
                </a:lnTo>
                <a:lnTo>
                  <a:pt x="1977" y="1093"/>
                </a:lnTo>
                <a:lnTo>
                  <a:pt x="1981" y="1107"/>
                </a:lnTo>
                <a:lnTo>
                  <a:pt x="1987" y="1115"/>
                </a:lnTo>
                <a:lnTo>
                  <a:pt x="2001" y="1124"/>
                </a:lnTo>
                <a:lnTo>
                  <a:pt x="2010" y="1135"/>
                </a:lnTo>
                <a:lnTo>
                  <a:pt x="2012" y="1139"/>
                </a:lnTo>
                <a:lnTo>
                  <a:pt x="2012" y="1153"/>
                </a:lnTo>
                <a:lnTo>
                  <a:pt x="2015" y="1161"/>
                </a:lnTo>
                <a:lnTo>
                  <a:pt x="2019" y="1165"/>
                </a:lnTo>
                <a:lnTo>
                  <a:pt x="2021" y="1169"/>
                </a:lnTo>
                <a:lnTo>
                  <a:pt x="2038" y="1169"/>
                </a:lnTo>
                <a:lnTo>
                  <a:pt x="2049" y="1175"/>
                </a:lnTo>
                <a:lnTo>
                  <a:pt x="2058" y="1182"/>
                </a:lnTo>
                <a:lnTo>
                  <a:pt x="2063" y="1187"/>
                </a:lnTo>
                <a:lnTo>
                  <a:pt x="2066" y="1198"/>
                </a:lnTo>
                <a:lnTo>
                  <a:pt x="2070" y="1199"/>
                </a:lnTo>
                <a:lnTo>
                  <a:pt x="2080" y="1201"/>
                </a:lnTo>
                <a:lnTo>
                  <a:pt x="2088" y="1206"/>
                </a:lnTo>
                <a:lnTo>
                  <a:pt x="2095" y="1209"/>
                </a:lnTo>
                <a:lnTo>
                  <a:pt x="2101" y="1214"/>
                </a:lnTo>
                <a:lnTo>
                  <a:pt x="2102" y="1219"/>
                </a:lnTo>
                <a:lnTo>
                  <a:pt x="2110" y="1224"/>
                </a:lnTo>
                <a:lnTo>
                  <a:pt x="2115" y="1231"/>
                </a:lnTo>
                <a:lnTo>
                  <a:pt x="2121" y="1244"/>
                </a:lnTo>
                <a:lnTo>
                  <a:pt x="2138" y="1247"/>
                </a:lnTo>
                <a:lnTo>
                  <a:pt x="2149" y="1259"/>
                </a:lnTo>
                <a:lnTo>
                  <a:pt x="2162" y="1262"/>
                </a:lnTo>
                <a:lnTo>
                  <a:pt x="2174" y="1299"/>
                </a:lnTo>
                <a:lnTo>
                  <a:pt x="2177" y="1303"/>
                </a:lnTo>
                <a:lnTo>
                  <a:pt x="2184" y="1315"/>
                </a:lnTo>
                <a:lnTo>
                  <a:pt x="2195" y="1340"/>
                </a:lnTo>
                <a:lnTo>
                  <a:pt x="2198" y="1355"/>
                </a:lnTo>
                <a:lnTo>
                  <a:pt x="2206" y="1373"/>
                </a:lnTo>
                <a:lnTo>
                  <a:pt x="2206" y="1377"/>
                </a:lnTo>
                <a:lnTo>
                  <a:pt x="2204" y="1381"/>
                </a:lnTo>
                <a:lnTo>
                  <a:pt x="2202" y="1388"/>
                </a:lnTo>
                <a:lnTo>
                  <a:pt x="2214" y="1401"/>
                </a:lnTo>
                <a:lnTo>
                  <a:pt x="2215" y="1405"/>
                </a:lnTo>
                <a:lnTo>
                  <a:pt x="2214" y="1411"/>
                </a:lnTo>
                <a:lnTo>
                  <a:pt x="2215" y="1418"/>
                </a:lnTo>
                <a:lnTo>
                  <a:pt x="2212" y="1422"/>
                </a:lnTo>
                <a:lnTo>
                  <a:pt x="2215" y="1431"/>
                </a:lnTo>
                <a:lnTo>
                  <a:pt x="2211" y="1438"/>
                </a:lnTo>
                <a:lnTo>
                  <a:pt x="2214" y="1440"/>
                </a:lnTo>
                <a:lnTo>
                  <a:pt x="2225" y="1438"/>
                </a:lnTo>
                <a:lnTo>
                  <a:pt x="2228" y="1442"/>
                </a:lnTo>
                <a:lnTo>
                  <a:pt x="2225" y="1446"/>
                </a:lnTo>
                <a:lnTo>
                  <a:pt x="2220" y="1448"/>
                </a:lnTo>
                <a:lnTo>
                  <a:pt x="2202" y="1448"/>
                </a:lnTo>
                <a:lnTo>
                  <a:pt x="2200" y="1453"/>
                </a:lnTo>
                <a:lnTo>
                  <a:pt x="2204" y="1459"/>
                </a:lnTo>
                <a:lnTo>
                  <a:pt x="2204" y="1460"/>
                </a:lnTo>
                <a:lnTo>
                  <a:pt x="2187" y="1464"/>
                </a:lnTo>
                <a:lnTo>
                  <a:pt x="2183" y="1468"/>
                </a:lnTo>
                <a:lnTo>
                  <a:pt x="2181" y="1471"/>
                </a:lnTo>
                <a:lnTo>
                  <a:pt x="2181" y="1476"/>
                </a:lnTo>
                <a:lnTo>
                  <a:pt x="2188" y="1483"/>
                </a:lnTo>
                <a:lnTo>
                  <a:pt x="2191" y="1495"/>
                </a:lnTo>
                <a:lnTo>
                  <a:pt x="2190" y="1501"/>
                </a:lnTo>
                <a:lnTo>
                  <a:pt x="2184" y="1509"/>
                </a:lnTo>
                <a:lnTo>
                  <a:pt x="2184" y="1517"/>
                </a:lnTo>
                <a:lnTo>
                  <a:pt x="2187" y="1520"/>
                </a:lnTo>
                <a:lnTo>
                  <a:pt x="2194" y="1525"/>
                </a:lnTo>
                <a:lnTo>
                  <a:pt x="2195" y="1529"/>
                </a:lnTo>
                <a:lnTo>
                  <a:pt x="2194" y="1532"/>
                </a:lnTo>
                <a:lnTo>
                  <a:pt x="2193" y="1532"/>
                </a:lnTo>
                <a:lnTo>
                  <a:pt x="2177" y="1532"/>
                </a:lnTo>
                <a:lnTo>
                  <a:pt x="2176" y="1539"/>
                </a:lnTo>
                <a:lnTo>
                  <a:pt x="2176" y="1543"/>
                </a:lnTo>
                <a:lnTo>
                  <a:pt x="2184" y="1546"/>
                </a:lnTo>
                <a:lnTo>
                  <a:pt x="2188" y="1551"/>
                </a:lnTo>
                <a:lnTo>
                  <a:pt x="2191" y="1551"/>
                </a:lnTo>
                <a:lnTo>
                  <a:pt x="2202" y="1543"/>
                </a:lnTo>
                <a:lnTo>
                  <a:pt x="2209" y="1542"/>
                </a:lnTo>
                <a:lnTo>
                  <a:pt x="2219" y="1543"/>
                </a:lnTo>
                <a:lnTo>
                  <a:pt x="2220" y="1546"/>
                </a:lnTo>
                <a:lnTo>
                  <a:pt x="2222" y="1554"/>
                </a:lnTo>
                <a:lnTo>
                  <a:pt x="2225" y="1558"/>
                </a:lnTo>
                <a:lnTo>
                  <a:pt x="2228" y="1558"/>
                </a:lnTo>
                <a:lnTo>
                  <a:pt x="2231" y="1552"/>
                </a:lnTo>
                <a:lnTo>
                  <a:pt x="2234" y="1552"/>
                </a:lnTo>
                <a:lnTo>
                  <a:pt x="2239" y="1564"/>
                </a:lnTo>
                <a:lnTo>
                  <a:pt x="2243" y="1570"/>
                </a:lnTo>
                <a:lnTo>
                  <a:pt x="2251" y="1576"/>
                </a:lnTo>
                <a:lnTo>
                  <a:pt x="2254" y="1583"/>
                </a:lnTo>
                <a:lnTo>
                  <a:pt x="2253" y="1584"/>
                </a:lnTo>
                <a:lnTo>
                  <a:pt x="2250" y="1587"/>
                </a:lnTo>
                <a:close/>
                <a:moveTo>
                  <a:pt x="1271" y="3107"/>
                </a:moveTo>
                <a:lnTo>
                  <a:pt x="1271" y="3111"/>
                </a:lnTo>
                <a:lnTo>
                  <a:pt x="1265" y="3111"/>
                </a:lnTo>
                <a:lnTo>
                  <a:pt x="1264" y="3110"/>
                </a:lnTo>
                <a:lnTo>
                  <a:pt x="1264" y="3107"/>
                </a:lnTo>
                <a:lnTo>
                  <a:pt x="1261" y="3110"/>
                </a:lnTo>
                <a:lnTo>
                  <a:pt x="1250" y="3111"/>
                </a:lnTo>
                <a:lnTo>
                  <a:pt x="1233" y="3118"/>
                </a:lnTo>
                <a:lnTo>
                  <a:pt x="1227" y="3115"/>
                </a:lnTo>
                <a:lnTo>
                  <a:pt x="1226" y="3115"/>
                </a:lnTo>
                <a:lnTo>
                  <a:pt x="1226" y="3114"/>
                </a:lnTo>
                <a:lnTo>
                  <a:pt x="1230" y="3105"/>
                </a:lnTo>
                <a:lnTo>
                  <a:pt x="1229" y="3097"/>
                </a:lnTo>
                <a:lnTo>
                  <a:pt x="1222" y="3089"/>
                </a:lnTo>
                <a:lnTo>
                  <a:pt x="1212" y="3085"/>
                </a:lnTo>
                <a:lnTo>
                  <a:pt x="1208" y="3075"/>
                </a:lnTo>
                <a:lnTo>
                  <a:pt x="1208" y="3070"/>
                </a:lnTo>
                <a:lnTo>
                  <a:pt x="1210" y="3069"/>
                </a:lnTo>
                <a:lnTo>
                  <a:pt x="1211" y="3069"/>
                </a:lnTo>
                <a:lnTo>
                  <a:pt x="1227" y="3080"/>
                </a:lnTo>
                <a:lnTo>
                  <a:pt x="1232" y="3080"/>
                </a:lnTo>
                <a:lnTo>
                  <a:pt x="1239" y="3078"/>
                </a:lnTo>
                <a:lnTo>
                  <a:pt x="1241" y="3080"/>
                </a:lnTo>
                <a:lnTo>
                  <a:pt x="1247" y="3085"/>
                </a:lnTo>
                <a:lnTo>
                  <a:pt x="1249" y="3085"/>
                </a:lnTo>
                <a:lnTo>
                  <a:pt x="1257" y="3092"/>
                </a:lnTo>
                <a:lnTo>
                  <a:pt x="1255" y="3095"/>
                </a:lnTo>
                <a:lnTo>
                  <a:pt x="1258" y="3098"/>
                </a:lnTo>
                <a:lnTo>
                  <a:pt x="1258" y="3101"/>
                </a:lnTo>
                <a:lnTo>
                  <a:pt x="1254" y="3103"/>
                </a:lnTo>
                <a:lnTo>
                  <a:pt x="1258" y="3103"/>
                </a:lnTo>
                <a:lnTo>
                  <a:pt x="1262" y="3098"/>
                </a:lnTo>
                <a:lnTo>
                  <a:pt x="1271" y="3107"/>
                </a:lnTo>
                <a:close/>
                <a:moveTo>
                  <a:pt x="1105" y="2375"/>
                </a:moveTo>
                <a:lnTo>
                  <a:pt x="1102" y="2375"/>
                </a:lnTo>
                <a:lnTo>
                  <a:pt x="1098" y="2374"/>
                </a:lnTo>
                <a:lnTo>
                  <a:pt x="1100" y="2375"/>
                </a:lnTo>
                <a:lnTo>
                  <a:pt x="1077" y="2371"/>
                </a:lnTo>
                <a:lnTo>
                  <a:pt x="1069" y="2367"/>
                </a:lnTo>
                <a:lnTo>
                  <a:pt x="1066" y="2367"/>
                </a:lnTo>
                <a:lnTo>
                  <a:pt x="1066" y="2363"/>
                </a:lnTo>
                <a:lnTo>
                  <a:pt x="1076" y="2359"/>
                </a:lnTo>
                <a:lnTo>
                  <a:pt x="1082" y="2359"/>
                </a:lnTo>
                <a:lnTo>
                  <a:pt x="1087" y="2363"/>
                </a:lnTo>
                <a:lnTo>
                  <a:pt x="1098" y="2367"/>
                </a:lnTo>
                <a:lnTo>
                  <a:pt x="1105" y="2375"/>
                </a:lnTo>
                <a:close/>
                <a:moveTo>
                  <a:pt x="1040" y="2363"/>
                </a:moveTo>
                <a:lnTo>
                  <a:pt x="1030" y="2355"/>
                </a:lnTo>
                <a:lnTo>
                  <a:pt x="1027" y="2351"/>
                </a:lnTo>
                <a:lnTo>
                  <a:pt x="1027" y="2345"/>
                </a:lnTo>
                <a:lnTo>
                  <a:pt x="1036" y="2345"/>
                </a:lnTo>
                <a:lnTo>
                  <a:pt x="1034" y="2354"/>
                </a:lnTo>
                <a:lnTo>
                  <a:pt x="1036" y="2358"/>
                </a:lnTo>
                <a:lnTo>
                  <a:pt x="1041" y="2363"/>
                </a:lnTo>
                <a:lnTo>
                  <a:pt x="1040" y="2363"/>
                </a:lnTo>
                <a:close/>
                <a:moveTo>
                  <a:pt x="1063" y="2719"/>
                </a:moveTo>
                <a:lnTo>
                  <a:pt x="1063" y="2723"/>
                </a:lnTo>
                <a:lnTo>
                  <a:pt x="1061" y="2723"/>
                </a:lnTo>
                <a:lnTo>
                  <a:pt x="1055" y="2719"/>
                </a:lnTo>
                <a:lnTo>
                  <a:pt x="1048" y="2721"/>
                </a:lnTo>
                <a:lnTo>
                  <a:pt x="1045" y="2719"/>
                </a:lnTo>
                <a:lnTo>
                  <a:pt x="1052" y="2711"/>
                </a:lnTo>
                <a:lnTo>
                  <a:pt x="1055" y="2711"/>
                </a:lnTo>
                <a:lnTo>
                  <a:pt x="1063" y="2719"/>
                </a:lnTo>
                <a:close/>
                <a:moveTo>
                  <a:pt x="1113" y="2400"/>
                </a:moveTo>
                <a:lnTo>
                  <a:pt x="1112" y="2400"/>
                </a:lnTo>
                <a:lnTo>
                  <a:pt x="1102" y="2388"/>
                </a:lnTo>
                <a:lnTo>
                  <a:pt x="1101" y="2384"/>
                </a:lnTo>
                <a:lnTo>
                  <a:pt x="1102" y="2381"/>
                </a:lnTo>
                <a:lnTo>
                  <a:pt x="1104" y="2384"/>
                </a:lnTo>
                <a:lnTo>
                  <a:pt x="1105" y="2384"/>
                </a:lnTo>
                <a:lnTo>
                  <a:pt x="1108" y="2384"/>
                </a:lnTo>
                <a:lnTo>
                  <a:pt x="1111" y="2388"/>
                </a:lnTo>
                <a:lnTo>
                  <a:pt x="1112" y="2396"/>
                </a:lnTo>
                <a:lnTo>
                  <a:pt x="1113" y="2400"/>
                </a:lnTo>
                <a:close/>
                <a:moveTo>
                  <a:pt x="1129" y="2395"/>
                </a:moveTo>
                <a:lnTo>
                  <a:pt x="1130" y="2397"/>
                </a:lnTo>
                <a:lnTo>
                  <a:pt x="1127" y="2399"/>
                </a:lnTo>
                <a:lnTo>
                  <a:pt x="1129" y="2400"/>
                </a:lnTo>
                <a:lnTo>
                  <a:pt x="1127" y="2400"/>
                </a:lnTo>
                <a:lnTo>
                  <a:pt x="1125" y="2400"/>
                </a:lnTo>
                <a:lnTo>
                  <a:pt x="1122" y="2396"/>
                </a:lnTo>
                <a:lnTo>
                  <a:pt x="1121" y="2396"/>
                </a:lnTo>
                <a:lnTo>
                  <a:pt x="1121" y="2392"/>
                </a:lnTo>
                <a:lnTo>
                  <a:pt x="1118" y="2389"/>
                </a:lnTo>
                <a:lnTo>
                  <a:pt x="1116" y="2389"/>
                </a:lnTo>
                <a:lnTo>
                  <a:pt x="1115" y="2389"/>
                </a:lnTo>
                <a:lnTo>
                  <a:pt x="1118" y="2396"/>
                </a:lnTo>
                <a:lnTo>
                  <a:pt x="1116" y="2397"/>
                </a:lnTo>
                <a:lnTo>
                  <a:pt x="1118" y="2400"/>
                </a:lnTo>
                <a:lnTo>
                  <a:pt x="1116" y="2400"/>
                </a:lnTo>
                <a:lnTo>
                  <a:pt x="1115" y="2389"/>
                </a:lnTo>
                <a:lnTo>
                  <a:pt x="1116" y="2388"/>
                </a:lnTo>
                <a:lnTo>
                  <a:pt x="1118" y="2388"/>
                </a:lnTo>
                <a:lnTo>
                  <a:pt x="1125" y="2392"/>
                </a:lnTo>
                <a:lnTo>
                  <a:pt x="1129" y="2395"/>
                </a:lnTo>
                <a:close/>
                <a:moveTo>
                  <a:pt x="1042" y="2347"/>
                </a:moveTo>
                <a:lnTo>
                  <a:pt x="1041" y="2358"/>
                </a:lnTo>
                <a:lnTo>
                  <a:pt x="1037" y="2355"/>
                </a:lnTo>
                <a:lnTo>
                  <a:pt x="1037" y="2350"/>
                </a:lnTo>
                <a:lnTo>
                  <a:pt x="1041" y="2340"/>
                </a:lnTo>
                <a:lnTo>
                  <a:pt x="1042" y="2347"/>
                </a:lnTo>
                <a:close/>
                <a:moveTo>
                  <a:pt x="1108" y="2475"/>
                </a:moveTo>
                <a:lnTo>
                  <a:pt x="1105" y="2479"/>
                </a:lnTo>
                <a:lnTo>
                  <a:pt x="1097" y="2477"/>
                </a:lnTo>
                <a:lnTo>
                  <a:pt x="1096" y="2475"/>
                </a:lnTo>
                <a:lnTo>
                  <a:pt x="1098" y="2474"/>
                </a:lnTo>
                <a:lnTo>
                  <a:pt x="1102" y="2471"/>
                </a:lnTo>
                <a:lnTo>
                  <a:pt x="1104" y="2470"/>
                </a:lnTo>
                <a:lnTo>
                  <a:pt x="1105" y="2470"/>
                </a:lnTo>
                <a:lnTo>
                  <a:pt x="1105" y="2471"/>
                </a:lnTo>
                <a:lnTo>
                  <a:pt x="1108" y="2475"/>
                </a:lnTo>
                <a:close/>
                <a:moveTo>
                  <a:pt x="1058" y="2377"/>
                </a:moveTo>
                <a:lnTo>
                  <a:pt x="1054" y="2377"/>
                </a:lnTo>
                <a:lnTo>
                  <a:pt x="1050" y="2376"/>
                </a:lnTo>
                <a:lnTo>
                  <a:pt x="1048" y="2375"/>
                </a:lnTo>
                <a:lnTo>
                  <a:pt x="1040" y="2365"/>
                </a:lnTo>
                <a:lnTo>
                  <a:pt x="1042" y="2363"/>
                </a:lnTo>
                <a:lnTo>
                  <a:pt x="1051" y="2372"/>
                </a:lnTo>
                <a:lnTo>
                  <a:pt x="1058" y="2377"/>
                </a:lnTo>
                <a:close/>
                <a:moveTo>
                  <a:pt x="1040" y="3009"/>
                </a:moveTo>
                <a:lnTo>
                  <a:pt x="1040" y="3011"/>
                </a:lnTo>
                <a:lnTo>
                  <a:pt x="1036" y="3018"/>
                </a:lnTo>
                <a:lnTo>
                  <a:pt x="1034" y="3022"/>
                </a:lnTo>
                <a:lnTo>
                  <a:pt x="1033" y="3022"/>
                </a:lnTo>
                <a:lnTo>
                  <a:pt x="1031" y="3022"/>
                </a:lnTo>
                <a:lnTo>
                  <a:pt x="1033" y="3018"/>
                </a:lnTo>
                <a:lnTo>
                  <a:pt x="1037" y="3009"/>
                </a:lnTo>
                <a:lnTo>
                  <a:pt x="1038" y="3007"/>
                </a:lnTo>
                <a:lnTo>
                  <a:pt x="1040" y="3009"/>
                </a:lnTo>
                <a:close/>
                <a:moveTo>
                  <a:pt x="1255" y="3118"/>
                </a:moveTo>
                <a:lnTo>
                  <a:pt x="1257" y="3120"/>
                </a:lnTo>
                <a:lnTo>
                  <a:pt x="1255" y="3122"/>
                </a:lnTo>
                <a:lnTo>
                  <a:pt x="1244" y="3123"/>
                </a:lnTo>
                <a:lnTo>
                  <a:pt x="1244" y="3122"/>
                </a:lnTo>
                <a:lnTo>
                  <a:pt x="1246" y="3122"/>
                </a:lnTo>
                <a:lnTo>
                  <a:pt x="1251" y="3118"/>
                </a:lnTo>
                <a:lnTo>
                  <a:pt x="1255" y="3118"/>
                </a:lnTo>
                <a:close/>
                <a:moveTo>
                  <a:pt x="1144" y="2399"/>
                </a:moveTo>
                <a:lnTo>
                  <a:pt x="1144" y="2400"/>
                </a:lnTo>
                <a:lnTo>
                  <a:pt x="1143" y="2400"/>
                </a:lnTo>
                <a:lnTo>
                  <a:pt x="1140" y="2400"/>
                </a:lnTo>
                <a:lnTo>
                  <a:pt x="1137" y="2395"/>
                </a:lnTo>
                <a:lnTo>
                  <a:pt x="1144" y="2399"/>
                </a:lnTo>
                <a:close/>
                <a:moveTo>
                  <a:pt x="1038" y="2848"/>
                </a:moveTo>
                <a:lnTo>
                  <a:pt x="1038" y="2849"/>
                </a:lnTo>
                <a:lnTo>
                  <a:pt x="1037" y="2848"/>
                </a:lnTo>
                <a:lnTo>
                  <a:pt x="1037" y="2847"/>
                </a:lnTo>
                <a:lnTo>
                  <a:pt x="1038" y="2848"/>
                </a:lnTo>
                <a:close/>
                <a:moveTo>
                  <a:pt x="1026" y="2887"/>
                </a:moveTo>
                <a:lnTo>
                  <a:pt x="1026" y="2890"/>
                </a:lnTo>
                <a:lnTo>
                  <a:pt x="1025" y="2891"/>
                </a:lnTo>
                <a:lnTo>
                  <a:pt x="1025" y="2890"/>
                </a:lnTo>
                <a:lnTo>
                  <a:pt x="1026" y="2887"/>
                </a:lnTo>
                <a:close/>
              </a:path>
            </a:pathLst>
          </a:custGeom>
          <a:solidFill>
            <a:srgbClr val="548DD4"/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</a:endParaRPr>
          </a:p>
        </p:txBody>
      </p:sp>
      <p:sp>
        <p:nvSpPr>
          <p:cNvPr id="134" name="Rectangle 133"/>
          <p:cNvSpPr>
            <a:spLocks noChangeArrowheads="1"/>
          </p:cNvSpPr>
          <p:nvPr/>
        </p:nvSpPr>
        <p:spPr bwMode="auto">
          <a:xfrm>
            <a:off x="6138172" y="2979428"/>
            <a:ext cx="26436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 err="1">
                <a:solidFill>
                  <a:srgbClr val="FFFFFF"/>
                </a:solidFill>
                <a:latin typeface="Calibri" pitchFamily="34" charset="0"/>
                <a:cs typeface="Times New Roman" pitchFamily="18" charset="0"/>
              </a:rPr>
              <a:t>Tete</a:t>
            </a:r>
            <a:endParaRPr lang="en-US" sz="1200" dirty="0">
              <a:solidFill>
                <a:srgbClr val="FFFFFF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135" name="Rectangle 134"/>
          <p:cNvSpPr>
            <a:spLocks noChangeArrowheads="1"/>
          </p:cNvSpPr>
          <p:nvPr/>
        </p:nvSpPr>
        <p:spPr bwMode="auto">
          <a:xfrm>
            <a:off x="7154698" y="3370127"/>
            <a:ext cx="59407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 err="1">
                <a:solidFill>
                  <a:srgbClr val="FFFFFF"/>
                </a:solidFill>
                <a:latin typeface="Calibri" pitchFamily="34" charset="0"/>
                <a:cs typeface="Times New Roman" pitchFamily="18" charset="0"/>
              </a:rPr>
              <a:t>Zambezia</a:t>
            </a:r>
            <a:endParaRPr lang="en-US" sz="1200" dirty="0">
              <a:solidFill>
                <a:srgbClr val="FFFFFF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136" name="Freeform 135"/>
          <p:cNvSpPr>
            <a:spLocks/>
          </p:cNvSpPr>
          <p:nvPr/>
        </p:nvSpPr>
        <p:spPr bwMode="auto">
          <a:xfrm>
            <a:off x="5821548" y="2807180"/>
            <a:ext cx="1237589" cy="956684"/>
          </a:xfrm>
          <a:custGeom>
            <a:avLst/>
            <a:gdLst>
              <a:gd name="T0" fmla="*/ 4106 w 4119"/>
              <a:gd name="T1" fmla="*/ 2864 h 2977"/>
              <a:gd name="T2" fmla="*/ 4019 w 4119"/>
              <a:gd name="T3" fmla="*/ 2963 h 2977"/>
              <a:gd name="T4" fmla="*/ 3846 w 4119"/>
              <a:gd name="T5" fmla="*/ 2712 h 2977"/>
              <a:gd name="T6" fmla="*/ 3726 w 4119"/>
              <a:gd name="T7" fmla="*/ 2432 h 2977"/>
              <a:gd name="T8" fmla="*/ 3471 w 4119"/>
              <a:gd name="T9" fmla="*/ 2248 h 2977"/>
              <a:gd name="T10" fmla="*/ 3107 w 4119"/>
              <a:gd name="T11" fmla="*/ 2106 h 2977"/>
              <a:gd name="T12" fmla="*/ 2838 w 4119"/>
              <a:gd name="T13" fmla="*/ 1932 h 2977"/>
              <a:gd name="T14" fmla="*/ 2638 w 4119"/>
              <a:gd name="T15" fmla="*/ 1993 h 2977"/>
              <a:gd name="T16" fmla="*/ 2535 w 4119"/>
              <a:gd name="T17" fmla="*/ 2164 h 2977"/>
              <a:gd name="T18" fmla="*/ 2443 w 4119"/>
              <a:gd name="T19" fmla="*/ 2315 h 2977"/>
              <a:gd name="T20" fmla="*/ 2341 w 4119"/>
              <a:gd name="T21" fmla="*/ 2472 h 2977"/>
              <a:gd name="T22" fmla="*/ 2292 w 4119"/>
              <a:gd name="T23" fmla="*/ 2621 h 2977"/>
              <a:gd name="T24" fmla="*/ 2213 w 4119"/>
              <a:gd name="T25" fmla="*/ 2218 h 2977"/>
              <a:gd name="T26" fmla="*/ 1482 w 4119"/>
              <a:gd name="T27" fmla="*/ 1964 h 2977"/>
              <a:gd name="T28" fmla="*/ 1125 w 4119"/>
              <a:gd name="T29" fmla="*/ 1764 h 2977"/>
              <a:gd name="T30" fmla="*/ 686 w 4119"/>
              <a:gd name="T31" fmla="*/ 1622 h 2977"/>
              <a:gd name="T32" fmla="*/ 141 w 4119"/>
              <a:gd name="T33" fmla="*/ 1273 h 2977"/>
              <a:gd name="T34" fmla="*/ 135 w 4119"/>
              <a:gd name="T35" fmla="*/ 1210 h 2977"/>
              <a:gd name="T36" fmla="*/ 131 w 4119"/>
              <a:gd name="T37" fmla="*/ 1143 h 2977"/>
              <a:gd name="T38" fmla="*/ 120 w 4119"/>
              <a:gd name="T39" fmla="*/ 1072 h 2977"/>
              <a:gd name="T40" fmla="*/ 73 w 4119"/>
              <a:gd name="T41" fmla="*/ 1024 h 2977"/>
              <a:gd name="T42" fmla="*/ 30 w 4119"/>
              <a:gd name="T43" fmla="*/ 980 h 2977"/>
              <a:gd name="T44" fmla="*/ 10 w 4119"/>
              <a:gd name="T45" fmla="*/ 918 h 2977"/>
              <a:gd name="T46" fmla="*/ 5 w 4119"/>
              <a:gd name="T47" fmla="*/ 850 h 2977"/>
              <a:gd name="T48" fmla="*/ 18 w 4119"/>
              <a:gd name="T49" fmla="*/ 798 h 2977"/>
              <a:gd name="T50" fmla="*/ 80 w 4119"/>
              <a:gd name="T51" fmla="*/ 783 h 2977"/>
              <a:gd name="T52" fmla="*/ 146 w 4119"/>
              <a:gd name="T53" fmla="*/ 762 h 2977"/>
              <a:gd name="T54" fmla="*/ 205 w 4119"/>
              <a:gd name="T55" fmla="*/ 734 h 2977"/>
              <a:gd name="T56" fmla="*/ 266 w 4119"/>
              <a:gd name="T57" fmla="*/ 708 h 2977"/>
              <a:gd name="T58" fmla="*/ 330 w 4119"/>
              <a:gd name="T59" fmla="*/ 684 h 2977"/>
              <a:gd name="T60" fmla="*/ 394 w 4119"/>
              <a:gd name="T61" fmla="*/ 662 h 2977"/>
              <a:gd name="T62" fmla="*/ 454 w 4119"/>
              <a:gd name="T63" fmla="*/ 637 h 2977"/>
              <a:gd name="T64" fmla="*/ 520 w 4119"/>
              <a:gd name="T65" fmla="*/ 620 h 2977"/>
              <a:gd name="T66" fmla="*/ 591 w 4119"/>
              <a:gd name="T67" fmla="*/ 604 h 2977"/>
              <a:gd name="T68" fmla="*/ 660 w 4119"/>
              <a:gd name="T69" fmla="*/ 587 h 2977"/>
              <a:gd name="T70" fmla="*/ 722 w 4119"/>
              <a:gd name="T71" fmla="*/ 570 h 2977"/>
              <a:gd name="T72" fmla="*/ 789 w 4119"/>
              <a:gd name="T73" fmla="*/ 547 h 2977"/>
              <a:gd name="T74" fmla="*/ 860 w 4119"/>
              <a:gd name="T75" fmla="*/ 530 h 2977"/>
              <a:gd name="T76" fmla="*/ 921 w 4119"/>
              <a:gd name="T77" fmla="*/ 517 h 2977"/>
              <a:gd name="T78" fmla="*/ 975 w 4119"/>
              <a:gd name="T79" fmla="*/ 506 h 2977"/>
              <a:gd name="T80" fmla="*/ 1034 w 4119"/>
              <a:gd name="T81" fmla="*/ 488 h 2977"/>
              <a:gd name="T82" fmla="*/ 1093 w 4119"/>
              <a:gd name="T83" fmla="*/ 455 h 2977"/>
              <a:gd name="T84" fmla="*/ 1159 w 4119"/>
              <a:gd name="T85" fmla="*/ 419 h 2977"/>
              <a:gd name="T86" fmla="*/ 1230 w 4119"/>
              <a:gd name="T87" fmla="*/ 401 h 2977"/>
              <a:gd name="T88" fmla="*/ 1292 w 4119"/>
              <a:gd name="T89" fmla="*/ 382 h 2977"/>
              <a:gd name="T90" fmla="*/ 1355 w 4119"/>
              <a:gd name="T91" fmla="*/ 351 h 2977"/>
              <a:gd name="T92" fmla="*/ 1413 w 4119"/>
              <a:gd name="T93" fmla="*/ 329 h 2977"/>
              <a:gd name="T94" fmla="*/ 1482 w 4119"/>
              <a:gd name="T95" fmla="*/ 312 h 2977"/>
              <a:gd name="T96" fmla="*/ 1540 w 4119"/>
              <a:gd name="T97" fmla="*/ 290 h 2977"/>
              <a:gd name="T98" fmla="*/ 1608 w 4119"/>
              <a:gd name="T99" fmla="*/ 268 h 2977"/>
              <a:gd name="T100" fmla="*/ 2463 w 4119"/>
              <a:gd name="T101" fmla="*/ 22 h 2977"/>
              <a:gd name="T102" fmla="*/ 2659 w 4119"/>
              <a:gd name="T103" fmla="*/ 339 h 2977"/>
              <a:gd name="T104" fmla="*/ 2925 w 4119"/>
              <a:gd name="T105" fmla="*/ 413 h 2977"/>
              <a:gd name="T106" fmla="*/ 3354 w 4119"/>
              <a:gd name="T107" fmla="*/ 327 h 2977"/>
              <a:gd name="T108" fmla="*/ 3502 w 4119"/>
              <a:gd name="T109" fmla="*/ 707 h 2977"/>
              <a:gd name="T110" fmla="*/ 3524 w 4119"/>
              <a:gd name="T111" fmla="*/ 998 h 2977"/>
              <a:gd name="T112" fmla="*/ 3378 w 4119"/>
              <a:gd name="T113" fmla="*/ 1344 h 2977"/>
              <a:gd name="T114" fmla="*/ 3343 w 4119"/>
              <a:gd name="T115" fmla="*/ 1621 h 2977"/>
              <a:gd name="T116" fmla="*/ 3539 w 4119"/>
              <a:gd name="T117" fmla="*/ 1951 h 2977"/>
              <a:gd name="T118" fmla="*/ 3862 w 4119"/>
              <a:gd name="T119" fmla="*/ 2259 h 2977"/>
              <a:gd name="T120" fmla="*/ 3926 w 4119"/>
              <a:gd name="T121" fmla="*/ 2484 h 2977"/>
              <a:gd name="T122" fmla="*/ 4093 w 4119"/>
              <a:gd name="T123" fmla="*/ 2583 h 297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119"/>
              <a:gd name="T187" fmla="*/ 0 h 2977"/>
              <a:gd name="T188" fmla="*/ 4119 w 4119"/>
              <a:gd name="T189" fmla="*/ 2977 h 297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119" h="2977">
                <a:moveTo>
                  <a:pt x="4115" y="2711"/>
                </a:moveTo>
                <a:lnTo>
                  <a:pt x="4108" y="2712"/>
                </a:lnTo>
                <a:lnTo>
                  <a:pt x="4101" y="2716"/>
                </a:lnTo>
                <a:lnTo>
                  <a:pt x="4098" y="2727"/>
                </a:lnTo>
                <a:lnTo>
                  <a:pt x="4094" y="2731"/>
                </a:lnTo>
                <a:lnTo>
                  <a:pt x="4095" y="2731"/>
                </a:lnTo>
                <a:lnTo>
                  <a:pt x="4098" y="2731"/>
                </a:lnTo>
                <a:lnTo>
                  <a:pt x="4100" y="2733"/>
                </a:lnTo>
                <a:lnTo>
                  <a:pt x="4097" y="2745"/>
                </a:lnTo>
                <a:lnTo>
                  <a:pt x="4098" y="2749"/>
                </a:lnTo>
                <a:lnTo>
                  <a:pt x="4101" y="2752"/>
                </a:lnTo>
                <a:lnTo>
                  <a:pt x="4108" y="2752"/>
                </a:lnTo>
                <a:lnTo>
                  <a:pt x="4112" y="2760"/>
                </a:lnTo>
                <a:lnTo>
                  <a:pt x="4115" y="2760"/>
                </a:lnTo>
                <a:lnTo>
                  <a:pt x="4118" y="2757"/>
                </a:lnTo>
                <a:lnTo>
                  <a:pt x="4119" y="2760"/>
                </a:lnTo>
                <a:lnTo>
                  <a:pt x="4115" y="2772"/>
                </a:lnTo>
                <a:lnTo>
                  <a:pt x="4109" y="2775"/>
                </a:lnTo>
                <a:lnTo>
                  <a:pt x="4114" y="2780"/>
                </a:lnTo>
                <a:lnTo>
                  <a:pt x="4114" y="2784"/>
                </a:lnTo>
                <a:lnTo>
                  <a:pt x="4109" y="2794"/>
                </a:lnTo>
                <a:lnTo>
                  <a:pt x="4109" y="2802"/>
                </a:lnTo>
                <a:lnTo>
                  <a:pt x="4112" y="2805"/>
                </a:lnTo>
                <a:lnTo>
                  <a:pt x="4119" y="2810"/>
                </a:lnTo>
                <a:lnTo>
                  <a:pt x="4119" y="2817"/>
                </a:lnTo>
                <a:lnTo>
                  <a:pt x="4112" y="2829"/>
                </a:lnTo>
                <a:lnTo>
                  <a:pt x="4111" y="2837"/>
                </a:lnTo>
                <a:lnTo>
                  <a:pt x="4108" y="2843"/>
                </a:lnTo>
                <a:lnTo>
                  <a:pt x="4106" y="2851"/>
                </a:lnTo>
                <a:lnTo>
                  <a:pt x="4104" y="2857"/>
                </a:lnTo>
                <a:lnTo>
                  <a:pt x="4104" y="2861"/>
                </a:lnTo>
                <a:lnTo>
                  <a:pt x="4106" y="2864"/>
                </a:lnTo>
                <a:lnTo>
                  <a:pt x="4109" y="2869"/>
                </a:lnTo>
                <a:lnTo>
                  <a:pt x="4106" y="2873"/>
                </a:lnTo>
                <a:lnTo>
                  <a:pt x="4098" y="2886"/>
                </a:lnTo>
                <a:lnTo>
                  <a:pt x="4098" y="2892"/>
                </a:lnTo>
                <a:lnTo>
                  <a:pt x="4101" y="2896"/>
                </a:lnTo>
                <a:lnTo>
                  <a:pt x="4105" y="2899"/>
                </a:lnTo>
                <a:lnTo>
                  <a:pt x="4105" y="2902"/>
                </a:lnTo>
                <a:lnTo>
                  <a:pt x="4104" y="2906"/>
                </a:lnTo>
                <a:lnTo>
                  <a:pt x="4098" y="2910"/>
                </a:lnTo>
                <a:lnTo>
                  <a:pt x="4098" y="2914"/>
                </a:lnTo>
                <a:lnTo>
                  <a:pt x="4105" y="2931"/>
                </a:lnTo>
                <a:lnTo>
                  <a:pt x="4108" y="2940"/>
                </a:lnTo>
                <a:lnTo>
                  <a:pt x="4112" y="2947"/>
                </a:lnTo>
                <a:lnTo>
                  <a:pt x="4114" y="2956"/>
                </a:lnTo>
                <a:lnTo>
                  <a:pt x="4112" y="2959"/>
                </a:lnTo>
                <a:lnTo>
                  <a:pt x="4108" y="2963"/>
                </a:lnTo>
                <a:lnTo>
                  <a:pt x="4104" y="2963"/>
                </a:lnTo>
                <a:lnTo>
                  <a:pt x="4097" y="2961"/>
                </a:lnTo>
                <a:lnTo>
                  <a:pt x="4094" y="2963"/>
                </a:lnTo>
                <a:lnTo>
                  <a:pt x="4094" y="2969"/>
                </a:lnTo>
                <a:lnTo>
                  <a:pt x="4097" y="2971"/>
                </a:lnTo>
                <a:lnTo>
                  <a:pt x="4101" y="2973"/>
                </a:lnTo>
                <a:lnTo>
                  <a:pt x="4095" y="2977"/>
                </a:lnTo>
                <a:lnTo>
                  <a:pt x="4078" y="2975"/>
                </a:lnTo>
                <a:lnTo>
                  <a:pt x="4070" y="2973"/>
                </a:lnTo>
                <a:lnTo>
                  <a:pt x="4059" y="2965"/>
                </a:lnTo>
                <a:lnTo>
                  <a:pt x="4054" y="2963"/>
                </a:lnTo>
                <a:lnTo>
                  <a:pt x="4048" y="2961"/>
                </a:lnTo>
                <a:lnTo>
                  <a:pt x="4041" y="2963"/>
                </a:lnTo>
                <a:lnTo>
                  <a:pt x="4036" y="2969"/>
                </a:lnTo>
                <a:lnTo>
                  <a:pt x="4031" y="2969"/>
                </a:lnTo>
                <a:lnTo>
                  <a:pt x="4019" y="2963"/>
                </a:lnTo>
                <a:lnTo>
                  <a:pt x="4009" y="2959"/>
                </a:lnTo>
                <a:lnTo>
                  <a:pt x="3986" y="2940"/>
                </a:lnTo>
                <a:lnTo>
                  <a:pt x="3984" y="2930"/>
                </a:lnTo>
                <a:lnTo>
                  <a:pt x="3990" y="2918"/>
                </a:lnTo>
                <a:lnTo>
                  <a:pt x="3990" y="2914"/>
                </a:lnTo>
                <a:lnTo>
                  <a:pt x="3989" y="2909"/>
                </a:lnTo>
                <a:lnTo>
                  <a:pt x="3981" y="2904"/>
                </a:lnTo>
                <a:lnTo>
                  <a:pt x="3975" y="2899"/>
                </a:lnTo>
                <a:lnTo>
                  <a:pt x="3970" y="2896"/>
                </a:lnTo>
                <a:lnTo>
                  <a:pt x="3968" y="2890"/>
                </a:lnTo>
                <a:lnTo>
                  <a:pt x="3962" y="2872"/>
                </a:lnTo>
                <a:lnTo>
                  <a:pt x="3961" y="2869"/>
                </a:lnTo>
                <a:lnTo>
                  <a:pt x="3958" y="2865"/>
                </a:lnTo>
                <a:lnTo>
                  <a:pt x="3939" y="2860"/>
                </a:lnTo>
                <a:lnTo>
                  <a:pt x="3934" y="2857"/>
                </a:lnTo>
                <a:lnTo>
                  <a:pt x="3925" y="2843"/>
                </a:lnTo>
                <a:lnTo>
                  <a:pt x="3922" y="2835"/>
                </a:lnTo>
                <a:lnTo>
                  <a:pt x="3925" y="2829"/>
                </a:lnTo>
                <a:lnTo>
                  <a:pt x="3926" y="2823"/>
                </a:lnTo>
                <a:lnTo>
                  <a:pt x="3922" y="2814"/>
                </a:lnTo>
                <a:lnTo>
                  <a:pt x="3918" y="2806"/>
                </a:lnTo>
                <a:lnTo>
                  <a:pt x="3901" y="2792"/>
                </a:lnTo>
                <a:lnTo>
                  <a:pt x="3898" y="2787"/>
                </a:lnTo>
                <a:lnTo>
                  <a:pt x="3893" y="2780"/>
                </a:lnTo>
                <a:lnTo>
                  <a:pt x="3891" y="2756"/>
                </a:lnTo>
                <a:lnTo>
                  <a:pt x="3890" y="2752"/>
                </a:lnTo>
                <a:lnTo>
                  <a:pt x="3884" y="2743"/>
                </a:lnTo>
                <a:lnTo>
                  <a:pt x="3877" y="2727"/>
                </a:lnTo>
                <a:lnTo>
                  <a:pt x="3872" y="2722"/>
                </a:lnTo>
                <a:lnTo>
                  <a:pt x="3856" y="2720"/>
                </a:lnTo>
                <a:lnTo>
                  <a:pt x="3852" y="2719"/>
                </a:lnTo>
                <a:lnTo>
                  <a:pt x="3846" y="2712"/>
                </a:lnTo>
                <a:lnTo>
                  <a:pt x="3844" y="2705"/>
                </a:lnTo>
                <a:lnTo>
                  <a:pt x="3841" y="2698"/>
                </a:lnTo>
                <a:lnTo>
                  <a:pt x="3833" y="2685"/>
                </a:lnTo>
                <a:lnTo>
                  <a:pt x="3830" y="2674"/>
                </a:lnTo>
                <a:lnTo>
                  <a:pt x="3826" y="2650"/>
                </a:lnTo>
                <a:lnTo>
                  <a:pt x="3826" y="2637"/>
                </a:lnTo>
                <a:lnTo>
                  <a:pt x="3824" y="2633"/>
                </a:lnTo>
                <a:lnTo>
                  <a:pt x="3813" y="2623"/>
                </a:lnTo>
                <a:lnTo>
                  <a:pt x="3808" y="2607"/>
                </a:lnTo>
                <a:lnTo>
                  <a:pt x="3787" y="2583"/>
                </a:lnTo>
                <a:lnTo>
                  <a:pt x="3787" y="2576"/>
                </a:lnTo>
                <a:lnTo>
                  <a:pt x="3790" y="2561"/>
                </a:lnTo>
                <a:lnTo>
                  <a:pt x="3790" y="2556"/>
                </a:lnTo>
                <a:lnTo>
                  <a:pt x="3787" y="2551"/>
                </a:lnTo>
                <a:lnTo>
                  <a:pt x="3779" y="2544"/>
                </a:lnTo>
                <a:lnTo>
                  <a:pt x="3774" y="2538"/>
                </a:lnTo>
                <a:lnTo>
                  <a:pt x="3773" y="2532"/>
                </a:lnTo>
                <a:lnTo>
                  <a:pt x="3776" y="2517"/>
                </a:lnTo>
                <a:lnTo>
                  <a:pt x="3773" y="2513"/>
                </a:lnTo>
                <a:lnTo>
                  <a:pt x="3766" y="2509"/>
                </a:lnTo>
                <a:lnTo>
                  <a:pt x="3763" y="2503"/>
                </a:lnTo>
                <a:lnTo>
                  <a:pt x="3758" y="2499"/>
                </a:lnTo>
                <a:lnTo>
                  <a:pt x="3756" y="2495"/>
                </a:lnTo>
                <a:lnTo>
                  <a:pt x="3756" y="2490"/>
                </a:lnTo>
                <a:lnTo>
                  <a:pt x="3762" y="2476"/>
                </a:lnTo>
                <a:lnTo>
                  <a:pt x="3760" y="2462"/>
                </a:lnTo>
                <a:lnTo>
                  <a:pt x="3759" y="2458"/>
                </a:lnTo>
                <a:lnTo>
                  <a:pt x="3754" y="2453"/>
                </a:lnTo>
                <a:lnTo>
                  <a:pt x="3737" y="2442"/>
                </a:lnTo>
                <a:lnTo>
                  <a:pt x="3726" y="2441"/>
                </a:lnTo>
                <a:lnTo>
                  <a:pt x="3724" y="2438"/>
                </a:lnTo>
                <a:lnTo>
                  <a:pt x="3726" y="2432"/>
                </a:lnTo>
                <a:lnTo>
                  <a:pt x="3724" y="2426"/>
                </a:lnTo>
                <a:lnTo>
                  <a:pt x="3717" y="2422"/>
                </a:lnTo>
                <a:lnTo>
                  <a:pt x="3710" y="2409"/>
                </a:lnTo>
                <a:lnTo>
                  <a:pt x="3704" y="2404"/>
                </a:lnTo>
                <a:lnTo>
                  <a:pt x="3701" y="2401"/>
                </a:lnTo>
                <a:lnTo>
                  <a:pt x="3694" y="2397"/>
                </a:lnTo>
                <a:lnTo>
                  <a:pt x="3691" y="2394"/>
                </a:lnTo>
                <a:lnTo>
                  <a:pt x="3690" y="2379"/>
                </a:lnTo>
                <a:lnTo>
                  <a:pt x="3688" y="2375"/>
                </a:lnTo>
                <a:lnTo>
                  <a:pt x="3690" y="2370"/>
                </a:lnTo>
                <a:lnTo>
                  <a:pt x="3688" y="2365"/>
                </a:lnTo>
                <a:lnTo>
                  <a:pt x="3679" y="2363"/>
                </a:lnTo>
                <a:lnTo>
                  <a:pt x="3673" y="2357"/>
                </a:lnTo>
                <a:lnTo>
                  <a:pt x="3665" y="2353"/>
                </a:lnTo>
                <a:lnTo>
                  <a:pt x="3656" y="2345"/>
                </a:lnTo>
                <a:lnTo>
                  <a:pt x="3634" y="2342"/>
                </a:lnTo>
                <a:lnTo>
                  <a:pt x="3621" y="2334"/>
                </a:lnTo>
                <a:lnTo>
                  <a:pt x="3612" y="2333"/>
                </a:lnTo>
                <a:lnTo>
                  <a:pt x="3594" y="2329"/>
                </a:lnTo>
                <a:lnTo>
                  <a:pt x="3580" y="2329"/>
                </a:lnTo>
                <a:lnTo>
                  <a:pt x="3552" y="2316"/>
                </a:lnTo>
                <a:lnTo>
                  <a:pt x="3541" y="2308"/>
                </a:lnTo>
                <a:lnTo>
                  <a:pt x="3534" y="2293"/>
                </a:lnTo>
                <a:lnTo>
                  <a:pt x="3525" y="2290"/>
                </a:lnTo>
                <a:lnTo>
                  <a:pt x="3521" y="2284"/>
                </a:lnTo>
                <a:lnTo>
                  <a:pt x="3520" y="2278"/>
                </a:lnTo>
                <a:lnTo>
                  <a:pt x="3516" y="2271"/>
                </a:lnTo>
                <a:lnTo>
                  <a:pt x="3494" y="2258"/>
                </a:lnTo>
                <a:lnTo>
                  <a:pt x="3480" y="2259"/>
                </a:lnTo>
                <a:lnTo>
                  <a:pt x="3475" y="2255"/>
                </a:lnTo>
                <a:lnTo>
                  <a:pt x="3474" y="2251"/>
                </a:lnTo>
                <a:lnTo>
                  <a:pt x="3471" y="2248"/>
                </a:lnTo>
                <a:lnTo>
                  <a:pt x="3456" y="2235"/>
                </a:lnTo>
                <a:lnTo>
                  <a:pt x="3447" y="2235"/>
                </a:lnTo>
                <a:lnTo>
                  <a:pt x="3439" y="2237"/>
                </a:lnTo>
                <a:lnTo>
                  <a:pt x="3435" y="2235"/>
                </a:lnTo>
                <a:lnTo>
                  <a:pt x="3432" y="2229"/>
                </a:lnTo>
                <a:lnTo>
                  <a:pt x="3434" y="2221"/>
                </a:lnTo>
                <a:lnTo>
                  <a:pt x="3432" y="2210"/>
                </a:lnTo>
                <a:lnTo>
                  <a:pt x="3424" y="2206"/>
                </a:lnTo>
                <a:lnTo>
                  <a:pt x="3416" y="2198"/>
                </a:lnTo>
                <a:lnTo>
                  <a:pt x="3409" y="2192"/>
                </a:lnTo>
                <a:lnTo>
                  <a:pt x="3403" y="2192"/>
                </a:lnTo>
                <a:lnTo>
                  <a:pt x="3397" y="2192"/>
                </a:lnTo>
                <a:lnTo>
                  <a:pt x="3343" y="2203"/>
                </a:lnTo>
                <a:lnTo>
                  <a:pt x="3328" y="2203"/>
                </a:lnTo>
                <a:lnTo>
                  <a:pt x="3320" y="2200"/>
                </a:lnTo>
                <a:lnTo>
                  <a:pt x="3299" y="2183"/>
                </a:lnTo>
                <a:lnTo>
                  <a:pt x="3278" y="2180"/>
                </a:lnTo>
                <a:lnTo>
                  <a:pt x="3270" y="2173"/>
                </a:lnTo>
                <a:lnTo>
                  <a:pt x="3264" y="2172"/>
                </a:lnTo>
                <a:lnTo>
                  <a:pt x="3249" y="2176"/>
                </a:lnTo>
                <a:lnTo>
                  <a:pt x="3246" y="2183"/>
                </a:lnTo>
                <a:lnTo>
                  <a:pt x="3242" y="2184"/>
                </a:lnTo>
                <a:lnTo>
                  <a:pt x="3209" y="2184"/>
                </a:lnTo>
                <a:lnTo>
                  <a:pt x="3203" y="2180"/>
                </a:lnTo>
                <a:lnTo>
                  <a:pt x="3189" y="2173"/>
                </a:lnTo>
                <a:lnTo>
                  <a:pt x="3178" y="2161"/>
                </a:lnTo>
                <a:lnTo>
                  <a:pt x="3162" y="2138"/>
                </a:lnTo>
                <a:lnTo>
                  <a:pt x="3150" y="2124"/>
                </a:lnTo>
                <a:lnTo>
                  <a:pt x="3143" y="2113"/>
                </a:lnTo>
                <a:lnTo>
                  <a:pt x="3132" y="2109"/>
                </a:lnTo>
                <a:lnTo>
                  <a:pt x="3111" y="2109"/>
                </a:lnTo>
                <a:lnTo>
                  <a:pt x="3107" y="2106"/>
                </a:lnTo>
                <a:lnTo>
                  <a:pt x="3094" y="2097"/>
                </a:lnTo>
                <a:lnTo>
                  <a:pt x="3090" y="2098"/>
                </a:lnTo>
                <a:lnTo>
                  <a:pt x="3078" y="2106"/>
                </a:lnTo>
                <a:lnTo>
                  <a:pt x="3054" y="2106"/>
                </a:lnTo>
                <a:lnTo>
                  <a:pt x="3047" y="2105"/>
                </a:lnTo>
                <a:lnTo>
                  <a:pt x="3041" y="2101"/>
                </a:lnTo>
                <a:lnTo>
                  <a:pt x="3036" y="2094"/>
                </a:lnTo>
                <a:lnTo>
                  <a:pt x="3036" y="2091"/>
                </a:lnTo>
                <a:lnTo>
                  <a:pt x="3039" y="2076"/>
                </a:lnTo>
                <a:lnTo>
                  <a:pt x="3037" y="2072"/>
                </a:lnTo>
                <a:lnTo>
                  <a:pt x="3029" y="2071"/>
                </a:lnTo>
                <a:lnTo>
                  <a:pt x="3011" y="2072"/>
                </a:lnTo>
                <a:lnTo>
                  <a:pt x="3004" y="2072"/>
                </a:lnTo>
                <a:lnTo>
                  <a:pt x="2997" y="2067"/>
                </a:lnTo>
                <a:lnTo>
                  <a:pt x="2989" y="2056"/>
                </a:lnTo>
                <a:lnTo>
                  <a:pt x="2972" y="2044"/>
                </a:lnTo>
                <a:lnTo>
                  <a:pt x="2968" y="2040"/>
                </a:lnTo>
                <a:lnTo>
                  <a:pt x="2966" y="2035"/>
                </a:lnTo>
                <a:lnTo>
                  <a:pt x="2960" y="2030"/>
                </a:lnTo>
                <a:lnTo>
                  <a:pt x="2955" y="2019"/>
                </a:lnTo>
                <a:lnTo>
                  <a:pt x="2946" y="2007"/>
                </a:lnTo>
                <a:lnTo>
                  <a:pt x="2936" y="1999"/>
                </a:lnTo>
                <a:lnTo>
                  <a:pt x="2923" y="1992"/>
                </a:lnTo>
                <a:lnTo>
                  <a:pt x="2916" y="1982"/>
                </a:lnTo>
                <a:lnTo>
                  <a:pt x="2910" y="1968"/>
                </a:lnTo>
                <a:lnTo>
                  <a:pt x="2890" y="1936"/>
                </a:lnTo>
                <a:lnTo>
                  <a:pt x="2882" y="1930"/>
                </a:lnTo>
                <a:lnTo>
                  <a:pt x="2872" y="1922"/>
                </a:lnTo>
                <a:lnTo>
                  <a:pt x="2861" y="1928"/>
                </a:lnTo>
                <a:lnTo>
                  <a:pt x="2855" y="1928"/>
                </a:lnTo>
                <a:lnTo>
                  <a:pt x="2851" y="1928"/>
                </a:lnTo>
                <a:lnTo>
                  <a:pt x="2838" y="1932"/>
                </a:lnTo>
                <a:lnTo>
                  <a:pt x="2835" y="1930"/>
                </a:lnTo>
                <a:lnTo>
                  <a:pt x="2829" y="1932"/>
                </a:lnTo>
                <a:lnTo>
                  <a:pt x="2819" y="1937"/>
                </a:lnTo>
                <a:lnTo>
                  <a:pt x="2818" y="1948"/>
                </a:lnTo>
                <a:lnTo>
                  <a:pt x="2815" y="1951"/>
                </a:lnTo>
                <a:lnTo>
                  <a:pt x="2813" y="1955"/>
                </a:lnTo>
                <a:lnTo>
                  <a:pt x="2809" y="1959"/>
                </a:lnTo>
                <a:lnTo>
                  <a:pt x="2804" y="1956"/>
                </a:lnTo>
                <a:lnTo>
                  <a:pt x="2800" y="1951"/>
                </a:lnTo>
                <a:lnTo>
                  <a:pt x="2795" y="1948"/>
                </a:lnTo>
                <a:lnTo>
                  <a:pt x="2787" y="1952"/>
                </a:lnTo>
                <a:lnTo>
                  <a:pt x="2779" y="1948"/>
                </a:lnTo>
                <a:lnTo>
                  <a:pt x="2766" y="1951"/>
                </a:lnTo>
                <a:lnTo>
                  <a:pt x="2756" y="1952"/>
                </a:lnTo>
                <a:lnTo>
                  <a:pt x="2753" y="1956"/>
                </a:lnTo>
                <a:lnTo>
                  <a:pt x="2747" y="1956"/>
                </a:lnTo>
                <a:lnTo>
                  <a:pt x="2744" y="1956"/>
                </a:lnTo>
                <a:lnTo>
                  <a:pt x="2738" y="1959"/>
                </a:lnTo>
                <a:lnTo>
                  <a:pt x="2730" y="1956"/>
                </a:lnTo>
                <a:lnTo>
                  <a:pt x="2720" y="1956"/>
                </a:lnTo>
                <a:lnTo>
                  <a:pt x="2717" y="1955"/>
                </a:lnTo>
                <a:lnTo>
                  <a:pt x="2708" y="1951"/>
                </a:lnTo>
                <a:lnTo>
                  <a:pt x="2700" y="1952"/>
                </a:lnTo>
                <a:lnTo>
                  <a:pt x="2694" y="1956"/>
                </a:lnTo>
                <a:lnTo>
                  <a:pt x="2687" y="1952"/>
                </a:lnTo>
                <a:lnTo>
                  <a:pt x="2683" y="1952"/>
                </a:lnTo>
                <a:lnTo>
                  <a:pt x="2678" y="1956"/>
                </a:lnTo>
                <a:lnTo>
                  <a:pt x="2670" y="1964"/>
                </a:lnTo>
                <a:lnTo>
                  <a:pt x="2656" y="1968"/>
                </a:lnTo>
                <a:lnTo>
                  <a:pt x="2651" y="1970"/>
                </a:lnTo>
                <a:lnTo>
                  <a:pt x="2645" y="1978"/>
                </a:lnTo>
                <a:lnTo>
                  <a:pt x="2638" y="1993"/>
                </a:lnTo>
                <a:lnTo>
                  <a:pt x="2627" y="1997"/>
                </a:lnTo>
                <a:lnTo>
                  <a:pt x="2619" y="1995"/>
                </a:lnTo>
                <a:lnTo>
                  <a:pt x="2613" y="1999"/>
                </a:lnTo>
                <a:lnTo>
                  <a:pt x="2612" y="2001"/>
                </a:lnTo>
                <a:lnTo>
                  <a:pt x="2611" y="2012"/>
                </a:lnTo>
                <a:lnTo>
                  <a:pt x="2603" y="2023"/>
                </a:lnTo>
                <a:lnTo>
                  <a:pt x="2602" y="2027"/>
                </a:lnTo>
                <a:lnTo>
                  <a:pt x="2594" y="2034"/>
                </a:lnTo>
                <a:lnTo>
                  <a:pt x="2586" y="2034"/>
                </a:lnTo>
                <a:lnTo>
                  <a:pt x="2584" y="2035"/>
                </a:lnTo>
                <a:lnTo>
                  <a:pt x="2584" y="2042"/>
                </a:lnTo>
                <a:lnTo>
                  <a:pt x="2588" y="2048"/>
                </a:lnTo>
                <a:lnTo>
                  <a:pt x="2590" y="2054"/>
                </a:lnTo>
                <a:lnTo>
                  <a:pt x="2587" y="2068"/>
                </a:lnTo>
                <a:lnTo>
                  <a:pt x="2592" y="2074"/>
                </a:lnTo>
                <a:lnTo>
                  <a:pt x="2595" y="2079"/>
                </a:lnTo>
                <a:lnTo>
                  <a:pt x="2594" y="2082"/>
                </a:lnTo>
                <a:lnTo>
                  <a:pt x="2586" y="2084"/>
                </a:lnTo>
                <a:lnTo>
                  <a:pt x="2583" y="2093"/>
                </a:lnTo>
                <a:lnTo>
                  <a:pt x="2581" y="2094"/>
                </a:lnTo>
                <a:lnTo>
                  <a:pt x="2577" y="2097"/>
                </a:lnTo>
                <a:lnTo>
                  <a:pt x="2574" y="2106"/>
                </a:lnTo>
                <a:lnTo>
                  <a:pt x="2565" y="2111"/>
                </a:lnTo>
                <a:lnTo>
                  <a:pt x="2559" y="2117"/>
                </a:lnTo>
                <a:lnTo>
                  <a:pt x="2551" y="2123"/>
                </a:lnTo>
                <a:lnTo>
                  <a:pt x="2551" y="2129"/>
                </a:lnTo>
                <a:lnTo>
                  <a:pt x="2553" y="2134"/>
                </a:lnTo>
                <a:lnTo>
                  <a:pt x="2553" y="2139"/>
                </a:lnTo>
                <a:lnTo>
                  <a:pt x="2552" y="2143"/>
                </a:lnTo>
                <a:lnTo>
                  <a:pt x="2544" y="2146"/>
                </a:lnTo>
                <a:lnTo>
                  <a:pt x="2538" y="2150"/>
                </a:lnTo>
                <a:lnTo>
                  <a:pt x="2535" y="2164"/>
                </a:lnTo>
                <a:lnTo>
                  <a:pt x="2527" y="2169"/>
                </a:lnTo>
                <a:lnTo>
                  <a:pt x="2521" y="2169"/>
                </a:lnTo>
                <a:lnTo>
                  <a:pt x="2519" y="2169"/>
                </a:lnTo>
                <a:lnTo>
                  <a:pt x="2512" y="2169"/>
                </a:lnTo>
                <a:lnTo>
                  <a:pt x="2507" y="2169"/>
                </a:lnTo>
                <a:lnTo>
                  <a:pt x="2506" y="2172"/>
                </a:lnTo>
                <a:lnTo>
                  <a:pt x="2506" y="2176"/>
                </a:lnTo>
                <a:lnTo>
                  <a:pt x="2506" y="2173"/>
                </a:lnTo>
                <a:lnTo>
                  <a:pt x="2498" y="2180"/>
                </a:lnTo>
                <a:lnTo>
                  <a:pt x="2493" y="2188"/>
                </a:lnTo>
                <a:lnTo>
                  <a:pt x="2495" y="2192"/>
                </a:lnTo>
                <a:lnTo>
                  <a:pt x="2495" y="2196"/>
                </a:lnTo>
                <a:lnTo>
                  <a:pt x="2493" y="2196"/>
                </a:lnTo>
                <a:lnTo>
                  <a:pt x="2489" y="2198"/>
                </a:lnTo>
                <a:lnTo>
                  <a:pt x="2485" y="2205"/>
                </a:lnTo>
                <a:lnTo>
                  <a:pt x="2487" y="2210"/>
                </a:lnTo>
                <a:lnTo>
                  <a:pt x="2478" y="2217"/>
                </a:lnTo>
                <a:lnTo>
                  <a:pt x="2478" y="2225"/>
                </a:lnTo>
                <a:lnTo>
                  <a:pt x="2474" y="2229"/>
                </a:lnTo>
                <a:lnTo>
                  <a:pt x="2473" y="2237"/>
                </a:lnTo>
                <a:lnTo>
                  <a:pt x="2473" y="2243"/>
                </a:lnTo>
                <a:lnTo>
                  <a:pt x="2468" y="2254"/>
                </a:lnTo>
                <a:lnTo>
                  <a:pt x="2467" y="2255"/>
                </a:lnTo>
                <a:lnTo>
                  <a:pt x="2468" y="2263"/>
                </a:lnTo>
                <a:lnTo>
                  <a:pt x="2467" y="2270"/>
                </a:lnTo>
                <a:lnTo>
                  <a:pt x="2463" y="2278"/>
                </a:lnTo>
                <a:lnTo>
                  <a:pt x="2467" y="2284"/>
                </a:lnTo>
                <a:lnTo>
                  <a:pt x="2464" y="2297"/>
                </a:lnTo>
                <a:lnTo>
                  <a:pt x="2462" y="2300"/>
                </a:lnTo>
                <a:lnTo>
                  <a:pt x="2457" y="2304"/>
                </a:lnTo>
                <a:lnTo>
                  <a:pt x="2453" y="2310"/>
                </a:lnTo>
                <a:lnTo>
                  <a:pt x="2443" y="2315"/>
                </a:lnTo>
                <a:lnTo>
                  <a:pt x="2438" y="2321"/>
                </a:lnTo>
                <a:lnTo>
                  <a:pt x="2432" y="2330"/>
                </a:lnTo>
                <a:lnTo>
                  <a:pt x="2430" y="2334"/>
                </a:lnTo>
                <a:lnTo>
                  <a:pt x="2426" y="2345"/>
                </a:lnTo>
                <a:lnTo>
                  <a:pt x="2426" y="2349"/>
                </a:lnTo>
                <a:lnTo>
                  <a:pt x="2418" y="2360"/>
                </a:lnTo>
                <a:lnTo>
                  <a:pt x="2417" y="2371"/>
                </a:lnTo>
                <a:lnTo>
                  <a:pt x="2409" y="2383"/>
                </a:lnTo>
                <a:lnTo>
                  <a:pt x="2407" y="2387"/>
                </a:lnTo>
                <a:lnTo>
                  <a:pt x="2412" y="2394"/>
                </a:lnTo>
                <a:lnTo>
                  <a:pt x="2413" y="2397"/>
                </a:lnTo>
                <a:lnTo>
                  <a:pt x="2410" y="2401"/>
                </a:lnTo>
                <a:lnTo>
                  <a:pt x="2406" y="2405"/>
                </a:lnTo>
                <a:lnTo>
                  <a:pt x="2405" y="2405"/>
                </a:lnTo>
                <a:lnTo>
                  <a:pt x="2399" y="2408"/>
                </a:lnTo>
                <a:lnTo>
                  <a:pt x="2401" y="2409"/>
                </a:lnTo>
                <a:lnTo>
                  <a:pt x="2398" y="2409"/>
                </a:lnTo>
                <a:lnTo>
                  <a:pt x="2392" y="2415"/>
                </a:lnTo>
                <a:lnTo>
                  <a:pt x="2388" y="2419"/>
                </a:lnTo>
                <a:lnTo>
                  <a:pt x="2373" y="2428"/>
                </a:lnTo>
                <a:lnTo>
                  <a:pt x="2371" y="2432"/>
                </a:lnTo>
                <a:lnTo>
                  <a:pt x="2364" y="2432"/>
                </a:lnTo>
                <a:lnTo>
                  <a:pt x="2363" y="2436"/>
                </a:lnTo>
                <a:lnTo>
                  <a:pt x="2359" y="2436"/>
                </a:lnTo>
                <a:lnTo>
                  <a:pt x="2359" y="2438"/>
                </a:lnTo>
                <a:lnTo>
                  <a:pt x="2352" y="2442"/>
                </a:lnTo>
                <a:lnTo>
                  <a:pt x="2351" y="2446"/>
                </a:lnTo>
                <a:lnTo>
                  <a:pt x="2352" y="2454"/>
                </a:lnTo>
                <a:lnTo>
                  <a:pt x="2351" y="2462"/>
                </a:lnTo>
                <a:lnTo>
                  <a:pt x="2352" y="2465"/>
                </a:lnTo>
                <a:lnTo>
                  <a:pt x="2351" y="2471"/>
                </a:lnTo>
                <a:lnTo>
                  <a:pt x="2341" y="2472"/>
                </a:lnTo>
                <a:lnTo>
                  <a:pt x="2339" y="2476"/>
                </a:lnTo>
                <a:lnTo>
                  <a:pt x="2339" y="2486"/>
                </a:lnTo>
                <a:lnTo>
                  <a:pt x="2332" y="2487"/>
                </a:lnTo>
                <a:lnTo>
                  <a:pt x="2331" y="2494"/>
                </a:lnTo>
                <a:lnTo>
                  <a:pt x="2320" y="2498"/>
                </a:lnTo>
                <a:lnTo>
                  <a:pt x="2318" y="2499"/>
                </a:lnTo>
                <a:lnTo>
                  <a:pt x="2320" y="2503"/>
                </a:lnTo>
                <a:lnTo>
                  <a:pt x="2326" y="2507"/>
                </a:lnTo>
                <a:lnTo>
                  <a:pt x="2327" y="2517"/>
                </a:lnTo>
                <a:lnTo>
                  <a:pt x="2328" y="2517"/>
                </a:lnTo>
                <a:lnTo>
                  <a:pt x="2337" y="2520"/>
                </a:lnTo>
                <a:lnTo>
                  <a:pt x="2338" y="2521"/>
                </a:lnTo>
                <a:lnTo>
                  <a:pt x="2338" y="2524"/>
                </a:lnTo>
                <a:lnTo>
                  <a:pt x="2323" y="2536"/>
                </a:lnTo>
                <a:lnTo>
                  <a:pt x="2321" y="2540"/>
                </a:lnTo>
                <a:lnTo>
                  <a:pt x="2321" y="2546"/>
                </a:lnTo>
                <a:lnTo>
                  <a:pt x="2320" y="2548"/>
                </a:lnTo>
                <a:lnTo>
                  <a:pt x="2312" y="2556"/>
                </a:lnTo>
                <a:lnTo>
                  <a:pt x="2309" y="2558"/>
                </a:lnTo>
                <a:lnTo>
                  <a:pt x="2309" y="2562"/>
                </a:lnTo>
                <a:lnTo>
                  <a:pt x="2307" y="2566"/>
                </a:lnTo>
                <a:lnTo>
                  <a:pt x="2309" y="2570"/>
                </a:lnTo>
                <a:lnTo>
                  <a:pt x="2307" y="2574"/>
                </a:lnTo>
                <a:lnTo>
                  <a:pt x="2310" y="2578"/>
                </a:lnTo>
                <a:lnTo>
                  <a:pt x="2310" y="2583"/>
                </a:lnTo>
                <a:lnTo>
                  <a:pt x="2309" y="2591"/>
                </a:lnTo>
                <a:lnTo>
                  <a:pt x="2309" y="2606"/>
                </a:lnTo>
                <a:lnTo>
                  <a:pt x="2307" y="2606"/>
                </a:lnTo>
                <a:lnTo>
                  <a:pt x="2299" y="2610"/>
                </a:lnTo>
                <a:lnTo>
                  <a:pt x="2295" y="2613"/>
                </a:lnTo>
                <a:lnTo>
                  <a:pt x="2295" y="2618"/>
                </a:lnTo>
                <a:lnTo>
                  <a:pt x="2292" y="2621"/>
                </a:lnTo>
                <a:lnTo>
                  <a:pt x="2291" y="2629"/>
                </a:lnTo>
                <a:lnTo>
                  <a:pt x="2288" y="2633"/>
                </a:lnTo>
                <a:lnTo>
                  <a:pt x="2288" y="2641"/>
                </a:lnTo>
                <a:lnTo>
                  <a:pt x="2281" y="2648"/>
                </a:lnTo>
                <a:lnTo>
                  <a:pt x="2275" y="2656"/>
                </a:lnTo>
                <a:lnTo>
                  <a:pt x="2274" y="2660"/>
                </a:lnTo>
                <a:lnTo>
                  <a:pt x="2275" y="2663"/>
                </a:lnTo>
                <a:lnTo>
                  <a:pt x="2277" y="2672"/>
                </a:lnTo>
                <a:lnTo>
                  <a:pt x="2279" y="2674"/>
                </a:lnTo>
                <a:lnTo>
                  <a:pt x="2278" y="2678"/>
                </a:lnTo>
                <a:lnTo>
                  <a:pt x="2275" y="2685"/>
                </a:lnTo>
                <a:lnTo>
                  <a:pt x="2271" y="2693"/>
                </a:lnTo>
                <a:lnTo>
                  <a:pt x="2262" y="2685"/>
                </a:lnTo>
                <a:lnTo>
                  <a:pt x="2242" y="2668"/>
                </a:lnTo>
                <a:lnTo>
                  <a:pt x="2235" y="2666"/>
                </a:lnTo>
                <a:lnTo>
                  <a:pt x="2232" y="2652"/>
                </a:lnTo>
                <a:lnTo>
                  <a:pt x="2232" y="2628"/>
                </a:lnTo>
                <a:lnTo>
                  <a:pt x="2229" y="2610"/>
                </a:lnTo>
                <a:lnTo>
                  <a:pt x="2224" y="2558"/>
                </a:lnTo>
                <a:lnTo>
                  <a:pt x="2208" y="2520"/>
                </a:lnTo>
                <a:lnTo>
                  <a:pt x="2185" y="2469"/>
                </a:lnTo>
                <a:lnTo>
                  <a:pt x="2136" y="2401"/>
                </a:lnTo>
                <a:lnTo>
                  <a:pt x="2133" y="2397"/>
                </a:lnTo>
                <a:lnTo>
                  <a:pt x="2124" y="2383"/>
                </a:lnTo>
                <a:lnTo>
                  <a:pt x="2117" y="2375"/>
                </a:lnTo>
                <a:lnTo>
                  <a:pt x="2106" y="2359"/>
                </a:lnTo>
                <a:lnTo>
                  <a:pt x="2103" y="2349"/>
                </a:lnTo>
                <a:lnTo>
                  <a:pt x="2150" y="2337"/>
                </a:lnTo>
                <a:lnTo>
                  <a:pt x="2166" y="2329"/>
                </a:lnTo>
                <a:lnTo>
                  <a:pt x="2181" y="2292"/>
                </a:lnTo>
                <a:lnTo>
                  <a:pt x="2199" y="2255"/>
                </a:lnTo>
                <a:lnTo>
                  <a:pt x="2213" y="2218"/>
                </a:lnTo>
                <a:lnTo>
                  <a:pt x="2218" y="2178"/>
                </a:lnTo>
                <a:lnTo>
                  <a:pt x="2211" y="2178"/>
                </a:lnTo>
                <a:lnTo>
                  <a:pt x="2196" y="2176"/>
                </a:lnTo>
                <a:lnTo>
                  <a:pt x="2171" y="2173"/>
                </a:lnTo>
                <a:lnTo>
                  <a:pt x="2156" y="2186"/>
                </a:lnTo>
                <a:lnTo>
                  <a:pt x="2144" y="2188"/>
                </a:lnTo>
                <a:lnTo>
                  <a:pt x="2132" y="2180"/>
                </a:lnTo>
                <a:lnTo>
                  <a:pt x="2117" y="2180"/>
                </a:lnTo>
                <a:lnTo>
                  <a:pt x="2108" y="2172"/>
                </a:lnTo>
                <a:lnTo>
                  <a:pt x="2100" y="2173"/>
                </a:lnTo>
                <a:lnTo>
                  <a:pt x="2094" y="2180"/>
                </a:lnTo>
                <a:lnTo>
                  <a:pt x="2082" y="2178"/>
                </a:lnTo>
                <a:lnTo>
                  <a:pt x="2049" y="2180"/>
                </a:lnTo>
                <a:lnTo>
                  <a:pt x="2041" y="2176"/>
                </a:lnTo>
                <a:lnTo>
                  <a:pt x="2035" y="2173"/>
                </a:lnTo>
                <a:lnTo>
                  <a:pt x="2002" y="2161"/>
                </a:lnTo>
                <a:lnTo>
                  <a:pt x="1996" y="2151"/>
                </a:lnTo>
                <a:lnTo>
                  <a:pt x="1999" y="2138"/>
                </a:lnTo>
                <a:lnTo>
                  <a:pt x="2003" y="2101"/>
                </a:lnTo>
                <a:lnTo>
                  <a:pt x="2004" y="2094"/>
                </a:lnTo>
                <a:lnTo>
                  <a:pt x="1994" y="2091"/>
                </a:lnTo>
                <a:lnTo>
                  <a:pt x="1909" y="2049"/>
                </a:lnTo>
                <a:lnTo>
                  <a:pt x="1897" y="2042"/>
                </a:lnTo>
                <a:lnTo>
                  <a:pt x="1807" y="2005"/>
                </a:lnTo>
                <a:lnTo>
                  <a:pt x="1790" y="1997"/>
                </a:lnTo>
                <a:lnTo>
                  <a:pt x="1762" y="1986"/>
                </a:lnTo>
                <a:lnTo>
                  <a:pt x="1687" y="1968"/>
                </a:lnTo>
                <a:lnTo>
                  <a:pt x="1663" y="1960"/>
                </a:lnTo>
                <a:lnTo>
                  <a:pt x="1659" y="1960"/>
                </a:lnTo>
                <a:lnTo>
                  <a:pt x="1623" y="1960"/>
                </a:lnTo>
                <a:lnTo>
                  <a:pt x="1495" y="1964"/>
                </a:lnTo>
                <a:lnTo>
                  <a:pt x="1482" y="1964"/>
                </a:lnTo>
                <a:lnTo>
                  <a:pt x="1462" y="1967"/>
                </a:lnTo>
                <a:lnTo>
                  <a:pt x="1459" y="1964"/>
                </a:lnTo>
                <a:lnTo>
                  <a:pt x="1449" y="1962"/>
                </a:lnTo>
                <a:lnTo>
                  <a:pt x="1447" y="1962"/>
                </a:lnTo>
                <a:lnTo>
                  <a:pt x="1437" y="1960"/>
                </a:lnTo>
                <a:lnTo>
                  <a:pt x="1435" y="1960"/>
                </a:lnTo>
                <a:lnTo>
                  <a:pt x="1422" y="1956"/>
                </a:lnTo>
                <a:lnTo>
                  <a:pt x="1397" y="1951"/>
                </a:lnTo>
                <a:lnTo>
                  <a:pt x="1362" y="1942"/>
                </a:lnTo>
                <a:lnTo>
                  <a:pt x="1358" y="1930"/>
                </a:lnTo>
                <a:lnTo>
                  <a:pt x="1360" y="1910"/>
                </a:lnTo>
                <a:lnTo>
                  <a:pt x="1356" y="1906"/>
                </a:lnTo>
                <a:lnTo>
                  <a:pt x="1353" y="1889"/>
                </a:lnTo>
                <a:lnTo>
                  <a:pt x="1347" y="1881"/>
                </a:lnTo>
                <a:lnTo>
                  <a:pt x="1313" y="1866"/>
                </a:lnTo>
                <a:lnTo>
                  <a:pt x="1310" y="1858"/>
                </a:lnTo>
                <a:lnTo>
                  <a:pt x="1303" y="1857"/>
                </a:lnTo>
                <a:lnTo>
                  <a:pt x="1299" y="1861"/>
                </a:lnTo>
                <a:lnTo>
                  <a:pt x="1291" y="1847"/>
                </a:lnTo>
                <a:lnTo>
                  <a:pt x="1283" y="1848"/>
                </a:lnTo>
                <a:lnTo>
                  <a:pt x="1284" y="1835"/>
                </a:lnTo>
                <a:lnTo>
                  <a:pt x="1278" y="1828"/>
                </a:lnTo>
                <a:lnTo>
                  <a:pt x="1273" y="1828"/>
                </a:lnTo>
                <a:lnTo>
                  <a:pt x="1269" y="1818"/>
                </a:lnTo>
                <a:lnTo>
                  <a:pt x="1259" y="1816"/>
                </a:lnTo>
                <a:lnTo>
                  <a:pt x="1248" y="1799"/>
                </a:lnTo>
                <a:lnTo>
                  <a:pt x="1237" y="1799"/>
                </a:lnTo>
                <a:lnTo>
                  <a:pt x="1217" y="1794"/>
                </a:lnTo>
                <a:lnTo>
                  <a:pt x="1192" y="1777"/>
                </a:lnTo>
                <a:lnTo>
                  <a:pt x="1178" y="1771"/>
                </a:lnTo>
                <a:lnTo>
                  <a:pt x="1138" y="1769"/>
                </a:lnTo>
                <a:lnTo>
                  <a:pt x="1125" y="1764"/>
                </a:lnTo>
                <a:lnTo>
                  <a:pt x="1100" y="1764"/>
                </a:lnTo>
                <a:lnTo>
                  <a:pt x="1065" y="1757"/>
                </a:lnTo>
                <a:lnTo>
                  <a:pt x="1029" y="1746"/>
                </a:lnTo>
                <a:lnTo>
                  <a:pt x="1015" y="1737"/>
                </a:lnTo>
                <a:lnTo>
                  <a:pt x="1003" y="1739"/>
                </a:lnTo>
                <a:lnTo>
                  <a:pt x="986" y="1733"/>
                </a:lnTo>
                <a:lnTo>
                  <a:pt x="981" y="1734"/>
                </a:lnTo>
                <a:lnTo>
                  <a:pt x="974" y="1734"/>
                </a:lnTo>
                <a:lnTo>
                  <a:pt x="973" y="1732"/>
                </a:lnTo>
                <a:lnTo>
                  <a:pt x="974" y="1724"/>
                </a:lnTo>
                <a:lnTo>
                  <a:pt x="971" y="1719"/>
                </a:lnTo>
                <a:lnTo>
                  <a:pt x="965" y="1716"/>
                </a:lnTo>
                <a:lnTo>
                  <a:pt x="953" y="1720"/>
                </a:lnTo>
                <a:lnTo>
                  <a:pt x="921" y="1683"/>
                </a:lnTo>
                <a:lnTo>
                  <a:pt x="909" y="1675"/>
                </a:lnTo>
                <a:lnTo>
                  <a:pt x="903" y="1666"/>
                </a:lnTo>
                <a:lnTo>
                  <a:pt x="900" y="1653"/>
                </a:lnTo>
                <a:lnTo>
                  <a:pt x="872" y="1631"/>
                </a:lnTo>
                <a:lnTo>
                  <a:pt x="864" y="1629"/>
                </a:lnTo>
                <a:lnTo>
                  <a:pt x="843" y="1619"/>
                </a:lnTo>
                <a:lnTo>
                  <a:pt x="826" y="1617"/>
                </a:lnTo>
                <a:lnTo>
                  <a:pt x="826" y="1612"/>
                </a:lnTo>
                <a:lnTo>
                  <a:pt x="822" y="1611"/>
                </a:lnTo>
                <a:lnTo>
                  <a:pt x="807" y="1615"/>
                </a:lnTo>
                <a:lnTo>
                  <a:pt x="780" y="1612"/>
                </a:lnTo>
                <a:lnTo>
                  <a:pt x="776" y="1611"/>
                </a:lnTo>
                <a:lnTo>
                  <a:pt x="771" y="1603"/>
                </a:lnTo>
                <a:lnTo>
                  <a:pt x="750" y="1602"/>
                </a:lnTo>
                <a:lnTo>
                  <a:pt x="741" y="1596"/>
                </a:lnTo>
                <a:lnTo>
                  <a:pt x="710" y="1607"/>
                </a:lnTo>
                <a:lnTo>
                  <a:pt x="711" y="1611"/>
                </a:lnTo>
                <a:lnTo>
                  <a:pt x="686" y="1622"/>
                </a:lnTo>
                <a:lnTo>
                  <a:pt x="680" y="1611"/>
                </a:lnTo>
                <a:lnTo>
                  <a:pt x="671" y="1621"/>
                </a:lnTo>
                <a:lnTo>
                  <a:pt x="652" y="1625"/>
                </a:lnTo>
                <a:lnTo>
                  <a:pt x="643" y="1647"/>
                </a:lnTo>
                <a:lnTo>
                  <a:pt x="629" y="1656"/>
                </a:lnTo>
                <a:lnTo>
                  <a:pt x="614" y="1657"/>
                </a:lnTo>
                <a:lnTo>
                  <a:pt x="602" y="1652"/>
                </a:lnTo>
                <a:lnTo>
                  <a:pt x="594" y="1641"/>
                </a:lnTo>
                <a:lnTo>
                  <a:pt x="587" y="1622"/>
                </a:lnTo>
                <a:lnTo>
                  <a:pt x="566" y="1611"/>
                </a:lnTo>
                <a:lnTo>
                  <a:pt x="237" y="1611"/>
                </a:lnTo>
                <a:lnTo>
                  <a:pt x="166" y="1611"/>
                </a:lnTo>
                <a:lnTo>
                  <a:pt x="166" y="1331"/>
                </a:lnTo>
                <a:lnTo>
                  <a:pt x="166" y="1312"/>
                </a:lnTo>
                <a:lnTo>
                  <a:pt x="160" y="1304"/>
                </a:lnTo>
                <a:lnTo>
                  <a:pt x="156" y="1308"/>
                </a:lnTo>
                <a:lnTo>
                  <a:pt x="160" y="1302"/>
                </a:lnTo>
                <a:lnTo>
                  <a:pt x="157" y="1300"/>
                </a:lnTo>
                <a:lnTo>
                  <a:pt x="156" y="1298"/>
                </a:lnTo>
                <a:lnTo>
                  <a:pt x="155" y="1296"/>
                </a:lnTo>
                <a:lnTo>
                  <a:pt x="153" y="1296"/>
                </a:lnTo>
                <a:lnTo>
                  <a:pt x="152" y="1292"/>
                </a:lnTo>
                <a:lnTo>
                  <a:pt x="151" y="1289"/>
                </a:lnTo>
                <a:lnTo>
                  <a:pt x="149" y="1287"/>
                </a:lnTo>
                <a:lnTo>
                  <a:pt x="149" y="1285"/>
                </a:lnTo>
                <a:lnTo>
                  <a:pt x="148" y="1283"/>
                </a:lnTo>
                <a:lnTo>
                  <a:pt x="146" y="1283"/>
                </a:lnTo>
                <a:lnTo>
                  <a:pt x="146" y="1281"/>
                </a:lnTo>
                <a:lnTo>
                  <a:pt x="145" y="1280"/>
                </a:lnTo>
                <a:lnTo>
                  <a:pt x="144" y="1277"/>
                </a:lnTo>
                <a:lnTo>
                  <a:pt x="142" y="1276"/>
                </a:lnTo>
                <a:lnTo>
                  <a:pt x="141" y="1273"/>
                </a:lnTo>
                <a:lnTo>
                  <a:pt x="140" y="1269"/>
                </a:lnTo>
                <a:lnTo>
                  <a:pt x="138" y="1269"/>
                </a:lnTo>
                <a:lnTo>
                  <a:pt x="135" y="1267"/>
                </a:lnTo>
                <a:lnTo>
                  <a:pt x="132" y="1264"/>
                </a:lnTo>
                <a:lnTo>
                  <a:pt x="131" y="1263"/>
                </a:lnTo>
                <a:lnTo>
                  <a:pt x="130" y="1260"/>
                </a:lnTo>
                <a:lnTo>
                  <a:pt x="128" y="1260"/>
                </a:lnTo>
                <a:lnTo>
                  <a:pt x="127" y="1259"/>
                </a:lnTo>
                <a:lnTo>
                  <a:pt x="124" y="1256"/>
                </a:lnTo>
                <a:lnTo>
                  <a:pt x="123" y="1256"/>
                </a:lnTo>
                <a:lnTo>
                  <a:pt x="121" y="1255"/>
                </a:lnTo>
                <a:lnTo>
                  <a:pt x="120" y="1252"/>
                </a:lnTo>
                <a:lnTo>
                  <a:pt x="119" y="1250"/>
                </a:lnTo>
                <a:lnTo>
                  <a:pt x="119" y="1247"/>
                </a:lnTo>
                <a:lnTo>
                  <a:pt x="119" y="1244"/>
                </a:lnTo>
                <a:lnTo>
                  <a:pt x="120" y="1242"/>
                </a:lnTo>
                <a:lnTo>
                  <a:pt x="120" y="1240"/>
                </a:lnTo>
                <a:lnTo>
                  <a:pt x="121" y="1238"/>
                </a:lnTo>
                <a:lnTo>
                  <a:pt x="121" y="1237"/>
                </a:lnTo>
                <a:lnTo>
                  <a:pt x="123" y="1234"/>
                </a:lnTo>
                <a:lnTo>
                  <a:pt x="124" y="1232"/>
                </a:lnTo>
                <a:lnTo>
                  <a:pt x="124" y="1230"/>
                </a:lnTo>
                <a:lnTo>
                  <a:pt x="126" y="1227"/>
                </a:lnTo>
                <a:lnTo>
                  <a:pt x="127" y="1227"/>
                </a:lnTo>
                <a:lnTo>
                  <a:pt x="128" y="1225"/>
                </a:lnTo>
                <a:lnTo>
                  <a:pt x="128" y="1223"/>
                </a:lnTo>
                <a:lnTo>
                  <a:pt x="130" y="1221"/>
                </a:lnTo>
                <a:lnTo>
                  <a:pt x="131" y="1219"/>
                </a:lnTo>
                <a:lnTo>
                  <a:pt x="132" y="1215"/>
                </a:lnTo>
                <a:lnTo>
                  <a:pt x="134" y="1214"/>
                </a:lnTo>
                <a:lnTo>
                  <a:pt x="134" y="1212"/>
                </a:lnTo>
                <a:lnTo>
                  <a:pt x="135" y="1210"/>
                </a:lnTo>
                <a:lnTo>
                  <a:pt x="137" y="1207"/>
                </a:lnTo>
                <a:lnTo>
                  <a:pt x="138" y="1205"/>
                </a:lnTo>
                <a:lnTo>
                  <a:pt x="140" y="1202"/>
                </a:lnTo>
                <a:lnTo>
                  <a:pt x="141" y="1201"/>
                </a:lnTo>
                <a:lnTo>
                  <a:pt x="142" y="1198"/>
                </a:lnTo>
                <a:lnTo>
                  <a:pt x="144" y="1197"/>
                </a:lnTo>
                <a:lnTo>
                  <a:pt x="145" y="1194"/>
                </a:lnTo>
                <a:lnTo>
                  <a:pt x="146" y="1193"/>
                </a:lnTo>
                <a:lnTo>
                  <a:pt x="146" y="1192"/>
                </a:lnTo>
                <a:lnTo>
                  <a:pt x="146" y="1189"/>
                </a:lnTo>
                <a:lnTo>
                  <a:pt x="148" y="1187"/>
                </a:lnTo>
                <a:lnTo>
                  <a:pt x="146" y="1185"/>
                </a:lnTo>
                <a:lnTo>
                  <a:pt x="145" y="1182"/>
                </a:lnTo>
                <a:lnTo>
                  <a:pt x="145" y="1180"/>
                </a:lnTo>
                <a:lnTo>
                  <a:pt x="144" y="1179"/>
                </a:lnTo>
                <a:lnTo>
                  <a:pt x="142" y="1176"/>
                </a:lnTo>
                <a:lnTo>
                  <a:pt x="142" y="1175"/>
                </a:lnTo>
                <a:lnTo>
                  <a:pt x="141" y="1172"/>
                </a:lnTo>
                <a:lnTo>
                  <a:pt x="140" y="1170"/>
                </a:lnTo>
                <a:lnTo>
                  <a:pt x="140" y="1169"/>
                </a:lnTo>
                <a:lnTo>
                  <a:pt x="138" y="1167"/>
                </a:lnTo>
                <a:lnTo>
                  <a:pt x="138" y="1165"/>
                </a:lnTo>
                <a:lnTo>
                  <a:pt x="137" y="1163"/>
                </a:lnTo>
                <a:lnTo>
                  <a:pt x="137" y="1162"/>
                </a:lnTo>
                <a:lnTo>
                  <a:pt x="135" y="1159"/>
                </a:lnTo>
                <a:lnTo>
                  <a:pt x="135" y="1156"/>
                </a:lnTo>
                <a:lnTo>
                  <a:pt x="134" y="1154"/>
                </a:lnTo>
                <a:lnTo>
                  <a:pt x="132" y="1151"/>
                </a:lnTo>
                <a:lnTo>
                  <a:pt x="132" y="1150"/>
                </a:lnTo>
                <a:lnTo>
                  <a:pt x="132" y="1147"/>
                </a:lnTo>
                <a:lnTo>
                  <a:pt x="131" y="1144"/>
                </a:lnTo>
                <a:lnTo>
                  <a:pt x="131" y="1143"/>
                </a:lnTo>
                <a:lnTo>
                  <a:pt x="132" y="1140"/>
                </a:lnTo>
                <a:lnTo>
                  <a:pt x="132" y="1138"/>
                </a:lnTo>
                <a:lnTo>
                  <a:pt x="132" y="1135"/>
                </a:lnTo>
                <a:lnTo>
                  <a:pt x="132" y="1134"/>
                </a:lnTo>
                <a:lnTo>
                  <a:pt x="132" y="1131"/>
                </a:lnTo>
                <a:lnTo>
                  <a:pt x="132" y="1130"/>
                </a:lnTo>
                <a:lnTo>
                  <a:pt x="132" y="1127"/>
                </a:lnTo>
                <a:lnTo>
                  <a:pt x="134" y="1126"/>
                </a:lnTo>
                <a:lnTo>
                  <a:pt x="134" y="1123"/>
                </a:lnTo>
                <a:lnTo>
                  <a:pt x="134" y="1122"/>
                </a:lnTo>
                <a:lnTo>
                  <a:pt x="134" y="1118"/>
                </a:lnTo>
                <a:lnTo>
                  <a:pt x="134" y="1117"/>
                </a:lnTo>
                <a:lnTo>
                  <a:pt x="134" y="1115"/>
                </a:lnTo>
                <a:lnTo>
                  <a:pt x="134" y="1113"/>
                </a:lnTo>
                <a:lnTo>
                  <a:pt x="134" y="1111"/>
                </a:lnTo>
                <a:lnTo>
                  <a:pt x="132" y="1109"/>
                </a:lnTo>
                <a:lnTo>
                  <a:pt x="132" y="1107"/>
                </a:lnTo>
                <a:lnTo>
                  <a:pt x="131" y="1105"/>
                </a:lnTo>
                <a:lnTo>
                  <a:pt x="131" y="1103"/>
                </a:lnTo>
                <a:lnTo>
                  <a:pt x="130" y="1102"/>
                </a:lnTo>
                <a:lnTo>
                  <a:pt x="130" y="1100"/>
                </a:lnTo>
                <a:lnTo>
                  <a:pt x="128" y="1095"/>
                </a:lnTo>
                <a:lnTo>
                  <a:pt x="128" y="1092"/>
                </a:lnTo>
                <a:lnTo>
                  <a:pt x="127" y="1089"/>
                </a:lnTo>
                <a:lnTo>
                  <a:pt x="127" y="1086"/>
                </a:lnTo>
                <a:lnTo>
                  <a:pt x="127" y="1082"/>
                </a:lnTo>
                <a:lnTo>
                  <a:pt x="126" y="1080"/>
                </a:lnTo>
                <a:lnTo>
                  <a:pt x="124" y="1078"/>
                </a:lnTo>
                <a:lnTo>
                  <a:pt x="124" y="1077"/>
                </a:lnTo>
                <a:lnTo>
                  <a:pt x="123" y="1073"/>
                </a:lnTo>
                <a:lnTo>
                  <a:pt x="121" y="1073"/>
                </a:lnTo>
                <a:lnTo>
                  <a:pt x="120" y="1072"/>
                </a:lnTo>
                <a:lnTo>
                  <a:pt x="119" y="1069"/>
                </a:lnTo>
                <a:lnTo>
                  <a:pt x="117" y="1069"/>
                </a:lnTo>
                <a:lnTo>
                  <a:pt x="116" y="1067"/>
                </a:lnTo>
                <a:lnTo>
                  <a:pt x="115" y="1065"/>
                </a:lnTo>
                <a:lnTo>
                  <a:pt x="113" y="1063"/>
                </a:lnTo>
                <a:lnTo>
                  <a:pt x="112" y="1060"/>
                </a:lnTo>
                <a:lnTo>
                  <a:pt x="109" y="1060"/>
                </a:lnTo>
                <a:lnTo>
                  <a:pt x="107" y="1058"/>
                </a:lnTo>
                <a:lnTo>
                  <a:pt x="106" y="1056"/>
                </a:lnTo>
                <a:lnTo>
                  <a:pt x="103" y="1056"/>
                </a:lnTo>
                <a:lnTo>
                  <a:pt x="102" y="1055"/>
                </a:lnTo>
                <a:lnTo>
                  <a:pt x="101" y="1053"/>
                </a:lnTo>
                <a:lnTo>
                  <a:pt x="98" y="1051"/>
                </a:lnTo>
                <a:lnTo>
                  <a:pt x="96" y="1051"/>
                </a:lnTo>
                <a:lnTo>
                  <a:pt x="95" y="1050"/>
                </a:lnTo>
                <a:lnTo>
                  <a:pt x="94" y="1047"/>
                </a:lnTo>
                <a:lnTo>
                  <a:pt x="92" y="1047"/>
                </a:lnTo>
                <a:lnTo>
                  <a:pt x="91" y="1044"/>
                </a:lnTo>
                <a:lnTo>
                  <a:pt x="90" y="1044"/>
                </a:lnTo>
                <a:lnTo>
                  <a:pt x="88" y="1043"/>
                </a:lnTo>
                <a:lnTo>
                  <a:pt x="87" y="1040"/>
                </a:lnTo>
                <a:lnTo>
                  <a:pt x="85" y="1038"/>
                </a:lnTo>
                <a:lnTo>
                  <a:pt x="84" y="1036"/>
                </a:lnTo>
                <a:lnTo>
                  <a:pt x="84" y="1033"/>
                </a:lnTo>
                <a:lnTo>
                  <a:pt x="82" y="1033"/>
                </a:lnTo>
                <a:lnTo>
                  <a:pt x="81" y="1032"/>
                </a:lnTo>
                <a:lnTo>
                  <a:pt x="80" y="1031"/>
                </a:lnTo>
                <a:lnTo>
                  <a:pt x="78" y="1030"/>
                </a:lnTo>
                <a:lnTo>
                  <a:pt x="77" y="1028"/>
                </a:lnTo>
                <a:lnTo>
                  <a:pt x="74" y="1027"/>
                </a:lnTo>
                <a:lnTo>
                  <a:pt x="74" y="1024"/>
                </a:lnTo>
                <a:lnTo>
                  <a:pt x="73" y="1024"/>
                </a:lnTo>
                <a:lnTo>
                  <a:pt x="71" y="1024"/>
                </a:lnTo>
                <a:lnTo>
                  <a:pt x="70" y="1022"/>
                </a:lnTo>
                <a:lnTo>
                  <a:pt x="68" y="1022"/>
                </a:lnTo>
                <a:lnTo>
                  <a:pt x="66" y="1020"/>
                </a:lnTo>
                <a:lnTo>
                  <a:pt x="64" y="1019"/>
                </a:lnTo>
                <a:lnTo>
                  <a:pt x="63" y="1018"/>
                </a:lnTo>
                <a:lnTo>
                  <a:pt x="62" y="1018"/>
                </a:lnTo>
                <a:lnTo>
                  <a:pt x="59" y="1015"/>
                </a:lnTo>
                <a:lnTo>
                  <a:pt x="57" y="1015"/>
                </a:lnTo>
                <a:lnTo>
                  <a:pt x="56" y="1014"/>
                </a:lnTo>
                <a:lnTo>
                  <a:pt x="55" y="1011"/>
                </a:lnTo>
                <a:lnTo>
                  <a:pt x="53" y="1011"/>
                </a:lnTo>
                <a:lnTo>
                  <a:pt x="52" y="1010"/>
                </a:lnTo>
                <a:lnTo>
                  <a:pt x="49" y="1008"/>
                </a:lnTo>
                <a:lnTo>
                  <a:pt x="49" y="1007"/>
                </a:lnTo>
                <a:lnTo>
                  <a:pt x="48" y="1005"/>
                </a:lnTo>
                <a:lnTo>
                  <a:pt x="46" y="1002"/>
                </a:lnTo>
                <a:lnTo>
                  <a:pt x="45" y="1002"/>
                </a:lnTo>
                <a:lnTo>
                  <a:pt x="45" y="998"/>
                </a:lnTo>
                <a:lnTo>
                  <a:pt x="43" y="996"/>
                </a:lnTo>
                <a:lnTo>
                  <a:pt x="42" y="995"/>
                </a:lnTo>
                <a:lnTo>
                  <a:pt x="41" y="993"/>
                </a:lnTo>
                <a:lnTo>
                  <a:pt x="41" y="991"/>
                </a:lnTo>
                <a:lnTo>
                  <a:pt x="39" y="989"/>
                </a:lnTo>
                <a:lnTo>
                  <a:pt x="38" y="988"/>
                </a:lnTo>
                <a:lnTo>
                  <a:pt x="37" y="986"/>
                </a:lnTo>
                <a:lnTo>
                  <a:pt x="37" y="985"/>
                </a:lnTo>
                <a:lnTo>
                  <a:pt x="35" y="983"/>
                </a:lnTo>
                <a:lnTo>
                  <a:pt x="34" y="982"/>
                </a:lnTo>
                <a:lnTo>
                  <a:pt x="32" y="980"/>
                </a:lnTo>
                <a:lnTo>
                  <a:pt x="31" y="980"/>
                </a:lnTo>
                <a:lnTo>
                  <a:pt x="30" y="980"/>
                </a:lnTo>
                <a:lnTo>
                  <a:pt x="31" y="976"/>
                </a:lnTo>
                <a:lnTo>
                  <a:pt x="31" y="973"/>
                </a:lnTo>
                <a:lnTo>
                  <a:pt x="31" y="971"/>
                </a:lnTo>
                <a:lnTo>
                  <a:pt x="31" y="970"/>
                </a:lnTo>
                <a:lnTo>
                  <a:pt x="32" y="966"/>
                </a:lnTo>
                <a:lnTo>
                  <a:pt x="32" y="965"/>
                </a:lnTo>
                <a:lnTo>
                  <a:pt x="34" y="963"/>
                </a:lnTo>
                <a:lnTo>
                  <a:pt x="32" y="961"/>
                </a:lnTo>
                <a:lnTo>
                  <a:pt x="32" y="957"/>
                </a:lnTo>
                <a:lnTo>
                  <a:pt x="32" y="956"/>
                </a:lnTo>
                <a:lnTo>
                  <a:pt x="32" y="953"/>
                </a:lnTo>
                <a:lnTo>
                  <a:pt x="31" y="952"/>
                </a:lnTo>
                <a:lnTo>
                  <a:pt x="30" y="951"/>
                </a:lnTo>
                <a:lnTo>
                  <a:pt x="30" y="948"/>
                </a:lnTo>
                <a:lnTo>
                  <a:pt x="28" y="946"/>
                </a:lnTo>
                <a:lnTo>
                  <a:pt x="27" y="944"/>
                </a:lnTo>
                <a:lnTo>
                  <a:pt x="25" y="944"/>
                </a:lnTo>
                <a:lnTo>
                  <a:pt x="25" y="943"/>
                </a:lnTo>
                <a:lnTo>
                  <a:pt x="24" y="940"/>
                </a:lnTo>
                <a:lnTo>
                  <a:pt x="24" y="939"/>
                </a:lnTo>
                <a:lnTo>
                  <a:pt x="23" y="937"/>
                </a:lnTo>
                <a:lnTo>
                  <a:pt x="23" y="936"/>
                </a:lnTo>
                <a:lnTo>
                  <a:pt x="23" y="933"/>
                </a:lnTo>
                <a:lnTo>
                  <a:pt x="21" y="931"/>
                </a:lnTo>
                <a:lnTo>
                  <a:pt x="20" y="929"/>
                </a:lnTo>
                <a:lnTo>
                  <a:pt x="20" y="927"/>
                </a:lnTo>
                <a:lnTo>
                  <a:pt x="18" y="927"/>
                </a:lnTo>
                <a:lnTo>
                  <a:pt x="16" y="924"/>
                </a:lnTo>
                <a:lnTo>
                  <a:pt x="14" y="921"/>
                </a:lnTo>
                <a:lnTo>
                  <a:pt x="13" y="921"/>
                </a:lnTo>
                <a:lnTo>
                  <a:pt x="10" y="920"/>
                </a:lnTo>
                <a:lnTo>
                  <a:pt x="10" y="918"/>
                </a:lnTo>
                <a:lnTo>
                  <a:pt x="9" y="918"/>
                </a:lnTo>
                <a:lnTo>
                  <a:pt x="9" y="915"/>
                </a:lnTo>
                <a:lnTo>
                  <a:pt x="10" y="912"/>
                </a:lnTo>
                <a:lnTo>
                  <a:pt x="10" y="911"/>
                </a:lnTo>
                <a:lnTo>
                  <a:pt x="10" y="908"/>
                </a:lnTo>
                <a:lnTo>
                  <a:pt x="11" y="904"/>
                </a:lnTo>
                <a:lnTo>
                  <a:pt x="11" y="903"/>
                </a:lnTo>
                <a:lnTo>
                  <a:pt x="11" y="901"/>
                </a:lnTo>
                <a:lnTo>
                  <a:pt x="11" y="899"/>
                </a:lnTo>
                <a:lnTo>
                  <a:pt x="11" y="895"/>
                </a:lnTo>
                <a:lnTo>
                  <a:pt x="10" y="895"/>
                </a:lnTo>
                <a:lnTo>
                  <a:pt x="9" y="894"/>
                </a:lnTo>
                <a:lnTo>
                  <a:pt x="7" y="891"/>
                </a:lnTo>
                <a:lnTo>
                  <a:pt x="6" y="889"/>
                </a:lnTo>
                <a:lnTo>
                  <a:pt x="5" y="886"/>
                </a:lnTo>
                <a:lnTo>
                  <a:pt x="3" y="882"/>
                </a:lnTo>
                <a:lnTo>
                  <a:pt x="2" y="882"/>
                </a:lnTo>
                <a:lnTo>
                  <a:pt x="2" y="881"/>
                </a:lnTo>
                <a:lnTo>
                  <a:pt x="2" y="878"/>
                </a:lnTo>
                <a:lnTo>
                  <a:pt x="3" y="876"/>
                </a:lnTo>
                <a:lnTo>
                  <a:pt x="3" y="873"/>
                </a:lnTo>
                <a:lnTo>
                  <a:pt x="3" y="871"/>
                </a:lnTo>
                <a:lnTo>
                  <a:pt x="5" y="869"/>
                </a:lnTo>
                <a:lnTo>
                  <a:pt x="5" y="867"/>
                </a:lnTo>
                <a:lnTo>
                  <a:pt x="5" y="866"/>
                </a:lnTo>
                <a:lnTo>
                  <a:pt x="5" y="864"/>
                </a:lnTo>
                <a:lnTo>
                  <a:pt x="3" y="859"/>
                </a:lnTo>
                <a:lnTo>
                  <a:pt x="2" y="858"/>
                </a:lnTo>
                <a:lnTo>
                  <a:pt x="2" y="856"/>
                </a:lnTo>
                <a:lnTo>
                  <a:pt x="3" y="854"/>
                </a:lnTo>
                <a:lnTo>
                  <a:pt x="3" y="853"/>
                </a:lnTo>
                <a:lnTo>
                  <a:pt x="5" y="850"/>
                </a:lnTo>
                <a:lnTo>
                  <a:pt x="5" y="849"/>
                </a:lnTo>
                <a:lnTo>
                  <a:pt x="6" y="846"/>
                </a:lnTo>
                <a:lnTo>
                  <a:pt x="7" y="845"/>
                </a:lnTo>
                <a:lnTo>
                  <a:pt x="10" y="844"/>
                </a:lnTo>
                <a:lnTo>
                  <a:pt x="11" y="842"/>
                </a:lnTo>
                <a:lnTo>
                  <a:pt x="11" y="841"/>
                </a:lnTo>
                <a:lnTo>
                  <a:pt x="13" y="837"/>
                </a:lnTo>
                <a:lnTo>
                  <a:pt x="13" y="836"/>
                </a:lnTo>
                <a:lnTo>
                  <a:pt x="11" y="833"/>
                </a:lnTo>
                <a:lnTo>
                  <a:pt x="10" y="831"/>
                </a:lnTo>
                <a:lnTo>
                  <a:pt x="10" y="828"/>
                </a:lnTo>
                <a:lnTo>
                  <a:pt x="9" y="827"/>
                </a:lnTo>
                <a:lnTo>
                  <a:pt x="9" y="824"/>
                </a:lnTo>
                <a:lnTo>
                  <a:pt x="7" y="821"/>
                </a:lnTo>
                <a:lnTo>
                  <a:pt x="6" y="820"/>
                </a:lnTo>
                <a:lnTo>
                  <a:pt x="5" y="817"/>
                </a:lnTo>
                <a:lnTo>
                  <a:pt x="3" y="815"/>
                </a:lnTo>
                <a:lnTo>
                  <a:pt x="2" y="814"/>
                </a:lnTo>
                <a:lnTo>
                  <a:pt x="2" y="811"/>
                </a:lnTo>
                <a:lnTo>
                  <a:pt x="0" y="808"/>
                </a:lnTo>
                <a:lnTo>
                  <a:pt x="0" y="807"/>
                </a:lnTo>
                <a:lnTo>
                  <a:pt x="0" y="804"/>
                </a:lnTo>
                <a:lnTo>
                  <a:pt x="2" y="804"/>
                </a:lnTo>
                <a:lnTo>
                  <a:pt x="5" y="802"/>
                </a:lnTo>
                <a:lnTo>
                  <a:pt x="6" y="802"/>
                </a:lnTo>
                <a:lnTo>
                  <a:pt x="7" y="802"/>
                </a:lnTo>
                <a:lnTo>
                  <a:pt x="9" y="802"/>
                </a:lnTo>
                <a:lnTo>
                  <a:pt x="11" y="800"/>
                </a:lnTo>
                <a:lnTo>
                  <a:pt x="13" y="800"/>
                </a:lnTo>
                <a:lnTo>
                  <a:pt x="14" y="798"/>
                </a:lnTo>
                <a:lnTo>
                  <a:pt x="16" y="798"/>
                </a:lnTo>
                <a:lnTo>
                  <a:pt x="18" y="798"/>
                </a:lnTo>
                <a:lnTo>
                  <a:pt x="20" y="798"/>
                </a:lnTo>
                <a:lnTo>
                  <a:pt x="21" y="798"/>
                </a:lnTo>
                <a:lnTo>
                  <a:pt x="24" y="798"/>
                </a:lnTo>
                <a:lnTo>
                  <a:pt x="25" y="796"/>
                </a:lnTo>
                <a:lnTo>
                  <a:pt x="27" y="796"/>
                </a:lnTo>
                <a:lnTo>
                  <a:pt x="30" y="796"/>
                </a:lnTo>
                <a:lnTo>
                  <a:pt x="31" y="795"/>
                </a:lnTo>
                <a:lnTo>
                  <a:pt x="32" y="795"/>
                </a:lnTo>
                <a:lnTo>
                  <a:pt x="35" y="795"/>
                </a:lnTo>
                <a:lnTo>
                  <a:pt x="37" y="792"/>
                </a:lnTo>
                <a:lnTo>
                  <a:pt x="39" y="792"/>
                </a:lnTo>
                <a:lnTo>
                  <a:pt x="41" y="792"/>
                </a:lnTo>
                <a:lnTo>
                  <a:pt x="42" y="792"/>
                </a:lnTo>
                <a:lnTo>
                  <a:pt x="45" y="792"/>
                </a:lnTo>
                <a:lnTo>
                  <a:pt x="46" y="791"/>
                </a:lnTo>
                <a:lnTo>
                  <a:pt x="48" y="791"/>
                </a:lnTo>
                <a:lnTo>
                  <a:pt x="51" y="791"/>
                </a:lnTo>
                <a:lnTo>
                  <a:pt x="52" y="789"/>
                </a:lnTo>
                <a:lnTo>
                  <a:pt x="53" y="789"/>
                </a:lnTo>
                <a:lnTo>
                  <a:pt x="55" y="789"/>
                </a:lnTo>
                <a:lnTo>
                  <a:pt x="57" y="789"/>
                </a:lnTo>
                <a:lnTo>
                  <a:pt x="59" y="789"/>
                </a:lnTo>
                <a:lnTo>
                  <a:pt x="60" y="789"/>
                </a:lnTo>
                <a:lnTo>
                  <a:pt x="63" y="787"/>
                </a:lnTo>
                <a:lnTo>
                  <a:pt x="66" y="787"/>
                </a:lnTo>
                <a:lnTo>
                  <a:pt x="67" y="786"/>
                </a:lnTo>
                <a:lnTo>
                  <a:pt x="68" y="786"/>
                </a:lnTo>
                <a:lnTo>
                  <a:pt x="71" y="784"/>
                </a:lnTo>
                <a:lnTo>
                  <a:pt x="73" y="784"/>
                </a:lnTo>
                <a:lnTo>
                  <a:pt x="76" y="784"/>
                </a:lnTo>
                <a:lnTo>
                  <a:pt x="77" y="784"/>
                </a:lnTo>
                <a:lnTo>
                  <a:pt x="80" y="783"/>
                </a:lnTo>
                <a:lnTo>
                  <a:pt x="81" y="783"/>
                </a:lnTo>
                <a:lnTo>
                  <a:pt x="84" y="783"/>
                </a:lnTo>
                <a:lnTo>
                  <a:pt x="85" y="782"/>
                </a:lnTo>
                <a:lnTo>
                  <a:pt x="87" y="782"/>
                </a:lnTo>
                <a:lnTo>
                  <a:pt x="90" y="779"/>
                </a:lnTo>
                <a:lnTo>
                  <a:pt x="92" y="779"/>
                </a:lnTo>
                <a:lnTo>
                  <a:pt x="94" y="779"/>
                </a:lnTo>
                <a:lnTo>
                  <a:pt x="96" y="778"/>
                </a:lnTo>
                <a:lnTo>
                  <a:pt x="98" y="778"/>
                </a:lnTo>
                <a:lnTo>
                  <a:pt x="99" y="778"/>
                </a:lnTo>
                <a:lnTo>
                  <a:pt x="102" y="778"/>
                </a:lnTo>
                <a:lnTo>
                  <a:pt x="105" y="778"/>
                </a:lnTo>
                <a:lnTo>
                  <a:pt x="106" y="778"/>
                </a:lnTo>
                <a:lnTo>
                  <a:pt x="107" y="775"/>
                </a:lnTo>
                <a:lnTo>
                  <a:pt x="110" y="775"/>
                </a:lnTo>
                <a:lnTo>
                  <a:pt x="112" y="775"/>
                </a:lnTo>
                <a:lnTo>
                  <a:pt x="113" y="775"/>
                </a:lnTo>
                <a:lnTo>
                  <a:pt x="116" y="775"/>
                </a:lnTo>
                <a:lnTo>
                  <a:pt x="119" y="774"/>
                </a:lnTo>
                <a:lnTo>
                  <a:pt x="120" y="774"/>
                </a:lnTo>
                <a:lnTo>
                  <a:pt x="123" y="773"/>
                </a:lnTo>
                <a:lnTo>
                  <a:pt x="124" y="771"/>
                </a:lnTo>
                <a:lnTo>
                  <a:pt x="127" y="771"/>
                </a:lnTo>
                <a:lnTo>
                  <a:pt x="130" y="770"/>
                </a:lnTo>
                <a:lnTo>
                  <a:pt x="131" y="769"/>
                </a:lnTo>
                <a:lnTo>
                  <a:pt x="134" y="766"/>
                </a:lnTo>
                <a:lnTo>
                  <a:pt x="135" y="766"/>
                </a:lnTo>
                <a:lnTo>
                  <a:pt x="138" y="766"/>
                </a:lnTo>
                <a:lnTo>
                  <a:pt x="140" y="766"/>
                </a:lnTo>
                <a:lnTo>
                  <a:pt x="142" y="765"/>
                </a:lnTo>
                <a:lnTo>
                  <a:pt x="144" y="762"/>
                </a:lnTo>
                <a:lnTo>
                  <a:pt x="146" y="762"/>
                </a:lnTo>
                <a:lnTo>
                  <a:pt x="148" y="762"/>
                </a:lnTo>
                <a:lnTo>
                  <a:pt x="149" y="761"/>
                </a:lnTo>
                <a:lnTo>
                  <a:pt x="152" y="759"/>
                </a:lnTo>
                <a:lnTo>
                  <a:pt x="155" y="759"/>
                </a:lnTo>
                <a:lnTo>
                  <a:pt x="156" y="757"/>
                </a:lnTo>
                <a:lnTo>
                  <a:pt x="157" y="757"/>
                </a:lnTo>
                <a:lnTo>
                  <a:pt x="160" y="755"/>
                </a:lnTo>
                <a:lnTo>
                  <a:pt x="162" y="755"/>
                </a:lnTo>
                <a:lnTo>
                  <a:pt x="163" y="753"/>
                </a:lnTo>
                <a:lnTo>
                  <a:pt x="166" y="753"/>
                </a:lnTo>
                <a:lnTo>
                  <a:pt x="167" y="753"/>
                </a:lnTo>
                <a:lnTo>
                  <a:pt x="170" y="752"/>
                </a:lnTo>
                <a:lnTo>
                  <a:pt x="171" y="750"/>
                </a:lnTo>
                <a:lnTo>
                  <a:pt x="173" y="750"/>
                </a:lnTo>
                <a:lnTo>
                  <a:pt x="176" y="749"/>
                </a:lnTo>
                <a:lnTo>
                  <a:pt x="177" y="748"/>
                </a:lnTo>
                <a:lnTo>
                  <a:pt x="179" y="748"/>
                </a:lnTo>
                <a:lnTo>
                  <a:pt x="181" y="746"/>
                </a:lnTo>
                <a:lnTo>
                  <a:pt x="182" y="746"/>
                </a:lnTo>
                <a:lnTo>
                  <a:pt x="184" y="744"/>
                </a:lnTo>
                <a:lnTo>
                  <a:pt x="185" y="744"/>
                </a:lnTo>
                <a:lnTo>
                  <a:pt x="187" y="744"/>
                </a:lnTo>
                <a:lnTo>
                  <a:pt x="188" y="742"/>
                </a:lnTo>
                <a:lnTo>
                  <a:pt x="191" y="740"/>
                </a:lnTo>
                <a:lnTo>
                  <a:pt x="192" y="740"/>
                </a:lnTo>
                <a:lnTo>
                  <a:pt x="194" y="738"/>
                </a:lnTo>
                <a:lnTo>
                  <a:pt x="195" y="738"/>
                </a:lnTo>
                <a:lnTo>
                  <a:pt x="198" y="737"/>
                </a:lnTo>
                <a:lnTo>
                  <a:pt x="199" y="734"/>
                </a:lnTo>
                <a:lnTo>
                  <a:pt x="202" y="734"/>
                </a:lnTo>
                <a:lnTo>
                  <a:pt x="204" y="734"/>
                </a:lnTo>
                <a:lnTo>
                  <a:pt x="205" y="734"/>
                </a:lnTo>
                <a:lnTo>
                  <a:pt x="206" y="733"/>
                </a:lnTo>
                <a:lnTo>
                  <a:pt x="209" y="730"/>
                </a:lnTo>
                <a:lnTo>
                  <a:pt x="210" y="730"/>
                </a:lnTo>
                <a:lnTo>
                  <a:pt x="212" y="730"/>
                </a:lnTo>
                <a:lnTo>
                  <a:pt x="213" y="730"/>
                </a:lnTo>
                <a:lnTo>
                  <a:pt x="215" y="729"/>
                </a:lnTo>
                <a:lnTo>
                  <a:pt x="217" y="729"/>
                </a:lnTo>
                <a:lnTo>
                  <a:pt x="219" y="727"/>
                </a:lnTo>
                <a:lnTo>
                  <a:pt x="220" y="727"/>
                </a:lnTo>
                <a:lnTo>
                  <a:pt x="223" y="727"/>
                </a:lnTo>
                <a:lnTo>
                  <a:pt x="224" y="725"/>
                </a:lnTo>
                <a:lnTo>
                  <a:pt x="226" y="725"/>
                </a:lnTo>
                <a:lnTo>
                  <a:pt x="227" y="721"/>
                </a:lnTo>
                <a:lnTo>
                  <a:pt x="229" y="721"/>
                </a:lnTo>
                <a:lnTo>
                  <a:pt x="231" y="721"/>
                </a:lnTo>
                <a:lnTo>
                  <a:pt x="232" y="721"/>
                </a:lnTo>
                <a:lnTo>
                  <a:pt x="235" y="720"/>
                </a:lnTo>
                <a:lnTo>
                  <a:pt x="237" y="717"/>
                </a:lnTo>
                <a:lnTo>
                  <a:pt x="238" y="717"/>
                </a:lnTo>
                <a:lnTo>
                  <a:pt x="241" y="717"/>
                </a:lnTo>
                <a:lnTo>
                  <a:pt x="242" y="716"/>
                </a:lnTo>
                <a:lnTo>
                  <a:pt x="245" y="716"/>
                </a:lnTo>
                <a:lnTo>
                  <a:pt x="246" y="715"/>
                </a:lnTo>
                <a:lnTo>
                  <a:pt x="248" y="715"/>
                </a:lnTo>
                <a:lnTo>
                  <a:pt x="251" y="713"/>
                </a:lnTo>
                <a:lnTo>
                  <a:pt x="254" y="713"/>
                </a:lnTo>
                <a:lnTo>
                  <a:pt x="255" y="713"/>
                </a:lnTo>
                <a:lnTo>
                  <a:pt x="256" y="712"/>
                </a:lnTo>
                <a:lnTo>
                  <a:pt x="259" y="712"/>
                </a:lnTo>
                <a:lnTo>
                  <a:pt x="260" y="711"/>
                </a:lnTo>
                <a:lnTo>
                  <a:pt x="263" y="711"/>
                </a:lnTo>
                <a:lnTo>
                  <a:pt x="266" y="708"/>
                </a:lnTo>
                <a:lnTo>
                  <a:pt x="267" y="708"/>
                </a:lnTo>
                <a:lnTo>
                  <a:pt x="269" y="708"/>
                </a:lnTo>
                <a:lnTo>
                  <a:pt x="271" y="708"/>
                </a:lnTo>
                <a:lnTo>
                  <a:pt x="273" y="707"/>
                </a:lnTo>
                <a:lnTo>
                  <a:pt x="276" y="704"/>
                </a:lnTo>
                <a:lnTo>
                  <a:pt x="279" y="704"/>
                </a:lnTo>
                <a:lnTo>
                  <a:pt x="280" y="704"/>
                </a:lnTo>
                <a:lnTo>
                  <a:pt x="283" y="703"/>
                </a:lnTo>
                <a:lnTo>
                  <a:pt x="285" y="703"/>
                </a:lnTo>
                <a:lnTo>
                  <a:pt x="287" y="699"/>
                </a:lnTo>
                <a:lnTo>
                  <a:pt x="288" y="699"/>
                </a:lnTo>
                <a:lnTo>
                  <a:pt x="290" y="699"/>
                </a:lnTo>
                <a:lnTo>
                  <a:pt x="292" y="699"/>
                </a:lnTo>
                <a:lnTo>
                  <a:pt x="294" y="699"/>
                </a:lnTo>
                <a:lnTo>
                  <a:pt x="296" y="698"/>
                </a:lnTo>
                <a:lnTo>
                  <a:pt x="298" y="695"/>
                </a:lnTo>
                <a:lnTo>
                  <a:pt x="301" y="695"/>
                </a:lnTo>
                <a:lnTo>
                  <a:pt x="302" y="695"/>
                </a:lnTo>
                <a:lnTo>
                  <a:pt x="304" y="693"/>
                </a:lnTo>
                <a:lnTo>
                  <a:pt x="305" y="693"/>
                </a:lnTo>
                <a:lnTo>
                  <a:pt x="306" y="693"/>
                </a:lnTo>
                <a:lnTo>
                  <a:pt x="309" y="692"/>
                </a:lnTo>
                <a:lnTo>
                  <a:pt x="310" y="692"/>
                </a:lnTo>
                <a:lnTo>
                  <a:pt x="313" y="691"/>
                </a:lnTo>
                <a:lnTo>
                  <a:pt x="316" y="691"/>
                </a:lnTo>
                <a:lnTo>
                  <a:pt x="317" y="690"/>
                </a:lnTo>
                <a:lnTo>
                  <a:pt x="319" y="688"/>
                </a:lnTo>
                <a:lnTo>
                  <a:pt x="322" y="688"/>
                </a:lnTo>
                <a:lnTo>
                  <a:pt x="323" y="686"/>
                </a:lnTo>
                <a:lnTo>
                  <a:pt x="324" y="686"/>
                </a:lnTo>
                <a:lnTo>
                  <a:pt x="327" y="686"/>
                </a:lnTo>
                <a:lnTo>
                  <a:pt x="330" y="684"/>
                </a:lnTo>
                <a:lnTo>
                  <a:pt x="331" y="682"/>
                </a:lnTo>
                <a:lnTo>
                  <a:pt x="333" y="682"/>
                </a:lnTo>
                <a:lnTo>
                  <a:pt x="336" y="682"/>
                </a:lnTo>
                <a:lnTo>
                  <a:pt x="338" y="682"/>
                </a:lnTo>
                <a:lnTo>
                  <a:pt x="340" y="682"/>
                </a:lnTo>
                <a:lnTo>
                  <a:pt x="341" y="680"/>
                </a:lnTo>
                <a:lnTo>
                  <a:pt x="344" y="680"/>
                </a:lnTo>
                <a:lnTo>
                  <a:pt x="345" y="678"/>
                </a:lnTo>
                <a:lnTo>
                  <a:pt x="348" y="678"/>
                </a:lnTo>
                <a:lnTo>
                  <a:pt x="350" y="678"/>
                </a:lnTo>
                <a:lnTo>
                  <a:pt x="352" y="678"/>
                </a:lnTo>
                <a:lnTo>
                  <a:pt x="354" y="676"/>
                </a:lnTo>
                <a:lnTo>
                  <a:pt x="356" y="676"/>
                </a:lnTo>
                <a:lnTo>
                  <a:pt x="358" y="675"/>
                </a:lnTo>
                <a:lnTo>
                  <a:pt x="361" y="675"/>
                </a:lnTo>
                <a:lnTo>
                  <a:pt x="361" y="673"/>
                </a:lnTo>
                <a:lnTo>
                  <a:pt x="364" y="673"/>
                </a:lnTo>
                <a:lnTo>
                  <a:pt x="365" y="671"/>
                </a:lnTo>
                <a:lnTo>
                  <a:pt x="367" y="671"/>
                </a:lnTo>
                <a:lnTo>
                  <a:pt x="369" y="668"/>
                </a:lnTo>
                <a:lnTo>
                  <a:pt x="372" y="668"/>
                </a:lnTo>
                <a:lnTo>
                  <a:pt x="373" y="668"/>
                </a:lnTo>
                <a:lnTo>
                  <a:pt x="376" y="667"/>
                </a:lnTo>
                <a:lnTo>
                  <a:pt x="377" y="667"/>
                </a:lnTo>
                <a:lnTo>
                  <a:pt x="379" y="666"/>
                </a:lnTo>
                <a:lnTo>
                  <a:pt x="381" y="666"/>
                </a:lnTo>
                <a:lnTo>
                  <a:pt x="384" y="663"/>
                </a:lnTo>
                <a:lnTo>
                  <a:pt x="386" y="663"/>
                </a:lnTo>
                <a:lnTo>
                  <a:pt x="387" y="663"/>
                </a:lnTo>
                <a:lnTo>
                  <a:pt x="390" y="663"/>
                </a:lnTo>
                <a:lnTo>
                  <a:pt x="391" y="662"/>
                </a:lnTo>
                <a:lnTo>
                  <a:pt x="394" y="662"/>
                </a:lnTo>
                <a:lnTo>
                  <a:pt x="395" y="659"/>
                </a:lnTo>
                <a:lnTo>
                  <a:pt x="397" y="659"/>
                </a:lnTo>
                <a:lnTo>
                  <a:pt x="400" y="659"/>
                </a:lnTo>
                <a:lnTo>
                  <a:pt x="402" y="658"/>
                </a:lnTo>
                <a:lnTo>
                  <a:pt x="404" y="658"/>
                </a:lnTo>
                <a:lnTo>
                  <a:pt x="405" y="657"/>
                </a:lnTo>
                <a:lnTo>
                  <a:pt x="408" y="657"/>
                </a:lnTo>
                <a:lnTo>
                  <a:pt x="409" y="655"/>
                </a:lnTo>
                <a:lnTo>
                  <a:pt x="411" y="655"/>
                </a:lnTo>
                <a:lnTo>
                  <a:pt x="412" y="654"/>
                </a:lnTo>
                <a:lnTo>
                  <a:pt x="415" y="654"/>
                </a:lnTo>
                <a:lnTo>
                  <a:pt x="416" y="653"/>
                </a:lnTo>
                <a:lnTo>
                  <a:pt x="419" y="653"/>
                </a:lnTo>
                <a:lnTo>
                  <a:pt x="420" y="650"/>
                </a:lnTo>
                <a:lnTo>
                  <a:pt x="422" y="650"/>
                </a:lnTo>
                <a:lnTo>
                  <a:pt x="423" y="650"/>
                </a:lnTo>
                <a:lnTo>
                  <a:pt x="426" y="649"/>
                </a:lnTo>
                <a:lnTo>
                  <a:pt x="427" y="649"/>
                </a:lnTo>
                <a:lnTo>
                  <a:pt x="430" y="646"/>
                </a:lnTo>
                <a:lnTo>
                  <a:pt x="431" y="646"/>
                </a:lnTo>
                <a:lnTo>
                  <a:pt x="433" y="646"/>
                </a:lnTo>
                <a:lnTo>
                  <a:pt x="434" y="646"/>
                </a:lnTo>
                <a:lnTo>
                  <a:pt x="436" y="645"/>
                </a:lnTo>
                <a:lnTo>
                  <a:pt x="439" y="645"/>
                </a:lnTo>
                <a:lnTo>
                  <a:pt x="440" y="643"/>
                </a:lnTo>
                <a:lnTo>
                  <a:pt x="442" y="642"/>
                </a:lnTo>
                <a:lnTo>
                  <a:pt x="444" y="642"/>
                </a:lnTo>
                <a:lnTo>
                  <a:pt x="445" y="641"/>
                </a:lnTo>
                <a:lnTo>
                  <a:pt x="447" y="641"/>
                </a:lnTo>
                <a:lnTo>
                  <a:pt x="450" y="640"/>
                </a:lnTo>
                <a:lnTo>
                  <a:pt x="451" y="640"/>
                </a:lnTo>
                <a:lnTo>
                  <a:pt x="454" y="637"/>
                </a:lnTo>
                <a:lnTo>
                  <a:pt x="455" y="637"/>
                </a:lnTo>
                <a:lnTo>
                  <a:pt x="456" y="637"/>
                </a:lnTo>
                <a:lnTo>
                  <a:pt x="458" y="636"/>
                </a:lnTo>
                <a:lnTo>
                  <a:pt x="461" y="636"/>
                </a:lnTo>
                <a:lnTo>
                  <a:pt x="462" y="633"/>
                </a:lnTo>
                <a:lnTo>
                  <a:pt x="465" y="633"/>
                </a:lnTo>
                <a:lnTo>
                  <a:pt x="466" y="633"/>
                </a:lnTo>
                <a:lnTo>
                  <a:pt x="469" y="633"/>
                </a:lnTo>
                <a:lnTo>
                  <a:pt x="472" y="632"/>
                </a:lnTo>
                <a:lnTo>
                  <a:pt x="473" y="632"/>
                </a:lnTo>
                <a:lnTo>
                  <a:pt x="476" y="630"/>
                </a:lnTo>
                <a:lnTo>
                  <a:pt x="477" y="630"/>
                </a:lnTo>
                <a:lnTo>
                  <a:pt x="479" y="630"/>
                </a:lnTo>
                <a:lnTo>
                  <a:pt x="481" y="628"/>
                </a:lnTo>
                <a:lnTo>
                  <a:pt x="484" y="628"/>
                </a:lnTo>
                <a:lnTo>
                  <a:pt x="486" y="628"/>
                </a:lnTo>
                <a:lnTo>
                  <a:pt x="489" y="628"/>
                </a:lnTo>
                <a:lnTo>
                  <a:pt x="490" y="628"/>
                </a:lnTo>
                <a:lnTo>
                  <a:pt x="491" y="628"/>
                </a:lnTo>
                <a:lnTo>
                  <a:pt x="494" y="626"/>
                </a:lnTo>
                <a:lnTo>
                  <a:pt x="497" y="626"/>
                </a:lnTo>
                <a:lnTo>
                  <a:pt x="498" y="624"/>
                </a:lnTo>
                <a:lnTo>
                  <a:pt x="501" y="624"/>
                </a:lnTo>
                <a:lnTo>
                  <a:pt x="502" y="624"/>
                </a:lnTo>
                <a:lnTo>
                  <a:pt x="505" y="624"/>
                </a:lnTo>
                <a:lnTo>
                  <a:pt x="506" y="624"/>
                </a:lnTo>
                <a:lnTo>
                  <a:pt x="509" y="623"/>
                </a:lnTo>
                <a:lnTo>
                  <a:pt x="511" y="623"/>
                </a:lnTo>
                <a:lnTo>
                  <a:pt x="514" y="623"/>
                </a:lnTo>
                <a:lnTo>
                  <a:pt x="515" y="621"/>
                </a:lnTo>
                <a:lnTo>
                  <a:pt x="517" y="621"/>
                </a:lnTo>
                <a:lnTo>
                  <a:pt x="520" y="620"/>
                </a:lnTo>
                <a:lnTo>
                  <a:pt x="522" y="620"/>
                </a:lnTo>
                <a:lnTo>
                  <a:pt x="525" y="620"/>
                </a:lnTo>
                <a:lnTo>
                  <a:pt x="527" y="618"/>
                </a:lnTo>
                <a:lnTo>
                  <a:pt x="529" y="618"/>
                </a:lnTo>
                <a:lnTo>
                  <a:pt x="531" y="617"/>
                </a:lnTo>
                <a:lnTo>
                  <a:pt x="534" y="617"/>
                </a:lnTo>
                <a:lnTo>
                  <a:pt x="536" y="617"/>
                </a:lnTo>
                <a:lnTo>
                  <a:pt x="539" y="615"/>
                </a:lnTo>
                <a:lnTo>
                  <a:pt x="541" y="615"/>
                </a:lnTo>
                <a:lnTo>
                  <a:pt x="544" y="615"/>
                </a:lnTo>
                <a:lnTo>
                  <a:pt x="545" y="615"/>
                </a:lnTo>
                <a:lnTo>
                  <a:pt x="548" y="613"/>
                </a:lnTo>
                <a:lnTo>
                  <a:pt x="551" y="613"/>
                </a:lnTo>
                <a:lnTo>
                  <a:pt x="552" y="613"/>
                </a:lnTo>
                <a:lnTo>
                  <a:pt x="555" y="611"/>
                </a:lnTo>
                <a:lnTo>
                  <a:pt x="556" y="611"/>
                </a:lnTo>
                <a:lnTo>
                  <a:pt x="559" y="611"/>
                </a:lnTo>
                <a:lnTo>
                  <a:pt x="561" y="611"/>
                </a:lnTo>
                <a:lnTo>
                  <a:pt x="564" y="611"/>
                </a:lnTo>
                <a:lnTo>
                  <a:pt x="566" y="609"/>
                </a:lnTo>
                <a:lnTo>
                  <a:pt x="569" y="609"/>
                </a:lnTo>
                <a:lnTo>
                  <a:pt x="570" y="608"/>
                </a:lnTo>
                <a:lnTo>
                  <a:pt x="573" y="608"/>
                </a:lnTo>
                <a:lnTo>
                  <a:pt x="576" y="608"/>
                </a:lnTo>
                <a:lnTo>
                  <a:pt x="576" y="605"/>
                </a:lnTo>
                <a:lnTo>
                  <a:pt x="577" y="605"/>
                </a:lnTo>
                <a:lnTo>
                  <a:pt x="580" y="605"/>
                </a:lnTo>
                <a:lnTo>
                  <a:pt x="583" y="605"/>
                </a:lnTo>
                <a:lnTo>
                  <a:pt x="584" y="605"/>
                </a:lnTo>
                <a:lnTo>
                  <a:pt x="586" y="605"/>
                </a:lnTo>
                <a:lnTo>
                  <a:pt x="589" y="604"/>
                </a:lnTo>
                <a:lnTo>
                  <a:pt x="591" y="604"/>
                </a:lnTo>
                <a:lnTo>
                  <a:pt x="593" y="601"/>
                </a:lnTo>
                <a:lnTo>
                  <a:pt x="596" y="601"/>
                </a:lnTo>
                <a:lnTo>
                  <a:pt x="597" y="601"/>
                </a:lnTo>
                <a:lnTo>
                  <a:pt x="600" y="601"/>
                </a:lnTo>
                <a:lnTo>
                  <a:pt x="602" y="600"/>
                </a:lnTo>
                <a:lnTo>
                  <a:pt x="604" y="600"/>
                </a:lnTo>
                <a:lnTo>
                  <a:pt x="605" y="600"/>
                </a:lnTo>
                <a:lnTo>
                  <a:pt x="608" y="598"/>
                </a:lnTo>
                <a:lnTo>
                  <a:pt x="611" y="598"/>
                </a:lnTo>
                <a:lnTo>
                  <a:pt x="612" y="598"/>
                </a:lnTo>
                <a:lnTo>
                  <a:pt x="615" y="598"/>
                </a:lnTo>
                <a:lnTo>
                  <a:pt x="616" y="596"/>
                </a:lnTo>
                <a:lnTo>
                  <a:pt x="619" y="596"/>
                </a:lnTo>
                <a:lnTo>
                  <a:pt x="622" y="596"/>
                </a:lnTo>
                <a:lnTo>
                  <a:pt x="624" y="595"/>
                </a:lnTo>
                <a:lnTo>
                  <a:pt x="626" y="595"/>
                </a:lnTo>
                <a:lnTo>
                  <a:pt x="629" y="592"/>
                </a:lnTo>
                <a:lnTo>
                  <a:pt x="630" y="592"/>
                </a:lnTo>
                <a:lnTo>
                  <a:pt x="632" y="592"/>
                </a:lnTo>
                <a:lnTo>
                  <a:pt x="635" y="592"/>
                </a:lnTo>
                <a:lnTo>
                  <a:pt x="637" y="591"/>
                </a:lnTo>
                <a:lnTo>
                  <a:pt x="639" y="591"/>
                </a:lnTo>
                <a:lnTo>
                  <a:pt x="641" y="588"/>
                </a:lnTo>
                <a:lnTo>
                  <a:pt x="644" y="588"/>
                </a:lnTo>
                <a:lnTo>
                  <a:pt x="646" y="588"/>
                </a:lnTo>
                <a:lnTo>
                  <a:pt x="649" y="588"/>
                </a:lnTo>
                <a:lnTo>
                  <a:pt x="650" y="588"/>
                </a:lnTo>
                <a:lnTo>
                  <a:pt x="651" y="588"/>
                </a:lnTo>
                <a:lnTo>
                  <a:pt x="654" y="588"/>
                </a:lnTo>
                <a:lnTo>
                  <a:pt x="655" y="588"/>
                </a:lnTo>
                <a:lnTo>
                  <a:pt x="657" y="588"/>
                </a:lnTo>
                <a:lnTo>
                  <a:pt x="660" y="587"/>
                </a:lnTo>
                <a:lnTo>
                  <a:pt x="662" y="587"/>
                </a:lnTo>
                <a:lnTo>
                  <a:pt x="664" y="586"/>
                </a:lnTo>
                <a:lnTo>
                  <a:pt x="665" y="586"/>
                </a:lnTo>
                <a:lnTo>
                  <a:pt x="666" y="584"/>
                </a:lnTo>
                <a:lnTo>
                  <a:pt x="669" y="584"/>
                </a:lnTo>
                <a:lnTo>
                  <a:pt x="672" y="584"/>
                </a:lnTo>
                <a:lnTo>
                  <a:pt x="674" y="584"/>
                </a:lnTo>
                <a:lnTo>
                  <a:pt x="676" y="583"/>
                </a:lnTo>
                <a:lnTo>
                  <a:pt x="678" y="583"/>
                </a:lnTo>
                <a:lnTo>
                  <a:pt x="679" y="581"/>
                </a:lnTo>
                <a:lnTo>
                  <a:pt x="680" y="581"/>
                </a:lnTo>
                <a:lnTo>
                  <a:pt x="682" y="579"/>
                </a:lnTo>
                <a:lnTo>
                  <a:pt x="683" y="579"/>
                </a:lnTo>
                <a:lnTo>
                  <a:pt x="685" y="579"/>
                </a:lnTo>
                <a:lnTo>
                  <a:pt x="687" y="579"/>
                </a:lnTo>
                <a:lnTo>
                  <a:pt x="689" y="579"/>
                </a:lnTo>
                <a:lnTo>
                  <a:pt x="691" y="579"/>
                </a:lnTo>
                <a:lnTo>
                  <a:pt x="694" y="579"/>
                </a:lnTo>
                <a:lnTo>
                  <a:pt x="696" y="579"/>
                </a:lnTo>
                <a:lnTo>
                  <a:pt x="697" y="578"/>
                </a:lnTo>
                <a:lnTo>
                  <a:pt x="700" y="578"/>
                </a:lnTo>
                <a:lnTo>
                  <a:pt x="701" y="575"/>
                </a:lnTo>
                <a:lnTo>
                  <a:pt x="703" y="575"/>
                </a:lnTo>
                <a:lnTo>
                  <a:pt x="704" y="575"/>
                </a:lnTo>
                <a:lnTo>
                  <a:pt x="707" y="575"/>
                </a:lnTo>
                <a:lnTo>
                  <a:pt x="710" y="574"/>
                </a:lnTo>
                <a:lnTo>
                  <a:pt x="711" y="574"/>
                </a:lnTo>
                <a:lnTo>
                  <a:pt x="714" y="573"/>
                </a:lnTo>
                <a:lnTo>
                  <a:pt x="715" y="573"/>
                </a:lnTo>
                <a:lnTo>
                  <a:pt x="718" y="570"/>
                </a:lnTo>
                <a:lnTo>
                  <a:pt x="719" y="570"/>
                </a:lnTo>
                <a:lnTo>
                  <a:pt x="722" y="570"/>
                </a:lnTo>
                <a:lnTo>
                  <a:pt x="724" y="568"/>
                </a:lnTo>
                <a:lnTo>
                  <a:pt x="726" y="568"/>
                </a:lnTo>
                <a:lnTo>
                  <a:pt x="728" y="566"/>
                </a:lnTo>
                <a:lnTo>
                  <a:pt x="729" y="566"/>
                </a:lnTo>
                <a:lnTo>
                  <a:pt x="732" y="566"/>
                </a:lnTo>
                <a:lnTo>
                  <a:pt x="733" y="566"/>
                </a:lnTo>
                <a:lnTo>
                  <a:pt x="735" y="566"/>
                </a:lnTo>
                <a:lnTo>
                  <a:pt x="737" y="564"/>
                </a:lnTo>
                <a:lnTo>
                  <a:pt x="740" y="562"/>
                </a:lnTo>
                <a:lnTo>
                  <a:pt x="741" y="562"/>
                </a:lnTo>
                <a:lnTo>
                  <a:pt x="743" y="562"/>
                </a:lnTo>
                <a:lnTo>
                  <a:pt x="746" y="562"/>
                </a:lnTo>
                <a:lnTo>
                  <a:pt x="749" y="561"/>
                </a:lnTo>
                <a:lnTo>
                  <a:pt x="750" y="561"/>
                </a:lnTo>
                <a:lnTo>
                  <a:pt x="751" y="559"/>
                </a:lnTo>
                <a:lnTo>
                  <a:pt x="755" y="556"/>
                </a:lnTo>
                <a:lnTo>
                  <a:pt x="757" y="556"/>
                </a:lnTo>
                <a:lnTo>
                  <a:pt x="760" y="556"/>
                </a:lnTo>
                <a:lnTo>
                  <a:pt x="761" y="556"/>
                </a:lnTo>
                <a:lnTo>
                  <a:pt x="764" y="555"/>
                </a:lnTo>
                <a:lnTo>
                  <a:pt x="765" y="555"/>
                </a:lnTo>
                <a:lnTo>
                  <a:pt x="768" y="555"/>
                </a:lnTo>
                <a:lnTo>
                  <a:pt x="771" y="553"/>
                </a:lnTo>
                <a:lnTo>
                  <a:pt x="772" y="553"/>
                </a:lnTo>
                <a:lnTo>
                  <a:pt x="775" y="553"/>
                </a:lnTo>
                <a:lnTo>
                  <a:pt x="776" y="551"/>
                </a:lnTo>
                <a:lnTo>
                  <a:pt x="779" y="550"/>
                </a:lnTo>
                <a:lnTo>
                  <a:pt x="780" y="550"/>
                </a:lnTo>
                <a:lnTo>
                  <a:pt x="783" y="549"/>
                </a:lnTo>
                <a:lnTo>
                  <a:pt x="786" y="549"/>
                </a:lnTo>
                <a:lnTo>
                  <a:pt x="788" y="547"/>
                </a:lnTo>
                <a:lnTo>
                  <a:pt x="789" y="547"/>
                </a:lnTo>
                <a:lnTo>
                  <a:pt x="791" y="546"/>
                </a:lnTo>
                <a:lnTo>
                  <a:pt x="794" y="546"/>
                </a:lnTo>
                <a:lnTo>
                  <a:pt x="796" y="543"/>
                </a:lnTo>
                <a:lnTo>
                  <a:pt x="799" y="543"/>
                </a:lnTo>
                <a:lnTo>
                  <a:pt x="801" y="543"/>
                </a:lnTo>
                <a:lnTo>
                  <a:pt x="803" y="543"/>
                </a:lnTo>
                <a:lnTo>
                  <a:pt x="805" y="542"/>
                </a:lnTo>
                <a:lnTo>
                  <a:pt x="808" y="542"/>
                </a:lnTo>
                <a:lnTo>
                  <a:pt x="810" y="539"/>
                </a:lnTo>
                <a:lnTo>
                  <a:pt x="813" y="539"/>
                </a:lnTo>
                <a:lnTo>
                  <a:pt x="814" y="539"/>
                </a:lnTo>
                <a:lnTo>
                  <a:pt x="816" y="539"/>
                </a:lnTo>
                <a:lnTo>
                  <a:pt x="819" y="539"/>
                </a:lnTo>
                <a:lnTo>
                  <a:pt x="821" y="538"/>
                </a:lnTo>
                <a:lnTo>
                  <a:pt x="824" y="538"/>
                </a:lnTo>
                <a:lnTo>
                  <a:pt x="826" y="537"/>
                </a:lnTo>
                <a:lnTo>
                  <a:pt x="828" y="537"/>
                </a:lnTo>
                <a:lnTo>
                  <a:pt x="830" y="534"/>
                </a:lnTo>
                <a:lnTo>
                  <a:pt x="833" y="534"/>
                </a:lnTo>
                <a:lnTo>
                  <a:pt x="835" y="534"/>
                </a:lnTo>
                <a:lnTo>
                  <a:pt x="836" y="534"/>
                </a:lnTo>
                <a:lnTo>
                  <a:pt x="839" y="534"/>
                </a:lnTo>
                <a:lnTo>
                  <a:pt x="842" y="533"/>
                </a:lnTo>
                <a:lnTo>
                  <a:pt x="843" y="533"/>
                </a:lnTo>
                <a:lnTo>
                  <a:pt x="846" y="533"/>
                </a:lnTo>
                <a:lnTo>
                  <a:pt x="847" y="530"/>
                </a:lnTo>
                <a:lnTo>
                  <a:pt x="849" y="530"/>
                </a:lnTo>
                <a:lnTo>
                  <a:pt x="851" y="530"/>
                </a:lnTo>
                <a:lnTo>
                  <a:pt x="854" y="530"/>
                </a:lnTo>
                <a:lnTo>
                  <a:pt x="856" y="530"/>
                </a:lnTo>
                <a:lnTo>
                  <a:pt x="858" y="530"/>
                </a:lnTo>
                <a:lnTo>
                  <a:pt x="860" y="530"/>
                </a:lnTo>
                <a:lnTo>
                  <a:pt x="863" y="530"/>
                </a:lnTo>
                <a:lnTo>
                  <a:pt x="864" y="529"/>
                </a:lnTo>
                <a:lnTo>
                  <a:pt x="865" y="529"/>
                </a:lnTo>
                <a:lnTo>
                  <a:pt x="868" y="529"/>
                </a:lnTo>
                <a:lnTo>
                  <a:pt x="870" y="529"/>
                </a:lnTo>
                <a:lnTo>
                  <a:pt x="872" y="528"/>
                </a:lnTo>
                <a:lnTo>
                  <a:pt x="875" y="528"/>
                </a:lnTo>
                <a:lnTo>
                  <a:pt x="876" y="528"/>
                </a:lnTo>
                <a:lnTo>
                  <a:pt x="879" y="528"/>
                </a:lnTo>
                <a:lnTo>
                  <a:pt x="881" y="526"/>
                </a:lnTo>
                <a:lnTo>
                  <a:pt x="882" y="526"/>
                </a:lnTo>
                <a:lnTo>
                  <a:pt x="885" y="526"/>
                </a:lnTo>
                <a:lnTo>
                  <a:pt x="886" y="526"/>
                </a:lnTo>
                <a:lnTo>
                  <a:pt x="888" y="526"/>
                </a:lnTo>
                <a:lnTo>
                  <a:pt x="890" y="525"/>
                </a:lnTo>
                <a:lnTo>
                  <a:pt x="892" y="525"/>
                </a:lnTo>
                <a:lnTo>
                  <a:pt x="893" y="525"/>
                </a:lnTo>
                <a:lnTo>
                  <a:pt x="896" y="524"/>
                </a:lnTo>
                <a:lnTo>
                  <a:pt x="897" y="524"/>
                </a:lnTo>
                <a:lnTo>
                  <a:pt x="899" y="524"/>
                </a:lnTo>
                <a:lnTo>
                  <a:pt x="901" y="524"/>
                </a:lnTo>
                <a:lnTo>
                  <a:pt x="903" y="521"/>
                </a:lnTo>
                <a:lnTo>
                  <a:pt x="904" y="521"/>
                </a:lnTo>
                <a:lnTo>
                  <a:pt x="906" y="521"/>
                </a:lnTo>
                <a:lnTo>
                  <a:pt x="909" y="521"/>
                </a:lnTo>
                <a:lnTo>
                  <a:pt x="910" y="521"/>
                </a:lnTo>
                <a:lnTo>
                  <a:pt x="911" y="521"/>
                </a:lnTo>
                <a:lnTo>
                  <a:pt x="913" y="521"/>
                </a:lnTo>
                <a:lnTo>
                  <a:pt x="915" y="519"/>
                </a:lnTo>
                <a:lnTo>
                  <a:pt x="917" y="519"/>
                </a:lnTo>
                <a:lnTo>
                  <a:pt x="918" y="519"/>
                </a:lnTo>
                <a:lnTo>
                  <a:pt x="921" y="517"/>
                </a:lnTo>
                <a:lnTo>
                  <a:pt x="923" y="517"/>
                </a:lnTo>
                <a:lnTo>
                  <a:pt x="924" y="517"/>
                </a:lnTo>
                <a:lnTo>
                  <a:pt x="925" y="517"/>
                </a:lnTo>
                <a:lnTo>
                  <a:pt x="926" y="517"/>
                </a:lnTo>
                <a:lnTo>
                  <a:pt x="928" y="517"/>
                </a:lnTo>
                <a:lnTo>
                  <a:pt x="929" y="517"/>
                </a:lnTo>
                <a:lnTo>
                  <a:pt x="931" y="517"/>
                </a:lnTo>
                <a:lnTo>
                  <a:pt x="932" y="516"/>
                </a:lnTo>
                <a:lnTo>
                  <a:pt x="935" y="516"/>
                </a:lnTo>
                <a:lnTo>
                  <a:pt x="936" y="516"/>
                </a:lnTo>
                <a:lnTo>
                  <a:pt x="938" y="514"/>
                </a:lnTo>
                <a:lnTo>
                  <a:pt x="940" y="514"/>
                </a:lnTo>
                <a:lnTo>
                  <a:pt x="942" y="514"/>
                </a:lnTo>
                <a:lnTo>
                  <a:pt x="943" y="513"/>
                </a:lnTo>
                <a:lnTo>
                  <a:pt x="945" y="513"/>
                </a:lnTo>
                <a:lnTo>
                  <a:pt x="948" y="513"/>
                </a:lnTo>
                <a:lnTo>
                  <a:pt x="949" y="513"/>
                </a:lnTo>
                <a:lnTo>
                  <a:pt x="950" y="512"/>
                </a:lnTo>
                <a:lnTo>
                  <a:pt x="951" y="512"/>
                </a:lnTo>
                <a:lnTo>
                  <a:pt x="954" y="512"/>
                </a:lnTo>
                <a:lnTo>
                  <a:pt x="956" y="511"/>
                </a:lnTo>
                <a:lnTo>
                  <a:pt x="957" y="511"/>
                </a:lnTo>
                <a:lnTo>
                  <a:pt x="960" y="511"/>
                </a:lnTo>
                <a:lnTo>
                  <a:pt x="961" y="508"/>
                </a:lnTo>
                <a:lnTo>
                  <a:pt x="963" y="508"/>
                </a:lnTo>
                <a:lnTo>
                  <a:pt x="964" y="508"/>
                </a:lnTo>
                <a:lnTo>
                  <a:pt x="967" y="508"/>
                </a:lnTo>
                <a:lnTo>
                  <a:pt x="968" y="508"/>
                </a:lnTo>
                <a:lnTo>
                  <a:pt x="970" y="508"/>
                </a:lnTo>
                <a:lnTo>
                  <a:pt x="971" y="508"/>
                </a:lnTo>
                <a:lnTo>
                  <a:pt x="973" y="506"/>
                </a:lnTo>
                <a:lnTo>
                  <a:pt x="975" y="506"/>
                </a:lnTo>
                <a:lnTo>
                  <a:pt x="976" y="506"/>
                </a:lnTo>
                <a:lnTo>
                  <a:pt x="978" y="506"/>
                </a:lnTo>
                <a:lnTo>
                  <a:pt x="981" y="504"/>
                </a:lnTo>
                <a:lnTo>
                  <a:pt x="982" y="504"/>
                </a:lnTo>
                <a:lnTo>
                  <a:pt x="984" y="504"/>
                </a:lnTo>
                <a:lnTo>
                  <a:pt x="985" y="504"/>
                </a:lnTo>
                <a:lnTo>
                  <a:pt x="986" y="504"/>
                </a:lnTo>
                <a:lnTo>
                  <a:pt x="988" y="504"/>
                </a:lnTo>
                <a:lnTo>
                  <a:pt x="989" y="504"/>
                </a:lnTo>
                <a:lnTo>
                  <a:pt x="990" y="504"/>
                </a:lnTo>
                <a:lnTo>
                  <a:pt x="993" y="504"/>
                </a:lnTo>
                <a:lnTo>
                  <a:pt x="995" y="503"/>
                </a:lnTo>
                <a:lnTo>
                  <a:pt x="996" y="503"/>
                </a:lnTo>
                <a:lnTo>
                  <a:pt x="999" y="503"/>
                </a:lnTo>
                <a:lnTo>
                  <a:pt x="1000" y="503"/>
                </a:lnTo>
                <a:lnTo>
                  <a:pt x="1001" y="501"/>
                </a:lnTo>
                <a:lnTo>
                  <a:pt x="1004" y="501"/>
                </a:lnTo>
                <a:lnTo>
                  <a:pt x="1006" y="501"/>
                </a:lnTo>
                <a:lnTo>
                  <a:pt x="1007" y="501"/>
                </a:lnTo>
                <a:lnTo>
                  <a:pt x="1010" y="501"/>
                </a:lnTo>
                <a:lnTo>
                  <a:pt x="1011" y="499"/>
                </a:lnTo>
                <a:lnTo>
                  <a:pt x="1014" y="499"/>
                </a:lnTo>
                <a:lnTo>
                  <a:pt x="1015" y="497"/>
                </a:lnTo>
                <a:lnTo>
                  <a:pt x="1018" y="497"/>
                </a:lnTo>
                <a:lnTo>
                  <a:pt x="1020" y="494"/>
                </a:lnTo>
                <a:lnTo>
                  <a:pt x="1023" y="494"/>
                </a:lnTo>
                <a:lnTo>
                  <a:pt x="1024" y="493"/>
                </a:lnTo>
                <a:lnTo>
                  <a:pt x="1026" y="492"/>
                </a:lnTo>
                <a:lnTo>
                  <a:pt x="1029" y="492"/>
                </a:lnTo>
                <a:lnTo>
                  <a:pt x="1031" y="491"/>
                </a:lnTo>
                <a:lnTo>
                  <a:pt x="1032" y="489"/>
                </a:lnTo>
                <a:lnTo>
                  <a:pt x="1034" y="488"/>
                </a:lnTo>
                <a:lnTo>
                  <a:pt x="1036" y="488"/>
                </a:lnTo>
                <a:lnTo>
                  <a:pt x="1038" y="486"/>
                </a:lnTo>
                <a:lnTo>
                  <a:pt x="1039" y="486"/>
                </a:lnTo>
                <a:lnTo>
                  <a:pt x="1040" y="486"/>
                </a:lnTo>
                <a:lnTo>
                  <a:pt x="1042" y="484"/>
                </a:lnTo>
                <a:lnTo>
                  <a:pt x="1043" y="481"/>
                </a:lnTo>
                <a:lnTo>
                  <a:pt x="1045" y="481"/>
                </a:lnTo>
                <a:lnTo>
                  <a:pt x="1048" y="481"/>
                </a:lnTo>
                <a:lnTo>
                  <a:pt x="1049" y="480"/>
                </a:lnTo>
                <a:lnTo>
                  <a:pt x="1050" y="479"/>
                </a:lnTo>
                <a:lnTo>
                  <a:pt x="1051" y="479"/>
                </a:lnTo>
                <a:lnTo>
                  <a:pt x="1054" y="476"/>
                </a:lnTo>
                <a:lnTo>
                  <a:pt x="1056" y="476"/>
                </a:lnTo>
                <a:lnTo>
                  <a:pt x="1059" y="476"/>
                </a:lnTo>
                <a:lnTo>
                  <a:pt x="1060" y="475"/>
                </a:lnTo>
                <a:lnTo>
                  <a:pt x="1061" y="472"/>
                </a:lnTo>
                <a:lnTo>
                  <a:pt x="1064" y="472"/>
                </a:lnTo>
                <a:lnTo>
                  <a:pt x="1065" y="471"/>
                </a:lnTo>
                <a:lnTo>
                  <a:pt x="1067" y="471"/>
                </a:lnTo>
                <a:lnTo>
                  <a:pt x="1068" y="469"/>
                </a:lnTo>
                <a:lnTo>
                  <a:pt x="1071" y="468"/>
                </a:lnTo>
                <a:lnTo>
                  <a:pt x="1073" y="467"/>
                </a:lnTo>
                <a:lnTo>
                  <a:pt x="1075" y="466"/>
                </a:lnTo>
                <a:lnTo>
                  <a:pt x="1076" y="463"/>
                </a:lnTo>
                <a:lnTo>
                  <a:pt x="1079" y="463"/>
                </a:lnTo>
                <a:lnTo>
                  <a:pt x="1081" y="463"/>
                </a:lnTo>
                <a:lnTo>
                  <a:pt x="1084" y="462"/>
                </a:lnTo>
                <a:lnTo>
                  <a:pt x="1085" y="459"/>
                </a:lnTo>
                <a:lnTo>
                  <a:pt x="1088" y="459"/>
                </a:lnTo>
                <a:lnTo>
                  <a:pt x="1089" y="458"/>
                </a:lnTo>
                <a:lnTo>
                  <a:pt x="1092" y="456"/>
                </a:lnTo>
                <a:lnTo>
                  <a:pt x="1093" y="455"/>
                </a:lnTo>
                <a:lnTo>
                  <a:pt x="1096" y="454"/>
                </a:lnTo>
                <a:lnTo>
                  <a:pt x="1098" y="454"/>
                </a:lnTo>
                <a:lnTo>
                  <a:pt x="1100" y="452"/>
                </a:lnTo>
                <a:lnTo>
                  <a:pt x="1103" y="450"/>
                </a:lnTo>
                <a:lnTo>
                  <a:pt x="1104" y="450"/>
                </a:lnTo>
                <a:lnTo>
                  <a:pt x="1107" y="449"/>
                </a:lnTo>
                <a:lnTo>
                  <a:pt x="1109" y="447"/>
                </a:lnTo>
                <a:lnTo>
                  <a:pt x="1110" y="447"/>
                </a:lnTo>
                <a:lnTo>
                  <a:pt x="1111" y="446"/>
                </a:lnTo>
                <a:lnTo>
                  <a:pt x="1113" y="446"/>
                </a:lnTo>
                <a:lnTo>
                  <a:pt x="1115" y="444"/>
                </a:lnTo>
                <a:lnTo>
                  <a:pt x="1117" y="443"/>
                </a:lnTo>
                <a:lnTo>
                  <a:pt x="1120" y="441"/>
                </a:lnTo>
                <a:lnTo>
                  <a:pt x="1121" y="441"/>
                </a:lnTo>
                <a:lnTo>
                  <a:pt x="1124" y="439"/>
                </a:lnTo>
                <a:lnTo>
                  <a:pt x="1125" y="437"/>
                </a:lnTo>
                <a:lnTo>
                  <a:pt x="1128" y="437"/>
                </a:lnTo>
                <a:lnTo>
                  <a:pt x="1129" y="435"/>
                </a:lnTo>
                <a:lnTo>
                  <a:pt x="1132" y="432"/>
                </a:lnTo>
                <a:lnTo>
                  <a:pt x="1134" y="432"/>
                </a:lnTo>
                <a:lnTo>
                  <a:pt x="1136" y="431"/>
                </a:lnTo>
                <a:lnTo>
                  <a:pt x="1138" y="430"/>
                </a:lnTo>
                <a:lnTo>
                  <a:pt x="1139" y="427"/>
                </a:lnTo>
                <a:lnTo>
                  <a:pt x="1142" y="427"/>
                </a:lnTo>
                <a:lnTo>
                  <a:pt x="1145" y="427"/>
                </a:lnTo>
                <a:lnTo>
                  <a:pt x="1146" y="426"/>
                </a:lnTo>
                <a:lnTo>
                  <a:pt x="1149" y="425"/>
                </a:lnTo>
                <a:lnTo>
                  <a:pt x="1150" y="424"/>
                </a:lnTo>
                <a:lnTo>
                  <a:pt x="1153" y="422"/>
                </a:lnTo>
                <a:lnTo>
                  <a:pt x="1155" y="422"/>
                </a:lnTo>
                <a:lnTo>
                  <a:pt x="1156" y="421"/>
                </a:lnTo>
                <a:lnTo>
                  <a:pt x="1159" y="419"/>
                </a:lnTo>
                <a:lnTo>
                  <a:pt x="1160" y="418"/>
                </a:lnTo>
                <a:lnTo>
                  <a:pt x="1163" y="417"/>
                </a:lnTo>
                <a:lnTo>
                  <a:pt x="1164" y="417"/>
                </a:lnTo>
                <a:lnTo>
                  <a:pt x="1167" y="414"/>
                </a:lnTo>
                <a:lnTo>
                  <a:pt x="1170" y="414"/>
                </a:lnTo>
                <a:lnTo>
                  <a:pt x="1171" y="413"/>
                </a:lnTo>
                <a:lnTo>
                  <a:pt x="1174" y="410"/>
                </a:lnTo>
                <a:lnTo>
                  <a:pt x="1175" y="410"/>
                </a:lnTo>
                <a:lnTo>
                  <a:pt x="1177" y="410"/>
                </a:lnTo>
                <a:lnTo>
                  <a:pt x="1180" y="410"/>
                </a:lnTo>
                <a:lnTo>
                  <a:pt x="1183" y="409"/>
                </a:lnTo>
                <a:lnTo>
                  <a:pt x="1184" y="409"/>
                </a:lnTo>
                <a:lnTo>
                  <a:pt x="1186" y="407"/>
                </a:lnTo>
                <a:lnTo>
                  <a:pt x="1189" y="407"/>
                </a:lnTo>
                <a:lnTo>
                  <a:pt x="1191" y="405"/>
                </a:lnTo>
                <a:lnTo>
                  <a:pt x="1194" y="405"/>
                </a:lnTo>
                <a:lnTo>
                  <a:pt x="1196" y="405"/>
                </a:lnTo>
                <a:lnTo>
                  <a:pt x="1198" y="405"/>
                </a:lnTo>
                <a:lnTo>
                  <a:pt x="1200" y="405"/>
                </a:lnTo>
                <a:lnTo>
                  <a:pt x="1203" y="404"/>
                </a:lnTo>
                <a:lnTo>
                  <a:pt x="1205" y="404"/>
                </a:lnTo>
                <a:lnTo>
                  <a:pt x="1208" y="404"/>
                </a:lnTo>
                <a:lnTo>
                  <a:pt x="1210" y="401"/>
                </a:lnTo>
                <a:lnTo>
                  <a:pt x="1213" y="401"/>
                </a:lnTo>
                <a:lnTo>
                  <a:pt x="1214" y="401"/>
                </a:lnTo>
                <a:lnTo>
                  <a:pt x="1216" y="401"/>
                </a:lnTo>
                <a:lnTo>
                  <a:pt x="1219" y="401"/>
                </a:lnTo>
                <a:lnTo>
                  <a:pt x="1221" y="400"/>
                </a:lnTo>
                <a:lnTo>
                  <a:pt x="1223" y="401"/>
                </a:lnTo>
                <a:lnTo>
                  <a:pt x="1225" y="401"/>
                </a:lnTo>
                <a:lnTo>
                  <a:pt x="1227" y="401"/>
                </a:lnTo>
                <a:lnTo>
                  <a:pt x="1230" y="401"/>
                </a:lnTo>
                <a:lnTo>
                  <a:pt x="1231" y="400"/>
                </a:lnTo>
                <a:lnTo>
                  <a:pt x="1233" y="397"/>
                </a:lnTo>
                <a:lnTo>
                  <a:pt x="1234" y="397"/>
                </a:lnTo>
                <a:lnTo>
                  <a:pt x="1237" y="397"/>
                </a:lnTo>
                <a:lnTo>
                  <a:pt x="1238" y="397"/>
                </a:lnTo>
                <a:lnTo>
                  <a:pt x="1241" y="396"/>
                </a:lnTo>
                <a:lnTo>
                  <a:pt x="1242" y="396"/>
                </a:lnTo>
                <a:lnTo>
                  <a:pt x="1245" y="396"/>
                </a:lnTo>
                <a:lnTo>
                  <a:pt x="1246" y="394"/>
                </a:lnTo>
                <a:lnTo>
                  <a:pt x="1249" y="394"/>
                </a:lnTo>
                <a:lnTo>
                  <a:pt x="1250" y="394"/>
                </a:lnTo>
                <a:lnTo>
                  <a:pt x="1252" y="392"/>
                </a:lnTo>
                <a:lnTo>
                  <a:pt x="1255" y="392"/>
                </a:lnTo>
                <a:lnTo>
                  <a:pt x="1256" y="392"/>
                </a:lnTo>
                <a:lnTo>
                  <a:pt x="1259" y="392"/>
                </a:lnTo>
                <a:lnTo>
                  <a:pt x="1260" y="392"/>
                </a:lnTo>
                <a:lnTo>
                  <a:pt x="1263" y="392"/>
                </a:lnTo>
                <a:lnTo>
                  <a:pt x="1264" y="390"/>
                </a:lnTo>
                <a:lnTo>
                  <a:pt x="1267" y="390"/>
                </a:lnTo>
                <a:lnTo>
                  <a:pt x="1269" y="390"/>
                </a:lnTo>
                <a:lnTo>
                  <a:pt x="1270" y="388"/>
                </a:lnTo>
                <a:lnTo>
                  <a:pt x="1271" y="388"/>
                </a:lnTo>
                <a:lnTo>
                  <a:pt x="1274" y="388"/>
                </a:lnTo>
                <a:lnTo>
                  <a:pt x="1275" y="388"/>
                </a:lnTo>
                <a:lnTo>
                  <a:pt x="1278" y="388"/>
                </a:lnTo>
                <a:lnTo>
                  <a:pt x="1281" y="388"/>
                </a:lnTo>
                <a:lnTo>
                  <a:pt x="1283" y="387"/>
                </a:lnTo>
                <a:lnTo>
                  <a:pt x="1284" y="387"/>
                </a:lnTo>
                <a:lnTo>
                  <a:pt x="1285" y="385"/>
                </a:lnTo>
                <a:lnTo>
                  <a:pt x="1288" y="384"/>
                </a:lnTo>
                <a:lnTo>
                  <a:pt x="1291" y="384"/>
                </a:lnTo>
                <a:lnTo>
                  <a:pt x="1292" y="382"/>
                </a:lnTo>
                <a:lnTo>
                  <a:pt x="1294" y="382"/>
                </a:lnTo>
                <a:lnTo>
                  <a:pt x="1295" y="381"/>
                </a:lnTo>
                <a:lnTo>
                  <a:pt x="1298" y="379"/>
                </a:lnTo>
                <a:lnTo>
                  <a:pt x="1299" y="379"/>
                </a:lnTo>
                <a:lnTo>
                  <a:pt x="1302" y="379"/>
                </a:lnTo>
                <a:lnTo>
                  <a:pt x="1303" y="377"/>
                </a:lnTo>
                <a:lnTo>
                  <a:pt x="1305" y="375"/>
                </a:lnTo>
                <a:lnTo>
                  <a:pt x="1308" y="375"/>
                </a:lnTo>
                <a:lnTo>
                  <a:pt x="1309" y="375"/>
                </a:lnTo>
                <a:lnTo>
                  <a:pt x="1310" y="373"/>
                </a:lnTo>
                <a:lnTo>
                  <a:pt x="1313" y="372"/>
                </a:lnTo>
                <a:lnTo>
                  <a:pt x="1314" y="372"/>
                </a:lnTo>
                <a:lnTo>
                  <a:pt x="1316" y="369"/>
                </a:lnTo>
                <a:lnTo>
                  <a:pt x="1319" y="369"/>
                </a:lnTo>
                <a:lnTo>
                  <a:pt x="1320" y="369"/>
                </a:lnTo>
                <a:lnTo>
                  <a:pt x="1321" y="368"/>
                </a:lnTo>
                <a:lnTo>
                  <a:pt x="1324" y="365"/>
                </a:lnTo>
                <a:lnTo>
                  <a:pt x="1325" y="365"/>
                </a:lnTo>
                <a:lnTo>
                  <a:pt x="1328" y="365"/>
                </a:lnTo>
                <a:lnTo>
                  <a:pt x="1330" y="364"/>
                </a:lnTo>
                <a:lnTo>
                  <a:pt x="1331" y="363"/>
                </a:lnTo>
                <a:lnTo>
                  <a:pt x="1335" y="362"/>
                </a:lnTo>
                <a:lnTo>
                  <a:pt x="1337" y="360"/>
                </a:lnTo>
                <a:lnTo>
                  <a:pt x="1339" y="359"/>
                </a:lnTo>
                <a:lnTo>
                  <a:pt x="1341" y="356"/>
                </a:lnTo>
                <a:lnTo>
                  <a:pt x="1342" y="356"/>
                </a:lnTo>
                <a:lnTo>
                  <a:pt x="1345" y="356"/>
                </a:lnTo>
                <a:lnTo>
                  <a:pt x="1347" y="355"/>
                </a:lnTo>
                <a:lnTo>
                  <a:pt x="1348" y="355"/>
                </a:lnTo>
                <a:lnTo>
                  <a:pt x="1350" y="352"/>
                </a:lnTo>
                <a:lnTo>
                  <a:pt x="1353" y="352"/>
                </a:lnTo>
                <a:lnTo>
                  <a:pt x="1355" y="351"/>
                </a:lnTo>
                <a:lnTo>
                  <a:pt x="1356" y="350"/>
                </a:lnTo>
                <a:lnTo>
                  <a:pt x="1359" y="350"/>
                </a:lnTo>
                <a:lnTo>
                  <a:pt x="1360" y="347"/>
                </a:lnTo>
                <a:lnTo>
                  <a:pt x="1362" y="347"/>
                </a:lnTo>
                <a:lnTo>
                  <a:pt x="1363" y="347"/>
                </a:lnTo>
                <a:lnTo>
                  <a:pt x="1366" y="345"/>
                </a:lnTo>
                <a:lnTo>
                  <a:pt x="1367" y="343"/>
                </a:lnTo>
                <a:lnTo>
                  <a:pt x="1369" y="343"/>
                </a:lnTo>
                <a:lnTo>
                  <a:pt x="1372" y="343"/>
                </a:lnTo>
                <a:lnTo>
                  <a:pt x="1373" y="342"/>
                </a:lnTo>
                <a:lnTo>
                  <a:pt x="1374" y="339"/>
                </a:lnTo>
                <a:lnTo>
                  <a:pt x="1377" y="339"/>
                </a:lnTo>
                <a:lnTo>
                  <a:pt x="1378" y="339"/>
                </a:lnTo>
                <a:lnTo>
                  <a:pt x="1381" y="338"/>
                </a:lnTo>
                <a:lnTo>
                  <a:pt x="1383" y="338"/>
                </a:lnTo>
                <a:lnTo>
                  <a:pt x="1384" y="337"/>
                </a:lnTo>
                <a:lnTo>
                  <a:pt x="1387" y="337"/>
                </a:lnTo>
                <a:lnTo>
                  <a:pt x="1388" y="334"/>
                </a:lnTo>
                <a:lnTo>
                  <a:pt x="1391" y="334"/>
                </a:lnTo>
                <a:lnTo>
                  <a:pt x="1392" y="334"/>
                </a:lnTo>
                <a:lnTo>
                  <a:pt x="1395" y="334"/>
                </a:lnTo>
                <a:lnTo>
                  <a:pt x="1397" y="332"/>
                </a:lnTo>
                <a:lnTo>
                  <a:pt x="1398" y="332"/>
                </a:lnTo>
                <a:lnTo>
                  <a:pt x="1399" y="332"/>
                </a:lnTo>
                <a:lnTo>
                  <a:pt x="1401" y="330"/>
                </a:lnTo>
                <a:lnTo>
                  <a:pt x="1403" y="330"/>
                </a:lnTo>
                <a:lnTo>
                  <a:pt x="1405" y="330"/>
                </a:lnTo>
                <a:lnTo>
                  <a:pt x="1406" y="330"/>
                </a:lnTo>
                <a:lnTo>
                  <a:pt x="1408" y="330"/>
                </a:lnTo>
                <a:lnTo>
                  <a:pt x="1409" y="329"/>
                </a:lnTo>
                <a:lnTo>
                  <a:pt x="1410" y="329"/>
                </a:lnTo>
                <a:lnTo>
                  <a:pt x="1413" y="329"/>
                </a:lnTo>
                <a:lnTo>
                  <a:pt x="1416" y="327"/>
                </a:lnTo>
                <a:lnTo>
                  <a:pt x="1417" y="327"/>
                </a:lnTo>
                <a:lnTo>
                  <a:pt x="1420" y="326"/>
                </a:lnTo>
                <a:lnTo>
                  <a:pt x="1423" y="326"/>
                </a:lnTo>
                <a:lnTo>
                  <a:pt x="1424" y="326"/>
                </a:lnTo>
                <a:lnTo>
                  <a:pt x="1426" y="325"/>
                </a:lnTo>
                <a:lnTo>
                  <a:pt x="1429" y="325"/>
                </a:lnTo>
                <a:lnTo>
                  <a:pt x="1431" y="325"/>
                </a:lnTo>
                <a:lnTo>
                  <a:pt x="1433" y="323"/>
                </a:lnTo>
                <a:lnTo>
                  <a:pt x="1434" y="323"/>
                </a:lnTo>
                <a:lnTo>
                  <a:pt x="1437" y="323"/>
                </a:lnTo>
                <a:lnTo>
                  <a:pt x="1438" y="320"/>
                </a:lnTo>
                <a:lnTo>
                  <a:pt x="1441" y="320"/>
                </a:lnTo>
                <a:lnTo>
                  <a:pt x="1444" y="320"/>
                </a:lnTo>
                <a:lnTo>
                  <a:pt x="1447" y="320"/>
                </a:lnTo>
                <a:lnTo>
                  <a:pt x="1448" y="320"/>
                </a:lnTo>
                <a:lnTo>
                  <a:pt x="1451" y="319"/>
                </a:lnTo>
                <a:lnTo>
                  <a:pt x="1454" y="319"/>
                </a:lnTo>
                <a:lnTo>
                  <a:pt x="1455" y="319"/>
                </a:lnTo>
                <a:lnTo>
                  <a:pt x="1456" y="319"/>
                </a:lnTo>
                <a:lnTo>
                  <a:pt x="1459" y="317"/>
                </a:lnTo>
                <a:lnTo>
                  <a:pt x="1460" y="317"/>
                </a:lnTo>
                <a:lnTo>
                  <a:pt x="1463" y="317"/>
                </a:lnTo>
                <a:lnTo>
                  <a:pt x="1466" y="317"/>
                </a:lnTo>
                <a:lnTo>
                  <a:pt x="1468" y="317"/>
                </a:lnTo>
                <a:lnTo>
                  <a:pt x="1470" y="317"/>
                </a:lnTo>
                <a:lnTo>
                  <a:pt x="1473" y="317"/>
                </a:lnTo>
                <a:lnTo>
                  <a:pt x="1474" y="315"/>
                </a:lnTo>
                <a:lnTo>
                  <a:pt x="1477" y="315"/>
                </a:lnTo>
                <a:lnTo>
                  <a:pt x="1479" y="314"/>
                </a:lnTo>
                <a:lnTo>
                  <a:pt x="1480" y="314"/>
                </a:lnTo>
                <a:lnTo>
                  <a:pt x="1482" y="312"/>
                </a:lnTo>
                <a:lnTo>
                  <a:pt x="1484" y="312"/>
                </a:lnTo>
                <a:lnTo>
                  <a:pt x="1485" y="312"/>
                </a:lnTo>
                <a:lnTo>
                  <a:pt x="1487" y="312"/>
                </a:lnTo>
                <a:lnTo>
                  <a:pt x="1488" y="310"/>
                </a:lnTo>
                <a:lnTo>
                  <a:pt x="1490" y="310"/>
                </a:lnTo>
                <a:lnTo>
                  <a:pt x="1491" y="309"/>
                </a:lnTo>
                <a:lnTo>
                  <a:pt x="1493" y="309"/>
                </a:lnTo>
                <a:lnTo>
                  <a:pt x="1494" y="307"/>
                </a:lnTo>
                <a:lnTo>
                  <a:pt x="1495" y="307"/>
                </a:lnTo>
                <a:lnTo>
                  <a:pt x="1498" y="306"/>
                </a:lnTo>
                <a:lnTo>
                  <a:pt x="1499" y="306"/>
                </a:lnTo>
                <a:lnTo>
                  <a:pt x="1501" y="303"/>
                </a:lnTo>
                <a:lnTo>
                  <a:pt x="1502" y="303"/>
                </a:lnTo>
                <a:lnTo>
                  <a:pt x="1504" y="303"/>
                </a:lnTo>
                <a:lnTo>
                  <a:pt x="1505" y="302"/>
                </a:lnTo>
                <a:lnTo>
                  <a:pt x="1507" y="302"/>
                </a:lnTo>
                <a:lnTo>
                  <a:pt x="1508" y="301"/>
                </a:lnTo>
                <a:lnTo>
                  <a:pt x="1510" y="301"/>
                </a:lnTo>
                <a:lnTo>
                  <a:pt x="1512" y="298"/>
                </a:lnTo>
                <a:lnTo>
                  <a:pt x="1515" y="298"/>
                </a:lnTo>
                <a:lnTo>
                  <a:pt x="1516" y="298"/>
                </a:lnTo>
                <a:lnTo>
                  <a:pt x="1519" y="298"/>
                </a:lnTo>
                <a:lnTo>
                  <a:pt x="1522" y="297"/>
                </a:lnTo>
                <a:lnTo>
                  <a:pt x="1523" y="294"/>
                </a:lnTo>
                <a:lnTo>
                  <a:pt x="1526" y="294"/>
                </a:lnTo>
                <a:lnTo>
                  <a:pt x="1529" y="294"/>
                </a:lnTo>
                <a:lnTo>
                  <a:pt x="1530" y="294"/>
                </a:lnTo>
                <a:lnTo>
                  <a:pt x="1532" y="293"/>
                </a:lnTo>
                <a:lnTo>
                  <a:pt x="1533" y="293"/>
                </a:lnTo>
                <a:lnTo>
                  <a:pt x="1535" y="292"/>
                </a:lnTo>
                <a:lnTo>
                  <a:pt x="1538" y="292"/>
                </a:lnTo>
                <a:lnTo>
                  <a:pt x="1540" y="290"/>
                </a:lnTo>
                <a:lnTo>
                  <a:pt x="1543" y="290"/>
                </a:lnTo>
                <a:lnTo>
                  <a:pt x="1545" y="289"/>
                </a:lnTo>
                <a:lnTo>
                  <a:pt x="1547" y="288"/>
                </a:lnTo>
                <a:lnTo>
                  <a:pt x="1548" y="288"/>
                </a:lnTo>
                <a:lnTo>
                  <a:pt x="1551" y="286"/>
                </a:lnTo>
                <a:lnTo>
                  <a:pt x="1554" y="286"/>
                </a:lnTo>
                <a:lnTo>
                  <a:pt x="1555" y="285"/>
                </a:lnTo>
                <a:lnTo>
                  <a:pt x="1558" y="285"/>
                </a:lnTo>
                <a:lnTo>
                  <a:pt x="1559" y="284"/>
                </a:lnTo>
                <a:lnTo>
                  <a:pt x="1560" y="284"/>
                </a:lnTo>
                <a:lnTo>
                  <a:pt x="1562" y="284"/>
                </a:lnTo>
                <a:lnTo>
                  <a:pt x="1563" y="284"/>
                </a:lnTo>
                <a:lnTo>
                  <a:pt x="1566" y="284"/>
                </a:lnTo>
                <a:lnTo>
                  <a:pt x="1568" y="281"/>
                </a:lnTo>
                <a:lnTo>
                  <a:pt x="1570" y="281"/>
                </a:lnTo>
                <a:lnTo>
                  <a:pt x="1572" y="281"/>
                </a:lnTo>
                <a:lnTo>
                  <a:pt x="1574" y="280"/>
                </a:lnTo>
                <a:lnTo>
                  <a:pt x="1576" y="278"/>
                </a:lnTo>
                <a:lnTo>
                  <a:pt x="1579" y="276"/>
                </a:lnTo>
                <a:lnTo>
                  <a:pt x="1582" y="276"/>
                </a:lnTo>
                <a:lnTo>
                  <a:pt x="1583" y="276"/>
                </a:lnTo>
                <a:lnTo>
                  <a:pt x="1585" y="276"/>
                </a:lnTo>
                <a:lnTo>
                  <a:pt x="1588" y="276"/>
                </a:lnTo>
                <a:lnTo>
                  <a:pt x="1590" y="275"/>
                </a:lnTo>
                <a:lnTo>
                  <a:pt x="1593" y="275"/>
                </a:lnTo>
                <a:lnTo>
                  <a:pt x="1595" y="272"/>
                </a:lnTo>
                <a:lnTo>
                  <a:pt x="1597" y="272"/>
                </a:lnTo>
                <a:lnTo>
                  <a:pt x="1599" y="272"/>
                </a:lnTo>
                <a:lnTo>
                  <a:pt x="1602" y="272"/>
                </a:lnTo>
                <a:lnTo>
                  <a:pt x="1604" y="270"/>
                </a:lnTo>
                <a:lnTo>
                  <a:pt x="1605" y="270"/>
                </a:lnTo>
                <a:lnTo>
                  <a:pt x="1608" y="268"/>
                </a:lnTo>
                <a:lnTo>
                  <a:pt x="1609" y="268"/>
                </a:lnTo>
                <a:lnTo>
                  <a:pt x="1610" y="268"/>
                </a:lnTo>
                <a:lnTo>
                  <a:pt x="1613" y="267"/>
                </a:lnTo>
                <a:lnTo>
                  <a:pt x="1616" y="267"/>
                </a:lnTo>
                <a:lnTo>
                  <a:pt x="1618" y="265"/>
                </a:lnTo>
                <a:lnTo>
                  <a:pt x="1619" y="265"/>
                </a:lnTo>
                <a:lnTo>
                  <a:pt x="1620" y="264"/>
                </a:lnTo>
                <a:lnTo>
                  <a:pt x="1622" y="264"/>
                </a:lnTo>
                <a:lnTo>
                  <a:pt x="1624" y="264"/>
                </a:lnTo>
                <a:lnTo>
                  <a:pt x="1626" y="263"/>
                </a:lnTo>
                <a:lnTo>
                  <a:pt x="1627" y="263"/>
                </a:lnTo>
                <a:lnTo>
                  <a:pt x="1630" y="261"/>
                </a:lnTo>
                <a:lnTo>
                  <a:pt x="1633" y="261"/>
                </a:lnTo>
                <a:lnTo>
                  <a:pt x="1634" y="261"/>
                </a:lnTo>
                <a:lnTo>
                  <a:pt x="1637" y="259"/>
                </a:lnTo>
                <a:lnTo>
                  <a:pt x="1638" y="259"/>
                </a:lnTo>
                <a:lnTo>
                  <a:pt x="1641" y="259"/>
                </a:lnTo>
                <a:lnTo>
                  <a:pt x="1644" y="259"/>
                </a:lnTo>
                <a:lnTo>
                  <a:pt x="1647" y="259"/>
                </a:lnTo>
                <a:lnTo>
                  <a:pt x="1648" y="259"/>
                </a:lnTo>
                <a:lnTo>
                  <a:pt x="1649" y="257"/>
                </a:lnTo>
                <a:lnTo>
                  <a:pt x="1649" y="259"/>
                </a:lnTo>
                <a:lnTo>
                  <a:pt x="1654" y="259"/>
                </a:lnTo>
                <a:lnTo>
                  <a:pt x="1793" y="232"/>
                </a:lnTo>
                <a:lnTo>
                  <a:pt x="1947" y="165"/>
                </a:lnTo>
                <a:lnTo>
                  <a:pt x="1961" y="161"/>
                </a:lnTo>
                <a:lnTo>
                  <a:pt x="2235" y="66"/>
                </a:lnTo>
                <a:lnTo>
                  <a:pt x="2407" y="9"/>
                </a:lnTo>
                <a:lnTo>
                  <a:pt x="2432" y="0"/>
                </a:lnTo>
                <a:lnTo>
                  <a:pt x="2441" y="9"/>
                </a:lnTo>
                <a:lnTo>
                  <a:pt x="2446" y="22"/>
                </a:lnTo>
                <a:lnTo>
                  <a:pt x="2463" y="22"/>
                </a:lnTo>
                <a:lnTo>
                  <a:pt x="2468" y="27"/>
                </a:lnTo>
                <a:lnTo>
                  <a:pt x="2476" y="29"/>
                </a:lnTo>
                <a:lnTo>
                  <a:pt x="2480" y="40"/>
                </a:lnTo>
                <a:lnTo>
                  <a:pt x="2478" y="45"/>
                </a:lnTo>
                <a:lnTo>
                  <a:pt x="2491" y="65"/>
                </a:lnTo>
                <a:lnTo>
                  <a:pt x="2491" y="72"/>
                </a:lnTo>
                <a:lnTo>
                  <a:pt x="2481" y="89"/>
                </a:lnTo>
                <a:lnTo>
                  <a:pt x="2485" y="98"/>
                </a:lnTo>
                <a:lnTo>
                  <a:pt x="2476" y="110"/>
                </a:lnTo>
                <a:lnTo>
                  <a:pt x="2473" y="114"/>
                </a:lnTo>
                <a:lnTo>
                  <a:pt x="2477" y="120"/>
                </a:lnTo>
                <a:lnTo>
                  <a:pt x="2484" y="126"/>
                </a:lnTo>
                <a:lnTo>
                  <a:pt x="2484" y="132"/>
                </a:lnTo>
                <a:lnTo>
                  <a:pt x="2491" y="134"/>
                </a:lnTo>
                <a:lnTo>
                  <a:pt x="2503" y="147"/>
                </a:lnTo>
                <a:lnTo>
                  <a:pt x="2509" y="174"/>
                </a:lnTo>
                <a:lnTo>
                  <a:pt x="2521" y="178"/>
                </a:lnTo>
                <a:lnTo>
                  <a:pt x="2533" y="169"/>
                </a:lnTo>
                <a:lnTo>
                  <a:pt x="2542" y="174"/>
                </a:lnTo>
                <a:lnTo>
                  <a:pt x="2545" y="194"/>
                </a:lnTo>
                <a:lnTo>
                  <a:pt x="2556" y="205"/>
                </a:lnTo>
                <a:lnTo>
                  <a:pt x="2562" y="222"/>
                </a:lnTo>
                <a:lnTo>
                  <a:pt x="2573" y="235"/>
                </a:lnTo>
                <a:lnTo>
                  <a:pt x="2581" y="255"/>
                </a:lnTo>
                <a:lnTo>
                  <a:pt x="2592" y="265"/>
                </a:lnTo>
                <a:lnTo>
                  <a:pt x="2598" y="281"/>
                </a:lnTo>
                <a:lnTo>
                  <a:pt x="2595" y="293"/>
                </a:lnTo>
                <a:lnTo>
                  <a:pt x="2613" y="312"/>
                </a:lnTo>
                <a:lnTo>
                  <a:pt x="2617" y="326"/>
                </a:lnTo>
                <a:lnTo>
                  <a:pt x="2633" y="330"/>
                </a:lnTo>
                <a:lnTo>
                  <a:pt x="2644" y="342"/>
                </a:lnTo>
                <a:lnTo>
                  <a:pt x="2659" y="339"/>
                </a:lnTo>
                <a:lnTo>
                  <a:pt x="2667" y="347"/>
                </a:lnTo>
                <a:lnTo>
                  <a:pt x="2686" y="375"/>
                </a:lnTo>
                <a:lnTo>
                  <a:pt x="2688" y="388"/>
                </a:lnTo>
                <a:lnTo>
                  <a:pt x="2702" y="388"/>
                </a:lnTo>
                <a:lnTo>
                  <a:pt x="2716" y="392"/>
                </a:lnTo>
                <a:lnTo>
                  <a:pt x="2740" y="427"/>
                </a:lnTo>
                <a:lnTo>
                  <a:pt x="2734" y="446"/>
                </a:lnTo>
                <a:lnTo>
                  <a:pt x="2750" y="481"/>
                </a:lnTo>
                <a:lnTo>
                  <a:pt x="2759" y="481"/>
                </a:lnTo>
                <a:lnTo>
                  <a:pt x="2761" y="486"/>
                </a:lnTo>
                <a:lnTo>
                  <a:pt x="2767" y="486"/>
                </a:lnTo>
                <a:lnTo>
                  <a:pt x="2773" y="497"/>
                </a:lnTo>
                <a:lnTo>
                  <a:pt x="2786" y="494"/>
                </a:lnTo>
                <a:lnTo>
                  <a:pt x="2790" y="486"/>
                </a:lnTo>
                <a:lnTo>
                  <a:pt x="2791" y="479"/>
                </a:lnTo>
                <a:lnTo>
                  <a:pt x="2812" y="463"/>
                </a:lnTo>
                <a:lnTo>
                  <a:pt x="2800" y="435"/>
                </a:lnTo>
                <a:lnTo>
                  <a:pt x="2807" y="422"/>
                </a:lnTo>
                <a:lnTo>
                  <a:pt x="2807" y="410"/>
                </a:lnTo>
                <a:lnTo>
                  <a:pt x="2811" y="405"/>
                </a:lnTo>
                <a:lnTo>
                  <a:pt x="2815" y="404"/>
                </a:lnTo>
                <a:lnTo>
                  <a:pt x="2826" y="404"/>
                </a:lnTo>
                <a:lnTo>
                  <a:pt x="2829" y="404"/>
                </a:lnTo>
                <a:lnTo>
                  <a:pt x="2843" y="419"/>
                </a:lnTo>
                <a:lnTo>
                  <a:pt x="2848" y="419"/>
                </a:lnTo>
                <a:lnTo>
                  <a:pt x="2855" y="430"/>
                </a:lnTo>
                <a:lnTo>
                  <a:pt x="2862" y="427"/>
                </a:lnTo>
                <a:lnTo>
                  <a:pt x="2873" y="435"/>
                </a:lnTo>
                <a:lnTo>
                  <a:pt x="2877" y="446"/>
                </a:lnTo>
                <a:lnTo>
                  <a:pt x="2898" y="439"/>
                </a:lnTo>
                <a:lnTo>
                  <a:pt x="2911" y="424"/>
                </a:lnTo>
                <a:lnTo>
                  <a:pt x="2925" y="413"/>
                </a:lnTo>
                <a:lnTo>
                  <a:pt x="2932" y="414"/>
                </a:lnTo>
                <a:lnTo>
                  <a:pt x="2938" y="421"/>
                </a:lnTo>
                <a:lnTo>
                  <a:pt x="2946" y="417"/>
                </a:lnTo>
                <a:lnTo>
                  <a:pt x="2944" y="404"/>
                </a:lnTo>
                <a:lnTo>
                  <a:pt x="2960" y="392"/>
                </a:lnTo>
                <a:lnTo>
                  <a:pt x="2963" y="392"/>
                </a:lnTo>
                <a:lnTo>
                  <a:pt x="2969" y="382"/>
                </a:lnTo>
                <a:lnTo>
                  <a:pt x="2976" y="388"/>
                </a:lnTo>
                <a:lnTo>
                  <a:pt x="2987" y="379"/>
                </a:lnTo>
                <a:lnTo>
                  <a:pt x="2991" y="388"/>
                </a:lnTo>
                <a:lnTo>
                  <a:pt x="3108" y="396"/>
                </a:lnTo>
                <a:lnTo>
                  <a:pt x="3107" y="369"/>
                </a:lnTo>
                <a:lnTo>
                  <a:pt x="3189" y="352"/>
                </a:lnTo>
                <a:lnTo>
                  <a:pt x="3210" y="356"/>
                </a:lnTo>
                <a:lnTo>
                  <a:pt x="3217" y="352"/>
                </a:lnTo>
                <a:lnTo>
                  <a:pt x="3218" y="347"/>
                </a:lnTo>
                <a:lnTo>
                  <a:pt x="3222" y="347"/>
                </a:lnTo>
                <a:lnTo>
                  <a:pt x="3226" y="343"/>
                </a:lnTo>
                <a:lnTo>
                  <a:pt x="3250" y="347"/>
                </a:lnTo>
                <a:lnTo>
                  <a:pt x="3257" y="343"/>
                </a:lnTo>
                <a:lnTo>
                  <a:pt x="3262" y="332"/>
                </a:lnTo>
                <a:lnTo>
                  <a:pt x="3279" y="320"/>
                </a:lnTo>
                <a:lnTo>
                  <a:pt x="3290" y="327"/>
                </a:lnTo>
                <a:lnTo>
                  <a:pt x="3300" y="320"/>
                </a:lnTo>
                <a:lnTo>
                  <a:pt x="3311" y="320"/>
                </a:lnTo>
                <a:lnTo>
                  <a:pt x="3317" y="320"/>
                </a:lnTo>
                <a:lnTo>
                  <a:pt x="3321" y="317"/>
                </a:lnTo>
                <a:lnTo>
                  <a:pt x="3324" y="312"/>
                </a:lnTo>
                <a:lnTo>
                  <a:pt x="3334" y="312"/>
                </a:lnTo>
                <a:lnTo>
                  <a:pt x="3342" y="320"/>
                </a:lnTo>
                <a:lnTo>
                  <a:pt x="3354" y="319"/>
                </a:lnTo>
                <a:lnTo>
                  <a:pt x="3354" y="327"/>
                </a:lnTo>
                <a:lnTo>
                  <a:pt x="3361" y="338"/>
                </a:lnTo>
                <a:lnTo>
                  <a:pt x="3377" y="347"/>
                </a:lnTo>
                <a:lnTo>
                  <a:pt x="3375" y="356"/>
                </a:lnTo>
                <a:lnTo>
                  <a:pt x="3384" y="372"/>
                </a:lnTo>
                <a:lnTo>
                  <a:pt x="3397" y="385"/>
                </a:lnTo>
                <a:lnTo>
                  <a:pt x="3402" y="404"/>
                </a:lnTo>
                <a:lnTo>
                  <a:pt x="3411" y="418"/>
                </a:lnTo>
                <a:lnTo>
                  <a:pt x="3421" y="431"/>
                </a:lnTo>
                <a:lnTo>
                  <a:pt x="3435" y="435"/>
                </a:lnTo>
                <a:lnTo>
                  <a:pt x="3438" y="446"/>
                </a:lnTo>
                <a:lnTo>
                  <a:pt x="3453" y="447"/>
                </a:lnTo>
                <a:lnTo>
                  <a:pt x="3460" y="458"/>
                </a:lnTo>
                <a:lnTo>
                  <a:pt x="3464" y="471"/>
                </a:lnTo>
                <a:lnTo>
                  <a:pt x="3471" y="476"/>
                </a:lnTo>
                <a:lnTo>
                  <a:pt x="3475" y="486"/>
                </a:lnTo>
                <a:lnTo>
                  <a:pt x="3474" y="511"/>
                </a:lnTo>
                <a:lnTo>
                  <a:pt x="3481" y="519"/>
                </a:lnTo>
                <a:lnTo>
                  <a:pt x="3472" y="530"/>
                </a:lnTo>
                <a:lnTo>
                  <a:pt x="3471" y="542"/>
                </a:lnTo>
                <a:lnTo>
                  <a:pt x="3463" y="547"/>
                </a:lnTo>
                <a:lnTo>
                  <a:pt x="3456" y="553"/>
                </a:lnTo>
                <a:lnTo>
                  <a:pt x="3464" y="566"/>
                </a:lnTo>
                <a:lnTo>
                  <a:pt x="3464" y="573"/>
                </a:lnTo>
                <a:lnTo>
                  <a:pt x="3475" y="588"/>
                </a:lnTo>
                <a:lnTo>
                  <a:pt x="3478" y="605"/>
                </a:lnTo>
                <a:lnTo>
                  <a:pt x="3495" y="624"/>
                </a:lnTo>
                <a:lnTo>
                  <a:pt x="3494" y="630"/>
                </a:lnTo>
                <a:lnTo>
                  <a:pt x="3500" y="637"/>
                </a:lnTo>
                <a:lnTo>
                  <a:pt x="3509" y="653"/>
                </a:lnTo>
                <a:lnTo>
                  <a:pt x="3507" y="657"/>
                </a:lnTo>
                <a:lnTo>
                  <a:pt x="3499" y="663"/>
                </a:lnTo>
                <a:lnTo>
                  <a:pt x="3502" y="707"/>
                </a:lnTo>
                <a:lnTo>
                  <a:pt x="3495" y="715"/>
                </a:lnTo>
                <a:lnTo>
                  <a:pt x="3494" y="725"/>
                </a:lnTo>
                <a:lnTo>
                  <a:pt x="3503" y="733"/>
                </a:lnTo>
                <a:lnTo>
                  <a:pt x="3513" y="755"/>
                </a:lnTo>
                <a:lnTo>
                  <a:pt x="3514" y="774"/>
                </a:lnTo>
                <a:lnTo>
                  <a:pt x="3520" y="778"/>
                </a:lnTo>
                <a:lnTo>
                  <a:pt x="3520" y="784"/>
                </a:lnTo>
                <a:lnTo>
                  <a:pt x="3534" y="789"/>
                </a:lnTo>
                <a:lnTo>
                  <a:pt x="3531" y="798"/>
                </a:lnTo>
                <a:lnTo>
                  <a:pt x="3539" y="808"/>
                </a:lnTo>
                <a:lnTo>
                  <a:pt x="3536" y="815"/>
                </a:lnTo>
                <a:lnTo>
                  <a:pt x="3525" y="824"/>
                </a:lnTo>
                <a:lnTo>
                  <a:pt x="3524" y="837"/>
                </a:lnTo>
                <a:lnTo>
                  <a:pt x="3514" y="844"/>
                </a:lnTo>
                <a:lnTo>
                  <a:pt x="3500" y="859"/>
                </a:lnTo>
                <a:lnTo>
                  <a:pt x="3499" y="871"/>
                </a:lnTo>
                <a:lnTo>
                  <a:pt x="3500" y="876"/>
                </a:lnTo>
                <a:lnTo>
                  <a:pt x="3509" y="877"/>
                </a:lnTo>
                <a:lnTo>
                  <a:pt x="3511" y="879"/>
                </a:lnTo>
                <a:lnTo>
                  <a:pt x="3513" y="882"/>
                </a:lnTo>
                <a:lnTo>
                  <a:pt x="3509" y="895"/>
                </a:lnTo>
                <a:lnTo>
                  <a:pt x="3497" y="901"/>
                </a:lnTo>
                <a:lnTo>
                  <a:pt x="3496" y="911"/>
                </a:lnTo>
                <a:lnTo>
                  <a:pt x="3507" y="937"/>
                </a:lnTo>
                <a:lnTo>
                  <a:pt x="3503" y="940"/>
                </a:lnTo>
                <a:lnTo>
                  <a:pt x="3505" y="944"/>
                </a:lnTo>
                <a:lnTo>
                  <a:pt x="3509" y="952"/>
                </a:lnTo>
                <a:lnTo>
                  <a:pt x="3505" y="966"/>
                </a:lnTo>
                <a:lnTo>
                  <a:pt x="3507" y="976"/>
                </a:lnTo>
                <a:lnTo>
                  <a:pt x="3514" y="976"/>
                </a:lnTo>
                <a:lnTo>
                  <a:pt x="3514" y="986"/>
                </a:lnTo>
                <a:lnTo>
                  <a:pt x="3524" y="998"/>
                </a:lnTo>
                <a:lnTo>
                  <a:pt x="3520" y="1010"/>
                </a:lnTo>
                <a:lnTo>
                  <a:pt x="3522" y="1028"/>
                </a:lnTo>
                <a:lnTo>
                  <a:pt x="3519" y="1038"/>
                </a:lnTo>
                <a:lnTo>
                  <a:pt x="3500" y="1056"/>
                </a:lnTo>
                <a:lnTo>
                  <a:pt x="3502" y="1067"/>
                </a:lnTo>
                <a:lnTo>
                  <a:pt x="3492" y="1072"/>
                </a:lnTo>
                <a:lnTo>
                  <a:pt x="3486" y="1080"/>
                </a:lnTo>
                <a:lnTo>
                  <a:pt x="3482" y="1080"/>
                </a:lnTo>
                <a:lnTo>
                  <a:pt x="3477" y="1073"/>
                </a:lnTo>
                <a:lnTo>
                  <a:pt x="3471" y="1073"/>
                </a:lnTo>
                <a:lnTo>
                  <a:pt x="3467" y="1082"/>
                </a:lnTo>
                <a:lnTo>
                  <a:pt x="3459" y="1090"/>
                </a:lnTo>
                <a:lnTo>
                  <a:pt x="3455" y="1107"/>
                </a:lnTo>
                <a:lnTo>
                  <a:pt x="3457" y="1117"/>
                </a:lnTo>
                <a:lnTo>
                  <a:pt x="3455" y="1137"/>
                </a:lnTo>
                <a:lnTo>
                  <a:pt x="3436" y="1139"/>
                </a:lnTo>
                <a:lnTo>
                  <a:pt x="3416" y="1154"/>
                </a:lnTo>
                <a:lnTo>
                  <a:pt x="3402" y="1151"/>
                </a:lnTo>
                <a:lnTo>
                  <a:pt x="3394" y="1148"/>
                </a:lnTo>
                <a:lnTo>
                  <a:pt x="3396" y="1172"/>
                </a:lnTo>
                <a:lnTo>
                  <a:pt x="3394" y="1176"/>
                </a:lnTo>
                <a:lnTo>
                  <a:pt x="3382" y="1192"/>
                </a:lnTo>
                <a:lnTo>
                  <a:pt x="3382" y="1207"/>
                </a:lnTo>
                <a:lnTo>
                  <a:pt x="3391" y="1223"/>
                </a:lnTo>
                <a:lnTo>
                  <a:pt x="3395" y="1240"/>
                </a:lnTo>
                <a:lnTo>
                  <a:pt x="3394" y="1256"/>
                </a:lnTo>
                <a:lnTo>
                  <a:pt x="3397" y="1266"/>
                </a:lnTo>
                <a:lnTo>
                  <a:pt x="3394" y="1273"/>
                </a:lnTo>
                <a:lnTo>
                  <a:pt x="3409" y="1298"/>
                </a:lnTo>
                <a:lnTo>
                  <a:pt x="3391" y="1301"/>
                </a:lnTo>
                <a:lnTo>
                  <a:pt x="3384" y="1337"/>
                </a:lnTo>
                <a:lnTo>
                  <a:pt x="3378" y="1344"/>
                </a:lnTo>
                <a:lnTo>
                  <a:pt x="3366" y="1351"/>
                </a:lnTo>
                <a:lnTo>
                  <a:pt x="3363" y="1358"/>
                </a:lnTo>
                <a:lnTo>
                  <a:pt x="3353" y="1362"/>
                </a:lnTo>
                <a:lnTo>
                  <a:pt x="3350" y="1379"/>
                </a:lnTo>
                <a:lnTo>
                  <a:pt x="3332" y="1403"/>
                </a:lnTo>
                <a:lnTo>
                  <a:pt x="3324" y="1408"/>
                </a:lnTo>
                <a:lnTo>
                  <a:pt x="3314" y="1403"/>
                </a:lnTo>
                <a:lnTo>
                  <a:pt x="3301" y="1405"/>
                </a:lnTo>
                <a:lnTo>
                  <a:pt x="3289" y="1414"/>
                </a:lnTo>
                <a:lnTo>
                  <a:pt x="3281" y="1417"/>
                </a:lnTo>
                <a:lnTo>
                  <a:pt x="3278" y="1425"/>
                </a:lnTo>
                <a:lnTo>
                  <a:pt x="3270" y="1438"/>
                </a:lnTo>
                <a:lnTo>
                  <a:pt x="3264" y="1438"/>
                </a:lnTo>
                <a:lnTo>
                  <a:pt x="3257" y="1446"/>
                </a:lnTo>
                <a:lnTo>
                  <a:pt x="3257" y="1460"/>
                </a:lnTo>
                <a:lnTo>
                  <a:pt x="3246" y="1467"/>
                </a:lnTo>
                <a:lnTo>
                  <a:pt x="3243" y="1472"/>
                </a:lnTo>
                <a:lnTo>
                  <a:pt x="3242" y="1483"/>
                </a:lnTo>
                <a:lnTo>
                  <a:pt x="3240" y="1491"/>
                </a:lnTo>
                <a:lnTo>
                  <a:pt x="3245" y="1500"/>
                </a:lnTo>
                <a:lnTo>
                  <a:pt x="3239" y="1513"/>
                </a:lnTo>
                <a:lnTo>
                  <a:pt x="3247" y="1518"/>
                </a:lnTo>
                <a:lnTo>
                  <a:pt x="3240" y="1527"/>
                </a:lnTo>
                <a:lnTo>
                  <a:pt x="3245" y="1544"/>
                </a:lnTo>
                <a:lnTo>
                  <a:pt x="3265" y="1554"/>
                </a:lnTo>
                <a:lnTo>
                  <a:pt x="3281" y="1554"/>
                </a:lnTo>
                <a:lnTo>
                  <a:pt x="3287" y="1554"/>
                </a:lnTo>
                <a:lnTo>
                  <a:pt x="3300" y="1574"/>
                </a:lnTo>
                <a:lnTo>
                  <a:pt x="3320" y="1584"/>
                </a:lnTo>
                <a:lnTo>
                  <a:pt x="3320" y="1596"/>
                </a:lnTo>
                <a:lnTo>
                  <a:pt x="3339" y="1609"/>
                </a:lnTo>
                <a:lnTo>
                  <a:pt x="3343" y="1621"/>
                </a:lnTo>
                <a:lnTo>
                  <a:pt x="3349" y="1627"/>
                </a:lnTo>
                <a:lnTo>
                  <a:pt x="3349" y="1634"/>
                </a:lnTo>
                <a:lnTo>
                  <a:pt x="3367" y="1634"/>
                </a:lnTo>
                <a:lnTo>
                  <a:pt x="3380" y="1644"/>
                </a:lnTo>
                <a:lnTo>
                  <a:pt x="3388" y="1664"/>
                </a:lnTo>
                <a:lnTo>
                  <a:pt x="3380" y="1671"/>
                </a:lnTo>
                <a:lnTo>
                  <a:pt x="3367" y="1704"/>
                </a:lnTo>
                <a:lnTo>
                  <a:pt x="3361" y="1712"/>
                </a:lnTo>
                <a:lnTo>
                  <a:pt x="3360" y="1724"/>
                </a:lnTo>
                <a:lnTo>
                  <a:pt x="3363" y="1741"/>
                </a:lnTo>
                <a:lnTo>
                  <a:pt x="3359" y="1764"/>
                </a:lnTo>
                <a:lnTo>
                  <a:pt x="3361" y="1773"/>
                </a:lnTo>
                <a:lnTo>
                  <a:pt x="3366" y="1777"/>
                </a:lnTo>
                <a:lnTo>
                  <a:pt x="3371" y="1779"/>
                </a:lnTo>
                <a:lnTo>
                  <a:pt x="3374" y="1802"/>
                </a:lnTo>
                <a:lnTo>
                  <a:pt x="3381" y="1818"/>
                </a:lnTo>
                <a:lnTo>
                  <a:pt x="3389" y="1826"/>
                </a:lnTo>
                <a:lnTo>
                  <a:pt x="3407" y="1832"/>
                </a:lnTo>
                <a:lnTo>
                  <a:pt x="3425" y="1836"/>
                </a:lnTo>
                <a:lnTo>
                  <a:pt x="3431" y="1847"/>
                </a:lnTo>
                <a:lnTo>
                  <a:pt x="3441" y="1844"/>
                </a:lnTo>
                <a:lnTo>
                  <a:pt x="3460" y="1835"/>
                </a:lnTo>
                <a:lnTo>
                  <a:pt x="3474" y="1848"/>
                </a:lnTo>
                <a:lnTo>
                  <a:pt x="3477" y="1855"/>
                </a:lnTo>
                <a:lnTo>
                  <a:pt x="3496" y="1862"/>
                </a:lnTo>
                <a:lnTo>
                  <a:pt x="3500" y="1870"/>
                </a:lnTo>
                <a:lnTo>
                  <a:pt x="3497" y="1885"/>
                </a:lnTo>
                <a:lnTo>
                  <a:pt x="3511" y="1903"/>
                </a:lnTo>
                <a:lnTo>
                  <a:pt x="3509" y="1924"/>
                </a:lnTo>
                <a:lnTo>
                  <a:pt x="3514" y="1942"/>
                </a:lnTo>
                <a:lnTo>
                  <a:pt x="3522" y="1948"/>
                </a:lnTo>
                <a:lnTo>
                  <a:pt x="3539" y="1951"/>
                </a:lnTo>
                <a:lnTo>
                  <a:pt x="3559" y="1970"/>
                </a:lnTo>
                <a:lnTo>
                  <a:pt x="3566" y="1970"/>
                </a:lnTo>
                <a:lnTo>
                  <a:pt x="3577" y="1962"/>
                </a:lnTo>
                <a:lnTo>
                  <a:pt x="3581" y="1964"/>
                </a:lnTo>
                <a:lnTo>
                  <a:pt x="3586" y="1977"/>
                </a:lnTo>
                <a:lnTo>
                  <a:pt x="3585" y="1997"/>
                </a:lnTo>
                <a:lnTo>
                  <a:pt x="3589" y="2012"/>
                </a:lnTo>
                <a:lnTo>
                  <a:pt x="3599" y="2015"/>
                </a:lnTo>
                <a:lnTo>
                  <a:pt x="3613" y="2007"/>
                </a:lnTo>
                <a:lnTo>
                  <a:pt x="3644" y="2026"/>
                </a:lnTo>
                <a:lnTo>
                  <a:pt x="3665" y="2057"/>
                </a:lnTo>
                <a:lnTo>
                  <a:pt x="3660" y="2072"/>
                </a:lnTo>
                <a:lnTo>
                  <a:pt x="3663" y="2080"/>
                </a:lnTo>
                <a:lnTo>
                  <a:pt x="3670" y="2084"/>
                </a:lnTo>
                <a:lnTo>
                  <a:pt x="3685" y="2086"/>
                </a:lnTo>
                <a:lnTo>
                  <a:pt x="3695" y="2094"/>
                </a:lnTo>
                <a:lnTo>
                  <a:pt x="3713" y="2097"/>
                </a:lnTo>
                <a:lnTo>
                  <a:pt x="3720" y="2106"/>
                </a:lnTo>
                <a:lnTo>
                  <a:pt x="3729" y="2151"/>
                </a:lnTo>
                <a:lnTo>
                  <a:pt x="3742" y="2161"/>
                </a:lnTo>
                <a:lnTo>
                  <a:pt x="3770" y="2168"/>
                </a:lnTo>
                <a:lnTo>
                  <a:pt x="3773" y="2200"/>
                </a:lnTo>
                <a:lnTo>
                  <a:pt x="3777" y="2210"/>
                </a:lnTo>
                <a:lnTo>
                  <a:pt x="3788" y="2210"/>
                </a:lnTo>
                <a:lnTo>
                  <a:pt x="3816" y="2203"/>
                </a:lnTo>
                <a:lnTo>
                  <a:pt x="3819" y="2210"/>
                </a:lnTo>
                <a:lnTo>
                  <a:pt x="3826" y="2213"/>
                </a:lnTo>
                <a:lnTo>
                  <a:pt x="3829" y="2217"/>
                </a:lnTo>
                <a:lnTo>
                  <a:pt x="3831" y="2218"/>
                </a:lnTo>
                <a:lnTo>
                  <a:pt x="3835" y="2245"/>
                </a:lnTo>
                <a:lnTo>
                  <a:pt x="3840" y="2254"/>
                </a:lnTo>
                <a:lnTo>
                  <a:pt x="3862" y="2259"/>
                </a:lnTo>
                <a:lnTo>
                  <a:pt x="3870" y="2271"/>
                </a:lnTo>
                <a:lnTo>
                  <a:pt x="3877" y="2276"/>
                </a:lnTo>
                <a:lnTo>
                  <a:pt x="3897" y="2280"/>
                </a:lnTo>
                <a:lnTo>
                  <a:pt x="3902" y="2267"/>
                </a:lnTo>
                <a:lnTo>
                  <a:pt x="3919" y="2271"/>
                </a:lnTo>
                <a:lnTo>
                  <a:pt x="3948" y="2267"/>
                </a:lnTo>
                <a:lnTo>
                  <a:pt x="3966" y="2282"/>
                </a:lnTo>
                <a:lnTo>
                  <a:pt x="3972" y="2300"/>
                </a:lnTo>
                <a:lnTo>
                  <a:pt x="3962" y="2308"/>
                </a:lnTo>
                <a:lnTo>
                  <a:pt x="3961" y="2315"/>
                </a:lnTo>
                <a:lnTo>
                  <a:pt x="3976" y="2349"/>
                </a:lnTo>
                <a:lnTo>
                  <a:pt x="3976" y="2365"/>
                </a:lnTo>
                <a:lnTo>
                  <a:pt x="3973" y="2365"/>
                </a:lnTo>
                <a:lnTo>
                  <a:pt x="3966" y="2363"/>
                </a:lnTo>
                <a:lnTo>
                  <a:pt x="3962" y="2365"/>
                </a:lnTo>
                <a:lnTo>
                  <a:pt x="3954" y="2378"/>
                </a:lnTo>
                <a:lnTo>
                  <a:pt x="3955" y="2383"/>
                </a:lnTo>
                <a:lnTo>
                  <a:pt x="3953" y="2390"/>
                </a:lnTo>
                <a:lnTo>
                  <a:pt x="3933" y="2394"/>
                </a:lnTo>
                <a:lnTo>
                  <a:pt x="3915" y="2401"/>
                </a:lnTo>
                <a:lnTo>
                  <a:pt x="3908" y="2401"/>
                </a:lnTo>
                <a:lnTo>
                  <a:pt x="3891" y="2409"/>
                </a:lnTo>
                <a:lnTo>
                  <a:pt x="3885" y="2420"/>
                </a:lnTo>
                <a:lnTo>
                  <a:pt x="3890" y="2424"/>
                </a:lnTo>
                <a:lnTo>
                  <a:pt x="3888" y="2428"/>
                </a:lnTo>
                <a:lnTo>
                  <a:pt x="3894" y="2432"/>
                </a:lnTo>
                <a:lnTo>
                  <a:pt x="3887" y="2450"/>
                </a:lnTo>
                <a:lnTo>
                  <a:pt x="3902" y="2465"/>
                </a:lnTo>
                <a:lnTo>
                  <a:pt x="3905" y="2465"/>
                </a:lnTo>
                <a:lnTo>
                  <a:pt x="3909" y="2471"/>
                </a:lnTo>
                <a:lnTo>
                  <a:pt x="3929" y="2481"/>
                </a:lnTo>
                <a:lnTo>
                  <a:pt x="3926" y="2484"/>
                </a:lnTo>
                <a:lnTo>
                  <a:pt x="3915" y="2487"/>
                </a:lnTo>
                <a:lnTo>
                  <a:pt x="3906" y="2499"/>
                </a:lnTo>
                <a:lnTo>
                  <a:pt x="3908" y="2503"/>
                </a:lnTo>
                <a:lnTo>
                  <a:pt x="3913" y="2506"/>
                </a:lnTo>
                <a:lnTo>
                  <a:pt x="3916" y="2516"/>
                </a:lnTo>
                <a:lnTo>
                  <a:pt x="3922" y="2517"/>
                </a:lnTo>
                <a:lnTo>
                  <a:pt x="4073" y="2517"/>
                </a:lnTo>
                <a:lnTo>
                  <a:pt x="4080" y="2517"/>
                </a:lnTo>
                <a:lnTo>
                  <a:pt x="4080" y="2520"/>
                </a:lnTo>
                <a:lnTo>
                  <a:pt x="4075" y="2525"/>
                </a:lnTo>
                <a:lnTo>
                  <a:pt x="4078" y="2528"/>
                </a:lnTo>
                <a:lnTo>
                  <a:pt x="4080" y="2528"/>
                </a:lnTo>
                <a:lnTo>
                  <a:pt x="4086" y="2525"/>
                </a:lnTo>
                <a:lnTo>
                  <a:pt x="4087" y="2525"/>
                </a:lnTo>
                <a:lnTo>
                  <a:pt x="4089" y="2529"/>
                </a:lnTo>
                <a:lnTo>
                  <a:pt x="4084" y="2536"/>
                </a:lnTo>
                <a:lnTo>
                  <a:pt x="4087" y="2544"/>
                </a:lnTo>
                <a:lnTo>
                  <a:pt x="4084" y="2548"/>
                </a:lnTo>
                <a:lnTo>
                  <a:pt x="4076" y="2550"/>
                </a:lnTo>
                <a:lnTo>
                  <a:pt x="4076" y="2551"/>
                </a:lnTo>
                <a:lnTo>
                  <a:pt x="4078" y="2554"/>
                </a:lnTo>
                <a:lnTo>
                  <a:pt x="4081" y="2554"/>
                </a:lnTo>
                <a:lnTo>
                  <a:pt x="4083" y="2556"/>
                </a:lnTo>
                <a:lnTo>
                  <a:pt x="4084" y="2566"/>
                </a:lnTo>
                <a:lnTo>
                  <a:pt x="4091" y="2570"/>
                </a:lnTo>
                <a:lnTo>
                  <a:pt x="4091" y="2573"/>
                </a:lnTo>
                <a:lnTo>
                  <a:pt x="4087" y="2576"/>
                </a:lnTo>
                <a:lnTo>
                  <a:pt x="4087" y="2578"/>
                </a:lnTo>
                <a:lnTo>
                  <a:pt x="4089" y="2579"/>
                </a:lnTo>
                <a:lnTo>
                  <a:pt x="4093" y="2579"/>
                </a:lnTo>
                <a:lnTo>
                  <a:pt x="4094" y="2581"/>
                </a:lnTo>
                <a:lnTo>
                  <a:pt x="4093" y="2583"/>
                </a:lnTo>
                <a:lnTo>
                  <a:pt x="4087" y="2587"/>
                </a:lnTo>
                <a:lnTo>
                  <a:pt x="4087" y="2593"/>
                </a:lnTo>
                <a:lnTo>
                  <a:pt x="4083" y="2595"/>
                </a:lnTo>
                <a:lnTo>
                  <a:pt x="4084" y="2599"/>
                </a:lnTo>
                <a:lnTo>
                  <a:pt x="4079" y="2600"/>
                </a:lnTo>
                <a:lnTo>
                  <a:pt x="4080" y="2603"/>
                </a:lnTo>
                <a:lnTo>
                  <a:pt x="4086" y="2603"/>
                </a:lnTo>
                <a:lnTo>
                  <a:pt x="4087" y="2606"/>
                </a:lnTo>
                <a:lnTo>
                  <a:pt x="4087" y="2607"/>
                </a:lnTo>
                <a:lnTo>
                  <a:pt x="4080" y="2607"/>
                </a:lnTo>
                <a:lnTo>
                  <a:pt x="4084" y="2615"/>
                </a:lnTo>
                <a:lnTo>
                  <a:pt x="4078" y="2618"/>
                </a:lnTo>
                <a:lnTo>
                  <a:pt x="4081" y="2623"/>
                </a:lnTo>
                <a:lnTo>
                  <a:pt x="4079" y="2632"/>
                </a:lnTo>
                <a:lnTo>
                  <a:pt x="4079" y="2633"/>
                </a:lnTo>
                <a:lnTo>
                  <a:pt x="4086" y="2632"/>
                </a:lnTo>
                <a:lnTo>
                  <a:pt x="4095" y="2637"/>
                </a:lnTo>
                <a:lnTo>
                  <a:pt x="4095" y="2648"/>
                </a:lnTo>
                <a:lnTo>
                  <a:pt x="4101" y="2655"/>
                </a:lnTo>
                <a:lnTo>
                  <a:pt x="4101" y="2660"/>
                </a:lnTo>
                <a:lnTo>
                  <a:pt x="4105" y="2663"/>
                </a:lnTo>
                <a:lnTo>
                  <a:pt x="4104" y="2670"/>
                </a:lnTo>
                <a:lnTo>
                  <a:pt x="4104" y="2673"/>
                </a:lnTo>
                <a:lnTo>
                  <a:pt x="4108" y="2678"/>
                </a:lnTo>
                <a:lnTo>
                  <a:pt x="4112" y="2678"/>
                </a:lnTo>
                <a:lnTo>
                  <a:pt x="4114" y="2682"/>
                </a:lnTo>
                <a:lnTo>
                  <a:pt x="4115" y="2686"/>
                </a:lnTo>
                <a:lnTo>
                  <a:pt x="4116" y="2690"/>
                </a:lnTo>
                <a:lnTo>
                  <a:pt x="4119" y="2700"/>
                </a:lnTo>
                <a:lnTo>
                  <a:pt x="4119" y="2705"/>
                </a:lnTo>
                <a:lnTo>
                  <a:pt x="4115" y="271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</a:endParaRPr>
          </a:p>
        </p:txBody>
      </p:sp>
      <p:sp>
        <p:nvSpPr>
          <p:cNvPr id="137" name="Freeform 136"/>
          <p:cNvSpPr>
            <a:spLocks noEditPoints="1"/>
          </p:cNvSpPr>
          <p:nvPr/>
        </p:nvSpPr>
        <p:spPr bwMode="auto">
          <a:xfrm>
            <a:off x="6998007" y="3017156"/>
            <a:ext cx="963872" cy="1007780"/>
          </a:xfrm>
          <a:custGeom>
            <a:avLst/>
            <a:gdLst>
              <a:gd name="T0" fmla="*/ 3171 w 3208"/>
              <a:gd name="T1" fmla="*/ 1568 h 3136"/>
              <a:gd name="T2" fmla="*/ 2844 w 3208"/>
              <a:gd name="T3" fmla="*/ 1629 h 3136"/>
              <a:gd name="T4" fmla="*/ 2772 w 3208"/>
              <a:gd name="T5" fmla="*/ 1694 h 3136"/>
              <a:gd name="T6" fmla="*/ 2698 w 3208"/>
              <a:gd name="T7" fmla="*/ 1688 h 3136"/>
              <a:gd name="T8" fmla="*/ 2492 w 3208"/>
              <a:gd name="T9" fmla="*/ 1796 h 3136"/>
              <a:gd name="T10" fmla="*/ 2389 w 3208"/>
              <a:gd name="T11" fmla="*/ 1747 h 3136"/>
              <a:gd name="T12" fmla="*/ 2349 w 3208"/>
              <a:gd name="T13" fmla="*/ 1834 h 3136"/>
              <a:gd name="T14" fmla="*/ 2331 w 3208"/>
              <a:gd name="T15" fmla="*/ 1871 h 3136"/>
              <a:gd name="T16" fmla="*/ 2040 w 3208"/>
              <a:gd name="T17" fmla="*/ 1998 h 3136"/>
              <a:gd name="T18" fmla="*/ 1829 w 3208"/>
              <a:gd name="T19" fmla="*/ 2111 h 3136"/>
              <a:gd name="T20" fmla="*/ 1626 w 3208"/>
              <a:gd name="T21" fmla="*/ 2170 h 3136"/>
              <a:gd name="T22" fmla="*/ 1460 w 3208"/>
              <a:gd name="T23" fmla="*/ 2413 h 3136"/>
              <a:gd name="T24" fmla="*/ 1412 w 3208"/>
              <a:gd name="T25" fmla="*/ 2395 h 3136"/>
              <a:gd name="T26" fmla="*/ 1337 w 3208"/>
              <a:gd name="T27" fmla="*/ 2560 h 3136"/>
              <a:gd name="T28" fmla="*/ 1271 w 3208"/>
              <a:gd name="T29" fmla="*/ 2668 h 3136"/>
              <a:gd name="T30" fmla="*/ 1084 w 3208"/>
              <a:gd name="T31" fmla="*/ 2836 h 3136"/>
              <a:gd name="T32" fmla="*/ 1021 w 3208"/>
              <a:gd name="T33" fmla="*/ 2945 h 3136"/>
              <a:gd name="T34" fmla="*/ 908 w 3208"/>
              <a:gd name="T35" fmla="*/ 3036 h 3136"/>
              <a:gd name="T36" fmla="*/ 910 w 3208"/>
              <a:gd name="T37" fmla="*/ 3111 h 3136"/>
              <a:gd name="T38" fmla="*/ 807 w 3208"/>
              <a:gd name="T39" fmla="*/ 2998 h 3136"/>
              <a:gd name="T40" fmla="*/ 799 w 3208"/>
              <a:gd name="T41" fmla="*/ 2884 h 3136"/>
              <a:gd name="T42" fmla="*/ 623 w 3208"/>
              <a:gd name="T43" fmla="*/ 2613 h 3136"/>
              <a:gd name="T44" fmla="*/ 340 w 3208"/>
              <a:gd name="T45" fmla="*/ 2413 h 3136"/>
              <a:gd name="T46" fmla="*/ 172 w 3208"/>
              <a:gd name="T47" fmla="*/ 2222 h 3136"/>
              <a:gd name="T48" fmla="*/ 145 w 3208"/>
              <a:gd name="T49" fmla="*/ 2050 h 3136"/>
              <a:gd name="T50" fmla="*/ 156 w 3208"/>
              <a:gd name="T51" fmla="*/ 1879 h 3136"/>
              <a:gd name="T52" fmla="*/ 132 w 3208"/>
              <a:gd name="T53" fmla="*/ 1766 h 3136"/>
              <a:gd name="T54" fmla="*/ 127 w 3208"/>
              <a:gd name="T55" fmla="*/ 1605 h 3136"/>
              <a:gd name="T56" fmla="*/ 71 w 3208"/>
              <a:gd name="T57" fmla="*/ 1332 h 3136"/>
              <a:gd name="T58" fmla="*/ 122 w 3208"/>
              <a:gd name="T59" fmla="*/ 1091 h 3136"/>
              <a:gd name="T60" fmla="*/ 317 w 3208"/>
              <a:gd name="T61" fmla="*/ 932 h 3136"/>
              <a:gd name="T62" fmla="*/ 566 w 3208"/>
              <a:gd name="T63" fmla="*/ 368 h 3136"/>
              <a:gd name="T64" fmla="*/ 797 w 3208"/>
              <a:gd name="T65" fmla="*/ 355 h 3136"/>
              <a:gd name="T66" fmla="*/ 829 w 3208"/>
              <a:gd name="T67" fmla="*/ 366 h 3136"/>
              <a:gd name="T68" fmla="*/ 907 w 3208"/>
              <a:gd name="T69" fmla="*/ 352 h 3136"/>
              <a:gd name="T70" fmla="*/ 905 w 3208"/>
              <a:gd name="T71" fmla="*/ 315 h 3136"/>
              <a:gd name="T72" fmla="*/ 928 w 3208"/>
              <a:gd name="T73" fmla="*/ 295 h 3136"/>
              <a:gd name="T74" fmla="*/ 946 w 3208"/>
              <a:gd name="T75" fmla="*/ 275 h 3136"/>
              <a:gd name="T76" fmla="*/ 963 w 3208"/>
              <a:gd name="T77" fmla="*/ 251 h 3136"/>
              <a:gd name="T78" fmla="*/ 974 w 3208"/>
              <a:gd name="T79" fmla="*/ 233 h 3136"/>
              <a:gd name="T80" fmla="*/ 1010 w 3208"/>
              <a:gd name="T81" fmla="*/ 224 h 3136"/>
              <a:gd name="T82" fmla="*/ 1065 w 3208"/>
              <a:gd name="T83" fmla="*/ 201 h 3136"/>
              <a:gd name="T84" fmla="*/ 1181 w 3208"/>
              <a:gd name="T85" fmla="*/ 124 h 3136"/>
              <a:gd name="T86" fmla="*/ 1248 w 3208"/>
              <a:gd name="T87" fmla="*/ 14 h 3136"/>
              <a:gd name="T88" fmla="*/ 1722 w 3208"/>
              <a:gd name="T89" fmla="*/ 88 h 3136"/>
              <a:gd name="T90" fmla="*/ 1859 w 3208"/>
              <a:gd name="T91" fmla="*/ 142 h 3136"/>
              <a:gd name="T92" fmla="*/ 1961 w 3208"/>
              <a:gd name="T93" fmla="*/ 150 h 3136"/>
              <a:gd name="T94" fmla="*/ 2029 w 3208"/>
              <a:gd name="T95" fmla="*/ 195 h 3136"/>
              <a:gd name="T96" fmla="*/ 2186 w 3208"/>
              <a:gd name="T97" fmla="*/ 184 h 3136"/>
              <a:gd name="T98" fmla="*/ 2336 w 3208"/>
              <a:gd name="T99" fmla="*/ 253 h 3136"/>
              <a:gd name="T100" fmla="*/ 2435 w 3208"/>
              <a:gd name="T101" fmla="*/ 337 h 3136"/>
              <a:gd name="T102" fmla="*/ 2640 w 3208"/>
              <a:gd name="T103" fmla="*/ 412 h 3136"/>
              <a:gd name="T104" fmla="*/ 2776 w 3208"/>
              <a:gd name="T105" fmla="*/ 543 h 3136"/>
              <a:gd name="T106" fmla="*/ 2942 w 3208"/>
              <a:gd name="T107" fmla="*/ 640 h 3136"/>
              <a:gd name="T108" fmla="*/ 2994 w 3208"/>
              <a:gd name="T109" fmla="*/ 804 h 3136"/>
              <a:gd name="T110" fmla="*/ 3033 w 3208"/>
              <a:gd name="T111" fmla="*/ 970 h 3136"/>
              <a:gd name="T112" fmla="*/ 3130 w 3208"/>
              <a:gd name="T113" fmla="*/ 1175 h 3136"/>
              <a:gd name="T114" fmla="*/ 3096 w 3208"/>
              <a:gd name="T115" fmla="*/ 1326 h 3136"/>
              <a:gd name="T116" fmla="*/ 3174 w 3208"/>
              <a:gd name="T117" fmla="*/ 1436 h 3136"/>
              <a:gd name="T118" fmla="*/ 1416 w 3208"/>
              <a:gd name="T119" fmla="*/ 2392 h 3136"/>
              <a:gd name="T120" fmla="*/ 1388 w 3208"/>
              <a:gd name="T121" fmla="*/ 2319 h 3136"/>
              <a:gd name="T122" fmla="*/ 1848 w 3208"/>
              <a:gd name="T123" fmla="*/ 2102 h 31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208"/>
              <a:gd name="T187" fmla="*/ 0 h 3136"/>
              <a:gd name="T188" fmla="*/ 3208 w 3208"/>
              <a:gd name="T189" fmla="*/ 3136 h 31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208" h="3136">
                <a:moveTo>
                  <a:pt x="3208" y="1522"/>
                </a:moveTo>
                <a:lnTo>
                  <a:pt x="3208" y="1526"/>
                </a:lnTo>
                <a:lnTo>
                  <a:pt x="3204" y="1531"/>
                </a:lnTo>
                <a:lnTo>
                  <a:pt x="3200" y="1535"/>
                </a:lnTo>
                <a:lnTo>
                  <a:pt x="3199" y="1534"/>
                </a:lnTo>
                <a:lnTo>
                  <a:pt x="3201" y="1527"/>
                </a:lnTo>
                <a:lnTo>
                  <a:pt x="3201" y="1526"/>
                </a:lnTo>
                <a:lnTo>
                  <a:pt x="3197" y="1527"/>
                </a:lnTo>
                <a:lnTo>
                  <a:pt x="3194" y="1534"/>
                </a:lnTo>
                <a:lnTo>
                  <a:pt x="3191" y="1534"/>
                </a:lnTo>
                <a:lnTo>
                  <a:pt x="3193" y="1535"/>
                </a:lnTo>
                <a:lnTo>
                  <a:pt x="3187" y="1538"/>
                </a:lnTo>
                <a:lnTo>
                  <a:pt x="3183" y="1538"/>
                </a:lnTo>
                <a:lnTo>
                  <a:pt x="3176" y="1542"/>
                </a:lnTo>
                <a:lnTo>
                  <a:pt x="3171" y="1542"/>
                </a:lnTo>
                <a:lnTo>
                  <a:pt x="3166" y="1548"/>
                </a:lnTo>
                <a:lnTo>
                  <a:pt x="3162" y="1550"/>
                </a:lnTo>
                <a:lnTo>
                  <a:pt x="3155" y="1548"/>
                </a:lnTo>
                <a:lnTo>
                  <a:pt x="3157" y="1552"/>
                </a:lnTo>
                <a:lnTo>
                  <a:pt x="3149" y="1553"/>
                </a:lnTo>
                <a:lnTo>
                  <a:pt x="3147" y="1558"/>
                </a:lnTo>
                <a:lnTo>
                  <a:pt x="3149" y="1561"/>
                </a:lnTo>
                <a:lnTo>
                  <a:pt x="3146" y="1564"/>
                </a:lnTo>
                <a:lnTo>
                  <a:pt x="3144" y="1567"/>
                </a:lnTo>
                <a:lnTo>
                  <a:pt x="3137" y="1568"/>
                </a:lnTo>
                <a:lnTo>
                  <a:pt x="3133" y="1568"/>
                </a:lnTo>
                <a:lnTo>
                  <a:pt x="3126" y="1571"/>
                </a:lnTo>
                <a:lnTo>
                  <a:pt x="3130" y="1572"/>
                </a:lnTo>
                <a:lnTo>
                  <a:pt x="3141" y="1571"/>
                </a:lnTo>
                <a:lnTo>
                  <a:pt x="3151" y="1572"/>
                </a:lnTo>
                <a:lnTo>
                  <a:pt x="3164" y="1575"/>
                </a:lnTo>
                <a:lnTo>
                  <a:pt x="3166" y="1572"/>
                </a:lnTo>
                <a:lnTo>
                  <a:pt x="3171" y="1568"/>
                </a:lnTo>
                <a:lnTo>
                  <a:pt x="3171" y="1556"/>
                </a:lnTo>
                <a:lnTo>
                  <a:pt x="3175" y="1550"/>
                </a:lnTo>
                <a:lnTo>
                  <a:pt x="3177" y="1550"/>
                </a:lnTo>
                <a:lnTo>
                  <a:pt x="3186" y="1550"/>
                </a:lnTo>
                <a:lnTo>
                  <a:pt x="3191" y="1553"/>
                </a:lnTo>
                <a:lnTo>
                  <a:pt x="3197" y="1553"/>
                </a:lnTo>
                <a:lnTo>
                  <a:pt x="3196" y="1563"/>
                </a:lnTo>
                <a:lnTo>
                  <a:pt x="3186" y="1575"/>
                </a:lnTo>
                <a:lnTo>
                  <a:pt x="3161" y="1612"/>
                </a:lnTo>
                <a:lnTo>
                  <a:pt x="3157" y="1615"/>
                </a:lnTo>
                <a:lnTo>
                  <a:pt x="3152" y="1617"/>
                </a:lnTo>
                <a:lnTo>
                  <a:pt x="3149" y="1617"/>
                </a:lnTo>
                <a:lnTo>
                  <a:pt x="3121" y="1613"/>
                </a:lnTo>
                <a:lnTo>
                  <a:pt x="3083" y="1617"/>
                </a:lnTo>
                <a:lnTo>
                  <a:pt x="3057" y="1623"/>
                </a:lnTo>
                <a:lnTo>
                  <a:pt x="3001" y="1646"/>
                </a:lnTo>
                <a:lnTo>
                  <a:pt x="2968" y="1655"/>
                </a:lnTo>
                <a:lnTo>
                  <a:pt x="2956" y="1656"/>
                </a:lnTo>
                <a:lnTo>
                  <a:pt x="2950" y="1658"/>
                </a:lnTo>
                <a:lnTo>
                  <a:pt x="2933" y="1662"/>
                </a:lnTo>
                <a:lnTo>
                  <a:pt x="2911" y="1664"/>
                </a:lnTo>
                <a:lnTo>
                  <a:pt x="2886" y="1665"/>
                </a:lnTo>
                <a:lnTo>
                  <a:pt x="2866" y="1674"/>
                </a:lnTo>
                <a:lnTo>
                  <a:pt x="2856" y="1672"/>
                </a:lnTo>
                <a:lnTo>
                  <a:pt x="2847" y="1665"/>
                </a:lnTo>
                <a:lnTo>
                  <a:pt x="2842" y="1656"/>
                </a:lnTo>
                <a:lnTo>
                  <a:pt x="2841" y="1646"/>
                </a:lnTo>
                <a:lnTo>
                  <a:pt x="2837" y="1646"/>
                </a:lnTo>
                <a:lnTo>
                  <a:pt x="2833" y="1642"/>
                </a:lnTo>
                <a:lnTo>
                  <a:pt x="2833" y="1638"/>
                </a:lnTo>
                <a:lnTo>
                  <a:pt x="2834" y="1635"/>
                </a:lnTo>
                <a:lnTo>
                  <a:pt x="2845" y="1631"/>
                </a:lnTo>
                <a:lnTo>
                  <a:pt x="2844" y="1629"/>
                </a:lnTo>
                <a:lnTo>
                  <a:pt x="2839" y="1625"/>
                </a:lnTo>
                <a:lnTo>
                  <a:pt x="2840" y="1629"/>
                </a:lnTo>
                <a:lnTo>
                  <a:pt x="2840" y="1631"/>
                </a:lnTo>
                <a:lnTo>
                  <a:pt x="2833" y="1631"/>
                </a:lnTo>
                <a:lnTo>
                  <a:pt x="2830" y="1634"/>
                </a:lnTo>
                <a:lnTo>
                  <a:pt x="2826" y="1643"/>
                </a:lnTo>
                <a:lnTo>
                  <a:pt x="2823" y="1639"/>
                </a:lnTo>
                <a:lnTo>
                  <a:pt x="2822" y="1643"/>
                </a:lnTo>
                <a:lnTo>
                  <a:pt x="2823" y="1647"/>
                </a:lnTo>
                <a:lnTo>
                  <a:pt x="2829" y="1647"/>
                </a:lnTo>
                <a:lnTo>
                  <a:pt x="2833" y="1651"/>
                </a:lnTo>
                <a:lnTo>
                  <a:pt x="2834" y="1656"/>
                </a:lnTo>
                <a:lnTo>
                  <a:pt x="2833" y="1660"/>
                </a:lnTo>
                <a:lnTo>
                  <a:pt x="2829" y="1665"/>
                </a:lnTo>
                <a:lnTo>
                  <a:pt x="2826" y="1665"/>
                </a:lnTo>
                <a:lnTo>
                  <a:pt x="2826" y="1664"/>
                </a:lnTo>
                <a:lnTo>
                  <a:pt x="2823" y="1665"/>
                </a:lnTo>
                <a:lnTo>
                  <a:pt x="2819" y="1669"/>
                </a:lnTo>
                <a:lnTo>
                  <a:pt x="2816" y="1676"/>
                </a:lnTo>
                <a:lnTo>
                  <a:pt x="2812" y="1680"/>
                </a:lnTo>
                <a:lnTo>
                  <a:pt x="2817" y="1680"/>
                </a:lnTo>
                <a:lnTo>
                  <a:pt x="2825" y="1674"/>
                </a:lnTo>
                <a:lnTo>
                  <a:pt x="2833" y="1674"/>
                </a:lnTo>
                <a:lnTo>
                  <a:pt x="2836" y="1669"/>
                </a:lnTo>
                <a:lnTo>
                  <a:pt x="2839" y="1669"/>
                </a:lnTo>
                <a:lnTo>
                  <a:pt x="2842" y="1669"/>
                </a:lnTo>
                <a:lnTo>
                  <a:pt x="2844" y="1672"/>
                </a:lnTo>
                <a:lnTo>
                  <a:pt x="2842" y="1676"/>
                </a:lnTo>
                <a:lnTo>
                  <a:pt x="2840" y="1677"/>
                </a:lnTo>
                <a:lnTo>
                  <a:pt x="2809" y="1688"/>
                </a:lnTo>
                <a:lnTo>
                  <a:pt x="2763" y="1699"/>
                </a:lnTo>
                <a:lnTo>
                  <a:pt x="2765" y="1696"/>
                </a:lnTo>
                <a:lnTo>
                  <a:pt x="2772" y="1694"/>
                </a:lnTo>
                <a:lnTo>
                  <a:pt x="2775" y="1692"/>
                </a:lnTo>
                <a:lnTo>
                  <a:pt x="2777" y="1688"/>
                </a:lnTo>
                <a:lnTo>
                  <a:pt x="2777" y="1684"/>
                </a:lnTo>
                <a:lnTo>
                  <a:pt x="2775" y="1684"/>
                </a:lnTo>
                <a:lnTo>
                  <a:pt x="2775" y="1688"/>
                </a:lnTo>
                <a:lnTo>
                  <a:pt x="2773" y="1691"/>
                </a:lnTo>
                <a:lnTo>
                  <a:pt x="2770" y="1691"/>
                </a:lnTo>
                <a:lnTo>
                  <a:pt x="2770" y="1676"/>
                </a:lnTo>
                <a:lnTo>
                  <a:pt x="2769" y="1674"/>
                </a:lnTo>
                <a:lnTo>
                  <a:pt x="2767" y="1680"/>
                </a:lnTo>
                <a:lnTo>
                  <a:pt x="2765" y="1680"/>
                </a:lnTo>
                <a:lnTo>
                  <a:pt x="2756" y="1662"/>
                </a:lnTo>
                <a:lnTo>
                  <a:pt x="2754" y="1665"/>
                </a:lnTo>
                <a:lnTo>
                  <a:pt x="2759" y="1679"/>
                </a:lnTo>
                <a:lnTo>
                  <a:pt x="2759" y="1684"/>
                </a:lnTo>
                <a:lnTo>
                  <a:pt x="2762" y="1688"/>
                </a:lnTo>
                <a:lnTo>
                  <a:pt x="2762" y="1691"/>
                </a:lnTo>
                <a:lnTo>
                  <a:pt x="2761" y="1692"/>
                </a:lnTo>
                <a:lnTo>
                  <a:pt x="2744" y="1699"/>
                </a:lnTo>
                <a:lnTo>
                  <a:pt x="2742" y="1702"/>
                </a:lnTo>
                <a:lnTo>
                  <a:pt x="2745" y="1702"/>
                </a:lnTo>
                <a:lnTo>
                  <a:pt x="2747" y="1706"/>
                </a:lnTo>
                <a:lnTo>
                  <a:pt x="2744" y="1709"/>
                </a:lnTo>
                <a:lnTo>
                  <a:pt x="2720" y="1714"/>
                </a:lnTo>
                <a:lnTo>
                  <a:pt x="2716" y="1714"/>
                </a:lnTo>
                <a:lnTo>
                  <a:pt x="2715" y="1710"/>
                </a:lnTo>
                <a:lnTo>
                  <a:pt x="2716" y="1706"/>
                </a:lnTo>
                <a:lnTo>
                  <a:pt x="2715" y="1702"/>
                </a:lnTo>
                <a:lnTo>
                  <a:pt x="2710" y="1705"/>
                </a:lnTo>
                <a:lnTo>
                  <a:pt x="2702" y="1701"/>
                </a:lnTo>
                <a:lnTo>
                  <a:pt x="2701" y="1694"/>
                </a:lnTo>
                <a:lnTo>
                  <a:pt x="2697" y="1691"/>
                </a:lnTo>
                <a:lnTo>
                  <a:pt x="2698" y="1688"/>
                </a:lnTo>
                <a:lnTo>
                  <a:pt x="2701" y="1688"/>
                </a:lnTo>
                <a:lnTo>
                  <a:pt x="2701" y="1684"/>
                </a:lnTo>
                <a:lnTo>
                  <a:pt x="2697" y="1688"/>
                </a:lnTo>
                <a:lnTo>
                  <a:pt x="2697" y="1694"/>
                </a:lnTo>
                <a:lnTo>
                  <a:pt x="2695" y="1696"/>
                </a:lnTo>
                <a:lnTo>
                  <a:pt x="2694" y="1699"/>
                </a:lnTo>
                <a:lnTo>
                  <a:pt x="2688" y="1694"/>
                </a:lnTo>
                <a:lnTo>
                  <a:pt x="2687" y="1694"/>
                </a:lnTo>
                <a:lnTo>
                  <a:pt x="2687" y="1701"/>
                </a:lnTo>
                <a:lnTo>
                  <a:pt x="2690" y="1702"/>
                </a:lnTo>
                <a:lnTo>
                  <a:pt x="2690" y="1705"/>
                </a:lnTo>
                <a:lnTo>
                  <a:pt x="2678" y="1714"/>
                </a:lnTo>
                <a:lnTo>
                  <a:pt x="2673" y="1718"/>
                </a:lnTo>
                <a:lnTo>
                  <a:pt x="2665" y="1721"/>
                </a:lnTo>
                <a:lnTo>
                  <a:pt x="2656" y="1721"/>
                </a:lnTo>
                <a:lnTo>
                  <a:pt x="2656" y="1722"/>
                </a:lnTo>
                <a:lnTo>
                  <a:pt x="2653" y="1725"/>
                </a:lnTo>
                <a:lnTo>
                  <a:pt x="2653" y="1726"/>
                </a:lnTo>
                <a:lnTo>
                  <a:pt x="2663" y="1727"/>
                </a:lnTo>
                <a:lnTo>
                  <a:pt x="2673" y="1726"/>
                </a:lnTo>
                <a:lnTo>
                  <a:pt x="2677" y="1725"/>
                </a:lnTo>
                <a:lnTo>
                  <a:pt x="2684" y="1717"/>
                </a:lnTo>
                <a:lnTo>
                  <a:pt x="2695" y="1713"/>
                </a:lnTo>
                <a:lnTo>
                  <a:pt x="2701" y="1714"/>
                </a:lnTo>
                <a:lnTo>
                  <a:pt x="2699" y="1718"/>
                </a:lnTo>
                <a:lnTo>
                  <a:pt x="2697" y="1721"/>
                </a:lnTo>
                <a:lnTo>
                  <a:pt x="2670" y="1729"/>
                </a:lnTo>
                <a:lnTo>
                  <a:pt x="2652" y="1733"/>
                </a:lnTo>
                <a:lnTo>
                  <a:pt x="2623" y="1747"/>
                </a:lnTo>
                <a:lnTo>
                  <a:pt x="2605" y="1751"/>
                </a:lnTo>
                <a:lnTo>
                  <a:pt x="2541" y="1778"/>
                </a:lnTo>
                <a:lnTo>
                  <a:pt x="2495" y="1794"/>
                </a:lnTo>
                <a:lnTo>
                  <a:pt x="2492" y="1796"/>
                </a:lnTo>
                <a:lnTo>
                  <a:pt x="2470" y="1804"/>
                </a:lnTo>
                <a:lnTo>
                  <a:pt x="2448" y="1816"/>
                </a:lnTo>
                <a:lnTo>
                  <a:pt x="2446" y="1818"/>
                </a:lnTo>
                <a:lnTo>
                  <a:pt x="2443" y="1825"/>
                </a:lnTo>
                <a:lnTo>
                  <a:pt x="2443" y="1830"/>
                </a:lnTo>
                <a:lnTo>
                  <a:pt x="2441" y="1833"/>
                </a:lnTo>
                <a:lnTo>
                  <a:pt x="2432" y="1834"/>
                </a:lnTo>
                <a:lnTo>
                  <a:pt x="2421" y="1843"/>
                </a:lnTo>
                <a:lnTo>
                  <a:pt x="2407" y="1845"/>
                </a:lnTo>
                <a:lnTo>
                  <a:pt x="2405" y="1845"/>
                </a:lnTo>
                <a:lnTo>
                  <a:pt x="2403" y="1843"/>
                </a:lnTo>
                <a:lnTo>
                  <a:pt x="2399" y="1838"/>
                </a:lnTo>
                <a:lnTo>
                  <a:pt x="2397" y="1829"/>
                </a:lnTo>
                <a:lnTo>
                  <a:pt x="2396" y="1812"/>
                </a:lnTo>
                <a:lnTo>
                  <a:pt x="2393" y="1792"/>
                </a:lnTo>
                <a:lnTo>
                  <a:pt x="2395" y="1789"/>
                </a:lnTo>
                <a:lnTo>
                  <a:pt x="2405" y="1781"/>
                </a:lnTo>
                <a:lnTo>
                  <a:pt x="2403" y="1781"/>
                </a:lnTo>
                <a:lnTo>
                  <a:pt x="2393" y="1786"/>
                </a:lnTo>
                <a:lnTo>
                  <a:pt x="2389" y="1778"/>
                </a:lnTo>
                <a:lnTo>
                  <a:pt x="2389" y="1776"/>
                </a:lnTo>
                <a:lnTo>
                  <a:pt x="2395" y="1763"/>
                </a:lnTo>
                <a:lnTo>
                  <a:pt x="2396" y="1754"/>
                </a:lnTo>
                <a:lnTo>
                  <a:pt x="2395" y="1751"/>
                </a:lnTo>
                <a:lnTo>
                  <a:pt x="2392" y="1754"/>
                </a:lnTo>
                <a:lnTo>
                  <a:pt x="2391" y="1751"/>
                </a:lnTo>
                <a:lnTo>
                  <a:pt x="2393" y="1744"/>
                </a:lnTo>
                <a:lnTo>
                  <a:pt x="2392" y="1741"/>
                </a:lnTo>
                <a:lnTo>
                  <a:pt x="2389" y="1741"/>
                </a:lnTo>
                <a:lnTo>
                  <a:pt x="2385" y="1741"/>
                </a:lnTo>
                <a:lnTo>
                  <a:pt x="2386" y="1743"/>
                </a:lnTo>
                <a:lnTo>
                  <a:pt x="2389" y="1744"/>
                </a:lnTo>
                <a:lnTo>
                  <a:pt x="2389" y="1747"/>
                </a:lnTo>
                <a:lnTo>
                  <a:pt x="2386" y="1749"/>
                </a:lnTo>
                <a:lnTo>
                  <a:pt x="2386" y="1750"/>
                </a:lnTo>
                <a:lnTo>
                  <a:pt x="2392" y="1759"/>
                </a:lnTo>
                <a:lnTo>
                  <a:pt x="2391" y="1767"/>
                </a:lnTo>
                <a:lnTo>
                  <a:pt x="2386" y="1769"/>
                </a:lnTo>
                <a:lnTo>
                  <a:pt x="2386" y="1776"/>
                </a:lnTo>
                <a:lnTo>
                  <a:pt x="2382" y="1778"/>
                </a:lnTo>
                <a:lnTo>
                  <a:pt x="2378" y="1780"/>
                </a:lnTo>
                <a:lnTo>
                  <a:pt x="2375" y="1778"/>
                </a:lnTo>
                <a:lnTo>
                  <a:pt x="2370" y="1772"/>
                </a:lnTo>
                <a:lnTo>
                  <a:pt x="2363" y="1767"/>
                </a:lnTo>
                <a:lnTo>
                  <a:pt x="2356" y="1766"/>
                </a:lnTo>
                <a:lnTo>
                  <a:pt x="2352" y="1767"/>
                </a:lnTo>
                <a:lnTo>
                  <a:pt x="2349" y="1767"/>
                </a:lnTo>
                <a:lnTo>
                  <a:pt x="2349" y="1771"/>
                </a:lnTo>
                <a:lnTo>
                  <a:pt x="2347" y="1772"/>
                </a:lnTo>
                <a:lnTo>
                  <a:pt x="2357" y="1784"/>
                </a:lnTo>
                <a:lnTo>
                  <a:pt x="2366" y="1792"/>
                </a:lnTo>
                <a:lnTo>
                  <a:pt x="2385" y="1803"/>
                </a:lnTo>
                <a:lnTo>
                  <a:pt x="2386" y="1808"/>
                </a:lnTo>
                <a:lnTo>
                  <a:pt x="2386" y="1820"/>
                </a:lnTo>
                <a:lnTo>
                  <a:pt x="2381" y="1822"/>
                </a:lnTo>
                <a:lnTo>
                  <a:pt x="2377" y="1834"/>
                </a:lnTo>
                <a:lnTo>
                  <a:pt x="2372" y="1834"/>
                </a:lnTo>
                <a:lnTo>
                  <a:pt x="2357" y="1826"/>
                </a:lnTo>
                <a:lnTo>
                  <a:pt x="2346" y="1826"/>
                </a:lnTo>
                <a:lnTo>
                  <a:pt x="2343" y="1826"/>
                </a:lnTo>
                <a:lnTo>
                  <a:pt x="2342" y="1816"/>
                </a:lnTo>
                <a:lnTo>
                  <a:pt x="2339" y="1816"/>
                </a:lnTo>
                <a:lnTo>
                  <a:pt x="2339" y="1822"/>
                </a:lnTo>
                <a:lnTo>
                  <a:pt x="2338" y="1825"/>
                </a:lnTo>
                <a:lnTo>
                  <a:pt x="2342" y="1830"/>
                </a:lnTo>
                <a:lnTo>
                  <a:pt x="2349" y="1834"/>
                </a:lnTo>
                <a:lnTo>
                  <a:pt x="2356" y="1833"/>
                </a:lnTo>
                <a:lnTo>
                  <a:pt x="2370" y="1838"/>
                </a:lnTo>
                <a:lnTo>
                  <a:pt x="2370" y="1842"/>
                </a:lnTo>
                <a:lnTo>
                  <a:pt x="2361" y="1841"/>
                </a:lnTo>
                <a:lnTo>
                  <a:pt x="2360" y="1841"/>
                </a:lnTo>
                <a:lnTo>
                  <a:pt x="2360" y="1842"/>
                </a:lnTo>
                <a:lnTo>
                  <a:pt x="2368" y="1845"/>
                </a:lnTo>
                <a:lnTo>
                  <a:pt x="2381" y="1843"/>
                </a:lnTo>
                <a:lnTo>
                  <a:pt x="2385" y="1845"/>
                </a:lnTo>
                <a:lnTo>
                  <a:pt x="2383" y="1848"/>
                </a:lnTo>
                <a:lnTo>
                  <a:pt x="2381" y="1849"/>
                </a:lnTo>
                <a:lnTo>
                  <a:pt x="2363" y="1856"/>
                </a:lnTo>
                <a:lnTo>
                  <a:pt x="2361" y="1865"/>
                </a:lnTo>
                <a:lnTo>
                  <a:pt x="2349" y="1866"/>
                </a:lnTo>
                <a:lnTo>
                  <a:pt x="2339" y="1867"/>
                </a:lnTo>
                <a:lnTo>
                  <a:pt x="2338" y="1867"/>
                </a:lnTo>
                <a:lnTo>
                  <a:pt x="2336" y="1866"/>
                </a:lnTo>
                <a:lnTo>
                  <a:pt x="2333" y="1867"/>
                </a:lnTo>
                <a:lnTo>
                  <a:pt x="2330" y="1856"/>
                </a:lnTo>
                <a:lnTo>
                  <a:pt x="2325" y="1853"/>
                </a:lnTo>
                <a:lnTo>
                  <a:pt x="2311" y="1845"/>
                </a:lnTo>
                <a:lnTo>
                  <a:pt x="2303" y="1830"/>
                </a:lnTo>
                <a:lnTo>
                  <a:pt x="2302" y="1830"/>
                </a:lnTo>
                <a:lnTo>
                  <a:pt x="2302" y="1833"/>
                </a:lnTo>
                <a:lnTo>
                  <a:pt x="2302" y="1838"/>
                </a:lnTo>
                <a:lnTo>
                  <a:pt x="2300" y="1838"/>
                </a:lnTo>
                <a:lnTo>
                  <a:pt x="2293" y="1834"/>
                </a:lnTo>
                <a:lnTo>
                  <a:pt x="2300" y="1842"/>
                </a:lnTo>
                <a:lnTo>
                  <a:pt x="2311" y="1851"/>
                </a:lnTo>
                <a:lnTo>
                  <a:pt x="2318" y="1853"/>
                </a:lnTo>
                <a:lnTo>
                  <a:pt x="2322" y="1856"/>
                </a:lnTo>
                <a:lnTo>
                  <a:pt x="2332" y="1871"/>
                </a:lnTo>
                <a:lnTo>
                  <a:pt x="2331" y="1871"/>
                </a:lnTo>
                <a:lnTo>
                  <a:pt x="2310" y="1878"/>
                </a:lnTo>
                <a:lnTo>
                  <a:pt x="2300" y="1881"/>
                </a:lnTo>
                <a:lnTo>
                  <a:pt x="2285" y="1883"/>
                </a:lnTo>
                <a:lnTo>
                  <a:pt x="2246" y="1898"/>
                </a:lnTo>
                <a:lnTo>
                  <a:pt x="2235" y="1904"/>
                </a:lnTo>
                <a:lnTo>
                  <a:pt x="2214" y="1913"/>
                </a:lnTo>
                <a:lnTo>
                  <a:pt x="2202" y="1920"/>
                </a:lnTo>
                <a:lnTo>
                  <a:pt x="2161" y="1937"/>
                </a:lnTo>
                <a:lnTo>
                  <a:pt x="2115" y="1961"/>
                </a:lnTo>
                <a:lnTo>
                  <a:pt x="2073" y="1986"/>
                </a:lnTo>
                <a:lnTo>
                  <a:pt x="2057" y="1991"/>
                </a:lnTo>
                <a:lnTo>
                  <a:pt x="2053" y="1991"/>
                </a:lnTo>
                <a:lnTo>
                  <a:pt x="2053" y="1987"/>
                </a:lnTo>
                <a:lnTo>
                  <a:pt x="2053" y="1986"/>
                </a:lnTo>
                <a:lnTo>
                  <a:pt x="2060" y="1983"/>
                </a:lnTo>
                <a:lnTo>
                  <a:pt x="2076" y="1968"/>
                </a:lnTo>
                <a:lnTo>
                  <a:pt x="2082" y="1968"/>
                </a:lnTo>
                <a:lnTo>
                  <a:pt x="2089" y="1968"/>
                </a:lnTo>
                <a:lnTo>
                  <a:pt x="2097" y="1968"/>
                </a:lnTo>
                <a:lnTo>
                  <a:pt x="2098" y="1968"/>
                </a:lnTo>
                <a:lnTo>
                  <a:pt x="2098" y="1965"/>
                </a:lnTo>
                <a:lnTo>
                  <a:pt x="2098" y="1968"/>
                </a:lnTo>
                <a:lnTo>
                  <a:pt x="2096" y="1968"/>
                </a:lnTo>
                <a:lnTo>
                  <a:pt x="2087" y="1967"/>
                </a:lnTo>
                <a:lnTo>
                  <a:pt x="2082" y="1965"/>
                </a:lnTo>
                <a:lnTo>
                  <a:pt x="2076" y="1965"/>
                </a:lnTo>
                <a:lnTo>
                  <a:pt x="2068" y="1968"/>
                </a:lnTo>
                <a:lnTo>
                  <a:pt x="2060" y="1977"/>
                </a:lnTo>
                <a:lnTo>
                  <a:pt x="2051" y="1980"/>
                </a:lnTo>
                <a:lnTo>
                  <a:pt x="2047" y="1983"/>
                </a:lnTo>
                <a:lnTo>
                  <a:pt x="2044" y="1983"/>
                </a:lnTo>
                <a:lnTo>
                  <a:pt x="2040" y="1987"/>
                </a:lnTo>
                <a:lnTo>
                  <a:pt x="2040" y="1998"/>
                </a:lnTo>
                <a:lnTo>
                  <a:pt x="2037" y="2003"/>
                </a:lnTo>
                <a:lnTo>
                  <a:pt x="2001" y="2022"/>
                </a:lnTo>
                <a:lnTo>
                  <a:pt x="1978" y="2036"/>
                </a:lnTo>
                <a:lnTo>
                  <a:pt x="1972" y="2036"/>
                </a:lnTo>
                <a:lnTo>
                  <a:pt x="1965" y="2032"/>
                </a:lnTo>
                <a:lnTo>
                  <a:pt x="1950" y="2032"/>
                </a:lnTo>
                <a:lnTo>
                  <a:pt x="1944" y="2028"/>
                </a:lnTo>
                <a:lnTo>
                  <a:pt x="1942" y="2028"/>
                </a:lnTo>
                <a:lnTo>
                  <a:pt x="1933" y="2030"/>
                </a:lnTo>
                <a:lnTo>
                  <a:pt x="1932" y="2036"/>
                </a:lnTo>
                <a:lnTo>
                  <a:pt x="1934" y="2042"/>
                </a:lnTo>
                <a:lnTo>
                  <a:pt x="1936" y="2036"/>
                </a:lnTo>
                <a:lnTo>
                  <a:pt x="1940" y="2032"/>
                </a:lnTo>
                <a:lnTo>
                  <a:pt x="1953" y="2036"/>
                </a:lnTo>
                <a:lnTo>
                  <a:pt x="1954" y="2039"/>
                </a:lnTo>
                <a:lnTo>
                  <a:pt x="1956" y="2042"/>
                </a:lnTo>
                <a:lnTo>
                  <a:pt x="1956" y="2044"/>
                </a:lnTo>
                <a:lnTo>
                  <a:pt x="1946" y="2052"/>
                </a:lnTo>
                <a:lnTo>
                  <a:pt x="1921" y="2065"/>
                </a:lnTo>
                <a:lnTo>
                  <a:pt x="1879" y="2083"/>
                </a:lnTo>
                <a:lnTo>
                  <a:pt x="1854" y="2097"/>
                </a:lnTo>
                <a:lnTo>
                  <a:pt x="1852" y="2097"/>
                </a:lnTo>
                <a:lnTo>
                  <a:pt x="1852" y="2091"/>
                </a:lnTo>
                <a:lnTo>
                  <a:pt x="1851" y="2089"/>
                </a:lnTo>
                <a:lnTo>
                  <a:pt x="1847" y="2085"/>
                </a:lnTo>
                <a:lnTo>
                  <a:pt x="1850" y="2091"/>
                </a:lnTo>
                <a:lnTo>
                  <a:pt x="1847" y="2097"/>
                </a:lnTo>
                <a:lnTo>
                  <a:pt x="1843" y="2097"/>
                </a:lnTo>
                <a:lnTo>
                  <a:pt x="1836" y="2097"/>
                </a:lnTo>
                <a:lnTo>
                  <a:pt x="1832" y="2097"/>
                </a:lnTo>
                <a:lnTo>
                  <a:pt x="1830" y="2100"/>
                </a:lnTo>
                <a:lnTo>
                  <a:pt x="1830" y="2107"/>
                </a:lnTo>
                <a:lnTo>
                  <a:pt x="1829" y="2111"/>
                </a:lnTo>
                <a:lnTo>
                  <a:pt x="1776" y="2141"/>
                </a:lnTo>
                <a:lnTo>
                  <a:pt x="1771" y="2145"/>
                </a:lnTo>
                <a:lnTo>
                  <a:pt x="1769" y="2145"/>
                </a:lnTo>
                <a:lnTo>
                  <a:pt x="1769" y="2144"/>
                </a:lnTo>
                <a:lnTo>
                  <a:pt x="1782" y="2137"/>
                </a:lnTo>
                <a:lnTo>
                  <a:pt x="1786" y="2133"/>
                </a:lnTo>
                <a:lnTo>
                  <a:pt x="1779" y="2136"/>
                </a:lnTo>
                <a:lnTo>
                  <a:pt x="1779" y="2128"/>
                </a:lnTo>
                <a:lnTo>
                  <a:pt x="1772" y="2136"/>
                </a:lnTo>
                <a:lnTo>
                  <a:pt x="1755" y="2145"/>
                </a:lnTo>
                <a:lnTo>
                  <a:pt x="1754" y="2154"/>
                </a:lnTo>
                <a:lnTo>
                  <a:pt x="1749" y="2160"/>
                </a:lnTo>
                <a:lnTo>
                  <a:pt x="1743" y="2160"/>
                </a:lnTo>
                <a:lnTo>
                  <a:pt x="1737" y="2160"/>
                </a:lnTo>
                <a:lnTo>
                  <a:pt x="1729" y="2158"/>
                </a:lnTo>
                <a:lnTo>
                  <a:pt x="1724" y="2160"/>
                </a:lnTo>
                <a:lnTo>
                  <a:pt x="1723" y="2162"/>
                </a:lnTo>
                <a:lnTo>
                  <a:pt x="1723" y="2166"/>
                </a:lnTo>
                <a:lnTo>
                  <a:pt x="1729" y="2164"/>
                </a:lnTo>
                <a:lnTo>
                  <a:pt x="1729" y="2166"/>
                </a:lnTo>
                <a:lnTo>
                  <a:pt x="1727" y="2168"/>
                </a:lnTo>
                <a:lnTo>
                  <a:pt x="1688" y="2195"/>
                </a:lnTo>
                <a:lnTo>
                  <a:pt x="1674" y="2208"/>
                </a:lnTo>
                <a:lnTo>
                  <a:pt x="1669" y="2215"/>
                </a:lnTo>
                <a:lnTo>
                  <a:pt x="1663" y="2219"/>
                </a:lnTo>
                <a:lnTo>
                  <a:pt x="1659" y="2219"/>
                </a:lnTo>
                <a:lnTo>
                  <a:pt x="1657" y="2216"/>
                </a:lnTo>
                <a:lnTo>
                  <a:pt x="1649" y="2201"/>
                </a:lnTo>
                <a:lnTo>
                  <a:pt x="1643" y="2189"/>
                </a:lnTo>
                <a:lnTo>
                  <a:pt x="1641" y="2181"/>
                </a:lnTo>
                <a:lnTo>
                  <a:pt x="1638" y="2174"/>
                </a:lnTo>
                <a:lnTo>
                  <a:pt x="1630" y="2170"/>
                </a:lnTo>
                <a:lnTo>
                  <a:pt x="1626" y="2170"/>
                </a:lnTo>
                <a:lnTo>
                  <a:pt x="1613" y="2177"/>
                </a:lnTo>
                <a:lnTo>
                  <a:pt x="1611" y="2177"/>
                </a:lnTo>
                <a:lnTo>
                  <a:pt x="1608" y="2174"/>
                </a:lnTo>
                <a:lnTo>
                  <a:pt x="1611" y="2178"/>
                </a:lnTo>
                <a:lnTo>
                  <a:pt x="1613" y="2181"/>
                </a:lnTo>
                <a:lnTo>
                  <a:pt x="1627" y="2174"/>
                </a:lnTo>
                <a:lnTo>
                  <a:pt x="1632" y="2178"/>
                </a:lnTo>
                <a:lnTo>
                  <a:pt x="1633" y="2182"/>
                </a:lnTo>
                <a:lnTo>
                  <a:pt x="1636" y="2194"/>
                </a:lnTo>
                <a:lnTo>
                  <a:pt x="1634" y="2201"/>
                </a:lnTo>
                <a:lnTo>
                  <a:pt x="1636" y="2204"/>
                </a:lnTo>
                <a:lnTo>
                  <a:pt x="1638" y="2201"/>
                </a:lnTo>
                <a:lnTo>
                  <a:pt x="1640" y="2201"/>
                </a:lnTo>
                <a:lnTo>
                  <a:pt x="1641" y="2208"/>
                </a:lnTo>
                <a:lnTo>
                  <a:pt x="1648" y="2216"/>
                </a:lnTo>
                <a:lnTo>
                  <a:pt x="1648" y="2219"/>
                </a:lnTo>
                <a:lnTo>
                  <a:pt x="1646" y="2226"/>
                </a:lnTo>
                <a:lnTo>
                  <a:pt x="1638" y="2235"/>
                </a:lnTo>
                <a:lnTo>
                  <a:pt x="1622" y="2245"/>
                </a:lnTo>
                <a:lnTo>
                  <a:pt x="1612" y="2257"/>
                </a:lnTo>
                <a:lnTo>
                  <a:pt x="1602" y="2265"/>
                </a:lnTo>
                <a:lnTo>
                  <a:pt x="1576" y="2294"/>
                </a:lnTo>
                <a:lnTo>
                  <a:pt x="1531" y="2355"/>
                </a:lnTo>
                <a:lnTo>
                  <a:pt x="1520" y="2365"/>
                </a:lnTo>
                <a:lnTo>
                  <a:pt x="1506" y="2388"/>
                </a:lnTo>
                <a:lnTo>
                  <a:pt x="1491" y="2407"/>
                </a:lnTo>
                <a:lnTo>
                  <a:pt x="1489" y="2410"/>
                </a:lnTo>
                <a:lnTo>
                  <a:pt x="1480" y="2425"/>
                </a:lnTo>
                <a:lnTo>
                  <a:pt x="1474" y="2429"/>
                </a:lnTo>
                <a:lnTo>
                  <a:pt x="1470" y="2429"/>
                </a:lnTo>
                <a:lnTo>
                  <a:pt x="1464" y="2420"/>
                </a:lnTo>
                <a:lnTo>
                  <a:pt x="1463" y="2417"/>
                </a:lnTo>
                <a:lnTo>
                  <a:pt x="1460" y="2413"/>
                </a:lnTo>
                <a:lnTo>
                  <a:pt x="1462" y="2410"/>
                </a:lnTo>
                <a:lnTo>
                  <a:pt x="1453" y="2395"/>
                </a:lnTo>
                <a:lnTo>
                  <a:pt x="1439" y="2385"/>
                </a:lnTo>
                <a:lnTo>
                  <a:pt x="1428" y="2380"/>
                </a:lnTo>
                <a:lnTo>
                  <a:pt x="1427" y="2377"/>
                </a:lnTo>
                <a:lnTo>
                  <a:pt x="1425" y="2373"/>
                </a:lnTo>
                <a:lnTo>
                  <a:pt x="1423" y="2368"/>
                </a:lnTo>
                <a:lnTo>
                  <a:pt x="1423" y="2369"/>
                </a:lnTo>
                <a:lnTo>
                  <a:pt x="1423" y="2372"/>
                </a:lnTo>
                <a:lnTo>
                  <a:pt x="1422" y="2372"/>
                </a:lnTo>
                <a:lnTo>
                  <a:pt x="1419" y="2361"/>
                </a:lnTo>
                <a:lnTo>
                  <a:pt x="1417" y="2357"/>
                </a:lnTo>
                <a:lnTo>
                  <a:pt x="1420" y="2350"/>
                </a:lnTo>
                <a:lnTo>
                  <a:pt x="1420" y="2339"/>
                </a:lnTo>
                <a:lnTo>
                  <a:pt x="1417" y="2328"/>
                </a:lnTo>
                <a:lnTo>
                  <a:pt x="1412" y="2320"/>
                </a:lnTo>
                <a:lnTo>
                  <a:pt x="1403" y="2320"/>
                </a:lnTo>
                <a:lnTo>
                  <a:pt x="1394" y="2314"/>
                </a:lnTo>
                <a:lnTo>
                  <a:pt x="1387" y="2313"/>
                </a:lnTo>
                <a:lnTo>
                  <a:pt x="1375" y="2315"/>
                </a:lnTo>
                <a:lnTo>
                  <a:pt x="1369" y="2323"/>
                </a:lnTo>
                <a:lnTo>
                  <a:pt x="1364" y="2325"/>
                </a:lnTo>
                <a:lnTo>
                  <a:pt x="1356" y="2327"/>
                </a:lnTo>
                <a:lnTo>
                  <a:pt x="1344" y="2332"/>
                </a:lnTo>
                <a:lnTo>
                  <a:pt x="1339" y="2338"/>
                </a:lnTo>
                <a:lnTo>
                  <a:pt x="1348" y="2338"/>
                </a:lnTo>
                <a:lnTo>
                  <a:pt x="1369" y="2331"/>
                </a:lnTo>
                <a:lnTo>
                  <a:pt x="1394" y="2325"/>
                </a:lnTo>
                <a:lnTo>
                  <a:pt x="1398" y="2325"/>
                </a:lnTo>
                <a:lnTo>
                  <a:pt x="1399" y="2336"/>
                </a:lnTo>
                <a:lnTo>
                  <a:pt x="1405" y="2360"/>
                </a:lnTo>
                <a:lnTo>
                  <a:pt x="1405" y="2373"/>
                </a:lnTo>
                <a:lnTo>
                  <a:pt x="1412" y="2395"/>
                </a:lnTo>
                <a:lnTo>
                  <a:pt x="1413" y="2410"/>
                </a:lnTo>
                <a:lnTo>
                  <a:pt x="1413" y="2417"/>
                </a:lnTo>
                <a:lnTo>
                  <a:pt x="1416" y="2426"/>
                </a:lnTo>
                <a:lnTo>
                  <a:pt x="1420" y="2431"/>
                </a:lnTo>
                <a:lnTo>
                  <a:pt x="1425" y="2435"/>
                </a:lnTo>
                <a:lnTo>
                  <a:pt x="1442" y="2435"/>
                </a:lnTo>
                <a:lnTo>
                  <a:pt x="1447" y="2440"/>
                </a:lnTo>
                <a:lnTo>
                  <a:pt x="1453" y="2440"/>
                </a:lnTo>
                <a:lnTo>
                  <a:pt x="1455" y="2444"/>
                </a:lnTo>
                <a:lnTo>
                  <a:pt x="1460" y="2440"/>
                </a:lnTo>
                <a:lnTo>
                  <a:pt x="1462" y="2443"/>
                </a:lnTo>
                <a:lnTo>
                  <a:pt x="1463" y="2444"/>
                </a:lnTo>
                <a:lnTo>
                  <a:pt x="1460" y="2452"/>
                </a:lnTo>
                <a:lnTo>
                  <a:pt x="1462" y="2459"/>
                </a:lnTo>
                <a:lnTo>
                  <a:pt x="1460" y="2463"/>
                </a:lnTo>
                <a:lnTo>
                  <a:pt x="1419" y="2506"/>
                </a:lnTo>
                <a:lnTo>
                  <a:pt x="1408" y="2519"/>
                </a:lnTo>
                <a:lnTo>
                  <a:pt x="1394" y="2538"/>
                </a:lnTo>
                <a:lnTo>
                  <a:pt x="1391" y="2549"/>
                </a:lnTo>
                <a:lnTo>
                  <a:pt x="1391" y="2560"/>
                </a:lnTo>
                <a:lnTo>
                  <a:pt x="1388" y="2563"/>
                </a:lnTo>
                <a:lnTo>
                  <a:pt x="1378" y="2559"/>
                </a:lnTo>
                <a:lnTo>
                  <a:pt x="1367" y="2556"/>
                </a:lnTo>
                <a:lnTo>
                  <a:pt x="1359" y="2552"/>
                </a:lnTo>
                <a:lnTo>
                  <a:pt x="1359" y="2551"/>
                </a:lnTo>
                <a:lnTo>
                  <a:pt x="1362" y="2550"/>
                </a:lnTo>
                <a:lnTo>
                  <a:pt x="1369" y="2550"/>
                </a:lnTo>
                <a:lnTo>
                  <a:pt x="1374" y="2547"/>
                </a:lnTo>
                <a:lnTo>
                  <a:pt x="1364" y="2544"/>
                </a:lnTo>
                <a:lnTo>
                  <a:pt x="1359" y="2546"/>
                </a:lnTo>
                <a:lnTo>
                  <a:pt x="1352" y="2552"/>
                </a:lnTo>
                <a:lnTo>
                  <a:pt x="1345" y="2552"/>
                </a:lnTo>
                <a:lnTo>
                  <a:pt x="1337" y="2560"/>
                </a:lnTo>
                <a:lnTo>
                  <a:pt x="1321" y="2568"/>
                </a:lnTo>
                <a:lnTo>
                  <a:pt x="1316" y="2577"/>
                </a:lnTo>
                <a:lnTo>
                  <a:pt x="1309" y="2579"/>
                </a:lnTo>
                <a:lnTo>
                  <a:pt x="1310" y="2581"/>
                </a:lnTo>
                <a:lnTo>
                  <a:pt x="1316" y="2581"/>
                </a:lnTo>
                <a:lnTo>
                  <a:pt x="1317" y="2583"/>
                </a:lnTo>
                <a:lnTo>
                  <a:pt x="1306" y="2591"/>
                </a:lnTo>
                <a:lnTo>
                  <a:pt x="1298" y="2605"/>
                </a:lnTo>
                <a:lnTo>
                  <a:pt x="1292" y="2609"/>
                </a:lnTo>
                <a:lnTo>
                  <a:pt x="1289" y="2605"/>
                </a:lnTo>
                <a:lnTo>
                  <a:pt x="1279" y="2591"/>
                </a:lnTo>
                <a:lnTo>
                  <a:pt x="1264" y="2575"/>
                </a:lnTo>
                <a:lnTo>
                  <a:pt x="1264" y="2559"/>
                </a:lnTo>
                <a:lnTo>
                  <a:pt x="1262" y="2552"/>
                </a:lnTo>
                <a:lnTo>
                  <a:pt x="1260" y="2549"/>
                </a:lnTo>
                <a:lnTo>
                  <a:pt x="1260" y="2567"/>
                </a:lnTo>
                <a:lnTo>
                  <a:pt x="1263" y="2579"/>
                </a:lnTo>
                <a:lnTo>
                  <a:pt x="1270" y="2587"/>
                </a:lnTo>
                <a:lnTo>
                  <a:pt x="1278" y="2605"/>
                </a:lnTo>
                <a:lnTo>
                  <a:pt x="1288" y="2612"/>
                </a:lnTo>
                <a:lnTo>
                  <a:pt x="1296" y="2612"/>
                </a:lnTo>
                <a:lnTo>
                  <a:pt x="1305" y="2605"/>
                </a:lnTo>
                <a:lnTo>
                  <a:pt x="1325" y="2597"/>
                </a:lnTo>
                <a:lnTo>
                  <a:pt x="1339" y="2583"/>
                </a:lnTo>
                <a:lnTo>
                  <a:pt x="1345" y="2579"/>
                </a:lnTo>
                <a:lnTo>
                  <a:pt x="1353" y="2579"/>
                </a:lnTo>
                <a:lnTo>
                  <a:pt x="1353" y="2583"/>
                </a:lnTo>
                <a:lnTo>
                  <a:pt x="1350" y="2587"/>
                </a:lnTo>
                <a:lnTo>
                  <a:pt x="1331" y="2609"/>
                </a:lnTo>
                <a:lnTo>
                  <a:pt x="1307" y="2634"/>
                </a:lnTo>
                <a:lnTo>
                  <a:pt x="1298" y="2642"/>
                </a:lnTo>
                <a:lnTo>
                  <a:pt x="1293" y="2649"/>
                </a:lnTo>
                <a:lnTo>
                  <a:pt x="1271" y="2668"/>
                </a:lnTo>
                <a:lnTo>
                  <a:pt x="1262" y="2680"/>
                </a:lnTo>
                <a:lnTo>
                  <a:pt x="1239" y="2703"/>
                </a:lnTo>
                <a:lnTo>
                  <a:pt x="1237" y="2703"/>
                </a:lnTo>
                <a:lnTo>
                  <a:pt x="1232" y="2703"/>
                </a:lnTo>
                <a:lnTo>
                  <a:pt x="1232" y="2705"/>
                </a:lnTo>
                <a:lnTo>
                  <a:pt x="1234" y="2706"/>
                </a:lnTo>
                <a:lnTo>
                  <a:pt x="1232" y="2711"/>
                </a:lnTo>
                <a:lnTo>
                  <a:pt x="1220" y="2720"/>
                </a:lnTo>
                <a:lnTo>
                  <a:pt x="1217" y="2717"/>
                </a:lnTo>
                <a:lnTo>
                  <a:pt x="1214" y="2720"/>
                </a:lnTo>
                <a:lnTo>
                  <a:pt x="1210" y="2721"/>
                </a:lnTo>
                <a:lnTo>
                  <a:pt x="1212" y="2725"/>
                </a:lnTo>
                <a:lnTo>
                  <a:pt x="1210" y="2729"/>
                </a:lnTo>
                <a:lnTo>
                  <a:pt x="1193" y="2743"/>
                </a:lnTo>
                <a:lnTo>
                  <a:pt x="1189" y="2743"/>
                </a:lnTo>
                <a:lnTo>
                  <a:pt x="1185" y="2742"/>
                </a:lnTo>
                <a:lnTo>
                  <a:pt x="1184" y="2751"/>
                </a:lnTo>
                <a:lnTo>
                  <a:pt x="1168" y="2766"/>
                </a:lnTo>
                <a:lnTo>
                  <a:pt x="1128" y="2807"/>
                </a:lnTo>
                <a:lnTo>
                  <a:pt x="1123" y="2811"/>
                </a:lnTo>
                <a:lnTo>
                  <a:pt x="1118" y="2807"/>
                </a:lnTo>
                <a:lnTo>
                  <a:pt x="1117" y="2807"/>
                </a:lnTo>
                <a:lnTo>
                  <a:pt x="1115" y="2811"/>
                </a:lnTo>
                <a:lnTo>
                  <a:pt x="1117" y="2819"/>
                </a:lnTo>
                <a:lnTo>
                  <a:pt x="1117" y="2822"/>
                </a:lnTo>
                <a:lnTo>
                  <a:pt x="1106" y="2837"/>
                </a:lnTo>
                <a:lnTo>
                  <a:pt x="1103" y="2837"/>
                </a:lnTo>
                <a:lnTo>
                  <a:pt x="1096" y="2837"/>
                </a:lnTo>
                <a:lnTo>
                  <a:pt x="1093" y="2837"/>
                </a:lnTo>
                <a:lnTo>
                  <a:pt x="1093" y="2832"/>
                </a:lnTo>
                <a:lnTo>
                  <a:pt x="1096" y="2825"/>
                </a:lnTo>
                <a:lnTo>
                  <a:pt x="1088" y="2830"/>
                </a:lnTo>
                <a:lnTo>
                  <a:pt x="1084" y="2836"/>
                </a:lnTo>
                <a:lnTo>
                  <a:pt x="1082" y="2841"/>
                </a:lnTo>
                <a:lnTo>
                  <a:pt x="1085" y="2844"/>
                </a:lnTo>
                <a:lnTo>
                  <a:pt x="1090" y="2845"/>
                </a:lnTo>
                <a:lnTo>
                  <a:pt x="1092" y="2847"/>
                </a:lnTo>
                <a:lnTo>
                  <a:pt x="1084" y="2866"/>
                </a:lnTo>
                <a:lnTo>
                  <a:pt x="1081" y="2867"/>
                </a:lnTo>
                <a:lnTo>
                  <a:pt x="1074" y="2867"/>
                </a:lnTo>
                <a:lnTo>
                  <a:pt x="1061" y="2862"/>
                </a:lnTo>
                <a:lnTo>
                  <a:pt x="1056" y="2859"/>
                </a:lnTo>
                <a:lnTo>
                  <a:pt x="1043" y="2863"/>
                </a:lnTo>
                <a:lnTo>
                  <a:pt x="1029" y="2863"/>
                </a:lnTo>
                <a:lnTo>
                  <a:pt x="1028" y="2858"/>
                </a:lnTo>
                <a:lnTo>
                  <a:pt x="1029" y="2841"/>
                </a:lnTo>
                <a:lnTo>
                  <a:pt x="1027" y="2845"/>
                </a:lnTo>
                <a:lnTo>
                  <a:pt x="1024" y="2854"/>
                </a:lnTo>
                <a:lnTo>
                  <a:pt x="1025" y="2863"/>
                </a:lnTo>
                <a:lnTo>
                  <a:pt x="1018" y="2871"/>
                </a:lnTo>
                <a:lnTo>
                  <a:pt x="1022" y="2874"/>
                </a:lnTo>
                <a:lnTo>
                  <a:pt x="1028" y="2870"/>
                </a:lnTo>
                <a:lnTo>
                  <a:pt x="1035" y="2870"/>
                </a:lnTo>
                <a:lnTo>
                  <a:pt x="1056" y="2874"/>
                </a:lnTo>
                <a:lnTo>
                  <a:pt x="1063" y="2878"/>
                </a:lnTo>
                <a:lnTo>
                  <a:pt x="1063" y="2886"/>
                </a:lnTo>
                <a:lnTo>
                  <a:pt x="1067" y="2890"/>
                </a:lnTo>
                <a:lnTo>
                  <a:pt x="1064" y="2896"/>
                </a:lnTo>
                <a:lnTo>
                  <a:pt x="1056" y="2900"/>
                </a:lnTo>
                <a:lnTo>
                  <a:pt x="1050" y="2904"/>
                </a:lnTo>
                <a:lnTo>
                  <a:pt x="1043" y="2908"/>
                </a:lnTo>
                <a:lnTo>
                  <a:pt x="1031" y="2919"/>
                </a:lnTo>
                <a:lnTo>
                  <a:pt x="1028" y="2925"/>
                </a:lnTo>
                <a:lnTo>
                  <a:pt x="1019" y="2933"/>
                </a:lnTo>
                <a:lnTo>
                  <a:pt x="1022" y="2941"/>
                </a:lnTo>
                <a:lnTo>
                  <a:pt x="1021" y="2945"/>
                </a:lnTo>
                <a:lnTo>
                  <a:pt x="1018" y="2957"/>
                </a:lnTo>
                <a:lnTo>
                  <a:pt x="1014" y="2961"/>
                </a:lnTo>
                <a:lnTo>
                  <a:pt x="1008" y="2965"/>
                </a:lnTo>
                <a:lnTo>
                  <a:pt x="1000" y="2967"/>
                </a:lnTo>
                <a:lnTo>
                  <a:pt x="992" y="2959"/>
                </a:lnTo>
                <a:lnTo>
                  <a:pt x="990" y="2971"/>
                </a:lnTo>
                <a:lnTo>
                  <a:pt x="985" y="2979"/>
                </a:lnTo>
                <a:lnTo>
                  <a:pt x="982" y="2991"/>
                </a:lnTo>
                <a:lnTo>
                  <a:pt x="974" y="3009"/>
                </a:lnTo>
                <a:lnTo>
                  <a:pt x="982" y="3002"/>
                </a:lnTo>
                <a:lnTo>
                  <a:pt x="983" y="3004"/>
                </a:lnTo>
                <a:lnTo>
                  <a:pt x="986" y="3006"/>
                </a:lnTo>
                <a:lnTo>
                  <a:pt x="990" y="2998"/>
                </a:lnTo>
                <a:lnTo>
                  <a:pt x="993" y="2998"/>
                </a:lnTo>
                <a:lnTo>
                  <a:pt x="996" y="2998"/>
                </a:lnTo>
                <a:lnTo>
                  <a:pt x="1000" y="2994"/>
                </a:lnTo>
                <a:lnTo>
                  <a:pt x="1002" y="2994"/>
                </a:lnTo>
                <a:lnTo>
                  <a:pt x="996" y="3018"/>
                </a:lnTo>
                <a:lnTo>
                  <a:pt x="996" y="3028"/>
                </a:lnTo>
                <a:lnTo>
                  <a:pt x="997" y="3036"/>
                </a:lnTo>
                <a:lnTo>
                  <a:pt x="996" y="3043"/>
                </a:lnTo>
                <a:lnTo>
                  <a:pt x="992" y="3045"/>
                </a:lnTo>
                <a:lnTo>
                  <a:pt x="989" y="3041"/>
                </a:lnTo>
                <a:lnTo>
                  <a:pt x="985" y="3043"/>
                </a:lnTo>
                <a:lnTo>
                  <a:pt x="980" y="3045"/>
                </a:lnTo>
                <a:lnTo>
                  <a:pt x="977" y="3051"/>
                </a:lnTo>
                <a:lnTo>
                  <a:pt x="969" y="3054"/>
                </a:lnTo>
                <a:lnTo>
                  <a:pt x="963" y="3057"/>
                </a:lnTo>
                <a:lnTo>
                  <a:pt x="958" y="3057"/>
                </a:lnTo>
                <a:lnTo>
                  <a:pt x="949" y="3054"/>
                </a:lnTo>
                <a:lnTo>
                  <a:pt x="940" y="3051"/>
                </a:lnTo>
                <a:lnTo>
                  <a:pt x="922" y="3049"/>
                </a:lnTo>
                <a:lnTo>
                  <a:pt x="908" y="3036"/>
                </a:lnTo>
                <a:lnTo>
                  <a:pt x="899" y="3032"/>
                </a:lnTo>
                <a:lnTo>
                  <a:pt x="903" y="3043"/>
                </a:lnTo>
                <a:lnTo>
                  <a:pt x="914" y="3049"/>
                </a:lnTo>
                <a:lnTo>
                  <a:pt x="933" y="3054"/>
                </a:lnTo>
                <a:lnTo>
                  <a:pt x="947" y="3064"/>
                </a:lnTo>
                <a:lnTo>
                  <a:pt x="963" y="3068"/>
                </a:lnTo>
                <a:lnTo>
                  <a:pt x="972" y="3066"/>
                </a:lnTo>
                <a:lnTo>
                  <a:pt x="974" y="3068"/>
                </a:lnTo>
                <a:lnTo>
                  <a:pt x="974" y="3069"/>
                </a:lnTo>
                <a:lnTo>
                  <a:pt x="971" y="3073"/>
                </a:lnTo>
                <a:lnTo>
                  <a:pt x="936" y="3106"/>
                </a:lnTo>
                <a:lnTo>
                  <a:pt x="933" y="3107"/>
                </a:lnTo>
                <a:lnTo>
                  <a:pt x="930" y="3103"/>
                </a:lnTo>
                <a:lnTo>
                  <a:pt x="926" y="3085"/>
                </a:lnTo>
                <a:lnTo>
                  <a:pt x="922" y="3081"/>
                </a:lnTo>
                <a:lnTo>
                  <a:pt x="900" y="3064"/>
                </a:lnTo>
                <a:lnTo>
                  <a:pt x="885" y="3044"/>
                </a:lnTo>
                <a:lnTo>
                  <a:pt x="883" y="3041"/>
                </a:lnTo>
                <a:lnTo>
                  <a:pt x="883" y="3036"/>
                </a:lnTo>
                <a:lnTo>
                  <a:pt x="878" y="3036"/>
                </a:lnTo>
                <a:lnTo>
                  <a:pt x="871" y="3045"/>
                </a:lnTo>
                <a:lnTo>
                  <a:pt x="871" y="3049"/>
                </a:lnTo>
                <a:lnTo>
                  <a:pt x="883" y="3054"/>
                </a:lnTo>
                <a:lnTo>
                  <a:pt x="900" y="3083"/>
                </a:lnTo>
                <a:lnTo>
                  <a:pt x="907" y="3090"/>
                </a:lnTo>
                <a:lnTo>
                  <a:pt x="914" y="3099"/>
                </a:lnTo>
                <a:lnTo>
                  <a:pt x="919" y="3099"/>
                </a:lnTo>
                <a:lnTo>
                  <a:pt x="919" y="3102"/>
                </a:lnTo>
                <a:lnTo>
                  <a:pt x="921" y="3106"/>
                </a:lnTo>
                <a:lnTo>
                  <a:pt x="915" y="3113"/>
                </a:lnTo>
                <a:lnTo>
                  <a:pt x="914" y="3113"/>
                </a:lnTo>
                <a:lnTo>
                  <a:pt x="913" y="3111"/>
                </a:lnTo>
                <a:lnTo>
                  <a:pt x="910" y="3111"/>
                </a:lnTo>
                <a:lnTo>
                  <a:pt x="904" y="3114"/>
                </a:lnTo>
                <a:lnTo>
                  <a:pt x="905" y="3114"/>
                </a:lnTo>
                <a:lnTo>
                  <a:pt x="910" y="3118"/>
                </a:lnTo>
                <a:lnTo>
                  <a:pt x="911" y="3118"/>
                </a:lnTo>
                <a:lnTo>
                  <a:pt x="904" y="3122"/>
                </a:lnTo>
                <a:lnTo>
                  <a:pt x="854" y="3128"/>
                </a:lnTo>
                <a:lnTo>
                  <a:pt x="816" y="3136"/>
                </a:lnTo>
                <a:lnTo>
                  <a:pt x="804" y="3136"/>
                </a:lnTo>
                <a:lnTo>
                  <a:pt x="801" y="3132"/>
                </a:lnTo>
                <a:lnTo>
                  <a:pt x="810" y="3128"/>
                </a:lnTo>
                <a:lnTo>
                  <a:pt x="805" y="3124"/>
                </a:lnTo>
                <a:lnTo>
                  <a:pt x="797" y="3111"/>
                </a:lnTo>
                <a:lnTo>
                  <a:pt x="793" y="3095"/>
                </a:lnTo>
                <a:lnTo>
                  <a:pt x="787" y="3089"/>
                </a:lnTo>
                <a:lnTo>
                  <a:pt x="787" y="3085"/>
                </a:lnTo>
                <a:lnTo>
                  <a:pt x="790" y="3073"/>
                </a:lnTo>
                <a:lnTo>
                  <a:pt x="796" y="3063"/>
                </a:lnTo>
                <a:lnTo>
                  <a:pt x="813" y="3051"/>
                </a:lnTo>
                <a:lnTo>
                  <a:pt x="814" y="3049"/>
                </a:lnTo>
                <a:lnTo>
                  <a:pt x="813" y="3036"/>
                </a:lnTo>
                <a:lnTo>
                  <a:pt x="815" y="3032"/>
                </a:lnTo>
                <a:lnTo>
                  <a:pt x="818" y="3031"/>
                </a:lnTo>
                <a:lnTo>
                  <a:pt x="835" y="3031"/>
                </a:lnTo>
                <a:lnTo>
                  <a:pt x="838" y="3028"/>
                </a:lnTo>
                <a:lnTo>
                  <a:pt x="839" y="3027"/>
                </a:lnTo>
                <a:lnTo>
                  <a:pt x="836" y="3020"/>
                </a:lnTo>
                <a:lnTo>
                  <a:pt x="828" y="3014"/>
                </a:lnTo>
                <a:lnTo>
                  <a:pt x="824" y="3008"/>
                </a:lnTo>
                <a:lnTo>
                  <a:pt x="819" y="2996"/>
                </a:lnTo>
                <a:lnTo>
                  <a:pt x="816" y="2996"/>
                </a:lnTo>
                <a:lnTo>
                  <a:pt x="813" y="3002"/>
                </a:lnTo>
                <a:lnTo>
                  <a:pt x="810" y="3002"/>
                </a:lnTo>
                <a:lnTo>
                  <a:pt x="807" y="2998"/>
                </a:lnTo>
                <a:lnTo>
                  <a:pt x="805" y="2990"/>
                </a:lnTo>
                <a:lnTo>
                  <a:pt x="804" y="2987"/>
                </a:lnTo>
                <a:lnTo>
                  <a:pt x="794" y="2986"/>
                </a:lnTo>
                <a:lnTo>
                  <a:pt x="787" y="2987"/>
                </a:lnTo>
                <a:lnTo>
                  <a:pt x="776" y="2995"/>
                </a:lnTo>
                <a:lnTo>
                  <a:pt x="773" y="2995"/>
                </a:lnTo>
                <a:lnTo>
                  <a:pt x="769" y="2990"/>
                </a:lnTo>
                <a:lnTo>
                  <a:pt x="761" y="2987"/>
                </a:lnTo>
                <a:lnTo>
                  <a:pt x="761" y="2983"/>
                </a:lnTo>
                <a:lnTo>
                  <a:pt x="762" y="2976"/>
                </a:lnTo>
                <a:lnTo>
                  <a:pt x="778" y="2976"/>
                </a:lnTo>
                <a:lnTo>
                  <a:pt x="779" y="2976"/>
                </a:lnTo>
                <a:lnTo>
                  <a:pt x="780" y="2973"/>
                </a:lnTo>
                <a:lnTo>
                  <a:pt x="779" y="2969"/>
                </a:lnTo>
                <a:lnTo>
                  <a:pt x="772" y="2964"/>
                </a:lnTo>
                <a:lnTo>
                  <a:pt x="769" y="2961"/>
                </a:lnTo>
                <a:lnTo>
                  <a:pt x="769" y="2953"/>
                </a:lnTo>
                <a:lnTo>
                  <a:pt x="775" y="2945"/>
                </a:lnTo>
                <a:lnTo>
                  <a:pt x="776" y="2939"/>
                </a:lnTo>
                <a:lnTo>
                  <a:pt x="773" y="2927"/>
                </a:lnTo>
                <a:lnTo>
                  <a:pt x="766" y="2920"/>
                </a:lnTo>
                <a:lnTo>
                  <a:pt x="766" y="2915"/>
                </a:lnTo>
                <a:lnTo>
                  <a:pt x="768" y="2912"/>
                </a:lnTo>
                <a:lnTo>
                  <a:pt x="772" y="2908"/>
                </a:lnTo>
                <a:lnTo>
                  <a:pt x="789" y="2904"/>
                </a:lnTo>
                <a:lnTo>
                  <a:pt x="789" y="2903"/>
                </a:lnTo>
                <a:lnTo>
                  <a:pt x="785" y="2897"/>
                </a:lnTo>
                <a:lnTo>
                  <a:pt x="787" y="2892"/>
                </a:lnTo>
                <a:lnTo>
                  <a:pt x="805" y="2892"/>
                </a:lnTo>
                <a:lnTo>
                  <a:pt x="810" y="2890"/>
                </a:lnTo>
                <a:lnTo>
                  <a:pt x="813" y="2886"/>
                </a:lnTo>
                <a:lnTo>
                  <a:pt x="810" y="2882"/>
                </a:lnTo>
                <a:lnTo>
                  <a:pt x="799" y="2884"/>
                </a:lnTo>
                <a:lnTo>
                  <a:pt x="796" y="2882"/>
                </a:lnTo>
                <a:lnTo>
                  <a:pt x="800" y="2875"/>
                </a:lnTo>
                <a:lnTo>
                  <a:pt x="797" y="2866"/>
                </a:lnTo>
                <a:lnTo>
                  <a:pt x="800" y="2862"/>
                </a:lnTo>
                <a:lnTo>
                  <a:pt x="799" y="2855"/>
                </a:lnTo>
                <a:lnTo>
                  <a:pt x="800" y="2849"/>
                </a:lnTo>
                <a:lnTo>
                  <a:pt x="799" y="2845"/>
                </a:lnTo>
                <a:lnTo>
                  <a:pt x="787" y="2832"/>
                </a:lnTo>
                <a:lnTo>
                  <a:pt x="789" y="2825"/>
                </a:lnTo>
                <a:lnTo>
                  <a:pt x="791" y="2821"/>
                </a:lnTo>
                <a:lnTo>
                  <a:pt x="791" y="2817"/>
                </a:lnTo>
                <a:lnTo>
                  <a:pt x="783" y="2799"/>
                </a:lnTo>
                <a:lnTo>
                  <a:pt x="780" y="2784"/>
                </a:lnTo>
                <a:lnTo>
                  <a:pt x="769" y="2759"/>
                </a:lnTo>
                <a:lnTo>
                  <a:pt x="762" y="2747"/>
                </a:lnTo>
                <a:lnTo>
                  <a:pt x="759" y="2743"/>
                </a:lnTo>
                <a:lnTo>
                  <a:pt x="747" y="2706"/>
                </a:lnTo>
                <a:lnTo>
                  <a:pt x="734" y="2703"/>
                </a:lnTo>
                <a:lnTo>
                  <a:pt x="723" y="2691"/>
                </a:lnTo>
                <a:lnTo>
                  <a:pt x="706" y="2688"/>
                </a:lnTo>
                <a:lnTo>
                  <a:pt x="700" y="2675"/>
                </a:lnTo>
                <a:lnTo>
                  <a:pt x="695" y="2668"/>
                </a:lnTo>
                <a:lnTo>
                  <a:pt x="687" y="2663"/>
                </a:lnTo>
                <a:lnTo>
                  <a:pt x="686" y="2658"/>
                </a:lnTo>
                <a:lnTo>
                  <a:pt x="680" y="2653"/>
                </a:lnTo>
                <a:lnTo>
                  <a:pt x="673" y="2650"/>
                </a:lnTo>
                <a:lnTo>
                  <a:pt x="665" y="2645"/>
                </a:lnTo>
                <a:lnTo>
                  <a:pt x="655" y="2643"/>
                </a:lnTo>
                <a:lnTo>
                  <a:pt x="651" y="2642"/>
                </a:lnTo>
                <a:lnTo>
                  <a:pt x="648" y="2631"/>
                </a:lnTo>
                <a:lnTo>
                  <a:pt x="643" y="2626"/>
                </a:lnTo>
                <a:lnTo>
                  <a:pt x="634" y="2619"/>
                </a:lnTo>
                <a:lnTo>
                  <a:pt x="623" y="2613"/>
                </a:lnTo>
                <a:lnTo>
                  <a:pt x="606" y="2613"/>
                </a:lnTo>
                <a:lnTo>
                  <a:pt x="604" y="2609"/>
                </a:lnTo>
                <a:lnTo>
                  <a:pt x="600" y="2605"/>
                </a:lnTo>
                <a:lnTo>
                  <a:pt x="597" y="2597"/>
                </a:lnTo>
                <a:lnTo>
                  <a:pt x="597" y="2583"/>
                </a:lnTo>
                <a:lnTo>
                  <a:pt x="595" y="2579"/>
                </a:lnTo>
                <a:lnTo>
                  <a:pt x="586" y="2568"/>
                </a:lnTo>
                <a:lnTo>
                  <a:pt x="572" y="2559"/>
                </a:lnTo>
                <a:lnTo>
                  <a:pt x="566" y="2551"/>
                </a:lnTo>
                <a:lnTo>
                  <a:pt x="562" y="2537"/>
                </a:lnTo>
                <a:lnTo>
                  <a:pt x="562" y="2530"/>
                </a:lnTo>
                <a:lnTo>
                  <a:pt x="565" y="2519"/>
                </a:lnTo>
                <a:lnTo>
                  <a:pt x="565" y="2514"/>
                </a:lnTo>
                <a:lnTo>
                  <a:pt x="555" y="2504"/>
                </a:lnTo>
                <a:lnTo>
                  <a:pt x="547" y="2497"/>
                </a:lnTo>
                <a:lnTo>
                  <a:pt x="541" y="2493"/>
                </a:lnTo>
                <a:lnTo>
                  <a:pt x="527" y="2492"/>
                </a:lnTo>
                <a:lnTo>
                  <a:pt x="513" y="2479"/>
                </a:lnTo>
                <a:lnTo>
                  <a:pt x="508" y="2475"/>
                </a:lnTo>
                <a:lnTo>
                  <a:pt x="490" y="2471"/>
                </a:lnTo>
                <a:lnTo>
                  <a:pt x="477" y="2462"/>
                </a:lnTo>
                <a:lnTo>
                  <a:pt x="468" y="2457"/>
                </a:lnTo>
                <a:lnTo>
                  <a:pt x="460" y="2451"/>
                </a:lnTo>
                <a:lnTo>
                  <a:pt x="451" y="2444"/>
                </a:lnTo>
                <a:lnTo>
                  <a:pt x="431" y="2440"/>
                </a:lnTo>
                <a:lnTo>
                  <a:pt x="410" y="2439"/>
                </a:lnTo>
                <a:lnTo>
                  <a:pt x="388" y="2431"/>
                </a:lnTo>
                <a:lnTo>
                  <a:pt x="369" y="2431"/>
                </a:lnTo>
                <a:lnTo>
                  <a:pt x="358" y="2430"/>
                </a:lnTo>
                <a:lnTo>
                  <a:pt x="354" y="2426"/>
                </a:lnTo>
                <a:lnTo>
                  <a:pt x="349" y="2418"/>
                </a:lnTo>
                <a:lnTo>
                  <a:pt x="345" y="2413"/>
                </a:lnTo>
                <a:lnTo>
                  <a:pt x="340" y="2413"/>
                </a:lnTo>
                <a:lnTo>
                  <a:pt x="331" y="2414"/>
                </a:lnTo>
                <a:lnTo>
                  <a:pt x="324" y="2414"/>
                </a:lnTo>
                <a:lnTo>
                  <a:pt x="301" y="2406"/>
                </a:lnTo>
                <a:lnTo>
                  <a:pt x="277" y="2392"/>
                </a:lnTo>
                <a:lnTo>
                  <a:pt x="276" y="2384"/>
                </a:lnTo>
                <a:lnTo>
                  <a:pt x="274" y="2382"/>
                </a:lnTo>
                <a:lnTo>
                  <a:pt x="263" y="2380"/>
                </a:lnTo>
                <a:lnTo>
                  <a:pt x="262" y="2376"/>
                </a:lnTo>
                <a:lnTo>
                  <a:pt x="262" y="2369"/>
                </a:lnTo>
                <a:lnTo>
                  <a:pt x="259" y="2365"/>
                </a:lnTo>
                <a:lnTo>
                  <a:pt x="245" y="2357"/>
                </a:lnTo>
                <a:lnTo>
                  <a:pt x="244" y="2355"/>
                </a:lnTo>
                <a:lnTo>
                  <a:pt x="244" y="2351"/>
                </a:lnTo>
                <a:lnTo>
                  <a:pt x="248" y="2347"/>
                </a:lnTo>
                <a:lnTo>
                  <a:pt x="249" y="2343"/>
                </a:lnTo>
                <a:lnTo>
                  <a:pt x="251" y="2338"/>
                </a:lnTo>
                <a:lnTo>
                  <a:pt x="255" y="2328"/>
                </a:lnTo>
                <a:lnTo>
                  <a:pt x="254" y="2327"/>
                </a:lnTo>
                <a:lnTo>
                  <a:pt x="252" y="2319"/>
                </a:lnTo>
                <a:lnTo>
                  <a:pt x="242" y="2294"/>
                </a:lnTo>
                <a:lnTo>
                  <a:pt x="244" y="2288"/>
                </a:lnTo>
                <a:lnTo>
                  <a:pt x="242" y="2280"/>
                </a:lnTo>
                <a:lnTo>
                  <a:pt x="234" y="2274"/>
                </a:lnTo>
                <a:lnTo>
                  <a:pt x="226" y="2265"/>
                </a:lnTo>
                <a:lnTo>
                  <a:pt x="221" y="2261"/>
                </a:lnTo>
                <a:lnTo>
                  <a:pt x="206" y="2257"/>
                </a:lnTo>
                <a:lnTo>
                  <a:pt x="203" y="2257"/>
                </a:lnTo>
                <a:lnTo>
                  <a:pt x="199" y="2245"/>
                </a:lnTo>
                <a:lnTo>
                  <a:pt x="195" y="2244"/>
                </a:lnTo>
                <a:lnTo>
                  <a:pt x="184" y="2243"/>
                </a:lnTo>
                <a:lnTo>
                  <a:pt x="177" y="2238"/>
                </a:lnTo>
                <a:lnTo>
                  <a:pt x="174" y="2231"/>
                </a:lnTo>
                <a:lnTo>
                  <a:pt x="172" y="2222"/>
                </a:lnTo>
                <a:lnTo>
                  <a:pt x="180" y="2211"/>
                </a:lnTo>
                <a:lnTo>
                  <a:pt x="180" y="2204"/>
                </a:lnTo>
                <a:lnTo>
                  <a:pt x="178" y="2197"/>
                </a:lnTo>
                <a:lnTo>
                  <a:pt x="169" y="2177"/>
                </a:lnTo>
                <a:lnTo>
                  <a:pt x="163" y="2166"/>
                </a:lnTo>
                <a:lnTo>
                  <a:pt x="160" y="2164"/>
                </a:lnTo>
                <a:lnTo>
                  <a:pt x="156" y="2162"/>
                </a:lnTo>
                <a:lnTo>
                  <a:pt x="149" y="2162"/>
                </a:lnTo>
                <a:lnTo>
                  <a:pt x="142" y="2166"/>
                </a:lnTo>
                <a:lnTo>
                  <a:pt x="138" y="2164"/>
                </a:lnTo>
                <a:lnTo>
                  <a:pt x="135" y="2162"/>
                </a:lnTo>
                <a:lnTo>
                  <a:pt x="135" y="2156"/>
                </a:lnTo>
                <a:lnTo>
                  <a:pt x="138" y="2154"/>
                </a:lnTo>
                <a:lnTo>
                  <a:pt x="145" y="2156"/>
                </a:lnTo>
                <a:lnTo>
                  <a:pt x="149" y="2156"/>
                </a:lnTo>
                <a:lnTo>
                  <a:pt x="153" y="2152"/>
                </a:lnTo>
                <a:lnTo>
                  <a:pt x="155" y="2149"/>
                </a:lnTo>
                <a:lnTo>
                  <a:pt x="153" y="2140"/>
                </a:lnTo>
                <a:lnTo>
                  <a:pt x="149" y="2133"/>
                </a:lnTo>
                <a:lnTo>
                  <a:pt x="146" y="2124"/>
                </a:lnTo>
                <a:lnTo>
                  <a:pt x="139" y="2107"/>
                </a:lnTo>
                <a:lnTo>
                  <a:pt x="139" y="2103"/>
                </a:lnTo>
                <a:lnTo>
                  <a:pt x="145" y="2099"/>
                </a:lnTo>
                <a:lnTo>
                  <a:pt x="146" y="2095"/>
                </a:lnTo>
                <a:lnTo>
                  <a:pt x="146" y="2092"/>
                </a:lnTo>
                <a:lnTo>
                  <a:pt x="142" y="2089"/>
                </a:lnTo>
                <a:lnTo>
                  <a:pt x="139" y="2085"/>
                </a:lnTo>
                <a:lnTo>
                  <a:pt x="139" y="2079"/>
                </a:lnTo>
                <a:lnTo>
                  <a:pt x="147" y="2066"/>
                </a:lnTo>
                <a:lnTo>
                  <a:pt x="150" y="2062"/>
                </a:lnTo>
                <a:lnTo>
                  <a:pt x="147" y="2057"/>
                </a:lnTo>
                <a:lnTo>
                  <a:pt x="145" y="2054"/>
                </a:lnTo>
                <a:lnTo>
                  <a:pt x="145" y="2050"/>
                </a:lnTo>
                <a:lnTo>
                  <a:pt x="147" y="2044"/>
                </a:lnTo>
                <a:lnTo>
                  <a:pt x="149" y="2036"/>
                </a:lnTo>
                <a:lnTo>
                  <a:pt x="152" y="2030"/>
                </a:lnTo>
                <a:lnTo>
                  <a:pt x="153" y="2022"/>
                </a:lnTo>
                <a:lnTo>
                  <a:pt x="160" y="2010"/>
                </a:lnTo>
                <a:lnTo>
                  <a:pt x="160" y="2003"/>
                </a:lnTo>
                <a:lnTo>
                  <a:pt x="153" y="1998"/>
                </a:lnTo>
                <a:lnTo>
                  <a:pt x="150" y="1995"/>
                </a:lnTo>
                <a:lnTo>
                  <a:pt x="150" y="1987"/>
                </a:lnTo>
                <a:lnTo>
                  <a:pt x="155" y="1977"/>
                </a:lnTo>
                <a:lnTo>
                  <a:pt x="155" y="1973"/>
                </a:lnTo>
                <a:lnTo>
                  <a:pt x="150" y="1968"/>
                </a:lnTo>
                <a:lnTo>
                  <a:pt x="156" y="1965"/>
                </a:lnTo>
                <a:lnTo>
                  <a:pt x="160" y="1953"/>
                </a:lnTo>
                <a:lnTo>
                  <a:pt x="159" y="1950"/>
                </a:lnTo>
                <a:lnTo>
                  <a:pt x="156" y="1953"/>
                </a:lnTo>
                <a:lnTo>
                  <a:pt x="153" y="1953"/>
                </a:lnTo>
                <a:lnTo>
                  <a:pt x="149" y="1945"/>
                </a:lnTo>
                <a:lnTo>
                  <a:pt x="142" y="1945"/>
                </a:lnTo>
                <a:lnTo>
                  <a:pt x="139" y="1942"/>
                </a:lnTo>
                <a:lnTo>
                  <a:pt x="138" y="1938"/>
                </a:lnTo>
                <a:lnTo>
                  <a:pt x="141" y="1926"/>
                </a:lnTo>
                <a:lnTo>
                  <a:pt x="139" y="1924"/>
                </a:lnTo>
                <a:lnTo>
                  <a:pt x="136" y="1924"/>
                </a:lnTo>
                <a:lnTo>
                  <a:pt x="135" y="1924"/>
                </a:lnTo>
                <a:lnTo>
                  <a:pt x="139" y="1920"/>
                </a:lnTo>
                <a:lnTo>
                  <a:pt x="142" y="1909"/>
                </a:lnTo>
                <a:lnTo>
                  <a:pt x="149" y="1905"/>
                </a:lnTo>
                <a:lnTo>
                  <a:pt x="156" y="1904"/>
                </a:lnTo>
                <a:lnTo>
                  <a:pt x="160" y="1898"/>
                </a:lnTo>
                <a:lnTo>
                  <a:pt x="160" y="1893"/>
                </a:lnTo>
                <a:lnTo>
                  <a:pt x="157" y="1883"/>
                </a:lnTo>
                <a:lnTo>
                  <a:pt x="156" y="1879"/>
                </a:lnTo>
                <a:lnTo>
                  <a:pt x="155" y="1875"/>
                </a:lnTo>
                <a:lnTo>
                  <a:pt x="153" y="1871"/>
                </a:lnTo>
                <a:lnTo>
                  <a:pt x="149" y="1871"/>
                </a:lnTo>
                <a:lnTo>
                  <a:pt x="145" y="1866"/>
                </a:lnTo>
                <a:lnTo>
                  <a:pt x="145" y="1863"/>
                </a:lnTo>
                <a:lnTo>
                  <a:pt x="146" y="1856"/>
                </a:lnTo>
                <a:lnTo>
                  <a:pt x="142" y="1853"/>
                </a:lnTo>
                <a:lnTo>
                  <a:pt x="142" y="1848"/>
                </a:lnTo>
                <a:lnTo>
                  <a:pt x="136" y="1841"/>
                </a:lnTo>
                <a:lnTo>
                  <a:pt x="136" y="1830"/>
                </a:lnTo>
                <a:lnTo>
                  <a:pt x="127" y="1825"/>
                </a:lnTo>
                <a:lnTo>
                  <a:pt x="120" y="1826"/>
                </a:lnTo>
                <a:lnTo>
                  <a:pt x="120" y="1825"/>
                </a:lnTo>
                <a:lnTo>
                  <a:pt x="122" y="1816"/>
                </a:lnTo>
                <a:lnTo>
                  <a:pt x="119" y="1811"/>
                </a:lnTo>
                <a:lnTo>
                  <a:pt x="125" y="1808"/>
                </a:lnTo>
                <a:lnTo>
                  <a:pt x="121" y="1800"/>
                </a:lnTo>
                <a:lnTo>
                  <a:pt x="128" y="1800"/>
                </a:lnTo>
                <a:lnTo>
                  <a:pt x="128" y="1799"/>
                </a:lnTo>
                <a:lnTo>
                  <a:pt x="127" y="1796"/>
                </a:lnTo>
                <a:lnTo>
                  <a:pt x="121" y="1796"/>
                </a:lnTo>
                <a:lnTo>
                  <a:pt x="120" y="1793"/>
                </a:lnTo>
                <a:lnTo>
                  <a:pt x="125" y="1792"/>
                </a:lnTo>
                <a:lnTo>
                  <a:pt x="124" y="1788"/>
                </a:lnTo>
                <a:lnTo>
                  <a:pt x="128" y="1786"/>
                </a:lnTo>
                <a:lnTo>
                  <a:pt x="128" y="1780"/>
                </a:lnTo>
                <a:lnTo>
                  <a:pt x="134" y="1776"/>
                </a:lnTo>
                <a:lnTo>
                  <a:pt x="135" y="1774"/>
                </a:lnTo>
                <a:lnTo>
                  <a:pt x="134" y="1772"/>
                </a:lnTo>
                <a:lnTo>
                  <a:pt x="130" y="1772"/>
                </a:lnTo>
                <a:lnTo>
                  <a:pt x="128" y="1771"/>
                </a:lnTo>
                <a:lnTo>
                  <a:pt x="128" y="1769"/>
                </a:lnTo>
                <a:lnTo>
                  <a:pt x="132" y="1766"/>
                </a:lnTo>
                <a:lnTo>
                  <a:pt x="132" y="1763"/>
                </a:lnTo>
                <a:lnTo>
                  <a:pt x="125" y="1759"/>
                </a:lnTo>
                <a:lnTo>
                  <a:pt x="124" y="1749"/>
                </a:lnTo>
                <a:lnTo>
                  <a:pt x="122" y="1747"/>
                </a:lnTo>
                <a:lnTo>
                  <a:pt x="119" y="1747"/>
                </a:lnTo>
                <a:lnTo>
                  <a:pt x="117" y="1744"/>
                </a:lnTo>
                <a:lnTo>
                  <a:pt x="117" y="1743"/>
                </a:lnTo>
                <a:lnTo>
                  <a:pt x="125" y="1741"/>
                </a:lnTo>
                <a:lnTo>
                  <a:pt x="128" y="1737"/>
                </a:lnTo>
                <a:lnTo>
                  <a:pt x="125" y="1729"/>
                </a:lnTo>
                <a:lnTo>
                  <a:pt x="130" y="1722"/>
                </a:lnTo>
                <a:lnTo>
                  <a:pt x="128" y="1718"/>
                </a:lnTo>
                <a:lnTo>
                  <a:pt x="127" y="1718"/>
                </a:lnTo>
                <a:lnTo>
                  <a:pt x="121" y="1721"/>
                </a:lnTo>
                <a:lnTo>
                  <a:pt x="119" y="1721"/>
                </a:lnTo>
                <a:lnTo>
                  <a:pt x="116" y="1718"/>
                </a:lnTo>
                <a:lnTo>
                  <a:pt x="121" y="1713"/>
                </a:lnTo>
                <a:lnTo>
                  <a:pt x="121" y="1710"/>
                </a:lnTo>
                <a:lnTo>
                  <a:pt x="132" y="1706"/>
                </a:lnTo>
                <a:lnTo>
                  <a:pt x="128" y="1700"/>
                </a:lnTo>
                <a:lnTo>
                  <a:pt x="130" y="1692"/>
                </a:lnTo>
                <a:lnTo>
                  <a:pt x="125" y="1684"/>
                </a:lnTo>
                <a:lnTo>
                  <a:pt x="132" y="1669"/>
                </a:lnTo>
                <a:lnTo>
                  <a:pt x="131" y="1662"/>
                </a:lnTo>
                <a:lnTo>
                  <a:pt x="136" y="1658"/>
                </a:lnTo>
                <a:lnTo>
                  <a:pt x="134" y="1655"/>
                </a:lnTo>
                <a:lnTo>
                  <a:pt x="134" y="1654"/>
                </a:lnTo>
                <a:lnTo>
                  <a:pt x="122" y="1655"/>
                </a:lnTo>
                <a:lnTo>
                  <a:pt x="125" y="1643"/>
                </a:lnTo>
                <a:lnTo>
                  <a:pt x="119" y="1634"/>
                </a:lnTo>
                <a:lnTo>
                  <a:pt x="122" y="1621"/>
                </a:lnTo>
                <a:lnTo>
                  <a:pt x="119" y="1612"/>
                </a:lnTo>
                <a:lnTo>
                  <a:pt x="127" y="1605"/>
                </a:lnTo>
                <a:lnTo>
                  <a:pt x="128" y="1594"/>
                </a:lnTo>
                <a:lnTo>
                  <a:pt x="121" y="1587"/>
                </a:lnTo>
                <a:lnTo>
                  <a:pt x="122" y="1584"/>
                </a:lnTo>
                <a:lnTo>
                  <a:pt x="120" y="1576"/>
                </a:lnTo>
                <a:lnTo>
                  <a:pt x="110" y="1580"/>
                </a:lnTo>
                <a:lnTo>
                  <a:pt x="99" y="1575"/>
                </a:lnTo>
                <a:lnTo>
                  <a:pt x="102" y="1568"/>
                </a:lnTo>
                <a:lnTo>
                  <a:pt x="94" y="1558"/>
                </a:lnTo>
                <a:lnTo>
                  <a:pt x="100" y="1558"/>
                </a:lnTo>
                <a:lnTo>
                  <a:pt x="99" y="1550"/>
                </a:lnTo>
                <a:lnTo>
                  <a:pt x="111" y="1526"/>
                </a:lnTo>
                <a:lnTo>
                  <a:pt x="110" y="1523"/>
                </a:lnTo>
                <a:lnTo>
                  <a:pt x="103" y="1523"/>
                </a:lnTo>
                <a:lnTo>
                  <a:pt x="102" y="1519"/>
                </a:lnTo>
                <a:lnTo>
                  <a:pt x="110" y="1515"/>
                </a:lnTo>
                <a:lnTo>
                  <a:pt x="109" y="1505"/>
                </a:lnTo>
                <a:lnTo>
                  <a:pt x="125" y="1493"/>
                </a:lnTo>
                <a:lnTo>
                  <a:pt x="130" y="1481"/>
                </a:lnTo>
                <a:lnTo>
                  <a:pt x="135" y="1471"/>
                </a:lnTo>
                <a:lnTo>
                  <a:pt x="128" y="1452"/>
                </a:lnTo>
                <a:lnTo>
                  <a:pt x="116" y="1441"/>
                </a:lnTo>
                <a:lnTo>
                  <a:pt x="116" y="1426"/>
                </a:lnTo>
                <a:lnTo>
                  <a:pt x="122" y="1419"/>
                </a:lnTo>
                <a:lnTo>
                  <a:pt x="113" y="1403"/>
                </a:lnTo>
                <a:lnTo>
                  <a:pt x="119" y="1397"/>
                </a:lnTo>
                <a:lnTo>
                  <a:pt x="109" y="1391"/>
                </a:lnTo>
                <a:lnTo>
                  <a:pt x="116" y="1376"/>
                </a:lnTo>
                <a:lnTo>
                  <a:pt x="97" y="1361"/>
                </a:lnTo>
                <a:lnTo>
                  <a:pt x="92" y="1349"/>
                </a:lnTo>
                <a:lnTo>
                  <a:pt x="82" y="1349"/>
                </a:lnTo>
                <a:lnTo>
                  <a:pt x="74" y="1343"/>
                </a:lnTo>
                <a:lnTo>
                  <a:pt x="70" y="1336"/>
                </a:lnTo>
                <a:lnTo>
                  <a:pt x="71" y="1332"/>
                </a:lnTo>
                <a:lnTo>
                  <a:pt x="67" y="1322"/>
                </a:lnTo>
                <a:lnTo>
                  <a:pt x="57" y="1328"/>
                </a:lnTo>
                <a:lnTo>
                  <a:pt x="50" y="1316"/>
                </a:lnTo>
                <a:lnTo>
                  <a:pt x="44" y="1314"/>
                </a:lnTo>
                <a:lnTo>
                  <a:pt x="35" y="1309"/>
                </a:lnTo>
                <a:lnTo>
                  <a:pt x="20" y="1302"/>
                </a:lnTo>
                <a:lnTo>
                  <a:pt x="19" y="1299"/>
                </a:lnTo>
                <a:lnTo>
                  <a:pt x="22" y="1291"/>
                </a:lnTo>
                <a:lnTo>
                  <a:pt x="13" y="1291"/>
                </a:lnTo>
                <a:lnTo>
                  <a:pt x="9" y="1284"/>
                </a:lnTo>
                <a:lnTo>
                  <a:pt x="10" y="1277"/>
                </a:lnTo>
                <a:lnTo>
                  <a:pt x="2" y="1265"/>
                </a:lnTo>
                <a:lnTo>
                  <a:pt x="6" y="1261"/>
                </a:lnTo>
                <a:lnTo>
                  <a:pt x="0" y="1254"/>
                </a:lnTo>
                <a:lnTo>
                  <a:pt x="21" y="1239"/>
                </a:lnTo>
                <a:lnTo>
                  <a:pt x="30" y="1223"/>
                </a:lnTo>
                <a:lnTo>
                  <a:pt x="36" y="1219"/>
                </a:lnTo>
                <a:lnTo>
                  <a:pt x="52" y="1216"/>
                </a:lnTo>
                <a:lnTo>
                  <a:pt x="52" y="1212"/>
                </a:lnTo>
                <a:lnTo>
                  <a:pt x="49" y="1208"/>
                </a:lnTo>
                <a:lnTo>
                  <a:pt x="57" y="1200"/>
                </a:lnTo>
                <a:lnTo>
                  <a:pt x="78" y="1198"/>
                </a:lnTo>
                <a:lnTo>
                  <a:pt x="91" y="1190"/>
                </a:lnTo>
                <a:lnTo>
                  <a:pt x="96" y="1167"/>
                </a:lnTo>
                <a:lnTo>
                  <a:pt x="94" y="1162"/>
                </a:lnTo>
                <a:lnTo>
                  <a:pt x="99" y="1153"/>
                </a:lnTo>
                <a:lnTo>
                  <a:pt x="92" y="1144"/>
                </a:lnTo>
                <a:lnTo>
                  <a:pt x="91" y="1137"/>
                </a:lnTo>
                <a:lnTo>
                  <a:pt x="95" y="1130"/>
                </a:lnTo>
                <a:lnTo>
                  <a:pt x="94" y="1127"/>
                </a:lnTo>
                <a:lnTo>
                  <a:pt x="102" y="1108"/>
                </a:lnTo>
                <a:lnTo>
                  <a:pt x="119" y="1095"/>
                </a:lnTo>
                <a:lnTo>
                  <a:pt x="122" y="1091"/>
                </a:lnTo>
                <a:lnTo>
                  <a:pt x="125" y="1078"/>
                </a:lnTo>
                <a:lnTo>
                  <a:pt x="106" y="1063"/>
                </a:lnTo>
                <a:lnTo>
                  <a:pt x="114" y="1037"/>
                </a:lnTo>
                <a:lnTo>
                  <a:pt x="119" y="1033"/>
                </a:lnTo>
                <a:lnTo>
                  <a:pt x="119" y="1024"/>
                </a:lnTo>
                <a:lnTo>
                  <a:pt x="122" y="1017"/>
                </a:lnTo>
                <a:lnTo>
                  <a:pt x="119" y="1001"/>
                </a:lnTo>
                <a:lnTo>
                  <a:pt x="120" y="988"/>
                </a:lnTo>
                <a:lnTo>
                  <a:pt x="130" y="984"/>
                </a:lnTo>
                <a:lnTo>
                  <a:pt x="130" y="979"/>
                </a:lnTo>
                <a:lnTo>
                  <a:pt x="131" y="972"/>
                </a:lnTo>
                <a:lnTo>
                  <a:pt x="160" y="954"/>
                </a:lnTo>
                <a:lnTo>
                  <a:pt x="164" y="944"/>
                </a:lnTo>
                <a:lnTo>
                  <a:pt x="175" y="936"/>
                </a:lnTo>
                <a:lnTo>
                  <a:pt x="185" y="927"/>
                </a:lnTo>
                <a:lnTo>
                  <a:pt x="192" y="926"/>
                </a:lnTo>
                <a:lnTo>
                  <a:pt x="200" y="921"/>
                </a:lnTo>
                <a:lnTo>
                  <a:pt x="209" y="902"/>
                </a:lnTo>
                <a:lnTo>
                  <a:pt x="234" y="895"/>
                </a:lnTo>
                <a:lnTo>
                  <a:pt x="244" y="895"/>
                </a:lnTo>
                <a:lnTo>
                  <a:pt x="256" y="901"/>
                </a:lnTo>
                <a:lnTo>
                  <a:pt x="269" y="899"/>
                </a:lnTo>
                <a:lnTo>
                  <a:pt x="270" y="902"/>
                </a:lnTo>
                <a:lnTo>
                  <a:pt x="274" y="901"/>
                </a:lnTo>
                <a:lnTo>
                  <a:pt x="274" y="916"/>
                </a:lnTo>
                <a:lnTo>
                  <a:pt x="285" y="924"/>
                </a:lnTo>
                <a:lnTo>
                  <a:pt x="283" y="927"/>
                </a:lnTo>
                <a:lnTo>
                  <a:pt x="301" y="932"/>
                </a:lnTo>
                <a:lnTo>
                  <a:pt x="302" y="938"/>
                </a:lnTo>
                <a:lnTo>
                  <a:pt x="310" y="934"/>
                </a:lnTo>
                <a:lnTo>
                  <a:pt x="312" y="927"/>
                </a:lnTo>
                <a:lnTo>
                  <a:pt x="315" y="932"/>
                </a:lnTo>
                <a:lnTo>
                  <a:pt x="317" y="932"/>
                </a:lnTo>
                <a:lnTo>
                  <a:pt x="319" y="921"/>
                </a:lnTo>
                <a:lnTo>
                  <a:pt x="321" y="913"/>
                </a:lnTo>
                <a:lnTo>
                  <a:pt x="330" y="909"/>
                </a:lnTo>
                <a:lnTo>
                  <a:pt x="330" y="901"/>
                </a:lnTo>
                <a:lnTo>
                  <a:pt x="341" y="909"/>
                </a:lnTo>
                <a:lnTo>
                  <a:pt x="344" y="909"/>
                </a:lnTo>
                <a:lnTo>
                  <a:pt x="341" y="905"/>
                </a:lnTo>
                <a:lnTo>
                  <a:pt x="349" y="904"/>
                </a:lnTo>
                <a:lnTo>
                  <a:pt x="360" y="909"/>
                </a:lnTo>
                <a:lnTo>
                  <a:pt x="362" y="905"/>
                </a:lnTo>
                <a:lnTo>
                  <a:pt x="387" y="902"/>
                </a:lnTo>
                <a:lnTo>
                  <a:pt x="387" y="895"/>
                </a:lnTo>
                <a:lnTo>
                  <a:pt x="419" y="882"/>
                </a:lnTo>
                <a:lnTo>
                  <a:pt x="429" y="882"/>
                </a:lnTo>
                <a:lnTo>
                  <a:pt x="430" y="887"/>
                </a:lnTo>
                <a:lnTo>
                  <a:pt x="441" y="883"/>
                </a:lnTo>
                <a:lnTo>
                  <a:pt x="451" y="885"/>
                </a:lnTo>
                <a:lnTo>
                  <a:pt x="454" y="879"/>
                </a:lnTo>
                <a:lnTo>
                  <a:pt x="472" y="868"/>
                </a:lnTo>
                <a:lnTo>
                  <a:pt x="474" y="864"/>
                </a:lnTo>
                <a:lnTo>
                  <a:pt x="495" y="859"/>
                </a:lnTo>
                <a:lnTo>
                  <a:pt x="500" y="846"/>
                </a:lnTo>
                <a:lnTo>
                  <a:pt x="509" y="846"/>
                </a:lnTo>
                <a:lnTo>
                  <a:pt x="537" y="830"/>
                </a:lnTo>
                <a:lnTo>
                  <a:pt x="541" y="815"/>
                </a:lnTo>
                <a:lnTo>
                  <a:pt x="541" y="804"/>
                </a:lnTo>
                <a:lnTo>
                  <a:pt x="531" y="797"/>
                </a:lnTo>
                <a:lnTo>
                  <a:pt x="531" y="773"/>
                </a:lnTo>
                <a:lnTo>
                  <a:pt x="536" y="750"/>
                </a:lnTo>
                <a:lnTo>
                  <a:pt x="537" y="742"/>
                </a:lnTo>
                <a:lnTo>
                  <a:pt x="543" y="676"/>
                </a:lnTo>
                <a:lnTo>
                  <a:pt x="544" y="663"/>
                </a:lnTo>
                <a:lnTo>
                  <a:pt x="566" y="368"/>
                </a:lnTo>
                <a:lnTo>
                  <a:pt x="566" y="360"/>
                </a:lnTo>
                <a:lnTo>
                  <a:pt x="568" y="355"/>
                </a:lnTo>
                <a:lnTo>
                  <a:pt x="686" y="358"/>
                </a:lnTo>
                <a:lnTo>
                  <a:pt x="712" y="360"/>
                </a:lnTo>
                <a:lnTo>
                  <a:pt x="726" y="360"/>
                </a:lnTo>
                <a:lnTo>
                  <a:pt x="757" y="360"/>
                </a:lnTo>
                <a:lnTo>
                  <a:pt x="773" y="347"/>
                </a:lnTo>
                <a:lnTo>
                  <a:pt x="775" y="347"/>
                </a:lnTo>
                <a:lnTo>
                  <a:pt x="776" y="347"/>
                </a:lnTo>
                <a:lnTo>
                  <a:pt x="778" y="347"/>
                </a:lnTo>
                <a:lnTo>
                  <a:pt x="779" y="345"/>
                </a:lnTo>
                <a:lnTo>
                  <a:pt x="780" y="345"/>
                </a:lnTo>
                <a:lnTo>
                  <a:pt x="782" y="345"/>
                </a:lnTo>
                <a:lnTo>
                  <a:pt x="783" y="345"/>
                </a:lnTo>
                <a:lnTo>
                  <a:pt x="785" y="345"/>
                </a:lnTo>
                <a:lnTo>
                  <a:pt x="786" y="345"/>
                </a:lnTo>
                <a:lnTo>
                  <a:pt x="786" y="347"/>
                </a:lnTo>
                <a:lnTo>
                  <a:pt x="787" y="347"/>
                </a:lnTo>
                <a:lnTo>
                  <a:pt x="786" y="347"/>
                </a:lnTo>
                <a:lnTo>
                  <a:pt x="786" y="349"/>
                </a:lnTo>
                <a:lnTo>
                  <a:pt x="787" y="349"/>
                </a:lnTo>
                <a:lnTo>
                  <a:pt x="789" y="347"/>
                </a:lnTo>
                <a:lnTo>
                  <a:pt x="789" y="349"/>
                </a:lnTo>
                <a:lnTo>
                  <a:pt x="790" y="349"/>
                </a:lnTo>
                <a:lnTo>
                  <a:pt x="791" y="349"/>
                </a:lnTo>
                <a:lnTo>
                  <a:pt x="791" y="350"/>
                </a:lnTo>
                <a:lnTo>
                  <a:pt x="791" y="352"/>
                </a:lnTo>
                <a:lnTo>
                  <a:pt x="793" y="352"/>
                </a:lnTo>
                <a:lnTo>
                  <a:pt x="794" y="352"/>
                </a:lnTo>
                <a:lnTo>
                  <a:pt x="796" y="352"/>
                </a:lnTo>
                <a:lnTo>
                  <a:pt x="796" y="353"/>
                </a:lnTo>
                <a:lnTo>
                  <a:pt x="797" y="353"/>
                </a:lnTo>
                <a:lnTo>
                  <a:pt x="797" y="355"/>
                </a:lnTo>
                <a:lnTo>
                  <a:pt x="799" y="355"/>
                </a:lnTo>
                <a:lnTo>
                  <a:pt x="799" y="356"/>
                </a:lnTo>
                <a:lnTo>
                  <a:pt x="800" y="356"/>
                </a:lnTo>
                <a:lnTo>
                  <a:pt x="801" y="356"/>
                </a:lnTo>
                <a:lnTo>
                  <a:pt x="801" y="355"/>
                </a:lnTo>
                <a:lnTo>
                  <a:pt x="803" y="355"/>
                </a:lnTo>
                <a:lnTo>
                  <a:pt x="804" y="355"/>
                </a:lnTo>
                <a:lnTo>
                  <a:pt x="805" y="355"/>
                </a:lnTo>
                <a:lnTo>
                  <a:pt x="807" y="355"/>
                </a:lnTo>
                <a:lnTo>
                  <a:pt x="808" y="355"/>
                </a:lnTo>
                <a:lnTo>
                  <a:pt x="810" y="355"/>
                </a:lnTo>
                <a:lnTo>
                  <a:pt x="811" y="355"/>
                </a:lnTo>
                <a:lnTo>
                  <a:pt x="813" y="355"/>
                </a:lnTo>
                <a:lnTo>
                  <a:pt x="814" y="355"/>
                </a:lnTo>
                <a:lnTo>
                  <a:pt x="814" y="356"/>
                </a:lnTo>
                <a:lnTo>
                  <a:pt x="815" y="356"/>
                </a:lnTo>
                <a:lnTo>
                  <a:pt x="816" y="356"/>
                </a:lnTo>
                <a:lnTo>
                  <a:pt x="816" y="358"/>
                </a:lnTo>
                <a:lnTo>
                  <a:pt x="818" y="358"/>
                </a:lnTo>
                <a:lnTo>
                  <a:pt x="819" y="358"/>
                </a:lnTo>
                <a:lnTo>
                  <a:pt x="818" y="360"/>
                </a:lnTo>
                <a:lnTo>
                  <a:pt x="819" y="360"/>
                </a:lnTo>
                <a:lnTo>
                  <a:pt x="821" y="360"/>
                </a:lnTo>
                <a:lnTo>
                  <a:pt x="822" y="360"/>
                </a:lnTo>
                <a:lnTo>
                  <a:pt x="822" y="362"/>
                </a:lnTo>
                <a:lnTo>
                  <a:pt x="824" y="362"/>
                </a:lnTo>
                <a:lnTo>
                  <a:pt x="824" y="363"/>
                </a:lnTo>
                <a:lnTo>
                  <a:pt x="825" y="363"/>
                </a:lnTo>
                <a:lnTo>
                  <a:pt x="825" y="365"/>
                </a:lnTo>
                <a:lnTo>
                  <a:pt x="826" y="365"/>
                </a:lnTo>
                <a:lnTo>
                  <a:pt x="828" y="365"/>
                </a:lnTo>
                <a:lnTo>
                  <a:pt x="829" y="365"/>
                </a:lnTo>
                <a:lnTo>
                  <a:pt x="829" y="366"/>
                </a:lnTo>
                <a:lnTo>
                  <a:pt x="830" y="366"/>
                </a:lnTo>
                <a:lnTo>
                  <a:pt x="832" y="366"/>
                </a:lnTo>
                <a:lnTo>
                  <a:pt x="832" y="365"/>
                </a:lnTo>
                <a:lnTo>
                  <a:pt x="833" y="365"/>
                </a:lnTo>
                <a:lnTo>
                  <a:pt x="835" y="365"/>
                </a:lnTo>
                <a:lnTo>
                  <a:pt x="836" y="363"/>
                </a:lnTo>
                <a:lnTo>
                  <a:pt x="838" y="363"/>
                </a:lnTo>
                <a:lnTo>
                  <a:pt x="886" y="381"/>
                </a:lnTo>
                <a:lnTo>
                  <a:pt x="908" y="385"/>
                </a:lnTo>
                <a:lnTo>
                  <a:pt x="911" y="381"/>
                </a:lnTo>
                <a:lnTo>
                  <a:pt x="915" y="373"/>
                </a:lnTo>
                <a:lnTo>
                  <a:pt x="915" y="372"/>
                </a:lnTo>
                <a:lnTo>
                  <a:pt x="915" y="369"/>
                </a:lnTo>
                <a:lnTo>
                  <a:pt x="917" y="369"/>
                </a:lnTo>
                <a:lnTo>
                  <a:pt x="918" y="369"/>
                </a:lnTo>
                <a:lnTo>
                  <a:pt x="918" y="368"/>
                </a:lnTo>
                <a:lnTo>
                  <a:pt x="919" y="366"/>
                </a:lnTo>
                <a:lnTo>
                  <a:pt x="919" y="365"/>
                </a:lnTo>
                <a:lnTo>
                  <a:pt x="918" y="365"/>
                </a:lnTo>
                <a:lnTo>
                  <a:pt x="918" y="363"/>
                </a:lnTo>
                <a:lnTo>
                  <a:pt x="919" y="362"/>
                </a:lnTo>
                <a:lnTo>
                  <a:pt x="918" y="360"/>
                </a:lnTo>
                <a:lnTo>
                  <a:pt x="917" y="360"/>
                </a:lnTo>
                <a:lnTo>
                  <a:pt x="915" y="360"/>
                </a:lnTo>
                <a:lnTo>
                  <a:pt x="914" y="360"/>
                </a:lnTo>
                <a:lnTo>
                  <a:pt x="914" y="358"/>
                </a:lnTo>
                <a:lnTo>
                  <a:pt x="913" y="358"/>
                </a:lnTo>
                <a:lnTo>
                  <a:pt x="913" y="356"/>
                </a:lnTo>
                <a:lnTo>
                  <a:pt x="911" y="356"/>
                </a:lnTo>
                <a:lnTo>
                  <a:pt x="910" y="356"/>
                </a:lnTo>
                <a:lnTo>
                  <a:pt x="910" y="353"/>
                </a:lnTo>
                <a:lnTo>
                  <a:pt x="908" y="353"/>
                </a:lnTo>
                <a:lnTo>
                  <a:pt x="907" y="352"/>
                </a:lnTo>
                <a:lnTo>
                  <a:pt x="905" y="352"/>
                </a:lnTo>
                <a:lnTo>
                  <a:pt x="904" y="350"/>
                </a:lnTo>
                <a:lnTo>
                  <a:pt x="903" y="347"/>
                </a:lnTo>
                <a:lnTo>
                  <a:pt x="901" y="345"/>
                </a:lnTo>
                <a:lnTo>
                  <a:pt x="903" y="345"/>
                </a:lnTo>
                <a:lnTo>
                  <a:pt x="903" y="344"/>
                </a:lnTo>
                <a:lnTo>
                  <a:pt x="903" y="343"/>
                </a:lnTo>
                <a:lnTo>
                  <a:pt x="904" y="343"/>
                </a:lnTo>
                <a:lnTo>
                  <a:pt x="904" y="341"/>
                </a:lnTo>
                <a:lnTo>
                  <a:pt x="904" y="340"/>
                </a:lnTo>
                <a:lnTo>
                  <a:pt x="903" y="340"/>
                </a:lnTo>
                <a:lnTo>
                  <a:pt x="903" y="337"/>
                </a:lnTo>
                <a:lnTo>
                  <a:pt x="901" y="337"/>
                </a:lnTo>
                <a:lnTo>
                  <a:pt x="901" y="336"/>
                </a:lnTo>
                <a:lnTo>
                  <a:pt x="901" y="333"/>
                </a:lnTo>
                <a:lnTo>
                  <a:pt x="903" y="333"/>
                </a:lnTo>
                <a:lnTo>
                  <a:pt x="903" y="332"/>
                </a:lnTo>
                <a:lnTo>
                  <a:pt x="901" y="332"/>
                </a:lnTo>
                <a:lnTo>
                  <a:pt x="901" y="331"/>
                </a:lnTo>
                <a:lnTo>
                  <a:pt x="901" y="330"/>
                </a:lnTo>
                <a:lnTo>
                  <a:pt x="901" y="328"/>
                </a:lnTo>
                <a:lnTo>
                  <a:pt x="901" y="327"/>
                </a:lnTo>
                <a:lnTo>
                  <a:pt x="901" y="324"/>
                </a:lnTo>
                <a:lnTo>
                  <a:pt x="901" y="323"/>
                </a:lnTo>
                <a:lnTo>
                  <a:pt x="901" y="320"/>
                </a:lnTo>
                <a:lnTo>
                  <a:pt x="901" y="319"/>
                </a:lnTo>
                <a:lnTo>
                  <a:pt x="901" y="316"/>
                </a:lnTo>
                <a:lnTo>
                  <a:pt x="901" y="315"/>
                </a:lnTo>
                <a:lnTo>
                  <a:pt x="901" y="316"/>
                </a:lnTo>
                <a:lnTo>
                  <a:pt x="903" y="316"/>
                </a:lnTo>
                <a:lnTo>
                  <a:pt x="903" y="315"/>
                </a:lnTo>
                <a:lnTo>
                  <a:pt x="904" y="315"/>
                </a:lnTo>
                <a:lnTo>
                  <a:pt x="905" y="315"/>
                </a:lnTo>
                <a:lnTo>
                  <a:pt x="907" y="315"/>
                </a:lnTo>
                <a:lnTo>
                  <a:pt x="907" y="316"/>
                </a:lnTo>
                <a:lnTo>
                  <a:pt x="908" y="316"/>
                </a:lnTo>
                <a:lnTo>
                  <a:pt x="910" y="316"/>
                </a:lnTo>
                <a:lnTo>
                  <a:pt x="910" y="315"/>
                </a:lnTo>
                <a:lnTo>
                  <a:pt x="911" y="315"/>
                </a:lnTo>
                <a:lnTo>
                  <a:pt x="913" y="315"/>
                </a:lnTo>
                <a:lnTo>
                  <a:pt x="914" y="315"/>
                </a:lnTo>
                <a:lnTo>
                  <a:pt x="915" y="315"/>
                </a:lnTo>
                <a:lnTo>
                  <a:pt x="915" y="313"/>
                </a:lnTo>
                <a:lnTo>
                  <a:pt x="917" y="313"/>
                </a:lnTo>
                <a:lnTo>
                  <a:pt x="917" y="311"/>
                </a:lnTo>
                <a:lnTo>
                  <a:pt x="917" y="310"/>
                </a:lnTo>
                <a:lnTo>
                  <a:pt x="918" y="310"/>
                </a:lnTo>
                <a:lnTo>
                  <a:pt x="918" y="308"/>
                </a:lnTo>
                <a:lnTo>
                  <a:pt x="919" y="307"/>
                </a:lnTo>
                <a:lnTo>
                  <a:pt x="919" y="306"/>
                </a:lnTo>
                <a:lnTo>
                  <a:pt x="921" y="304"/>
                </a:lnTo>
                <a:lnTo>
                  <a:pt x="922" y="302"/>
                </a:lnTo>
                <a:lnTo>
                  <a:pt x="924" y="302"/>
                </a:lnTo>
                <a:lnTo>
                  <a:pt x="925" y="302"/>
                </a:lnTo>
                <a:lnTo>
                  <a:pt x="925" y="300"/>
                </a:lnTo>
                <a:lnTo>
                  <a:pt x="925" y="298"/>
                </a:lnTo>
                <a:lnTo>
                  <a:pt x="926" y="298"/>
                </a:lnTo>
                <a:lnTo>
                  <a:pt x="928" y="298"/>
                </a:lnTo>
                <a:lnTo>
                  <a:pt x="928" y="296"/>
                </a:lnTo>
                <a:lnTo>
                  <a:pt x="928" y="295"/>
                </a:lnTo>
                <a:lnTo>
                  <a:pt x="928" y="296"/>
                </a:lnTo>
                <a:lnTo>
                  <a:pt x="929" y="296"/>
                </a:lnTo>
                <a:lnTo>
                  <a:pt x="929" y="295"/>
                </a:lnTo>
                <a:lnTo>
                  <a:pt x="928" y="295"/>
                </a:lnTo>
                <a:lnTo>
                  <a:pt x="928" y="294"/>
                </a:lnTo>
                <a:lnTo>
                  <a:pt x="928" y="295"/>
                </a:lnTo>
                <a:lnTo>
                  <a:pt x="929" y="295"/>
                </a:lnTo>
                <a:lnTo>
                  <a:pt x="929" y="294"/>
                </a:lnTo>
                <a:lnTo>
                  <a:pt x="929" y="293"/>
                </a:lnTo>
                <a:lnTo>
                  <a:pt x="930" y="293"/>
                </a:lnTo>
                <a:lnTo>
                  <a:pt x="932" y="293"/>
                </a:lnTo>
                <a:lnTo>
                  <a:pt x="933" y="293"/>
                </a:lnTo>
                <a:lnTo>
                  <a:pt x="935" y="293"/>
                </a:lnTo>
                <a:lnTo>
                  <a:pt x="935" y="291"/>
                </a:lnTo>
                <a:lnTo>
                  <a:pt x="936" y="291"/>
                </a:lnTo>
                <a:lnTo>
                  <a:pt x="936" y="288"/>
                </a:lnTo>
                <a:lnTo>
                  <a:pt x="935" y="288"/>
                </a:lnTo>
                <a:lnTo>
                  <a:pt x="936" y="288"/>
                </a:lnTo>
                <a:lnTo>
                  <a:pt x="938" y="288"/>
                </a:lnTo>
                <a:lnTo>
                  <a:pt x="938" y="287"/>
                </a:lnTo>
                <a:lnTo>
                  <a:pt x="936" y="287"/>
                </a:lnTo>
                <a:lnTo>
                  <a:pt x="938" y="287"/>
                </a:lnTo>
                <a:lnTo>
                  <a:pt x="938" y="285"/>
                </a:lnTo>
                <a:lnTo>
                  <a:pt x="939" y="285"/>
                </a:lnTo>
                <a:lnTo>
                  <a:pt x="940" y="285"/>
                </a:lnTo>
                <a:lnTo>
                  <a:pt x="940" y="283"/>
                </a:lnTo>
                <a:lnTo>
                  <a:pt x="942" y="283"/>
                </a:lnTo>
                <a:lnTo>
                  <a:pt x="942" y="282"/>
                </a:lnTo>
                <a:lnTo>
                  <a:pt x="940" y="282"/>
                </a:lnTo>
                <a:lnTo>
                  <a:pt x="940" y="279"/>
                </a:lnTo>
                <a:lnTo>
                  <a:pt x="942" y="279"/>
                </a:lnTo>
                <a:lnTo>
                  <a:pt x="943" y="279"/>
                </a:lnTo>
                <a:lnTo>
                  <a:pt x="942" y="279"/>
                </a:lnTo>
                <a:lnTo>
                  <a:pt x="940" y="278"/>
                </a:lnTo>
                <a:lnTo>
                  <a:pt x="942" y="278"/>
                </a:lnTo>
                <a:lnTo>
                  <a:pt x="942" y="275"/>
                </a:lnTo>
                <a:lnTo>
                  <a:pt x="943" y="275"/>
                </a:lnTo>
                <a:lnTo>
                  <a:pt x="944" y="275"/>
                </a:lnTo>
                <a:lnTo>
                  <a:pt x="946" y="275"/>
                </a:lnTo>
                <a:lnTo>
                  <a:pt x="947" y="275"/>
                </a:lnTo>
                <a:lnTo>
                  <a:pt x="949" y="275"/>
                </a:lnTo>
                <a:lnTo>
                  <a:pt x="949" y="274"/>
                </a:lnTo>
                <a:lnTo>
                  <a:pt x="950" y="274"/>
                </a:lnTo>
                <a:lnTo>
                  <a:pt x="949" y="274"/>
                </a:lnTo>
                <a:lnTo>
                  <a:pt x="949" y="273"/>
                </a:lnTo>
                <a:lnTo>
                  <a:pt x="950" y="271"/>
                </a:lnTo>
                <a:lnTo>
                  <a:pt x="949" y="271"/>
                </a:lnTo>
                <a:lnTo>
                  <a:pt x="949" y="270"/>
                </a:lnTo>
                <a:lnTo>
                  <a:pt x="950" y="270"/>
                </a:lnTo>
                <a:lnTo>
                  <a:pt x="949" y="269"/>
                </a:lnTo>
                <a:lnTo>
                  <a:pt x="950" y="269"/>
                </a:lnTo>
                <a:lnTo>
                  <a:pt x="951" y="269"/>
                </a:lnTo>
                <a:lnTo>
                  <a:pt x="951" y="266"/>
                </a:lnTo>
                <a:lnTo>
                  <a:pt x="953" y="266"/>
                </a:lnTo>
                <a:lnTo>
                  <a:pt x="953" y="265"/>
                </a:lnTo>
                <a:lnTo>
                  <a:pt x="954" y="265"/>
                </a:lnTo>
                <a:lnTo>
                  <a:pt x="953" y="265"/>
                </a:lnTo>
                <a:lnTo>
                  <a:pt x="953" y="262"/>
                </a:lnTo>
                <a:lnTo>
                  <a:pt x="954" y="262"/>
                </a:lnTo>
                <a:lnTo>
                  <a:pt x="955" y="262"/>
                </a:lnTo>
                <a:lnTo>
                  <a:pt x="955" y="260"/>
                </a:lnTo>
                <a:lnTo>
                  <a:pt x="954" y="260"/>
                </a:lnTo>
                <a:lnTo>
                  <a:pt x="955" y="260"/>
                </a:lnTo>
                <a:lnTo>
                  <a:pt x="957" y="258"/>
                </a:lnTo>
                <a:lnTo>
                  <a:pt x="958" y="257"/>
                </a:lnTo>
                <a:lnTo>
                  <a:pt x="958" y="256"/>
                </a:lnTo>
                <a:lnTo>
                  <a:pt x="960" y="256"/>
                </a:lnTo>
                <a:lnTo>
                  <a:pt x="960" y="253"/>
                </a:lnTo>
                <a:lnTo>
                  <a:pt x="963" y="253"/>
                </a:lnTo>
                <a:lnTo>
                  <a:pt x="961" y="253"/>
                </a:lnTo>
                <a:lnTo>
                  <a:pt x="961" y="251"/>
                </a:lnTo>
                <a:lnTo>
                  <a:pt x="963" y="251"/>
                </a:lnTo>
                <a:lnTo>
                  <a:pt x="964" y="253"/>
                </a:lnTo>
                <a:lnTo>
                  <a:pt x="964" y="251"/>
                </a:lnTo>
                <a:lnTo>
                  <a:pt x="964" y="249"/>
                </a:lnTo>
                <a:lnTo>
                  <a:pt x="965" y="249"/>
                </a:lnTo>
                <a:lnTo>
                  <a:pt x="965" y="251"/>
                </a:lnTo>
                <a:lnTo>
                  <a:pt x="965" y="249"/>
                </a:lnTo>
                <a:lnTo>
                  <a:pt x="967" y="249"/>
                </a:lnTo>
                <a:lnTo>
                  <a:pt x="968" y="249"/>
                </a:lnTo>
                <a:lnTo>
                  <a:pt x="968" y="248"/>
                </a:lnTo>
                <a:lnTo>
                  <a:pt x="968" y="246"/>
                </a:lnTo>
                <a:lnTo>
                  <a:pt x="967" y="246"/>
                </a:lnTo>
                <a:lnTo>
                  <a:pt x="968" y="246"/>
                </a:lnTo>
                <a:lnTo>
                  <a:pt x="968" y="244"/>
                </a:lnTo>
                <a:lnTo>
                  <a:pt x="968" y="243"/>
                </a:lnTo>
                <a:lnTo>
                  <a:pt x="968" y="240"/>
                </a:lnTo>
                <a:lnTo>
                  <a:pt x="968" y="237"/>
                </a:lnTo>
                <a:lnTo>
                  <a:pt x="969" y="237"/>
                </a:lnTo>
                <a:lnTo>
                  <a:pt x="971" y="237"/>
                </a:lnTo>
                <a:lnTo>
                  <a:pt x="969" y="237"/>
                </a:lnTo>
                <a:lnTo>
                  <a:pt x="968" y="237"/>
                </a:lnTo>
                <a:lnTo>
                  <a:pt x="969" y="237"/>
                </a:lnTo>
                <a:lnTo>
                  <a:pt x="969" y="236"/>
                </a:lnTo>
                <a:lnTo>
                  <a:pt x="969" y="237"/>
                </a:lnTo>
                <a:lnTo>
                  <a:pt x="971" y="237"/>
                </a:lnTo>
                <a:lnTo>
                  <a:pt x="971" y="236"/>
                </a:lnTo>
                <a:lnTo>
                  <a:pt x="971" y="234"/>
                </a:lnTo>
                <a:lnTo>
                  <a:pt x="972" y="234"/>
                </a:lnTo>
                <a:lnTo>
                  <a:pt x="972" y="236"/>
                </a:lnTo>
                <a:lnTo>
                  <a:pt x="974" y="236"/>
                </a:lnTo>
                <a:lnTo>
                  <a:pt x="974" y="234"/>
                </a:lnTo>
                <a:lnTo>
                  <a:pt x="972" y="234"/>
                </a:lnTo>
                <a:lnTo>
                  <a:pt x="974" y="234"/>
                </a:lnTo>
                <a:lnTo>
                  <a:pt x="974" y="233"/>
                </a:lnTo>
                <a:lnTo>
                  <a:pt x="972" y="233"/>
                </a:lnTo>
                <a:lnTo>
                  <a:pt x="972" y="231"/>
                </a:lnTo>
                <a:lnTo>
                  <a:pt x="974" y="231"/>
                </a:lnTo>
                <a:lnTo>
                  <a:pt x="975" y="231"/>
                </a:lnTo>
                <a:lnTo>
                  <a:pt x="977" y="231"/>
                </a:lnTo>
                <a:lnTo>
                  <a:pt x="978" y="231"/>
                </a:lnTo>
                <a:lnTo>
                  <a:pt x="980" y="231"/>
                </a:lnTo>
                <a:lnTo>
                  <a:pt x="982" y="231"/>
                </a:lnTo>
                <a:lnTo>
                  <a:pt x="983" y="231"/>
                </a:lnTo>
                <a:lnTo>
                  <a:pt x="985" y="231"/>
                </a:lnTo>
                <a:lnTo>
                  <a:pt x="985" y="229"/>
                </a:lnTo>
                <a:lnTo>
                  <a:pt x="986" y="229"/>
                </a:lnTo>
                <a:lnTo>
                  <a:pt x="988" y="229"/>
                </a:lnTo>
                <a:lnTo>
                  <a:pt x="989" y="229"/>
                </a:lnTo>
                <a:lnTo>
                  <a:pt x="990" y="229"/>
                </a:lnTo>
                <a:lnTo>
                  <a:pt x="990" y="226"/>
                </a:lnTo>
                <a:lnTo>
                  <a:pt x="992" y="229"/>
                </a:lnTo>
                <a:lnTo>
                  <a:pt x="992" y="226"/>
                </a:lnTo>
                <a:lnTo>
                  <a:pt x="993" y="226"/>
                </a:lnTo>
                <a:lnTo>
                  <a:pt x="994" y="226"/>
                </a:lnTo>
                <a:lnTo>
                  <a:pt x="996" y="226"/>
                </a:lnTo>
                <a:lnTo>
                  <a:pt x="997" y="226"/>
                </a:lnTo>
                <a:lnTo>
                  <a:pt x="999" y="226"/>
                </a:lnTo>
                <a:lnTo>
                  <a:pt x="999" y="225"/>
                </a:lnTo>
                <a:lnTo>
                  <a:pt x="1000" y="225"/>
                </a:lnTo>
                <a:lnTo>
                  <a:pt x="1002" y="225"/>
                </a:lnTo>
                <a:lnTo>
                  <a:pt x="1003" y="225"/>
                </a:lnTo>
                <a:lnTo>
                  <a:pt x="1004" y="224"/>
                </a:lnTo>
                <a:lnTo>
                  <a:pt x="1005" y="224"/>
                </a:lnTo>
                <a:lnTo>
                  <a:pt x="1008" y="224"/>
                </a:lnTo>
                <a:lnTo>
                  <a:pt x="1008" y="225"/>
                </a:lnTo>
                <a:lnTo>
                  <a:pt x="1010" y="225"/>
                </a:lnTo>
                <a:lnTo>
                  <a:pt x="1010" y="224"/>
                </a:lnTo>
                <a:lnTo>
                  <a:pt x="1010" y="223"/>
                </a:lnTo>
                <a:lnTo>
                  <a:pt x="1011" y="223"/>
                </a:lnTo>
                <a:lnTo>
                  <a:pt x="1013" y="223"/>
                </a:lnTo>
                <a:lnTo>
                  <a:pt x="1014" y="223"/>
                </a:lnTo>
                <a:lnTo>
                  <a:pt x="1015" y="223"/>
                </a:lnTo>
                <a:lnTo>
                  <a:pt x="1017" y="223"/>
                </a:lnTo>
                <a:lnTo>
                  <a:pt x="1018" y="223"/>
                </a:lnTo>
                <a:lnTo>
                  <a:pt x="1018" y="221"/>
                </a:lnTo>
                <a:lnTo>
                  <a:pt x="1019" y="221"/>
                </a:lnTo>
                <a:lnTo>
                  <a:pt x="1021" y="221"/>
                </a:lnTo>
                <a:lnTo>
                  <a:pt x="1022" y="221"/>
                </a:lnTo>
                <a:lnTo>
                  <a:pt x="1024" y="223"/>
                </a:lnTo>
                <a:lnTo>
                  <a:pt x="1025" y="223"/>
                </a:lnTo>
                <a:lnTo>
                  <a:pt x="1027" y="221"/>
                </a:lnTo>
                <a:lnTo>
                  <a:pt x="1027" y="220"/>
                </a:lnTo>
                <a:lnTo>
                  <a:pt x="1028" y="220"/>
                </a:lnTo>
                <a:lnTo>
                  <a:pt x="1029" y="220"/>
                </a:lnTo>
                <a:lnTo>
                  <a:pt x="1031" y="220"/>
                </a:lnTo>
                <a:lnTo>
                  <a:pt x="1031" y="217"/>
                </a:lnTo>
                <a:lnTo>
                  <a:pt x="1032" y="217"/>
                </a:lnTo>
                <a:lnTo>
                  <a:pt x="1033" y="217"/>
                </a:lnTo>
                <a:lnTo>
                  <a:pt x="1035" y="217"/>
                </a:lnTo>
                <a:lnTo>
                  <a:pt x="1033" y="217"/>
                </a:lnTo>
                <a:lnTo>
                  <a:pt x="1035" y="217"/>
                </a:lnTo>
                <a:lnTo>
                  <a:pt x="1035" y="215"/>
                </a:lnTo>
                <a:lnTo>
                  <a:pt x="1036" y="217"/>
                </a:lnTo>
                <a:lnTo>
                  <a:pt x="1042" y="215"/>
                </a:lnTo>
                <a:lnTo>
                  <a:pt x="1049" y="217"/>
                </a:lnTo>
                <a:lnTo>
                  <a:pt x="1054" y="215"/>
                </a:lnTo>
                <a:lnTo>
                  <a:pt x="1060" y="213"/>
                </a:lnTo>
                <a:lnTo>
                  <a:pt x="1061" y="208"/>
                </a:lnTo>
                <a:lnTo>
                  <a:pt x="1063" y="203"/>
                </a:lnTo>
                <a:lnTo>
                  <a:pt x="1065" y="201"/>
                </a:lnTo>
                <a:lnTo>
                  <a:pt x="1071" y="200"/>
                </a:lnTo>
                <a:lnTo>
                  <a:pt x="1078" y="203"/>
                </a:lnTo>
                <a:lnTo>
                  <a:pt x="1086" y="198"/>
                </a:lnTo>
                <a:lnTo>
                  <a:pt x="1088" y="199"/>
                </a:lnTo>
                <a:lnTo>
                  <a:pt x="1096" y="198"/>
                </a:lnTo>
                <a:lnTo>
                  <a:pt x="1098" y="195"/>
                </a:lnTo>
                <a:lnTo>
                  <a:pt x="1096" y="191"/>
                </a:lnTo>
                <a:lnTo>
                  <a:pt x="1100" y="189"/>
                </a:lnTo>
                <a:lnTo>
                  <a:pt x="1100" y="184"/>
                </a:lnTo>
                <a:lnTo>
                  <a:pt x="1107" y="182"/>
                </a:lnTo>
                <a:lnTo>
                  <a:pt x="1112" y="182"/>
                </a:lnTo>
                <a:lnTo>
                  <a:pt x="1117" y="182"/>
                </a:lnTo>
                <a:lnTo>
                  <a:pt x="1120" y="179"/>
                </a:lnTo>
                <a:lnTo>
                  <a:pt x="1120" y="173"/>
                </a:lnTo>
                <a:lnTo>
                  <a:pt x="1124" y="169"/>
                </a:lnTo>
                <a:lnTo>
                  <a:pt x="1124" y="173"/>
                </a:lnTo>
                <a:lnTo>
                  <a:pt x="1127" y="171"/>
                </a:lnTo>
                <a:lnTo>
                  <a:pt x="1128" y="171"/>
                </a:lnTo>
                <a:lnTo>
                  <a:pt x="1132" y="171"/>
                </a:lnTo>
                <a:lnTo>
                  <a:pt x="1135" y="166"/>
                </a:lnTo>
                <a:lnTo>
                  <a:pt x="1143" y="162"/>
                </a:lnTo>
                <a:lnTo>
                  <a:pt x="1145" y="153"/>
                </a:lnTo>
                <a:lnTo>
                  <a:pt x="1148" y="150"/>
                </a:lnTo>
                <a:lnTo>
                  <a:pt x="1152" y="142"/>
                </a:lnTo>
                <a:lnTo>
                  <a:pt x="1157" y="141"/>
                </a:lnTo>
                <a:lnTo>
                  <a:pt x="1156" y="137"/>
                </a:lnTo>
                <a:lnTo>
                  <a:pt x="1163" y="137"/>
                </a:lnTo>
                <a:lnTo>
                  <a:pt x="1167" y="137"/>
                </a:lnTo>
                <a:lnTo>
                  <a:pt x="1168" y="137"/>
                </a:lnTo>
                <a:lnTo>
                  <a:pt x="1173" y="129"/>
                </a:lnTo>
                <a:lnTo>
                  <a:pt x="1179" y="128"/>
                </a:lnTo>
                <a:lnTo>
                  <a:pt x="1182" y="126"/>
                </a:lnTo>
                <a:lnTo>
                  <a:pt x="1181" y="124"/>
                </a:lnTo>
                <a:lnTo>
                  <a:pt x="1182" y="122"/>
                </a:lnTo>
                <a:lnTo>
                  <a:pt x="1185" y="122"/>
                </a:lnTo>
                <a:lnTo>
                  <a:pt x="1184" y="119"/>
                </a:lnTo>
                <a:lnTo>
                  <a:pt x="1187" y="117"/>
                </a:lnTo>
                <a:lnTo>
                  <a:pt x="1188" y="113"/>
                </a:lnTo>
                <a:lnTo>
                  <a:pt x="1188" y="105"/>
                </a:lnTo>
                <a:lnTo>
                  <a:pt x="1190" y="96"/>
                </a:lnTo>
                <a:lnTo>
                  <a:pt x="1193" y="94"/>
                </a:lnTo>
                <a:lnTo>
                  <a:pt x="1199" y="84"/>
                </a:lnTo>
                <a:lnTo>
                  <a:pt x="1200" y="84"/>
                </a:lnTo>
                <a:lnTo>
                  <a:pt x="1202" y="84"/>
                </a:lnTo>
                <a:lnTo>
                  <a:pt x="1206" y="84"/>
                </a:lnTo>
                <a:lnTo>
                  <a:pt x="1212" y="88"/>
                </a:lnTo>
                <a:lnTo>
                  <a:pt x="1217" y="87"/>
                </a:lnTo>
                <a:lnTo>
                  <a:pt x="1218" y="75"/>
                </a:lnTo>
                <a:lnTo>
                  <a:pt x="1221" y="75"/>
                </a:lnTo>
                <a:lnTo>
                  <a:pt x="1220" y="74"/>
                </a:lnTo>
                <a:lnTo>
                  <a:pt x="1221" y="74"/>
                </a:lnTo>
                <a:lnTo>
                  <a:pt x="1221" y="71"/>
                </a:lnTo>
                <a:lnTo>
                  <a:pt x="1220" y="70"/>
                </a:lnTo>
                <a:lnTo>
                  <a:pt x="1221" y="62"/>
                </a:lnTo>
                <a:lnTo>
                  <a:pt x="1225" y="60"/>
                </a:lnTo>
                <a:lnTo>
                  <a:pt x="1227" y="62"/>
                </a:lnTo>
                <a:lnTo>
                  <a:pt x="1232" y="59"/>
                </a:lnTo>
                <a:lnTo>
                  <a:pt x="1232" y="52"/>
                </a:lnTo>
                <a:lnTo>
                  <a:pt x="1240" y="49"/>
                </a:lnTo>
                <a:lnTo>
                  <a:pt x="1239" y="46"/>
                </a:lnTo>
                <a:lnTo>
                  <a:pt x="1240" y="39"/>
                </a:lnTo>
                <a:lnTo>
                  <a:pt x="1248" y="37"/>
                </a:lnTo>
                <a:lnTo>
                  <a:pt x="1249" y="34"/>
                </a:lnTo>
                <a:lnTo>
                  <a:pt x="1246" y="20"/>
                </a:lnTo>
                <a:lnTo>
                  <a:pt x="1250" y="17"/>
                </a:lnTo>
                <a:lnTo>
                  <a:pt x="1248" y="14"/>
                </a:lnTo>
                <a:lnTo>
                  <a:pt x="1252" y="8"/>
                </a:lnTo>
                <a:lnTo>
                  <a:pt x="1252" y="4"/>
                </a:lnTo>
                <a:lnTo>
                  <a:pt x="1250" y="4"/>
                </a:lnTo>
                <a:lnTo>
                  <a:pt x="1248" y="2"/>
                </a:lnTo>
                <a:lnTo>
                  <a:pt x="1245" y="0"/>
                </a:lnTo>
                <a:lnTo>
                  <a:pt x="1289" y="0"/>
                </a:lnTo>
                <a:lnTo>
                  <a:pt x="1640" y="0"/>
                </a:lnTo>
                <a:lnTo>
                  <a:pt x="1649" y="2"/>
                </a:lnTo>
                <a:lnTo>
                  <a:pt x="1655" y="13"/>
                </a:lnTo>
                <a:lnTo>
                  <a:pt x="1655" y="17"/>
                </a:lnTo>
                <a:lnTo>
                  <a:pt x="1659" y="21"/>
                </a:lnTo>
                <a:lnTo>
                  <a:pt x="1668" y="24"/>
                </a:lnTo>
                <a:lnTo>
                  <a:pt x="1672" y="26"/>
                </a:lnTo>
                <a:lnTo>
                  <a:pt x="1677" y="25"/>
                </a:lnTo>
                <a:lnTo>
                  <a:pt x="1680" y="26"/>
                </a:lnTo>
                <a:lnTo>
                  <a:pt x="1680" y="24"/>
                </a:lnTo>
                <a:lnTo>
                  <a:pt x="1679" y="21"/>
                </a:lnTo>
                <a:lnTo>
                  <a:pt x="1683" y="16"/>
                </a:lnTo>
                <a:lnTo>
                  <a:pt x="1683" y="17"/>
                </a:lnTo>
                <a:lnTo>
                  <a:pt x="1684" y="20"/>
                </a:lnTo>
                <a:lnTo>
                  <a:pt x="1686" y="24"/>
                </a:lnTo>
                <a:lnTo>
                  <a:pt x="1684" y="25"/>
                </a:lnTo>
                <a:lnTo>
                  <a:pt x="1686" y="26"/>
                </a:lnTo>
                <a:lnTo>
                  <a:pt x="1686" y="29"/>
                </a:lnTo>
                <a:lnTo>
                  <a:pt x="1687" y="30"/>
                </a:lnTo>
                <a:lnTo>
                  <a:pt x="1691" y="38"/>
                </a:lnTo>
                <a:lnTo>
                  <a:pt x="1704" y="74"/>
                </a:lnTo>
                <a:lnTo>
                  <a:pt x="1705" y="75"/>
                </a:lnTo>
                <a:lnTo>
                  <a:pt x="1708" y="79"/>
                </a:lnTo>
                <a:lnTo>
                  <a:pt x="1712" y="75"/>
                </a:lnTo>
                <a:lnTo>
                  <a:pt x="1718" y="75"/>
                </a:lnTo>
                <a:lnTo>
                  <a:pt x="1722" y="84"/>
                </a:lnTo>
                <a:lnTo>
                  <a:pt x="1722" y="88"/>
                </a:lnTo>
                <a:lnTo>
                  <a:pt x="1724" y="95"/>
                </a:lnTo>
                <a:lnTo>
                  <a:pt x="1736" y="97"/>
                </a:lnTo>
                <a:lnTo>
                  <a:pt x="1738" y="97"/>
                </a:lnTo>
                <a:lnTo>
                  <a:pt x="1738" y="101"/>
                </a:lnTo>
                <a:lnTo>
                  <a:pt x="1743" y="101"/>
                </a:lnTo>
                <a:lnTo>
                  <a:pt x="1746" y="107"/>
                </a:lnTo>
                <a:lnTo>
                  <a:pt x="1751" y="108"/>
                </a:lnTo>
                <a:lnTo>
                  <a:pt x="1754" y="107"/>
                </a:lnTo>
                <a:lnTo>
                  <a:pt x="1758" y="109"/>
                </a:lnTo>
                <a:lnTo>
                  <a:pt x="1772" y="95"/>
                </a:lnTo>
                <a:lnTo>
                  <a:pt x="1776" y="92"/>
                </a:lnTo>
                <a:lnTo>
                  <a:pt x="1782" y="84"/>
                </a:lnTo>
                <a:lnTo>
                  <a:pt x="1787" y="82"/>
                </a:lnTo>
                <a:lnTo>
                  <a:pt x="1812" y="108"/>
                </a:lnTo>
                <a:lnTo>
                  <a:pt x="1815" y="111"/>
                </a:lnTo>
                <a:lnTo>
                  <a:pt x="1813" y="120"/>
                </a:lnTo>
                <a:lnTo>
                  <a:pt x="1816" y="128"/>
                </a:lnTo>
                <a:lnTo>
                  <a:pt x="1816" y="136"/>
                </a:lnTo>
                <a:lnTo>
                  <a:pt x="1813" y="145"/>
                </a:lnTo>
                <a:lnTo>
                  <a:pt x="1815" y="146"/>
                </a:lnTo>
                <a:lnTo>
                  <a:pt x="1815" y="150"/>
                </a:lnTo>
                <a:lnTo>
                  <a:pt x="1816" y="153"/>
                </a:lnTo>
                <a:lnTo>
                  <a:pt x="1826" y="149"/>
                </a:lnTo>
                <a:lnTo>
                  <a:pt x="1829" y="150"/>
                </a:lnTo>
                <a:lnTo>
                  <a:pt x="1830" y="149"/>
                </a:lnTo>
                <a:lnTo>
                  <a:pt x="1833" y="150"/>
                </a:lnTo>
                <a:lnTo>
                  <a:pt x="1836" y="150"/>
                </a:lnTo>
                <a:lnTo>
                  <a:pt x="1838" y="149"/>
                </a:lnTo>
                <a:lnTo>
                  <a:pt x="1840" y="150"/>
                </a:lnTo>
                <a:lnTo>
                  <a:pt x="1843" y="146"/>
                </a:lnTo>
                <a:lnTo>
                  <a:pt x="1847" y="146"/>
                </a:lnTo>
                <a:lnTo>
                  <a:pt x="1855" y="142"/>
                </a:lnTo>
                <a:lnTo>
                  <a:pt x="1859" y="142"/>
                </a:lnTo>
                <a:lnTo>
                  <a:pt x="1859" y="139"/>
                </a:lnTo>
                <a:lnTo>
                  <a:pt x="1866" y="133"/>
                </a:lnTo>
                <a:lnTo>
                  <a:pt x="1872" y="130"/>
                </a:lnTo>
                <a:lnTo>
                  <a:pt x="1875" y="124"/>
                </a:lnTo>
                <a:lnTo>
                  <a:pt x="1879" y="120"/>
                </a:lnTo>
                <a:lnTo>
                  <a:pt x="1882" y="117"/>
                </a:lnTo>
                <a:lnTo>
                  <a:pt x="1886" y="113"/>
                </a:lnTo>
                <a:lnTo>
                  <a:pt x="1892" y="105"/>
                </a:lnTo>
                <a:lnTo>
                  <a:pt x="1892" y="107"/>
                </a:lnTo>
                <a:lnTo>
                  <a:pt x="1896" y="101"/>
                </a:lnTo>
                <a:lnTo>
                  <a:pt x="1897" y="104"/>
                </a:lnTo>
                <a:lnTo>
                  <a:pt x="1901" y="101"/>
                </a:lnTo>
                <a:lnTo>
                  <a:pt x="1904" y="104"/>
                </a:lnTo>
                <a:lnTo>
                  <a:pt x="1905" y="109"/>
                </a:lnTo>
                <a:lnTo>
                  <a:pt x="1908" y="109"/>
                </a:lnTo>
                <a:lnTo>
                  <a:pt x="1908" y="111"/>
                </a:lnTo>
                <a:lnTo>
                  <a:pt x="1912" y="119"/>
                </a:lnTo>
                <a:lnTo>
                  <a:pt x="1915" y="117"/>
                </a:lnTo>
                <a:lnTo>
                  <a:pt x="1917" y="114"/>
                </a:lnTo>
                <a:lnTo>
                  <a:pt x="1919" y="114"/>
                </a:lnTo>
                <a:lnTo>
                  <a:pt x="1921" y="113"/>
                </a:lnTo>
                <a:lnTo>
                  <a:pt x="1921" y="114"/>
                </a:lnTo>
                <a:lnTo>
                  <a:pt x="1922" y="114"/>
                </a:lnTo>
                <a:lnTo>
                  <a:pt x="1931" y="122"/>
                </a:lnTo>
                <a:lnTo>
                  <a:pt x="1931" y="124"/>
                </a:lnTo>
                <a:lnTo>
                  <a:pt x="1933" y="126"/>
                </a:lnTo>
                <a:lnTo>
                  <a:pt x="1933" y="129"/>
                </a:lnTo>
                <a:lnTo>
                  <a:pt x="1939" y="133"/>
                </a:lnTo>
                <a:lnTo>
                  <a:pt x="1943" y="133"/>
                </a:lnTo>
                <a:lnTo>
                  <a:pt x="1946" y="137"/>
                </a:lnTo>
                <a:lnTo>
                  <a:pt x="1950" y="139"/>
                </a:lnTo>
                <a:lnTo>
                  <a:pt x="1958" y="150"/>
                </a:lnTo>
                <a:lnTo>
                  <a:pt x="1961" y="150"/>
                </a:lnTo>
                <a:lnTo>
                  <a:pt x="1962" y="156"/>
                </a:lnTo>
                <a:lnTo>
                  <a:pt x="1965" y="156"/>
                </a:lnTo>
                <a:lnTo>
                  <a:pt x="1969" y="153"/>
                </a:lnTo>
                <a:lnTo>
                  <a:pt x="1973" y="156"/>
                </a:lnTo>
                <a:lnTo>
                  <a:pt x="1975" y="159"/>
                </a:lnTo>
                <a:lnTo>
                  <a:pt x="1978" y="162"/>
                </a:lnTo>
                <a:lnTo>
                  <a:pt x="1979" y="159"/>
                </a:lnTo>
                <a:lnTo>
                  <a:pt x="1981" y="163"/>
                </a:lnTo>
                <a:lnTo>
                  <a:pt x="1984" y="162"/>
                </a:lnTo>
                <a:lnTo>
                  <a:pt x="1986" y="166"/>
                </a:lnTo>
                <a:lnTo>
                  <a:pt x="1986" y="169"/>
                </a:lnTo>
                <a:lnTo>
                  <a:pt x="1987" y="169"/>
                </a:lnTo>
                <a:lnTo>
                  <a:pt x="1984" y="173"/>
                </a:lnTo>
                <a:lnTo>
                  <a:pt x="1987" y="175"/>
                </a:lnTo>
                <a:lnTo>
                  <a:pt x="1987" y="178"/>
                </a:lnTo>
                <a:lnTo>
                  <a:pt x="1986" y="179"/>
                </a:lnTo>
                <a:lnTo>
                  <a:pt x="1986" y="181"/>
                </a:lnTo>
                <a:lnTo>
                  <a:pt x="1984" y="181"/>
                </a:lnTo>
                <a:lnTo>
                  <a:pt x="1984" y="182"/>
                </a:lnTo>
                <a:lnTo>
                  <a:pt x="1987" y="184"/>
                </a:lnTo>
                <a:lnTo>
                  <a:pt x="1989" y="188"/>
                </a:lnTo>
                <a:lnTo>
                  <a:pt x="1992" y="191"/>
                </a:lnTo>
                <a:lnTo>
                  <a:pt x="1994" y="189"/>
                </a:lnTo>
                <a:lnTo>
                  <a:pt x="1997" y="189"/>
                </a:lnTo>
                <a:lnTo>
                  <a:pt x="2000" y="188"/>
                </a:lnTo>
                <a:lnTo>
                  <a:pt x="2003" y="191"/>
                </a:lnTo>
                <a:lnTo>
                  <a:pt x="2006" y="189"/>
                </a:lnTo>
                <a:lnTo>
                  <a:pt x="2008" y="191"/>
                </a:lnTo>
                <a:lnTo>
                  <a:pt x="2011" y="191"/>
                </a:lnTo>
                <a:lnTo>
                  <a:pt x="2017" y="191"/>
                </a:lnTo>
                <a:lnTo>
                  <a:pt x="2021" y="191"/>
                </a:lnTo>
                <a:lnTo>
                  <a:pt x="2028" y="191"/>
                </a:lnTo>
                <a:lnTo>
                  <a:pt x="2029" y="195"/>
                </a:lnTo>
                <a:lnTo>
                  <a:pt x="2031" y="195"/>
                </a:lnTo>
                <a:lnTo>
                  <a:pt x="2033" y="191"/>
                </a:lnTo>
                <a:lnTo>
                  <a:pt x="2039" y="198"/>
                </a:lnTo>
                <a:lnTo>
                  <a:pt x="2042" y="195"/>
                </a:lnTo>
                <a:lnTo>
                  <a:pt x="2042" y="194"/>
                </a:lnTo>
                <a:lnTo>
                  <a:pt x="2043" y="195"/>
                </a:lnTo>
                <a:lnTo>
                  <a:pt x="2048" y="198"/>
                </a:lnTo>
                <a:lnTo>
                  <a:pt x="2064" y="194"/>
                </a:lnTo>
                <a:lnTo>
                  <a:pt x="2067" y="191"/>
                </a:lnTo>
                <a:lnTo>
                  <a:pt x="2069" y="191"/>
                </a:lnTo>
                <a:lnTo>
                  <a:pt x="2075" y="187"/>
                </a:lnTo>
                <a:lnTo>
                  <a:pt x="2082" y="178"/>
                </a:lnTo>
                <a:lnTo>
                  <a:pt x="2086" y="178"/>
                </a:lnTo>
                <a:lnTo>
                  <a:pt x="2101" y="169"/>
                </a:lnTo>
                <a:lnTo>
                  <a:pt x="2112" y="173"/>
                </a:lnTo>
                <a:lnTo>
                  <a:pt x="2114" y="173"/>
                </a:lnTo>
                <a:lnTo>
                  <a:pt x="2125" y="173"/>
                </a:lnTo>
                <a:lnTo>
                  <a:pt x="2129" y="173"/>
                </a:lnTo>
                <a:lnTo>
                  <a:pt x="2136" y="173"/>
                </a:lnTo>
                <a:lnTo>
                  <a:pt x="2137" y="169"/>
                </a:lnTo>
                <a:lnTo>
                  <a:pt x="2142" y="169"/>
                </a:lnTo>
                <a:lnTo>
                  <a:pt x="2145" y="169"/>
                </a:lnTo>
                <a:lnTo>
                  <a:pt x="2150" y="167"/>
                </a:lnTo>
                <a:lnTo>
                  <a:pt x="2154" y="166"/>
                </a:lnTo>
                <a:lnTo>
                  <a:pt x="2157" y="163"/>
                </a:lnTo>
                <a:lnTo>
                  <a:pt x="2160" y="164"/>
                </a:lnTo>
                <a:lnTo>
                  <a:pt x="2165" y="164"/>
                </a:lnTo>
                <a:lnTo>
                  <a:pt x="2167" y="169"/>
                </a:lnTo>
                <a:lnTo>
                  <a:pt x="2174" y="173"/>
                </a:lnTo>
                <a:lnTo>
                  <a:pt x="2175" y="178"/>
                </a:lnTo>
                <a:lnTo>
                  <a:pt x="2181" y="176"/>
                </a:lnTo>
                <a:lnTo>
                  <a:pt x="2182" y="179"/>
                </a:lnTo>
                <a:lnTo>
                  <a:pt x="2186" y="184"/>
                </a:lnTo>
                <a:lnTo>
                  <a:pt x="2191" y="184"/>
                </a:lnTo>
                <a:lnTo>
                  <a:pt x="2196" y="191"/>
                </a:lnTo>
                <a:lnTo>
                  <a:pt x="2200" y="191"/>
                </a:lnTo>
                <a:lnTo>
                  <a:pt x="2203" y="187"/>
                </a:lnTo>
                <a:lnTo>
                  <a:pt x="2208" y="184"/>
                </a:lnTo>
                <a:lnTo>
                  <a:pt x="2213" y="181"/>
                </a:lnTo>
                <a:lnTo>
                  <a:pt x="2217" y="186"/>
                </a:lnTo>
                <a:lnTo>
                  <a:pt x="2220" y="184"/>
                </a:lnTo>
                <a:lnTo>
                  <a:pt x="2232" y="184"/>
                </a:lnTo>
                <a:lnTo>
                  <a:pt x="2243" y="187"/>
                </a:lnTo>
                <a:lnTo>
                  <a:pt x="2250" y="188"/>
                </a:lnTo>
                <a:lnTo>
                  <a:pt x="2261" y="195"/>
                </a:lnTo>
                <a:lnTo>
                  <a:pt x="2263" y="194"/>
                </a:lnTo>
                <a:lnTo>
                  <a:pt x="2271" y="195"/>
                </a:lnTo>
                <a:lnTo>
                  <a:pt x="2274" y="198"/>
                </a:lnTo>
                <a:lnTo>
                  <a:pt x="2272" y="199"/>
                </a:lnTo>
                <a:lnTo>
                  <a:pt x="2274" y="200"/>
                </a:lnTo>
                <a:lnTo>
                  <a:pt x="2286" y="208"/>
                </a:lnTo>
                <a:lnTo>
                  <a:pt x="2297" y="208"/>
                </a:lnTo>
                <a:lnTo>
                  <a:pt x="2299" y="211"/>
                </a:lnTo>
                <a:lnTo>
                  <a:pt x="2296" y="215"/>
                </a:lnTo>
                <a:lnTo>
                  <a:pt x="2299" y="225"/>
                </a:lnTo>
                <a:lnTo>
                  <a:pt x="2295" y="226"/>
                </a:lnTo>
                <a:lnTo>
                  <a:pt x="2299" y="240"/>
                </a:lnTo>
                <a:lnTo>
                  <a:pt x="2303" y="244"/>
                </a:lnTo>
                <a:lnTo>
                  <a:pt x="2310" y="246"/>
                </a:lnTo>
                <a:lnTo>
                  <a:pt x="2318" y="256"/>
                </a:lnTo>
                <a:lnTo>
                  <a:pt x="2327" y="260"/>
                </a:lnTo>
                <a:lnTo>
                  <a:pt x="2328" y="258"/>
                </a:lnTo>
                <a:lnTo>
                  <a:pt x="2328" y="251"/>
                </a:lnTo>
                <a:lnTo>
                  <a:pt x="2331" y="249"/>
                </a:lnTo>
                <a:lnTo>
                  <a:pt x="2335" y="249"/>
                </a:lnTo>
                <a:lnTo>
                  <a:pt x="2336" y="253"/>
                </a:lnTo>
                <a:lnTo>
                  <a:pt x="2335" y="258"/>
                </a:lnTo>
                <a:lnTo>
                  <a:pt x="2341" y="262"/>
                </a:lnTo>
                <a:lnTo>
                  <a:pt x="2345" y="262"/>
                </a:lnTo>
                <a:lnTo>
                  <a:pt x="2350" y="266"/>
                </a:lnTo>
                <a:lnTo>
                  <a:pt x="2355" y="266"/>
                </a:lnTo>
                <a:lnTo>
                  <a:pt x="2360" y="260"/>
                </a:lnTo>
                <a:lnTo>
                  <a:pt x="2364" y="262"/>
                </a:lnTo>
                <a:lnTo>
                  <a:pt x="2371" y="258"/>
                </a:lnTo>
                <a:lnTo>
                  <a:pt x="2371" y="260"/>
                </a:lnTo>
                <a:lnTo>
                  <a:pt x="2377" y="262"/>
                </a:lnTo>
                <a:lnTo>
                  <a:pt x="2377" y="266"/>
                </a:lnTo>
                <a:lnTo>
                  <a:pt x="2372" y="269"/>
                </a:lnTo>
                <a:lnTo>
                  <a:pt x="2372" y="270"/>
                </a:lnTo>
                <a:lnTo>
                  <a:pt x="2380" y="273"/>
                </a:lnTo>
                <a:lnTo>
                  <a:pt x="2383" y="279"/>
                </a:lnTo>
                <a:lnTo>
                  <a:pt x="2388" y="279"/>
                </a:lnTo>
                <a:lnTo>
                  <a:pt x="2399" y="275"/>
                </a:lnTo>
                <a:lnTo>
                  <a:pt x="2407" y="274"/>
                </a:lnTo>
                <a:lnTo>
                  <a:pt x="2409" y="275"/>
                </a:lnTo>
                <a:lnTo>
                  <a:pt x="2405" y="287"/>
                </a:lnTo>
                <a:lnTo>
                  <a:pt x="2399" y="293"/>
                </a:lnTo>
                <a:lnTo>
                  <a:pt x="2399" y="300"/>
                </a:lnTo>
                <a:lnTo>
                  <a:pt x="2399" y="307"/>
                </a:lnTo>
                <a:lnTo>
                  <a:pt x="2403" y="308"/>
                </a:lnTo>
                <a:lnTo>
                  <a:pt x="2407" y="307"/>
                </a:lnTo>
                <a:lnTo>
                  <a:pt x="2417" y="315"/>
                </a:lnTo>
                <a:lnTo>
                  <a:pt x="2421" y="316"/>
                </a:lnTo>
                <a:lnTo>
                  <a:pt x="2425" y="315"/>
                </a:lnTo>
                <a:lnTo>
                  <a:pt x="2431" y="320"/>
                </a:lnTo>
                <a:lnTo>
                  <a:pt x="2431" y="323"/>
                </a:lnTo>
                <a:lnTo>
                  <a:pt x="2428" y="324"/>
                </a:lnTo>
                <a:lnTo>
                  <a:pt x="2428" y="330"/>
                </a:lnTo>
                <a:lnTo>
                  <a:pt x="2435" y="337"/>
                </a:lnTo>
                <a:lnTo>
                  <a:pt x="2437" y="344"/>
                </a:lnTo>
                <a:lnTo>
                  <a:pt x="2441" y="347"/>
                </a:lnTo>
                <a:lnTo>
                  <a:pt x="2449" y="355"/>
                </a:lnTo>
                <a:lnTo>
                  <a:pt x="2459" y="356"/>
                </a:lnTo>
                <a:lnTo>
                  <a:pt x="2462" y="360"/>
                </a:lnTo>
                <a:lnTo>
                  <a:pt x="2470" y="363"/>
                </a:lnTo>
                <a:lnTo>
                  <a:pt x="2476" y="365"/>
                </a:lnTo>
                <a:lnTo>
                  <a:pt x="2488" y="360"/>
                </a:lnTo>
                <a:lnTo>
                  <a:pt x="2496" y="352"/>
                </a:lnTo>
                <a:lnTo>
                  <a:pt x="2501" y="353"/>
                </a:lnTo>
                <a:lnTo>
                  <a:pt x="2506" y="362"/>
                </a:lnTo>
                <a:lnTo>
                  <a:pt x="2521" y="368"/>
                </a:lnTo>
                <a:lnTo>
                  <a:pt x="2535" y="365"/>
                </a:lnTo>
                <a:lnTo>
                  <a:pt x="2548" y="360"/>
                </a:lnTo>
                <a:lnTo>
                  <a:pt x="2553" y="362"/>
                </a:lnTo>
                <a:lnTo>
                  <a:pt x="2553" y="369"/>
                </a:lnTo>
                <a:lnTo>
                  <a:pt x="2556" y="372"/>
                </a:lnTo>
                <a:lnTo>
                  <a:pt x="2571" y="373"/>
                </a:lnTo>
                <a:lnTo>
                  <a:pt x="2587" y="372"/>
                </a:lnTo>
                <a:lnTo>
                  <a:pt x="2591" y="375"/>
                </a:lnTo>
                <a:lnTo>
                  <a:pt x="2591" y="381"/>
                </a:lnTo>
                <a:lnTo>
                  <a:pt x="2593" y="382"/>
                </a:lnTo>
                <a:lnTo>
                  <a:pt x="2599" y="387"/>
                </a:lnTo>
                <a:lnTo>
                  <a:pt x="2603" y="395"/>
                </a:lnTo>
                <a:lnTo>
                  <a:pt x="2607" y="395"/>
                </a:lnTo>
                <a:lnTo>
                  <a:pt x="2615" y="405"/>
                </a:lnTo>
                <a:lnTo>
                  <a:pt x="2616" y="407"/>
                </a:lnTo>
                <a:lnTo>
                  <a:pt x="2620" y="407"/>
                </a:lnTo>
                <a:lnTo>
                  <a:pt x="2626" y="408"/>
                </a:lnTo>
                <a:lnTo>
                  <a:pt x="2634" y="405"/>
                </a:lnTo>
                <a:lnTo>
                  <a:pt x="2637" y="407"/>
                </a:lnTo>
                <a:lnTo>
                  <a:pt x="2638" y="408"/>
                </a:lnTo>
                <a:lnTo>
                  <a:pt x="2640" y="412"/>
                </a:lnTo>
                <a:lnTo>
                  <a:pt x="2642" y="414"/>
                </a:lnTo>
                <a:lnTo>
                  <a:pt x="2644" y="416"/>
                </a:lnTo>
                <a:lnTo>
                  <a:pt x="2644" y="423"/>
                </a:lnTo>
                <a:lnTo>
                  <a:pt x="2648" y="427"/>
                </a:lnTo>
                <a:lnTo>
                  <a:pt x="2648" y="437"/>
                </a:lnTo>
                <a:lnTo>
                  <a:pt x="2651" y="440"/>
                </a:lnTo>
                <a:lnTo>
                  <a:pt x="2657" y="447"/>
                </a:lnTo>
                <a:lnTo>
                  <a:pt x="2669" y="448"/>
                </a:lnTo>
                <a:lnTo>
                  <a:pt x="2671" y="449"/>
                </a:lnTo>
                <a:lnTo>
                  <a:pt x="2673" y="456"/>
                </a:lnTo>
                <a:lnTo>
                  <a:pt x="2677" y="459"/>
                </a:lnTo>
                <a:lnTo>
                  <a:pt x="2684" y="459"/>
                </a:lnTo>
                <a:lnTo>
                  <a:pt x="2690" y="457"/>
                </a:lnTo>
                <a:lnTo>
                  <a:pt x="2695" y="457"/>
                </a:lnTo>
                <a:lnTo>
                  <a:pt x="2708" y="466"/>
                </a:lnTo>
                <a:lnTo>
                  <a:pt x="2715" y="474"/>
                </a:lnTo>
                <a:lnTo>
                  <a:pt x="2716" y="474"/>
                </a:lnTo>
                <a:lnTo>
                  <a:pt x="2717" y="476"/>
                </a:lnTo>
                <a:lnTo>
                  <a:pt x="2723" y="484"/>
                </a:lnTo>
                <a:lnTo>
                  <a:pt x="2724" y="494"/>
                </a:lnTo>
                <a:lnTo>
                  <a:pt x="2730" y="498"/>
                </a:lnTo>
                <a:lnTo>
                  <a:pt x="2740" y="511"/>
                </a:lnTo>
                <a:lnTo>
                  <a:pt x="2744" y="516"/>
                </a:lnTo>
                <a:lnTo>
                  <a:pt x="2750" y="523"/>
                </a:lnTo>
                <a:lnTo>
                  <a:pt x="2752" y="524"/>
                </a:lnTo>
                <a:lnTo>
                  <a:pt x="2756" y="524"/>
                </a:lnTo>
                <a:lnTo>
                  <a:pt x="2762" y="528"/>
                </a:lnTo>
                <a:lnTo>
                  <a:pt x="2765" y="531"/>
                </a:lnTo>
                <a:lnTo>
                  <a:pt x="2765" y="534"/>
                </a:lnTo>
                <a:lnTo>
                  <a:pt x="2769" y="534"/>
                </a:lnTo>
                <a:lnTo>
                  <a:pt x="2770" y="537"/>
                </a:lnTo>
                <a:lnTo>
                  <a:pt x="2773" y="541"/>
                </a:lnTo>
                <a:lnTo>
                  <a:pt x="2776" y="543"/>
                </a:lnTo>
                <a:lnTo>
                  <a:pt x="2780" y="543"/>
                </a:lnTo>
                <a:lnTo>
                  <a:pt x="2791" y="540"/>
                </a:lnTo>
                <a:lnTo>
                  <a:pt x="2794" y="544"/>
                </a:lnTo>
                <a:lnTo>
                  <a:pt x="2804" y="547"/>
                </a:lnTo>
                <a:lnTo>
                  <a:pt x="2815" y="547"/>
                </a:lnTo>
                <a:lnTo>
                  <a:pt x="2827" y="546"/>
                </a:lnTo>
                <a:lnTo>
                  <a:pt x="2833" y="543"/>
                </a:lnTo>
                <a:lnTo>
                  <a:pt x="2844" y="544"/>
                </a:lnTo>
                <a:lnTo>
                  <a:pt x="2848" y="553"/>
                </a:lnTo>
                <a:lnTo>
                  <a:pt x="2851" y="556"/>
                </a:lnTo>
                <a:lnTo>
                  <a:pt x="2854" y="565"/>
                </a:lnTo>
                <a:lnTo>
                  <a:pt x="2852" y="568"/>
                </a:lnTo>
                <a:lnTo>
                  <a:pt x="2855" y="573"/>
                </a:lnTo>
                <a:lnTo>
                  <a:pt x="2855" y="581"/>
                </a:lnTo>
                <a:lnTo>
                  <a:pt x="2861" y="591"/>
                </a:lnTo>
                <a:lnTo>
                  <a:pt x="2867" y="591"/>
                </a:lnTo>
                <a:lnTo>
                  <a:pt x="2876" y="598"/>
                </a:lnTo>
                <a:lnTo>
                  <a:pt x="2879" y="603"/>
                </a:lnTo>
                <a:lnTo>
                  <a:pt x="2886" y="603"/>
                </a:lnTo>
                <a:lnTo>
                  <a:pt x="2889" y="610"/>
                </a:lnTo>
                <a:lnTo>
                  <a:pt x="2889" y="616"/>
                </a:lnTo>
                <a:lnTo>
                  <a:pt x="2894" y="618"/>
                </a:lnTo>
                <a:lnTo>
                  <a:pt x="2898" y="621"/>
                </a:lnTo>
                <a:lnTo>
                  <a:pt x="2904" y="621"/>
                </a:lnTo>
                <a:lnTo>
                  <a:pt x="2912" y="622"/>
                </a:lnTo>
                <a:lnTo>
                  <a:pt x="2920" y="614"/>
                </a:lnTo>
                <a:lnTo>
                  <a:pt x="2925" y="614"/>
                </a:lnTo>
                <a:lnTo>
                  <a:pt x="2926" y="616"/>
                </a:lnTo>
                <a:lnTo>
                  <a:pt x="2926" y="622"/>
                </a:lnTo>
                <a:lnTo>
                  <a:pt x="2930" y="627"/>
                </a:lnTo>
                <a:lnTo>
                  <a:pt x="2930" y="631"/>
                </a:lnTo>
                <a:lnTo>
                  <a:pt x="2936" y="636"/>
                </a:lnTo>
                <a:lnTo>
                  <a:pt x="2942" y="640"/>
                </a:lnTo>
                <a:lnTo>
                  <a:pt x="2941" y="659"/>
                </a:lnTo>
                <a:lnTo>
                  <a:pt x="2947" y="671"/>
                </a:lnTo>
                <a:lnTo>
                  <a:pt x="2955" y="675"/>
                </a:lnTo>
                <a:lnTo>
                  <a:pt x="2955" y="676"/>
                </a:lnTo>
                <a:lnTo>
                  <a:pt x="2952" y="683"/>
                </a:lnTo>
                <a:lnTo>
                  <a:pt x="2954" y="685"/>
                </a:lnTo>
                <a:lnTo>
                  <a:pt x="2954" y="689"/>
                </a:lnTo>
                <a:lnTo>
                  <a:pt x="2955" y="709"/>
                </a:lnTo>
                <a:lnTo>
                  <a:pt x="2958" y="711"/>
                </a:lnTo>
                <a:lnTo>
                  <a:pt x="2968" y="711"/>
                </a:lnTo>
                <a:lnTo>
                  <a:pt x="2975" y="714"/>
                </a:lnTo>
                <a:lnTo>
                  <a:pt x="2977" y="717"/>
                </a:lnTo>
                <a:lnTo>
                  <a:pt x="2977" y="727"/>
                </a:lnTo>
                <a:lnTo>
                  <a:pt x="2975" y="731"/>
                </a:lnTo>
                <a:lnTo>
                  <a:pt x="2975" y="734"/>
                </a:lnTo>
                <a:lnTo>
                  <a:pt x="2972" y="739"/>
                </a:lnTo>
                <a:lnTo>
                  <a:pt x="2973" y="742"/>
                </a:lnTo>
                <a:lnTo>
                  <a:pt x="2975" y="742"/>
                </a:lnTo>
                <a:lnTo>
                  <a:pt x="2982" y="742"/>
                </a:lnTo>
                <a:lnTo>
                  <a:pt x="2987" y="746"/>
                </a:lnTo>
                <a:lnTo>
                  <a:pt x="2991" y="752"/>
                </a:lnTo>
                <a:lnTo>
                  <a:pt x="2997" y="756"/>
                </a:lnTo>
                <a:lnTo>
                  <a:pt x="2997" y="760"/>
                </a:lnTo>
                <a:lnTo>
                  <a:pt x="2996" y="764"/>
                </a:lnTo>
                <a:lnTo>
                  <a:pt x="2997" y="770"/>
                </a:lnTo>
                <a:lnTo>
                  <a:pt x="2996" y="776"/>
                </a:lnTo>
                <a:lnTo>
                  <a:pt x="2998" y="779"/>
                </a:lnTo>
                <a:lnTo>
                  <a:pt x="2997" y="783"/>
                </a:lnTo>
                <a:lnTo>
                  <a:pt x="2994" y="783"/>
                </a:lnTo>
                <a:lnTo>
                  <a:pt x="2993" y="785"/>
                </a:lnTo>
                <a:lnTo>
                  <a:pt x="2996" y="792"/>
                </a:lnTo>
                <a:lnTo>
                  <a:pt x="2994" y="797"/>
                </a:lnTo>
                <a:lnTo>
                  <a:pt x="2994" y="804"/>
                </a:lnTo>
                <a:lnTo>
                  <a:pt x="3014" y="810"/>
                </a:lnTo>
                <a:lnTo>
                  <a:pt x="3015" y="814"/>
                </a:lnTo>
                <a:lnTo>
                  <a:pt x="3016" y="820"/>
                </a:lnTo>
                <a:lnTo>
                  <a:pt x="3014" y="827"/>
                </a:lnTo>
                <a:lnTo>
                  <a:pt x="3021" y="830"/>
                </a:lnTo>
                <a:lnTo>
                  <a:pt x="3022" y="833"/>
                </a:lnTo>
                <a:lnTo>
                  <a:pt x="3030" y="834"/>
                </a:lnTo>
                <a:lnTo>
                  <a:pt x="3032" y="842"/>
                </a:lnTo>
                <a:lnTo>
                  <a:pt x="3032" y="845"/>
                </a:lnTo>
                <a:lnTo>
                  <a:pt x="3026" y="859"/>
                </a:lnTo>
                <a:lnTo>
                  <a:pt x="3026" y="860"/>
                </a:lnTo>
                <a:lnTo>
                  <a:pt x="3029" y="864"/>
                </a:lnTo>
                <a:lnTo>
                  <a:pt x="3033" y="868"/>
                </a:lnTo>
                <a:lnTo>
                  <a:pt x="3036" y="875"/>
                </a:lnTo>
                <a:lnTo>
                  <a:pt x="3039" y="876"/>
                </a:lnTo>
                <a:lnTo>
                  <a:pt x="3040" y="891"/>
                </a:lnTo>
                <a:lnTo>
                  <a:pt x="3043" y="895"/>
                </a:lnTo>
                <a:lnTo>
                  <a:pt x="3044" y="897"/>
                </a:lnTo>
                <a:lnTo>
                  <a:pt x="3050" y="897"/>
                </a:lnTo>
                <a:lnTo>
                  <a:pt x="3051" y="899"/>
                </a:lnTo>
                <a:lnTo>
                  <a:pt x="3050" y="902"/>
                </a:lnTo>
                <a:lnTo>
                  <a:pt x="3043" y="904"/>
                </a:lnTo>
                <a:lnTo>
                  <a:pt x="3036" y="913"/>
                </a:lnTo>
                <a:lnTo>
                  <a:pt x="3032" y="917"/>
                </a:lnTo>
                <a:lnTo>
                  <a:pt x="3030" y="920"/>
                </a:lnTo>
                <a:lnTo>
                  <a:pt x="3032" y="925"/>
                </a:lnTo>
                <a:lnTo>
                  <a:pt x="3039" y="934"/>
                </a:lnTo>
                <a:lnTo>
                  <a:pt x="3037" y="936"/>
                </a:lnTo>
                <a:lnTo>
                  <a:pt x="3033" y="938"/>
                </a:lnTo>
                <a:lnTo>
                  <a:pt x="3030" y="939"/>
                </a:lnTo>
                <a:lnTo>
                  <a:pt x="3030" y="950"/>
                </a:lnTo>
                <a:lnTo>
                  <a:pt x="3033" y="957"/>
                </a:lnTo>
                <a:lnTo>
                  <a:pt x="3033" y="970"/>
                </a:lnTo>
                <a:lnTo>
                  <a:pt x="3041" y="980"/>
                </a:lnTo>
                <a:lnTo>
                  <a:pt x="3044" y="988"/>
                </a:lnTo>
                <a:lnTo>
                  <a:pt x="3044" y="992"/>
                </a:lnTo>
                <a:lnTo>
                  <a:pt x="3046" y="999"/>
                </a:lnTo>
                <a:lnTo>
                  <a:pt x="3052" y="1003"/>
                </a:lnTo>
                <a:lnTo>
                  <a:pt x="3052" y="1013"/>
                </a:lnTo>
                <a:lnTo>
                  <a:pt x="3065" y="1024"/>
                </a:lnTo>
                <a:lnTo>
                  <a:pt x="3076" y="1025"/>
                </a:lnTo>
                <a:lnTo>
                  <a:pt x="3082" y="1024"/>
                </a:lnTo>
                <a:lnTo>
                  <a:pt x="3083" y="1025"/>
                </a:lnTo>
                <a:lnTo>
                  <a:pt x="3091" y="1041"/>
                </a:lnTo>
                <a:lnTo>
                  <a:pt x="3091" y="1048"/>
                </a:lnTo>
                <a:lnTo>
                  <a:pt x="3090" y="1055"/>
                </a:lnTo>
                <a:lnTo>
                  <a:pt x="3101" y="1069"/>
                </a:lnTo>
                <a:lnTo>
                  <a:pt x="3102" y="1070"/>
                </a:lnTo>
                <a:lnTo>
                  <a:pt x="3104" y="1073"/>
                </a:lnTo>
                <a:lnTo>
                  <a:pt x="3099" y="1078"/>
                </a:lnTo>
                <a:lnTo>
                  <a:pt x="3100" y="1086"/>
                </a:lnTo>
                <a:lnTo>
                  <a:pt x="3100" y="1092"/>
                </a:lnTo>
                <a:lnTo>
                  <a:pt x="3105" y="1100"/>
                </a:lnTo>
                <a:lnTo>
                  <a:pt x="3105" y="1104"/>
                </a:lnTo>
                <a:lnTo>
                  <a:pt x="3110" y="1107"/>
                </a:lnTo>
                <a:lnTo>
                  <a:pt x="3111" y="1111"/>
                </a:lnTo>
                <a:lnTo>
                  <a:pt x="3111" y="1115"/>
                </a:lnTo>
                <a:lnTo>
                  <a:pt x="3108" y="1119"/>
                </a:lnTo>
                <a:lnTo>
                  <a:pt x="3108" y="1121"/>
                </a:lnTo>
                <a:lnTo>
                  <a:pt x="3119" y="1130"/>
                </a:lnTo>
                <a:lnTo>
                  <a:pt x="3121" y="1140"/>
                </a:lnTo>
                <a:lnTo>
                  <a:pt x="3129" y="1144"/>
                </a:lnTo>
                <a:lnTo>
                  <a:pt x="3130" y="1145"/>
                </a:lnTo>
                <a:lnTo>
                  <a:pt x="3132" y="1163"/>
                </a:lnTo>
                <a:lnTo>
                  <a:pt x="3129" y="1170"/>
                </a:lnTo>
                <a:lnTo>
                  <a:pt x="3130" y="1175"/>
                </a:lnTo>
                <a:lnTo>
                  <a:pt x="3126" y="1182"/>
                </a:lnTo>
                <a:lnTo>
                  <a:pt x="3118" y="1185"/>
                </a:lnTo>
                <a:lnTo>
                  <a:pt x="3118" y="1186"/>
                </a:lnTo>
                <a:lnTo>
                  <a:pt x="3114" y="1190"/>
                </a:lnTo>
                <a:lnTo>
                  <a:pt x="3115" y="1202"/>
                </a:lnTo>
                <a:lnTo>
                  <a:pt x="3122" y="1205"/>
                </a:lnTo>
                <a:lnTo>
                  <a:pt x="3125" y="1212"/>
                </a:lnTo>
                <a:lnTo>
                  <a:pt x="3130" y="1219"/>
                </a:lnTo>
                <a:lnTo>
                  <a:pt x="3130" y="1227"/>
                </a:lnTo>
                <a:lnTo>
                  <a:pt x="3129" y="1228"/>
                </a:lnTo>
                <a:lnTo>
                  <a:pt x="3121" y="1228"/>
                </a:lnTo>
                <a:lnTo>
                  <a:pt x="3118" y="1228"/>
                </a:lnTo>
                <a:lnTo>
                  <a:pt x="3114" y="1228"/>
                </a:lnTo>
                <a:lnTo>
                  <a:pt x="3112" y="1230"/>
                </a:lnTo>
                <a:lnTo>
                  <a:pt x="3108" y="1228"/>
                </a:lnTo>
                <a:lnTo>
                  <a:pt x="3105" y="1233"/>
                </a:lnTo>
                <a:lnTo>
                  <a:pt x="3097" y="1239"/>
                </a:lnTo>
                <a:lnTo>
                  <a:pt x="3096" y="1245"/>
                </a:lnTo>
                <a:lnTo>
                  <a:pt x="3099" y="1250"/>
                </a:lnTo>
                <a:lnTo>
                  <a:pt x="3094" y="1261"/>
                </a:lnTo>
                <a:lnTo>
                  <a:pt x="3096" y="1265"/>
                </a:lnTo>
                <a:lnTo>
                  <a:pt x="3094" y="1269"/>
                </a:lnTo>
                <a:lnTo>
                  <a:pt x="3096" y="1277"/>
                </a:lnTo>
                <a:lnTo>
                  <a:pt x="3090" y="1286"/>
                </a:lnTo>
                <a:lnTo>
                  <a:pt x="3089" y="1291"/>
                </a:lnTo>
                <a:lnTo>
                  <a:pt x="3086" y="1295"/>
                </a:lnTo>
                <a:lnTo>
                  <a:pt x="3089" y="1304"/>
                </a:lnTo>
                <a:lnTo>
                  <a:pt x="3086" y="1310"/>
                </a:lnTo>
                <a:lnTo>
                  <a:pt x="3087" y="1312"/>
                </a:lnTo>
                <a:lnTo>
                  <a:pt x="3090" y="1314"/>
                </a:lnTo>
                <a:lnTo>
                  <a:pt x="3090" y="1320"/>
                </a:lnTo>
                <a:lnTo>
                  <a:pt x="3096" y="1322"/>
                </a:lnTo>
                <a:lnTo>
                  <a:pt x="3096" y="1326"/>
                </a:lnTo>
                <a:lnTo>
                  <a:pt x="3100" y="1328"/>
                </a:lnTo>
                <a:lnTo>
                  <a:pt x="3101" y="1328"/>
                </a:lnTo>
                <a:lnTo>
                  <a:pt x="3104" y="1331"/>
                </a:lnTo>
                <a:lnTo>
                  <a:pt x="3107" y="1328"/>
                </a:lnTo>
                <a:lnTo>
                  <a:pt x="3108" y="1332"/>
                </a:lnTo>
                <a:lnTo>
                  <a:pt x="3112" y="1332"/>
                </a:lnTo>
                <a:lnTo>
                  <a:pt x="3115" y="1331"/>
                </a:lnTo>
                <a:lnTo>
                  <a:pt x="3119" y="1335"/>
                </a:lnTo>
                <a:lnTo>
                  <a:pt x="3125" y="1336"/>
                </a:lnTo>
                <a:lnTo>
                  <a:pt x="3127" y="1336"/>
                </a:lnTo>
                <a:lnTo>
                  <a:pt x="3129" y="1339"/>
                </a:lnTo>
                <a:lnTo>
                  <a:pt x="3130" y="1343"/>
                </a:lnTo>
                <a:lnTo>
                  <a:pt x="3135" y="1344"/>
                </a:lnTo>
                <a:lnTo>
                  <a:pt x="3135" y="1351"/>
                </a:lnTo>
                <a:lnTo>
                  <a:pt x="3137" y="1361"/>
                </a:lnTo>
                <a:lnTo>
                  <a:pt x="3135" y="1369"/>
                </a:lnTo>
                <a:lnTo>
                  <a:pt x="3136" y="1373"/>
                </a:lnTo>
                <a:lnTo>
                  <a:pt x="3135" y="1379"/>
                </a:lnTo>
                <a:lnTo>
                  <a:pt x="3139" y="1381"/>
                </a:lnTo>
                <a:lnTo>
                  <a:pt x="3144" y="1389"/>
                </a:lnTo>
                <a:lnTo>
                  <a:pt x="3149" y="1389"/>
                </a:lnTo>
                <a:lnTo>
                  <a:pt x="3155" y="1396"/>
                </a:lnTo>
                <a:lnTo>
                  <a:pt x="3155" y="1397"/>
                </a:lnTo>
                <a:lnTo>
                  <a:pt x="3157" y="1399"/>
                </a:lnTo>
                <a:lnTo>
                  <a:pt x="3157" y="1403"/>
                </a:lnTo>
                <a:lnTo>
                  <a:pt x="3158" y="1407"/>
                </a:lnTo>
                <a:lnTo>
                  <a:pt x="3157" y="1414"/>
                </a:lnTo>
                <a:lnTo>
                  <a:pt x="3160" y="1419"/>
                </a:lnTo>
                <a:lnTo>
                  <a:pt x="3161" y="1424"/>
                </a:lnTo>
                <a:lnTo>
                  <a:pt x="3164" y="1426"/>
                </a:lnTo>
                <a:lnTo>
                  <a:pt x="3166" y="1432"/>
                </a:lnTo>
                <a:lnTo>
                  <a:pt x="3171" y="1432"/>
                </a:lnTo>
                <a:lnTo>
                  <a:pt x="3174" y="1436"/>
                </a:lnTo>
                <a:lnTo>
                  <a:pt x="3179" y="1434"/>
                </a:lnTo>
                <a:lnTo>
                  <a:pt x="3180" y="1440"/>
                </a:lnTo>
                <a:lnTo>
                  <a:pt x="3187" y="1441"/>
                </a:lnTo>
                <a:lnTo>
                  <a:pt x="3191" y="1452"/>
                </a:lnTo>
                <a:lnTo>
                  <a:pt x="3191" y="1459"/>
                </a:lnTo>
                <a:lnTo>
                  <a:pt x="3193" y="1464"/>
                </a:lnTo>
                <a:lnTo>
                  <a:pt x="3196" y="1466"/>
                </a:lnTo>
                <a:lnTo>
                  <a:pt x="3207" y="1475"/>
                </a:lnTo>
                <a:lnTo>
                  <a:pt x="3208" y="1477"/>
                </a:lnTo>
                <a:lnTo>
                  <a:pt x="3207" y="1483"/>
                </a:lnTo>
                <a:lnTo>
                  <a:pt x="3205" y="1486"/>
                </a:lnTo>
                <a:lnTo>
                  <a:pt x="3201" y="1489"/>
                </a:lnTo>
                <a:lnTo>
                  <a:pt x="3201" y="1493"/>
                </a:lnTo>
                <a:lnTo>
                  <a:pt x="3197" y="1493"/>
                </a:lnTo>
                <a:lnTo>
                  <a:pt x="3196" y="1501"/>
                </a:lnTo>
                <a:lnTo>
                  <a:pt x="3197" y="1505"/>
                </a:lnTo>
                <a:lnTo>
                  <a:pt x="3200" y="1508"/>
                </a:lnTo>
                <a:lnTo>
                  <a:pt x="3201" y="1513"/>
                </a:lnTo>
                <a:lnTo>
                  <a:pt x="3208" y="1522"/>
                </a:lnTo>
                <a:close/>
                <a:moveTo>
                  <a:pt x="1444" y="2400"/>
                </a:moveTo>
                <a:lnTo>
                  <a:pt x="1447" y="2406"/>
                </a:lnTo>
                <a:lnTo>
                  <a:pt x="1438" y="2418"/>
                </a:lnTo>
                <a:lnTo>
                  <a:pt x="1437" y="2418"/>
                </a:lnTo>
                <a:lnTo>
                  <a:pt x="1435" y="2425"/>
                </a:lnTo>
                <a:lnTo>
                  <a:pt x="1428" y="2432"/>
                </a:lnTo>
                <a:lnTo>
                  <a:pt x="1424" y="2431"/>
                </a:lnTo>
                <a:lnTo>
                  <a:pt x="1422" y="2426"/>
                </a:lnTo>
                <a:lnTo>
                  <a:pt x="1417" y="2414"/>
                </a:lnTo>
                <a:lnTo>
                  <a:pt x="1417" y="2413"/>
                </a:lnTo>
                <a:lnTo>
                  <a:pt x="1417" y="2410"/>
                </a:lnTo>
                <a:lnTo>
                  <a:pt x="1417" y="2403"/>
                </a:lnTo>
                <a:lnTo>
                  <a:pt x="1414" y="2395"/>
                </a:lnTo>
                <a:lnTo>
                  <a:pt x="1416" y="2392"/>
                </a:lnTo>
                <a:lnTo>
                  <a:pt x="1430" y="2392"/>
                </a:lnTo>
                <a:lnTo>
                  <a:pt x="1437" y="2392"/>
                </a:lnTo>
                <a:lnTo>
                  <a:pt x="1444" y="2400"/>
                </a:lnTo>
                <a:close/>
                <a:moveTo>
                  <a:pt x="1416" y="2339"/>
                </a:moveTo>
                <a:lnTo>
                  <a:pt x="1414" y="2351"/>
                </a:lnTo>
                <a:lnTo>
                  <a:pt x="1412" y="2355"/>
                </a:lnTo>
                <a:lnTo>
                  <a:pt x="1409" y="2355"/>
                </a:lnTo>
                <a:lnTo>
                  <a:pt x="1403" y="2343"/>
                </a:lnTo>
                <a:lnTo>
                  <a:pt x="1400" y="2332"/>
                </a:lnTo>
                <a:lnTo>
                  <a:pt x="1400" y="2325"/>
                </a:lnTo>
                <a:lnTo>
                  <a:pt x="1408" y="2325"/>
                </a:lnTo>
                <a:lnTo>
                  <a:pt x="1413" y="2328"/>
                </a:lnTo>
                <a:lnTo>
                  <a:pt x="1414" y="2331"/>
                </a:lnTo>
                <a:lnTo>
                  <a:pt x="1416" y="2339"/>
                </a:lnTo>
                <a:close/>
                <a:moveTo>
                  <a:pt x="1348" y="2564"/>
                </a:moveTo>
                <a:lnTo>
                  <a:pt x="1348" y="2567"/>
                </a:lnTo>
                <a:lnTo>
                  <a:pt x="1345" y="2571"/>
                </a:lnTo>
                <a:lnTo>
                  <a:pt x="1325" y="2579"/>
                </a:lnTo>
                <a:lnTo>
                  <a:pt x="1323" y="2577"/>
                </a:lnTo>
                <a:lnTo>
                  <a:pt x="1323" y="2572"/>
                </a:lnTo>
                <a:lnTo>
                  <a:pt x="1335" y="2569"/>
                </a:lnTo>
                <a:lnTo>
                  <a:pt x="1346" y="2564"/>
                </a:lnTo>
                <a:lnTo>
                  <a:pt x="1348" y="2564"/>
                </a:lnTo>
                <a:close/>
                <a:moveTo>
                  <a:pt x="1420" y="2381"/>
                </a:moveTo>
                <a:lnTo>
                  <a:pt x="1420" y="2382"/>
                </a:lnTo>
                <a:lnTo>
                  <a:pt x="1412" y="2377"/>
                </a:lnTo>
                <a:lnTo>
                  <a:pt x="1410" y="2368"/>
                </a:lnTo>
                <a:lnTo>
                  <a:pt x="1410" y="2364"/>
                </a:lnTo>
                <a:lnTo>
                  <a:pt x="1412" y="2360"/>
                </a:lnTo>
                <a:lnTo>
                  <a:pt x="1414" y="2358"/>
                </a:lnTo>
                <a:lnTo>
                  <a:pt x="1419" y="2368"/>
                </a:lnTo>
                <a:lnTo>
                  <a:pt x="1420" y="2381"/>
                </a:lnTo>
                <a:close/>
                <a:moveTo>
                  <a:pt x="1388" y="2319"/>
                </a:moveTo>
                <a:lnTo>
                  <a:pt x="1381" y="2325"/>
                </a:lnTo>
                <a:lnTo>
                  <a:pt x="1370" y="2325"/>
                </a:lnTo>
                <a:lnTo>
                  <a:pt x="1375" y="2316"/>
                </a:lnTo>
                <a:lnTo>
                  <a:pt x="1377" y="2316"/>
                </a:lnTo>
                <a:lnTo>
                  <a:pt x="1380" y="2316"/>
                </a:lnTo>
                <a:lnTo>
                  <a:pt x="1388" y="2319"/>
                </a:lnTo>
                <a:close/>
                <a:moveTo>
                  <a:pt x="2367" y="1778"/>
                </a:moveTo>
                <a:lnTo>
                  <a:pt x="2367" y="1780"/>
                </a:lnTo>
                <a:lnTo>
                  <a:pt x="2363" y="1781"/>
                </a:lnTo>
                <a:lnTo>
                  <a:pt x="2361" y="1781"/>
                </a:lnTo>
                <a:lnTo>
                  <a:pt x="2360" y="1778"/>
                </a:lnTo>
                <a:lnTo>
                  <a:pt x="2360" y="1776"/>
                </a:lnTo>
                <a:lnTo>
                  <a:pt x="2357" y="1769"/>
                </a:lnTo>
                <a:lnTo>
                  <a:pt x="2357" y="1767"/>
                </a:lnTo>
                <a:lnTo>
                  <a:pt x="2364" y="1771"/>
                </a:lnTo>
                <a:lnTo>
                  <a:pt x="2367" y="1778"/>
                </a:lnTo>
                <a:close/>
                <a:moveTo>
                  <a:pt x="1330" y="2587"/>
                </a:moveTo>
                <a:lnTo>
                  <a:pt x="1331" y="2587"/>
                </a:lnTo>
                <a:lnTo>
                  <a:pt x="1324" y="2594"/>
                </a:lnTo>
                <a:lnTo>
                  <a:pt x="1317" y="2597"/>
                </a:lnTo>
                <a:lnTo>
                  <a:pt x="1313" y="2597"/>
                </a:lnTo>
                <a:lnTo>
                  <a:pt x="1317" y="2593"/>
                </a:lnTo>
                <a:lnTo>
                  <a:pt x="1330" y="2587"/>
                </a:lnTo>
                <a:close/>
                <a:moveTo>
                  <a:pt x="961" y="3058"/>
                </a:moveTo>
                <a:lnTo>
                  <a:pt x="963" y="3058"/>
                </a:lnTo>
                <a:lnTo>
                  <a:pt x="949" y="3058"/>
                </a:lnTo>
                <a:lnTo>
                  <a:pt x="938" y="3053"/>
                </a:lnTo>
                <a:lnTo>
                  <a:pt x="936" y="3051"/>
                </a:lnTo>
                <a:lnTo>
                  <a:pt x="942" y="3053"/>
                </a:lnTo>
                <a:lnTo>
                  <a:pt x="947" y="3057"/>
                </a:lnTo>
                <a:lnTo>
                  <a:pt x="961" y="3058"/>
                </a:lnTo>
                <a:close/>
                <a:moveTo>
                  <a:pt x="1847" y="2102"/>
                </a:moveTo>
                <a:lnTo>
                  <a:pt x="1848" y="2102"/>
                </a:lnTo>
                <a:lnTo>
                  <a:pt x="1840" y="2103"/>
                </a:lnTo>
                <a:lnTo>
                  <a:pt x="1836" y="2102"/>
                </a:lnTo>
                <a:lnTo>
                  <a:pt x="1843" y="2100"/>
                </a:lnTo>
                <a:lnTo>
                  <a:pt x="1846" y="2100"/>
                </a:lnTo>
                <a:lnTo>
                  <a:pt x="1847" y="2102"/>
                </a:lnTo>
                <a:close/>
                <a:moveTo>
                  <a:pt x="1424" y="2388"/>
                </a:moveTo>
                <a:lnTo>
                  <a:pt x="1423" y="2388"/>
                </a:lnTo>
                <a:lnTo>
                  <a:pt x="1419" y="2388"/>
                </a:lnTo>
                <a:lnTo>
                  <a:pt x="1417" y="2388"/>
                </a:lnTo>
                <a:lnTo>
                  <a:pt x="1414" y="2385"/>
                </a:lnTo>
                <a:lnTo>
                  <a:pt x="1417" y="2384"/>
                </a:lnTo>
                <a:lnTo>
                  <a:pt x="1424" y="238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6288790" y="2972927"/>
            <a:ext cx="28405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defRPr/>
            </a:pPr>
            <a:r>
              <a:rPr lang="en-GB" sz="1400" b="1" kern="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7258235" y="3368994"/>
            <a:ext cx="28405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defRPr/>
            </a:pPr>
            <a:r>
              <a:rPr lang="en-GB" sz="1400" b="1" kern="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6331839" y="4330448"/>
            <a:ext cx="380253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defRPr/>
            </a:pPr>
            <a:r>
              <a:rPr lang="en-GB" sz="1400" b="1" kern="0" dirty="0">
                <a:solidFill>
                  <a:srgbClr val="000000"/>
                </a:solidFill>
              </a:rPr>
              <a:t>7</a:t>
            </a:r>
          </a:p>
        </p:txBody>
      </p:sp>
      <p:sp>
        <p:nvSpPr>
          <p:cNvPr id="141" name="Rectangle 140"/>
          <p:cNvSpPr>
            <a:spLocks noChangeArrowheads="1"/>
          </p:cNvSpPr>
          <p:nvPr/>
        </p:nvSpPr>
        <p:spPr bwMode="auto">
          <a:xfrm>
            <a:off x="6005988" y="3058623"/>
            <a:ext cx="26436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 err="1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Tete</a:t>
            </a:r>
            <a:endParaRPr lang="en-US" sz="120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142" name="Rectangle 141"/>
          <p:cNvSpPr>
            <a:spLocks noChangeArrowheads="1"/>
          </p:cNvSpPr>
          <p:nvPr/>
        </p:nvSpPr>
        <p:spPr bwMode="auto">
          <a:xfrm>
            <a:off x="5932764" y="4200708"/>
            <a:ext cx="45878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 err="1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Manica</a:t>
            </a:r>
            <a:endParaRPr lang="en-US" sz="120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143" name="Rectangle 142"/>
          <p:cNvSpPr>
            <a:spLocks noChangeArrowheads="1"/>
          </p:cNvSpPr>
          <p:nvPr/>
        </p:nvSpPr>
        <p:spPr bwMode="auto">
          <a:xfrm>
            <a:off x="7091865" y="3299687"/>
            <a:ext cx="59407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 err="1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Zambezia</a:t>
            </a:r>
            <a:endParaRPr lang="en-US" sz="120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144" name="Rectangle 143"/>
          <p:cNvSpPr>
            <a:spLocks noChangeArrowheads="1"/>
          </p:cNvSpPr>
          <p:nvPr/>
        </p:nvSpPr>
        <p:spPr bwMode="auto">
          <a:xfrm>
            <a:off x="7740833" y="2854209"/>
            <a:ext cx="56586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 err="1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Nampula</a:t>
            </a:r>
            <a:endParaRPr lang="en-US" sz="120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7935468" y="2961111"/>
            <a:ext cx="28405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defRPr/>
            </a:pPr>
            <a:r>
              <a:rPr lang="en-GB" sz="1400" b="1" kern="0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46" name="Rectangle 145"/>
          <p:cNvSpPr>
            <a:spLocks noChangeArrowheads="1"/>
          </p:cNvSpPr>
          <p:nvPr/>
        </p:nvSpPr>
        <p:spPr bwMode="auto">
          <a:xfrm>
            <a:off x="7069667" y="2274934"/>
            <a:ext cx="40395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 err="1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Niassa</a:t>
            </a:r>
            <a:endParaRPr lang="en-US" sz="120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7123648" y="2479893"/>
            <a:ext cx="28405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defRPr/>
            </a:pPr>
            <a:r>
              <a:rPr lang="en-GB" sz="1400" b="1" kern="0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48" name="Rectangle 147"/>
          <p:cNvSpPr>
            <a:spLocks noChangeArrowheads="1"/>
          </p:cNvSpPr>
          <p:nvPr/>
        </p:nvSpPr>
        <p:spPr bwMode="auto">
          <a:xfrm>
            <a:off x="7807158" y="2085628"/>
            <a:ext cx="51167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Cabo </a:t>
            </a:r>
          </a:p>
          <a:p>
            <a:r>
              <a:rPr lang="en-US" sz="120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Delgado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7828132" y="2376004"/>
            <a:ext cx="28405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defRPr/>
            </a:pPr>
            <a:r>
              <a:rPr lang="en-GB" sz="1400" b="1" kern="0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152" name="Rectangle 151"/>
          <p:cNvSpPr>
            <a:spLocks noChangeArrowheads="1"/>
          </p:cNvSpPr>
          <p:nvPr/>
        </p:nvSpPr>
        <p:spPr bwMode="auto">
          <a:xfrm>
            <a:off x="6544430" y="5963461"/>
            <a:ext cx="80483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Maputo City </a:t>
            </a:r>
          </a:p>
        </p:txBody>
      </p:sp>
      <p:sp>
        <p:nvSpPr>
          <p:cNvPr id="153" name="Rectangle 152"/>
          <p:cNvSpPr>
            <a:spLocks noChangeArrowheads="1"/>
          </p:cNvSpPr>
          <p:nvPr/>
        </p:nvSpPr>
        <p:spPr bwMode="auto">
          <a:xfrm>
            <a:off x="5690391" y="5607281"/>
            <a:ext cx="49705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Maputo</a:t>
            </a:r>
          </a:p>
        </p:txBody>
      </p:sp>
      <p:sp>
        <p:nvSpPr>
          <p:cNvPr id="154" name="Rectangle 153"/>
          <p:cNvSpPr>
            <a:spLocks noChangeArrowheads="1"/>
          </p:cNvSpPr>
          <p:nvPr/>
        </p:nvSpPr>
        <p:spPr bwMode="auto">
          <a:xfrm>
            <a:off x="6233862" y="4991741"/>
            <a:ext cx="43175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Gaza</a:t>
            </a:r>
          </a:p>
        </p:txBody>
      </p:sp>
      <p:sp>
        <p:nvSpPr>
          <p:cNvPr id="155" name="Rectangle 154"/>
          <p:cNvSpPr>
            <a:spLocks noChangeArrowheads="1"/>
          </p:cNvSpPr>
          <p:nvPr/>
        </p:nvSpPr>
        <p:spPr bwMode="auto">
          <a:xfrm>
            <a:off x="6680139" y="4873262"/>
            <a:ext cx="7069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 err="1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Inhambane</a:t>
            </a:r>
            <a:endParaRPr lang="en-US" sz="120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156" name="Rectangle 155"/>
          <p:cNvSpPr>
            <a:spLocks noChangeArrowheads="1"/>
          </p:cNvSpPr>
          <p:nvPr/>
        </p:nvSpPr>
        <p:spPr bwMode="auto">
          <a:xfrm>
            <a:off x="6776821" y="3897617"/>
            <a:ext cx="37850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200" dirty="0" err="1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Sofala</a:t>
            </a:r>
            <a:endParaRPr lang="en-US" sz="120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6246938" y="5077508"/>
            <a:ext cx="460754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defRPr/>
            </a:pPr>
            <a:r>
              <a:rPr lang="en-GB" sz="1400" b="1" kern="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6690948" y="6019122"/>
            <a:ext cx="28405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defRPr/>
            </a:pPr>
            <a:r>
              <a:rPr lang="en-GB" sz="1400" b="1" kern="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5794644" y="5696512"/>
            <a:ext cx="28405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defRPr/>
            </a:pPr>
            <a:r>
              <a:rPr lang="en-GB" sz="1400" b="1" kern="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6776384" y="5046082"/>
            <a:ext cx="28405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defRPr/>
            </a:pPr>
            <a:r>
              <a:rPr lang="en-GB" sz="1400" b="1" kern="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6714754" y="3971411"/>
            <a:ext cx="28405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>
              <a:defRPr/>
            </a:pPr>
            <a:r>
              <a:rPr lang="en-GB" sz="1400" b="1" kern="0" dirty="0">
                <a:solidFill>
                  <a:srgbClr val="000000"/>
                </a:solidFill>
              </a:rPr>
              <a:t>4</a:t>
            </a:r>
          </a:p>
        </p:txBody>
      </p:sp>
      <p:pic>
        <p:nvPicPr>
          <p:cNvPr id="162" name="Picture 161"/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18" t="49193" r="42001" b="38747"/>
          <a:stretch/>
        </p:blipFill>
        <p:spPr bwMode="auto">
          <a:xfrm>
            <a:off x="5492416" y="4023958"/>
            <a:ext cx="395948" cy="33241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63" name="Picture 162" descr="REACH LogoNEW2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2554" y="4369113"/>
            <a:ext cx="470157" cy="335012"/>
          </a:xfrm>
          <a:prstGeom prst="rect">
            <a:avLst/>
          </a:prstGeom>
        </p:spPr>
      </p:pic>
      <p:pic>
        <p:nvPicPr>
          <p:cNvPr id="165" name="Picture 164" descr="REACH LogoNEW2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9979" y="1936500"/>
            <a:ext cx="470157" cy="335012"/>
          </a:xfrm>
          <a:prstGeom prst="rect">
            <a:avLst/>
          </a:prstGeom>
        </p:spPr>
      </p:pic>
      <p:pic>
        <p:nvPicPr>
          <p:cNvPr id="166" name="Picture 165" descr="REACH LogoNEW2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1615" y="3262970"/>
            <a:ext cx="470157" cy="335012"/>
          </a:xfrm>
          <a:prstGeom prst="rect">
            <a:avLst/>
          </a:prstGeom>
        </p:spPr>
      </p:pic>
      <p:pic>
        <p:nvPicPr>
          <p:cNvPr id="167" name="Picture 166" descr="REACH LogoNEW2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43" y="2478383"/>
            <a:ext cx="470157" cy="335012"/>
          </a:xfrm>
          <a:prstGeom prst="rect">
            <a:avLst/>
          </a:prstGeom>
        </p:spPr>
      </p:pic>
      <p:pic>
        <p:nvPicPr>
          <p:cNvPr id="168" name="Picture 167"/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18" t="49193" r="42001" b="38747"/>
          <a:stretch/>
        </p:blipFill>
        <p:spPr bwMode="auto">
          <a:xfrm>
            <a:off x="1785397" y="1783818"/>
            <a:ext cx="395948" cy="33241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0" name="Picture 169"/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0" t="48928" r="85210" b="39639"/>
          <a:stretch/>
        </p:blipFill>
        <p:spPr bwMode="auto">
          <a:xfrm>
            <a:off x="650664" y="1782236"/>
            <a:ext cx="381506" cy="31772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72" name="Rectangle 171"/>
          <p:cNvSpPr>
            <a:spLocks noChangeArrowheads="1"/>
          </p:cNvSpPr>
          <p:nvPr/>
        </p:nvSpPr>
        <p:spPr bwMode="auto">
          <a:xfrm>
            <a:off x="344488" y="3604334"/>
            <a:ext cx="3772247" cy="1107996"/>
          </a:xfrm>
          <a:prstGeom prst="rect">
            <a:avLst/>
          </a:prstGeom>
          <a:solidFill>
            <a:srgbClr val="CC6600"/>
          </a:solidFill>
          <a:ln>
            <a:noFill/>
          </a:ln>
          <a:extLst/>
        </p:spPr>
        <p:txBody>
          <a:bodyPr wrap="square" lIns="0" tIns="91440" rIns="0" bIns="9144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GB" sz="1200" b="1" dirty="0">
                <a:solidFill>
                  <a:srgbClr val="009900"/>
                </a:solidFill>
                <a:sym typeface="Wingdings" panose="05000000000000000000" pitchFamily="2" charset="2"/>
              </a:rPr>
              <a:t> 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Situation Analysis, Advocacy </a:t>
            </a:r>
            <a:r>
              <a:rPr lang="en-US" sz="120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&amp; 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Communications: X</a:t>
            </a:r>
            <a:endParaRPr lang="en-US" sz="120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  <a:p>
            <a:r>
              <a:rPr lang="en-GB" sz="1200" b="1" dirty="0">
                <a:solidFill>
                  <a:srgbClr val="009900"/>
                </a:solidFill>
                <a:sym typeface="Wingdings" panose="05000000000000000000" pitchFamily="2" charset="2"/>
              </a:rPr>
              <a:t> 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Policy Formulation/Review  </a:t>
            </a:r>
            <a:r>
              <a:rPr lang="en-US" sz="120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&amp; 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Planning: X</a:t>
            </a:r>
            <a:endParaRPr lang="en-US" sz="120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  <a:p>
            <a:r>
              <a:rPr lang="en-GB" sz="1200" b="1" dirty="0">
                <a:solidFill>
                  <a:srgbClr val="009900"/>
                </a:solidFill>
                <a:sym typeface="Wingdings" panose="05000000000000000000" pitchFamily="2" charset="2"/>
              </a:rPr>
              <a:t> </a:t>
            </a:r>
            <a:r>
              <a:rPr lang="en-US" sz="1200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Human &amp; Institutional </a:t>
            </a: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Capacity Development/Training: X</a:t>
            </a:r>
            <a:endParaRPr lang="en-US" sz="1200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  <a:p>
            <a:r>
              <a:rPr lang="en-GB" sz="1200" b="1" dirty="0">
                <a:solidFill>
                  <a:srgbClr val="009900"/>
                </a:solidFill>
                <a:sym typeface="Wingdings" panose="05000000000000000000" pitchFamily="2" charset="2"/>
              </a:rPr>
              <a:t> </a:t>
            </a:r>
            <a:r>
              <a:rPr lang="en-US" sz="1200" u="sng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Effectiveness &amp; Accountability: </a:t>
            </a:r>
            <a:r>
              <a:rPr lang="en-US" sz="1200" u="sng" dirty="0" smtClean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X</a:t>
            </a:r>
            <a:endParaRPr lang="en-US" sz="1200" u="sng" dirty="0">
              <a:solidFill>
                <a:srgbClr val="000000"/>
              </a:solidFill>
              <a:latin typeface="Calibri" pitchFamily="34" charset="0"/>
              <a:cs typeface="Times New Roman" pitchFamily="18" charset="0"/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TOTAL = </a:t>
            </a:r>
            <a:r>
              <a:rPr lang="en-US" sz="1200" b="1" dirty="0" smtClean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XX </a:t>
            </a:r>
            <a:r>
              <a:rPr lang="en-US" sz="1200" b="1" dirty="0">
                <a:solidFill>
                  <a:srgbClr val="000000"/>
                </a:solidFill>
                <a:latin typeface="Calibri" pitchFamily="34" charset="0"/>
                <a:cs typeface="Times New Roman" pitchFamily="18" charset="0"/>
              </a:rPr>
              <a:t>actions</a:t>
            </a:r>
          </a:p>
        </p:txBody>
      </p:sp>
      <p:sp>
        <p:nvSpPr>
          <p:cNvPr id="66" name="Rounded Rectangular Callout 65"/>
          <p:cNvSpPr/>
          <p:nvPr/>
        </p:nvSpPr>
        <p:spPr>
          <a:xfrm>
            <a:off x="7748771" y="4463999"/>
            <a:ext cx="1764554" cy="1200524"/>
          </a:xfrm>
          <a:prstGeom prst="wedgeRoundRectCallout">
            <a:avLst>
              <a:gd name="adj1" fmla="val -60163"/>
              <a:gd name="adj2" fmla="val -102430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hade the regions/provinces/states where multi-sectoral (governance) support is being provided, and indicate the number of these actions.</a:t>
            </a:r>
          </a:p>
        </p:txBody>
      </p:sp>
      <p:sp>
        <p:nvSpPr>
          <p:cNvPr id="67" name="Rounded Rectangular Callout 66"/>
          <p:cNvSpPr/>
          <p:nvPr/>
        </p:nvSpPr>
        <p:spPr>
          <a:xfrm>
            <a:off x="4212783" y="2677519"/>
            <a:ext cx="1620620" cy="1301824"/>
          </a:xfrm>
          <a:prstGeom prst="wedgeRoundRectCallout">
            <a:avLst>
              <a:gd name="adj1" fmla="val 62815"/>
              <a:gd name="adj2" fmla="val 5865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Place the logos of                       UN Agencies next to the provinces/states/ regions where they are conducting ‘multi-sectoral (governance)’ actions </a:t>
            </a:r>
          </a:p>
        </p:txBody>
      </p:sp>
      <p:sp>
        <p:nvSpPr>
          <p:cNvPr id="68" name="Rounded Rectangular Callout 67"/>
          <p:cNvSpPr/>
          <p:nvPr/>
        </p:nvSpPr>
        <p:spPr>
          <a:xfrm>
            <a:off x="3977236" y="948871"/>
            <a:ext cx="1620620" cy="1301824"/>
          </a:xfrm>
          <a:prstGeom prst="wedgeRoundRectCallout">
            <a:avLst>
              <a:gd name="adj1" fmla="val -67514"/>
              <a:gd name="adj2" fmla="val 1116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Place the logos of                       UN Agencies at top if they are conducting ‘multi-sectoral (governance)’ actions  at the national level</a:t>
            </a: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50788" r="51308" b="40087"/>
          <a:stretch/>
        </p:blipFill>
        <p:spPr bwMode="auto">
          <a:xfrm>
            <a:off x="1035636" y="1804352"/>
            <a:ext cx="749012" cy="25649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540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81146" y="146580"/>
            <a:ext cx="9043853" cy="83185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tx1"/>
                </a:solidFill>
              </a:rPr>
              <a:t>Most </a:t>
            </a:r>
            <a:r>
              <a:rPr lang="en-US" sz="1800" dirty="0" smtClean="0">
                <a:solidFill>
                  <a:schemeClr val="tx1"/>
                </a:solidFill>
              </a:rPr>
              <a:t>of the UN agencies surveyed conduct </a:t>
            </a:r>
            <a:r>
              <a:rPr lang="en-US" sz="1800" dirty="0">
                <a:solidFill>
                  <a:schemeClr val="tx1"/>
                </a:solidFill>
              </a:rPr>
              <a:t>nutrition governance actions, both </a:t>
            </a:r>
            <a:r>
              <a:rPr lang="en-US" sz="1800" dirty="0" smtClean="0">
                <a:solidFill>
                  <a:schemeClr val="tx1"/>
                </a:solidFill>
              </a:rPr>
              <a:t>sectoral </a:t>
            </a:r>
            <a:r>
              <a:rPr lang="en-US" sz="1800" dirty="0">
                <a:solidFill>
                  <a:schemeClr val="tx1"/>
                </a:solidFill>
              </a:rPr>
              <a:t>and multi-sectoral facilitation, with </a:t>
            </a:r>
            <a:r>
              <a:rPr lang="en-US" sz="1800" dirty="0" smtClean="0">
                <a:solidFill>
                  <a:schemeClr val="tx1"/>
                </a:solidFill>
              </a:rPr>
              <a:t>XXX </a:t>
            </a:r>
            <a:r>
              <a:rPr lang="en-US" sz="1800" dirty="0">
                <a:solidFill>
                  <a:schemeClr val="tx1"/>
                </a:solidFill>
              </a:rPr>
              <a:t>focusing on the latter</a:t>
            </a:r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3032" y="1279899"/>
            <a:ext cx="3800013" cy="7386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</a:rPr>
              <a:t>Sectoral</a:t>
            </a:r>
            <a:r>
              <a:rPr lang="en-US" sz="1200" b="1" dirty="0" smtClean="0">
                <a:solidFill>
                  <a:srgbClr val="000000"/>
                </a:solidFill>
              </a:rPr>
              <a:t> </a:t>
            </a:r>
            <a:r>
              <a:rPr lang="en-US" sz="1200" b="1" dirty="0">
                <a:solidFill>
                  <a:srgbClr val="000000"/>
                </a:solidFill>
              </a:rPr>
              <a:t>actions in nutrition governance are clustered in the Policy/Planning/Programing &amp; Capacity Development domains… 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714828" y="2020085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governance 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" name="Rectangle 17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1146" y="6336793"/>
            <a:ext cx="8921935" cy="417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defTabSz="457200"/>
            <a:endParaRPr lang="en-US" sz="1000" dirty="0">
              <a:solidFill>
                <a:prstClr val="black"/>
              </a:solidFill>
            </a:endParaRPr>
          </a:p>
          <a:p>
            <a:pPr defTabSz="457200"/>
            <a:r>
              <a:rPr lang="en-US" sz="1000" dirty="0">
                <a:solidFill>
                  <a:prstClr val="black"/>
                </a:solidFill>
              </a:rPr>
              <a:t>Source: UN Inventory exercise</a:t>
            </a:r>
            <a:endParaRPr lang="en-US" sz="1000" b="1" i="1" dirty="0">
              <a:solidFill>
                <a:srgbClr val="FF0000"/>
              </a:solidFill>
            </a:endParaRPr>
          </a:p>
        </p:txBody>
      </p:sp>
      <p:graphicFrame>
        <p:nvGraphicFramePr>
          <p:cNvPr id="11" name="Graphique 10"/>
          <p:cNvGraphicFramePr/>
          <p:nvPr>
            <p:extLst>
              <p:ext uri="{D42A27DB-BD31-4B8C-83A1-F6EECF244321}">
                <p14:modId xmlns:p14="http://schemas.microsoft.com/office/powerpoint/2010/main" val="3790773079"/>
              </p:ext>
            </p:extLst>
          </p:nvPr>
        </p:nvGraphicFramePr>
        <p:xfrm>
          <a:off x="714828" y="2377659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8949267" y="1"/>
            <a:ext cx="575733" cy="31072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20" name="Right Bracket 19"/>
          <p:cNvSpPr/>
          <p:nvPr/>
        </p:nvSpPr>
        <p:spPr bwMode="auto">
          <a:xfrm>
            <a:off x="4326469" y="4086580"/>
            <a:ext cx="65820" cy="1210078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21" name="ZoneTexte 15"/>
          <p:cNvSpPr txBox="1"/>
          <p:nvPr/>
        </p:nvSpPr>
        <p:spPr>
          <a:xfrm>
            <a:off x="4347518" y="4553859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FR" sz="1400" b="1" dirty="0">
                <a:solidFill>
                  <a:srgbClr val="000000"/>
                </a:solidFill>
              </a:rPr>
              <a:t>12</a:t>
            </a:r>
          </a:p>
        </p:txBody>
      </p:sp>
      <p:sp>
        <p:nvSpPr>
          <p:cNvPr id="13" name="Right Bracket 12"/>
          <p:cNvSpPr/>
          <p:nvPr/>
        </p:nvSpPr>
        <p:spPr bwMode="auto">
          <a:xfrm>
            <a:off x="1679222" y="4092223"/>
            <a:ext cx="65820" cy="1204436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4" name="ZoneTexte 15"/>
          <p:cNvSpPr txBox="1"/>
          <p:nvPr/>
        </p:nvSpPr>
        <p:spPr>
          <a:xfrm>
            <a:off x="1700271" y="4525635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FR" sz="1400" b="1" dirty="0">
                <a:solidFill>
                  <a:srgbClr val="000000"/>
                </a:solidFill>
              </a:rPr>
              <a:t>12</a:t>
            </a:r>
          </a:p>
        </p:txBody>
      </p:sp>
      <p:sp>
        <p:nvSpPr>
          <p:cNvPr id="23" name="Right Bracket 22"/>
          <p:cNvSpPr/>
          <p:nvPr/>
        </p:nvSpPr>
        <p:spPr bwMode="auto">
          <a:xfrm>
            <a:off x="2582332" y="3290710"/>
            <a:ext cx="82751" cy="2005949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24" name="ZoneTexte 15"/>
          <p:cNvSpPr txBox="1"/>
          <p:nvPr/>
        </p:nvSpPr>
        <p:spPr>
          <a:xfrm>
            <a:off x="2603380" y="4017627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FR" sz="1400" b="1" dirty="0">
                <a:solidFill>
                  <a:srgbClr val="000000"/>
                </a:solidFill>
              </a:rPr>
              <a:t>20</a:t>
            </a:r>
          </a:p>
        </p:txBody>
      </p:sp>
      <p:sp>
        <p:nvSpPr>
          <p:cNvPr id="25" name="Right Bracket 24"/>
          <p:cNvSpPr/>
          <p:nvPr/>
        </p:nvSpPr>
        <p:spPr bwMode="auto">
          <a:xfrm>
            <a:off x="3468510" y="2968976"/>
            <a:ext cx="82751" cy="2327683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26" name="ZoneTexte 15"/>
          <p:cNvSpPr txBox="1"/>
          <p:nvPr/>
        </p:nvSpPr>
        <p:spPr>
          <a:xfrm>
            <a:off x="3500847" y="4011985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FR" sz="1400" b="1" dirty="0">
                <a:solidFill>
                  <a:srgbClr val="000000"/>
                </a:solidFill>
              </a:rPr>
              <a:t>23</a:t>
            </a:r>
          </a:p>
        </p:txBody>
      </p:sp>
      <p:sp>
        <p:nvSpPr>
          <p:cNvPr id="27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245215" y="1296831"/>
            <a:ext cx="3882764" cy="7386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… while </a:t>
            </a:r>
            <a:r>
              <a:rPr lang="en-US" sz="1200" b="1" i="1" dirty="0">
                <a:solidFill>
                  <a:srgbClr val="000000"/>
                </a:solidFill>
              </a:rPr>
              <a:t>multi-sectoral </a:t>
            </a:r>
            <a:r>
              <a:rPr lang="en-US" sz="1200" b="1" dirty="0">
                <a:solidFill>
                  <a:srgbClr val="000000"/>
                </a:solidFill>
              </a:rPr>
              <a:t>facilitation for nutrition governance is most consistently conducted in the advocacy &amp; Policy/Planning/Programing domains</a:t>
            </a:r>
          </a:p>
        </p:txBody>
      </p:sp>
      <p:sp>
        <p:nvSpPr>
          <p:cNvPr id="28" name="ZoneTexte 6"/>
          <p:cNvSpPr txBox="1"/>
          <p:nvPr/>
        </p:nvSpPr>
        <p:spPr>
          <a:xfrm>
            <a:off x="5157012" y="2037017"/>
            <a:ext cx="1853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# governance 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graphicFrame>
        <p:nvGraphicFramePr>
          <p:cNvPr id="29" name="Graphique 10"/>
          <p:cNvGraphicFramePr/>
          <p:nvPr>
            <p:extLst>
              <p:ext uri="{D42A27DB-BD31-4B8C-83A1-F6EECF244321}">
                <p14:modId xmlns:p14="http://schemas.microsoft.com/office/powerpoint/2010/main" val="316523761"/>
              </p:ext>
            </p:extLst>
          </p:nvPr>
        </p:nvGraphicFramePr>
        <p:xfrm>
          <a:off x="5071347" y="2361543"/>
          <a:ext cx="4031623" cy="357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Right Bracket 29"/>
          <p:cNvSpPr/>
          <p:nvPr/>
        </p:nvSpPr>
        <p:spPr bwMode="auto">
          <a:xfrm>
            <a:off x="5974646" y="3352798"/>
            <a:ext cx="82751" cy="1783647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31" name="ZoneTexte 15"/>
          <p:cNvSpPr txBox="1"/>
          <p:nvPr/>
        </p:nvSpPr>
        <p:spPr>
          <a:xfrm>
            <a:off x="6006983" y="4113582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FR" sz="1400" b="1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32" name="Right Bracket 31"/>
          <p:cNvSpPr/>
          <p:nvPr/>
        </p:nvSpPr>
        <p:spPr bwMode="auto">
          <a:xfrm>
            <a:off x="6894691" y="3358441"/>
            <a:ext cx="82751" cy="1783647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33" name="ZoneTexte 15"/>
          <p:cNvSpPr txBox="1"/>
          <p:nvPr/>
        </p:nvSpPr>
        <p:spPr>
          <a:xfrm>
            <a:off x="6927028" y="4119225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FR" sz="1400" b="1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34" name="Right Bracket 33"/>
          <p:cNvSpPr/>
          <p:nvPr/>
        </p:nvSpPr>
        <p:spPr bwMode="auto">
          <a:xfrm>
            <a:off x="7769581" y="4086572"/>
            <a:ext cx="82751" cy="1055516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35" name="ZoneTexte 15"/>
          <p:cNvSpPr txBox="1"/>
          <p:nvPr/>
        </p:nvSpPr>
        <p:spPr>
          <a:xfrm>
            <a:off x="7824496" y="4463530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FR" sz="1400" b="1" dirty="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36" name="Right Bracket 35"/>
          <p:cNvSpPr/>
          <p:nvPr/>
        </p:nvSpPr>
        <p:spPr bwMode="auto">
          <a:xfrm>
            <a:off x="8689626" y="4080926"/>
            <a:ext cx="82751" cy="1055516"/>
          </a:xfrm>
          <a:prstGeom prst="rightBracket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37" name="ZoneTexte 15"/>
          <p:cNvSpPr txBox="1"/>
          <p:nvPr/>
        </p:nvSpPr>
        <p:spPr>
          <a:xfrm>
            <a:off x="8744541" y="4457884"/>
            <a:ext cx="383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fr-FR" sz="1400" b="1" dirty="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2053838" y="2804348"/>
            <a:ext cx="1768362" cy="3128816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5304820" y="2809991"/>
            <a:ext cx="1855161" cy="3128816"/>
          </a:xfrm>
          <a:prstGeom prst="rect">
            <a:avLst/>
          </a:prstGeom>
          <a:noFill/>
          <a:ln w="2540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39" name="Rounded Rectangular Callout 38"/>
          <p:cNvSpPr/>
          <p:nvPr/>
        </p:nvSpPr>
        <p:spPr>
          <a:xfrm>
            <a:off x="3001349" y="892781"/>
            <a:ext cx="2650240" cy="493994"/>
          </a:xfrm>
          <a:prstGeom prst="wedgeRoundRectCallout">
            <a:avLst>
              <a:gd name="adj1" fmla="val 61199"/>
              <a:gd name="adj2" fmla="val -43430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Specify the agencies or UN initiatives focusing on multi-sectoral (governance) actions (e.g. REACH)</a:t>
            </a:r>
          </a:p>
        </p:txBody>
      </p:sp>
      <p:sp>
        <p:nvSpPr>
          <p:cNvPr id="40" name="Rounded Rectangular Callout 39"/>
          <p:cNvSpPr/>
          <p:nvPr/>
        </p:nvSpPr>
        <p:spPr>
          <a:xfrm>
            <a:off x="4449935" y="5031985"/>
            <a:ext cx="1428159" cy="1621870"/>
          </a:xfrm>
          <a:prstGeom prst="wedgeRoundRectCallout">
            <a:avLst>
              <a:gd name="adj1" fmla="val -102052"/>
              <a:gd name="adj2" fmla="val -51927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fr-FR" sz="1000" dirty="0" err="1">
                <a:solidFill>
                  <a:srgbClr val="FFFFFF"/>
                </a:solidFill>
              </a:rPr>
              <a:t>Visually</a:t>
            </a:r>
            <a:r>
              <a:rPr lang="fr-FR" sz="1000" dirty="0">
                <a:solidFill>
                  <a:srgbClr val="FFFFFF"/>
                </a:solidFill>
              </a:rPr>
              <a:t> </a:t>
            </a:r>
            <a:r>
              <a:rPr lang="fr-FR" sz="1000" dirty="0" err="1">
                <a:solidFill>
                  <a:srgbClr val="FFFFFF"/>
                </a:solidFill>
              </a:rPr>
              <a:t>indicate</a:t>
            </a:r>
            <a:r>
              <a:rPr lang="fr-FR" sz="1000" dirty="0">
                <a:solidFill>
                  <a:srgbClr val="FFFFFF"/>
                </a:solidFill>
              </a:rPr>
              <a:t> the 4 </a:t>
            </a:r>
            <a:r>
              <a:rPr lang="fr-FR" sz="1000" dirty="0" err="1">
                <a:solidFill>
                  <a:srgbClr val="FFFFFF"/>
                </a:solidFill>
              </a:rPr>
              <a:t>governance</a:t>
            </a:r>
            <a:r>
              <a:rPr lang="fr-FR" sz="1000" dirty="0">
                <a:solidFill>
                  <a:srgbClr val="FFFFFF"/>
                </a:solidFill>
              </a:rPr>
              <a:t> actions </a:t>
            </a:r>
            <a:r>
              <a:rPr lang="fr-FR" sz="1000" dirty="0" err="1">
                <a:solidFill>
                  <a:srgbClr val="FFFFFF"/>
                </a:solidFill>
              </a:rPr>
              <a:t>streams</a:t>
            </a:r>
            <a:r>
              <a:rPr lang="fr-FR" sz="1000" dirty="0">
                <a:solidFill>
                  <a:srgbClr val="FFFFFF"/>
                </a:solidFill>
              </a:rPr>
              <a:t>, by </a:t>
            </a:r>
            <a:r>
              <a:rPr lang="fr-FR" sz="1000" dirty="0" err="1">
                <a:solidFill>
                  <a:srgbClr val="FFFFFF"/>
                </a:solidFill>
              </a:rPr>
              <a:t>agency</a:t>
            </a:r>
            <a:r>
              <a:rPr lang="fr-FR" sz="1000" dirty="0">
                <a:solidFill>
                  <a:srgbClr val="FFFFFF"/>
                </a:solidFill>
              </a:rPr>
              <a:t>, in </a:t>
            </a:r>
            <a:r>
              <a:rPr lang="fr-FR" sz="1000" dirty="0" err="1">
                <a:solidFill>
                  <a:srgbClr val="FFFFFF"/>
                </a:solidFill>
              </a:rPr>
              <a:t>both</a:t>
            </a:r>
            <a:r>
              <a:rPr lang="fr-FR" sz="1000" dirty="0">
                <a:solidFill>
                  <a:srgbClr val="FFFFFF"/>
                </a:solidFill>
              </a:rPr>
              <a:t> </a:t>
            </a:r>
            <a:r>
              <a:rPr lang="fr-FR" sz="1000" dirty="0" err="1">
                <a:solidFill>
                  <a:srgbClr val="FFFFFF"/>
                </a:solidFill>
              </a:rPr>
              <a:t>charts</a:t>
            </a:r>
            <a:r>
              <a:rPr lang="fr-FR" sz="1000" dirty="0">
                <a:solidFill>
                  <a:srgbClr val="FFFFFF"/>
                </a:solidFill>
              </a:rPr>
              <a:t>. Mark </a:t>
            </a:r>
            <a:r>
              <a:rPr lang="fr-FR" sz="1000" dirty="0" err="1">
                <a:solidFill>
                  <a:srgbClr val="FFFFFF"/>
                </a:solidFill>
              </a:rPr>
              <a:t>with</a:t>
            </a:r>
            <a:r>
              <a:rPr lang="fr-FR" sz="1000" dirty="0">
                <a:solidFill>
                  <a:srgbClr val="FFFFFF"/>
                </a:solidFill>
              </a:rPr>
              <a:t> a </a:t>
            </a:r>
            <a:r>
              <a:rPr lang="fr-FR" sz="1000" dirty="0" err="1">
                <a:solidFill>
                  <a:srgbClr val="FFFFFF"/>
                </a:solidFill>
              </a:rPr>
              <a:t>grey</a:t>
            </a:r>
            <a:r>
              <a:rPr lang="fr-FR" sz="1000" dirty="0">
                <a:solidFill>
                  <a:srgbClr val="FFFFFF"/>
                </a:solidFill>
              </a:rPr>
              <a:t> box </a:t>
            </a:r>
            <a:r>
              <a:rPr lang="fr-FR" sz="1000" dirty="0" err="1">
                <a:solidFill>
                  <a:srgbClr val="FFFFFF"/>
                </a:solidFill>
              </a:rPr>
              <a:t>those</a:t>
            </a:r>
            <a:r>
              <a:rPr lang="fr-FR" sz="1000" dirty="0">
                <a:solidFill>
                  <a:srgbClr val="FFFFFF"/>
                </a:solidFill>
              </a:rPr>
              <a:t> </a:t>
            </a:r>
            <a:r>
              <a:rPr lang="fr-FR" sz="1000" dirty="0" err="1">
                <a:solidFill>
                  <a:srgbClr val="FFFFFF"/>
                </a:solidFill>
              </a:rPr>
              <a:t>streams</a:t>
            </a:r>
            <a:r>
              <a:rPr lang="fr-FR" sz="1000" dirty="0">
                <a:solidFill>
                  <a:srgbClr val="FFFFFF"/>
                </a:solidFill>
              </a:rPr>
              <a:t> </a:t>
            </a:r>
            <a:r>
              <a:rPr lang="fr-FR" sz="1000" dirty="0" err="1">
                <a:solidFill>
                  <a:srgbClr val="FFFFFF"/>
                </a:solidFill>
              </a:rPr>
              <a:t>with</a:t>
            </a:r>
            <a:r>
              <a:rPr lang="fr-FR" sz="1000" dirty="0">
                <a:solidFill>
                  <a:srgbClr val="FFFFFF"/>
                </a:solidFill>
              </a:rPr>
              <a:t> the </a:t>
            </a:r>
            <a:r>
              <a:rPr lang="fr-FR" sz="1000" dirty="0" err="1">
                <a:solidFill>
                  <a:srgbClr val="FFFFFF"/>
                </a:solidFill>
              </a:rPr>
              <a:t>largest</a:t>
            </a:r>
            <a:r>
              <a:rPr lang="fr-FR" sz="1000" dirty="0">
                <a:solidFill>
                  <a:srgbClr val="FFFFFF"/>
                </a:solidFill>
              </a:rPr>
              <a:t> </a:t>
            </a:r>
            <a:r>
              <a:rPr lang="fr-FR" sz="1000" dirty="0" err="1">
                <a:solidFill>
                  <a:srgbClr val="FFFFFF"/>
                </a:solidFill>
              </a:rPr>
              <a:t>number</a:t>
            </a:r>
            <a:r>
              <a:rPr lang="fr-FR" sz="1000" dirty="0">
                <a:solidFill>
                  <a:srgbClr val="FFFFFF"/>
                </a:solidFill>
              </a:rPr>
              <a:t> of actions.</a:t>
            </a:r>
          </a:p>
        </p:txBody>
      </p:sp>
      <p:sp>
        <p:nvSpPr>
          <p:cNvPr id="41" name="Rounded Rectangular Callout 40"/>
          <p:cNvSpPr/>
          <p:nvPr/>
        </p:nvSpPr>
        <p:spPr>
          <a:xfrm>
            <a:off x="0" y="919802"/>
            <a:ext cx="1757603" cy="506270"/>
          </a:xfrm>
          <a:prstGeom prst="wedgeRoundRectCallout">
            <a:avLst>
              <a:gd name="adj1" fmla="val -149"/>
              <a:gd name="adj2" fmla="val 6102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ken from the ‘Sectoral Nutrition Actions’ tab of the UN Inventory tool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44" name="Rounded Rectangular Callout 43"/>
          <p:cNvSpPr/>
          <p:nvPr/>
        </p:nvSpPr>
        <p:spPr>
          <a:xfrm>
            <a:off x="8744541" y="1978975"/>
            <a:ext cx="1206671" cy="764704"/>
          </a:xfrm>
          <a:prstGeom prst="wedgeRoundRectCallout">
            <a:avLst>
              <a:gd name="adj1" fmla="val -102052"/>
              <a:gd name="adj2" fmla="val -51927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Tailor the chart titles according to the findings of the inventory exercise</a:t>
            </a:r>
          </a:p>
        </p:txBody>
      </p:sp>
      <p:sp>
        <p:nvSpPr>
          <p:cNvPr id="45" name="Rounded Rectangular Callout 44"/>
          <p:cNvSpPr/>
          <p:nvPr/>
        </p:nvSpPr>
        <p:spPr>
          <a:xfrm>
            <a:off x="7810956" y="2863144"/>
            <a:ext cx="1757603" cy="657364"/>
          </a:xfrm>
          <a:prstGeom prst="wedgeRoundRectCallout">
            <a:avLst>
              <a:gd name="adj1" fmla="val -68295"/>
              <a:gd name="adj2" fmla="val -17339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Data for this chart taken from the ‘Multi-sectoral Nutrition Actions’ tab of the UN Inventory tool</a:t>
            </a:r>
          </a:p>
        </p:txBody>
      </p:sp>
    </p:spTree>
    <p:extLst>
      <p:ext uri="{BB962C8B-B14F-4D97-AF65-F5344CB8AC3E}">
        <p14:creationId xmlns:p14="http://schemas.microsoft.com/office/powerpoint/2010/main" val="2938601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8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Agenda</a:t>
            </a:r>
            <a:endParaRPr lang="en-US" sz="2000" dirty="0"/>
          </a:p>
        </p:txBody>
      </p:sp>
      <p:sp>
        <p:nvSpPr>
          <p:cNvPr id="8" name="Text Placeholder 3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-15552" y="2921000"/>
            <a:ext cx="9906000" cy="508000"/>
          </a:xfrm>
          <a:prstGeom prst="rect">
            <a:avLst/>
          </a:prstGeom>
          <a:noFill/>
          <a:effectLst/>
        </p:spPr>
        <p:txBody>
          <a:bodyPr vert="horz" wrap="square" lIns="457200" tIns="101600" rIns="0" bIns="1016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rgbClr val="4D4D4D">
                    <a:lumMod val="40000"/>
                    <a:lumOff val="60000"/>
                  </a:srgbClr>
                </a:solidFill>
              </a:rPr>
              <a:t>Introduction to inventory exercise</a:t>
            </a:r>
            <a:endParaRPr lang="en-US" sz="2000" dirty="0">
              <a:solidFill>
                <a:srgbClr val="4D4D4D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0" name="Text Placeholder 3">
            <a:hlinkClick r:id="rId10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-15552" y="3429000"/>
            <a:ext cx="9906000" cy="508000"/>
          </a:xfrm>
          <a:prstGeom prst="rect">
            <a:avLst/>
          </a:prstGeom>
          <a:noFill/>
          <a:effectLst/>
        </p:spPr>
        <p:txBody>
          <a:bodyPr vert="horz" wrap="square" lIns="457200" tIns="101600" rIns="0" bIns="1016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rgbClr val="B8B8B8"/>
                </a:solidFill>
              </a:rPr>
              <a:t>Results of inventory exercise</a:t>
            </a:r>
            <a:endParaRPr lang="en-US" sz="2000" dirty="0">
              <a:solidFill>
                <a:srgbClr val="B8B8B8"/>
              </a:solidFill>
            </a:endParaRPr>
          </a:p>
        </p:txBody>
      </p:sp>
      <p:sp>
        <p:nvSpPr>
          <p:cNvPr id="11" name="Text Placeholder 3">
            <a:hlinkClick r:id="rId10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-15552" y="3935663"/>
            <a:ext cx="9906000" cy="508000"/>
          </a:xfrm>
          <a:prstGeom prst="rect">
            <a:avLst/>
          </a:prstGeom>
          <a:noFill/>
          <a:effectLst/>
        </p:spPr>
        <p:txBody>
          <a:bodyPr vert="horz" wrap="square" lIns="457200" tIns="101600" rIns="0" bIns="1016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rgbClr val="548DD4"/>
                </a:solidFill>
              </a:rPr>
              <a:t>Next steps </a:t>
            </a:r>
            <a:endParaRPr lang="en-US" sz="2000" dirty="0">
              <a:solidFill>
                <a:srgbClr val="548DD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1092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Elbow Connector 24"/>
          <p:cNvCxnSpPr/>
          <p:nvPr/>
        </p:nvCxnSpPr>
        <p:spPr>
          <a:xfrm>
            <a:off x="2387661" y="2580497"/>
            <a:ext cx="305397" cy="245181"/>
          </a:xfrm>
          <a:prstGeom prst="bentConnector3">
            <a:avLst>
              <a:gd name="adj1" fmla="val 50000"/>
            </a:avLst>
          </a:prstGeom>
          <a:ln w="28575">
            <a:solidFill>
              <a:srgbClr val="548DD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/>
          <p:nvPr/>
        </p:nvCxnSpPr>
        <p:spPr>
          <a:xfrm flipV="1">
            <a:off x="2387661" y="2822560"/>
            <a:ext cx="305397" cy="283890"/>
          </a:xfrm>
          <a:prstGeom prst="bentConnector3">
            <a:avLst>
              <a:gd name="adj1" fmla="val 50000"/>
            </a:avLst>
          </a:prstGeom>
          <a:ln w="28575">
            <a:solidFill>
              <a:srgbClr val="548DD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2366625" y="5494377"/>
            <a:ext cx="316295" cy="2394"/>
          </a:xfrm>
          <a:prstGeom prst="straightConnector1">
            <a:avLst/>
          </a:prstGeom>
          <a:ln w="28575">
            <a:solidFill>
              <a:srgbClr val="0099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2366625" y="4599274"/>
            <a:ext cx="316295" cy="2171"/>
          </a:xfrm>
          <a:prstGeom prst="straightConnector1">
            <a:avLst/>
          </a:prstGeom>
          <a:ln w="28575">
            <a:solidFill>
              <a:srgbClr val="CC66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2339677" y="3722736"/>
            <a:ext cx="316295" cy="0"/>
          </a:xfrm>
          <a:prstGeom prst="straightConnector1">
            <a:avLst/>
          </a:prstGeom>
          <a:ln w="28575">
            <a:solidFill>
              <a:srgbClr val="CC00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504" y="66328"/>
            <a:ext cx="8856984" cy="914400"/>
          </a:xfrm>
        </p:spPr>
        <p:txBody>
          <a:bodyPr lIns="1470" rIns="1470">
            <a:noAutofit/>
          </a:bodyPr>
          <a:lstStyle/>
          <a:p>
            <a:r>
              <a:rPr lang="en-GB" sz="1800" dirty="0">
                <a:solidFill>
                  <a:schemeClr val="tx1"/>
                </a:solidFill>
              </a:rPr>
              <a:t>The UN agencies surveyed are engaged in nutrition actions that support both nutrition governance functions and the implementation of direct services</a:t>
            </a:r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4" name="Freeform 3"/>
          <p:cNvSpPr/>
          <p:nvPr/>
        </p:nvSpPr>
        <p:spPr>
          <a:xfrm>
            <a:off x="2680462" y="2510951"/>
            <a:ext cx="1563775" cy="604097"/>
          </a:xfrm>
          <a:custGeom>
            <a:avLst/>
            <a:gdLst>
              <a:gd name="connsiteX0" fmla="*/ 0 w 3780003"/>
              <a:gd name="connsiteY0" fmla="*/ 150004 h 900003"/>
              <a:gd name="connsiteX1" fmla="*/ 150004 w 3780003"/>
              <a:gd name="connsiteY1" fmla="*/ 0 h 900003"/>
              <a:gd name="connsiteX2" fmla="*/ 3629999 w 3780003"/>
              <a:gd name="connsiteY2" fmla="*/ 0 h 900003"/>
              <a:gd name="connsiteX3" fmla="*/ 3780003 w 3780003"/>
              <a:gd name="connsiteY3" fmla="*/ 150004 h 900003"/>
              <a:gd name="connsiteX4" fmla="*/ 3780003 w 3780003"/>
              <a:gd name="connsiteY4" fmla="*/ 749999 h 900003"/>
              <a:gd name="connsiteX5" fmla="*/ 3629999 w 3780003"/>
              <a:gd name="connsiteY5" fmla="*/ 900003 h 900003"/>
              <a:gd name="connsiteX6" fmla="*/ 150004 w 3780003"/>
              <a:gd name="connsiteY6" fmla="*/ 900003 h 900003"/>
              <a:gd name="connsiteX7" fmla="*/ 0 w 3780003"/>
              <a:gd name="connsiteY7" fmla="*/ 749999 h 900003"/>
              <a:gd name="connsiteX8" fmla="*/ 0 w 3780003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0003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29999" y="0"/>
                </a:lnTo>
                <a:cubicBezTo>
                  <a:pt x="3712844" y="0"/>
                  <a:pt x="3780003" y="67159"/>
                  <a:pt x="3780003" y="150004"/>
                </a:cubicBezTo>
                <a:lnTo>
                  <a:pt x="3780003" y="749999"/>
                </a:lnTo>
                <a:cubicBezTo>
                  <a:pt x="3780003" y="832844"/>
                  <a:pt x="3712844" y="900003"/>
                  <a:pt x="3629999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rgbClr val="548DD4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0" tIns="86275" rIns="0" bIns="86275" numCol="1" spcCol="1270" anchor="ctr" anchorCtr="0">
            <a:noAutofit/>
          </a:bodyPr>
          <a:lstStyle/>
          <a:p>
            <a:pPr algn="ctr"/>
            <a:r>
              <a:rPr lang="en-GB" sz="1108" dirty="0">
                <a:solidFill>
                  <a:prstClr val="white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Increased awareness and consensus of stakeholders</a:t>
            </a:r>
          </a:p>
        </p:txBody>
      </p:sp>
      <p:sp>
        <p:nvSpPr>
          <p:cNvPr id="5" name="Freeform 4"/>
          <p:cNvSpPr/>
          <p:nvPr/>
        </p:nvSpPr>
        <p:spPr>
          <a:xfrm>
            <a:off x="2680461" y="3416912"/>
            <a:ext cx="1562248" cy="604097"/>
          </a:xfrm>
          <a:custGeom>
            <a:avLst/>
            <a:gdLst>
              <a:gd name="connsiteX0" fmla="*/ 0 w 3780003"/>
              <a:gd name="connsiteY0" fmla="*/ 150004 h 900003"/>
              <a:gd name="connsiteX1" fmla="*/ 150004 w 3780003"/>
              <a:gd name="connsiteY1" fmla="*/ 0 h 900003"/>
              <a:gd name="connsiteX2" fmla="*/ 3629999 w 3780003"/>
              <a:gd name="connsiteY2" fmla="*/ 0 h 900003"/>
              <a:gd name="connsiteX3" fmla="*/ 3780003 w 3780003"/>
              <a:gd name="connsiteY3" fmla="*/ 150004 h 900003"/>
              <a:gd name="connsiteX4" fmla="*/ 3780003 w 3780003"/>
              <a:gd name="connsiteY4" fmla="*/ 749999 h 900003"/>
              <a:gd name="connsiteX5" fmla="*/ 3629999 w 3780003"/>
              <a:gd name="connsiteY5" fmla="*/ 900003 h 900003"/>
              <a:gd name="connsiteX6" fmla="*/ 150004 w 3780003"/>
              <a:gd name="connsiteY6" fmla="*/ 900003 h 900003"/>
              <a:gd name="connsiteX7" fmla="*/ 0 w 3780003"/>
              <a:gd name="connsiteY7" fmla="*/ 749999 h 900003"/>
              <a:gd name="connsiteX8" fmla="*/ 0 w 3780003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0003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29999" y="0"/>
                </a:lnTo>
                <a:cubicBezTo>
                  <a:pt x="3712844" y="0"/>
                  <a:pt x="3780003" y="67159"/>
                  <a:pt x="3780003" y="150004"/>
                </a:cubicBezTo>
                <a:lnTo>
                  <a:pt x="3780003" y="749999"/>
                </a:lnTo>
                <a:cubicBezTo>
                  <a:pt x="3780003" y="832844"/>
                  <a:pt x="3712844" y="900003"/>
                  <a:pt x="3629999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rgbClr val="CC0099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0" tIns="86275" rIns="0" bIns="86275" numCol="1" spcCol="1270" anchor="ctr" anchorCtr="0">
            <a:noAutofit/>
          </a:bodyPr>
          <a:lstStyle/>
          <a:p>
            <a:pPr algn="ctr"/>
            <a:r>
              <a:rPr lang="en-GB" sz="1108" dirty="0">
                <a:solidFill>
                  <a:prstClr val="white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Strengthened national policies and programmes</a:t>
            </a:r>
          </a:p>
        </p:txBody>
      </p:sp>
      <p:sp>
        <p:nvSpPr>
          <p:cNvPr id="6" name="Freeform 5"/>
          <p:cNvSpPr/>
          <p:nvPr/>
        </p:nvSpPr>
        <p:spPr>
          <a:xfrm>
            <a:off x="2680462" y="4311441"/>
            <a:ext cx="1563775" cy="604097"/>
          </a:xfrm>
          <a:custGeom>
            <a:avLst/>
            <a:gdLst>
              <a:gd name="connsiteX0" fmla="*/ 0 w 3783700"/>
              <a:gd name="connsiteY0" fmla="*/ 150004 h 900003"/>
              <a:gd name="connsiteX1" fmla="*/ 150004 w 3783700"/>
              <a:gd name="connsiteY1" fmla="*/ 0 h 900003"/>
              <a:gd name="connsiteX2" fmla="*/ 3633696 w 3783700"/>
              <a:gd name="connsiteY2" fmla="*/ 0 h 900003"/>
              <a:gd name="connsiteX3" fmla="*/ 3783700 w 3783700"/>
              <a:gd name="connsiteY3" fmla="*/ 150004 h 900003"/>
              <a:gd name="connsiteX4" fmla="*/ 3783700 w 3783700"/>
              <a:gd name="connsiteY4" fmla="*/ 749999 h 900003"/>
              <a:gd name="connsiteX5" fmla="*/ 3633696 w 3783700"/>
              <a:gd name="connsiteY5" fmla="*/ 900003 h 900003"/>
              <a:gd name="connsiteX6" fmla="*/ 150004 w 3783700"/>
              <a:gd name="connsiteY6" fmla="*/ 900003 h 900003"/>
              <a:gd name="connsiteX7" fmla="*/ 0 w 3783700"/>
              <a:gd name="connsiteY7" fmla="*/ 749999 h 900003"/>
              <a:gd name="connsiteX8" fmla="*/ 0 w 3783700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3700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33696" y="0"/>
                </a:lnTo>
                <a:cubicBezTo>
                  <a:pt x="3716541" y="0"/>
                  <a:pt x="3783700" y="67159"/>
                  <a:pt x="3783700" y="150004"/>
                </a:cubicBezTo>
                <a:lnTo>
                  <a:pt x="3783700" y="749999"/>
                </a:lnTo>
                <a:cubicBezTo>
                  <a:pt x="3783700" y="832844"/>
                  <a:pt x="3716541" y="900003"/>
                  <a:pt x="3633696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rgbClr val="CC6600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0" tIns="86275" rIns="0" bIns="86275" numCol="1" spcCol="1270" anchor="ctr" anchorCtr="0">
            <a:noAutofit/>
          </a:bodyPr>
          <a:lstStyle/>
          <a:p>
            <a:pPr algn="ctr"/>
            <a:r>
              <a:rPr lang="en-GB" sz="1108" dirty="0">
                <a:solidFill>
                  <a:prstClr val="white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Increased human and institutional capacity</a:t>
            </a:r>
          </a:p>
        </p:txBody>
      </p:sp>
      <p:sp>
        <p:nvSpPr>
          <p:cNvPr id="7" name="Freeform 6"/>
          <p:cNvSpPr/>
          <p:nvPr/>
        </p:nvSpPr>
        <p:spPr>
          <a:xfrm>
            <a:off x="2680461" y="5205968"/>
            <a:ext cx="1562248" cy="604097"/>
          </a:xfrm>
          <a:custGeom>
            <a:avLst/>
            <a:gdLst>
              <a:gd name="connsiteX0" fmla="*/ 0 w 3780003"/>
              <a:gd name="connsiteY0" fmla="*/ 150004 h 900003"/>
              <a:gd name="connsiteX1" fmla="*/ 150004 w 3780003"/>
              <a:gd name="connsiteY1" fmla="*/ 0 h 900003"/>
              <a:gd name="connsiteX2" fmla="*/ 3629999 w 3780003"/>
              <a:gd name="connsiteY2" fmla="*/ 0 h 900003"/>
              <a:gd name="connsiteX3" fmla="*/ 3780003 w 3780003"/>
              <a:gd name="connsiteY3" fmla="*/ 150004 h 900003"/>
              <a:gd name="connsiteX4" fmla="*/ 3780003 w 3780003"/>
              <a:gd name="connsiteY4" fmla="*/ 749999 h 900003"/>
              <a:gd name="connsiteX5" fmla="*/ 3629999 w 3780003"/>
              <a:gd name="connsiteY5" fmla="*/ 900003 h 900003"/>
              <a:gd name="connsiteX6" fmla="*/ 150004 w 3780003"/>
              <a:gd name="connsiteY6" fmla="*/ 900003 h 900003"/>
              <a:gd name="connsiteX7" fmla="*/ 0 w 3780003"/>
              <a:gd name="connsiteY7" fmla="*/ 749999 h 900003"/>
              <a:gd name="connsiteX8" fmla="*/ 0 w 3780003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0003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29999" y="0"/>
                </a:lnTo>
                <a:cubicBezTo>
                  <a:pt x="3712844" y="0"/>
                  <a:pt x="3780003" y="67159"/>
                  <a:pt x="3780003" y="150004"/>
                </a:cubicBezTo>
                <a:lnTo>
                  <a:pt x="3780003" y="749999"/>
                </a:lnTo>
                <a:cubicBezTo>
                  <a:pt x="3780003" y="832844"/>
                  <a:pt x="3712844" y="900003"/>
                  <a:pt x="3629999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rgbClr val="009900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49830" tIns="86275" rIns="49830" bIns="86275" numCol="1" spcCol="1270" anchor="ctr" anchorCtr="0">
            <a:noAutofit/>
          </a:bodyPr>
          <a:lstStyle/>
          <a:p>
            <a:pPr algn="ctr"/>
            <a:r>
              <a:rPr lang="en-GB" sz="1108" dirty="0">
                <a:solidFill>
                  <a:prstClr val="white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Increased effectiveness and accountability</a:t>
            </a: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66052" y="1388945"/>
            <a:ext cx="1794660" cy="72445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35988" tIns="84406" rIns="35988" bIns="84406" anchor="b">
            <a:spAutoFit/>
          </a:bodyPr>
          <a:lstStyle/>
          <a:p>
            <a:pPr algn="ctr"/>
            <a:r>
              <a:rPr lang="en-GB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key building blocks of nutrition governance…</a:t>
            </a:r>
            <a:endParaRPr lang="en-US" sz="12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566052" y="2395346"/>
            <a:ext cx="1794660" cy="403814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tical commitment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566052" y="2921299"/>
            <a:ext cx="1794660" cy="403814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nsus building and coordination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66052" y="3537587"/>
            <a:ext cx="1794660" cy="403814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ng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593000" y="4414225"/>
            <a:ext cx="1794660" cy="403814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 delivery capacity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593000" y="5310103"/>
            <a:ext cx="1794660" cy="403814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arency and accountability</a:t>
            </a:r>
          </a:p>
        </p:txBody>
      </p:sp>
      <p:sp>
        <p:nvSpPr>
          <p:cNvPr id="42" name="Rectangle 4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680461" y="1388945"/>
            <a:ext cx="1544105" cy="72445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84406" bIns="84406" anchor="b">
            <a:spAutoFit/>
          </a:bodyPr>
          <a:lstStyle/>
          <a:p>
            <a:pPr algn="ctr"/>
            <a:r>
              <a:rPr lang="en-GB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translate</a:t>
            </a:r>
          </a:p>
          <a:p>
            <a:pPr algn="ctr"/>
            <a:r>
              <a:rPr lang="en-GB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o 4 </a:t>
            </a:r>
            <a:br>
              <a:rPr lang="en-GB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s…</a:t>
            </a:r>
            <a:endParaRPr lang="en-US" sz="12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4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07310" y="1388945"/>
            <a:ext cx="1852813" cy="72445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84406" rIns="0" bIns="84406" anchor="b">
            <a:spAutoFit/>
          </a:bodyPr>
          <a:lstStyle/>
          <a:p>
            <a:pPr algn="ctr"/>
            <a:r>
              <a:rPr lang="en-GB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supported by </a:t>
            </a:r>
          </a:p>
          <a:p>
            <a:pPr algn="ctr"/>
            <a:r>
              <a:rPr lang="en-GB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types of </a:t>
            </a:r>
          </a:p>
          <a:p>
            <a:pPr algn="ctr"/>
            <a:r>
              <a:rPr lang="en-GB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 actions</a:t>
            </a:r>
            <a:endParaRPr lang="en-US" sz="12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Freeform 43"/>
          <p:cNvSpPr/>
          <p:nvPr/>
        </p:nvSpPr>
        <p:spPr>
          <a:xfrm>
            <a:off x="4607310" y="2481678"/>
            <a:ext cx="1874477" cy="604097"/>
          </a:xfrm>
          <a:custGeom>
            <a:avLst/>
            <a:gdLst>
              <a:gd name="connsiteX0" fmla="*/ 0 w 3780003"/>
              <a:gd name="connsiteY0" fmla="*/ 150004 h 900003"/>
              <a:gd name="connsiteX1" fmla="*/ 150004 w 3780003"/>
              <a:gd name="connsiteY1" fmla="*/ 0 h 900003"/>
              <a:gd name="connsiteX2" fmla="*/ 3629999 w 3780003"/>
              <a:gd name="connsiteY2" fmla="*/ 0 h 900003"/>
              <a:gd name="connsiteX3" fmla="*/ 3780003 w 3780003"/>
              <a:gd name="connsiteY3" fmla="*/ 150004 h 900003"/>
              <a:gd name="connsiteX4" fmla="*/ 3780003 w 3780003"/>
              <a:gd name="connsiteY4" fmla="*/ 749999 h 900003"/>
              <a:gd name="connsiteX5" fmla="*/ 3629999 w 3780003"/>
              <a:gd name="connsiteY5" fmla="*/ 900003 h 900003"/>
              <a:gd name="connsiteX6" fmla="*/ 150004 w 3780003"/>
              <a:gd name="connsiteY6" fmla="*/ 900003 h 900003"/>
              <a:gd name="connsiteX7" fmla="*/ 0 w 3780003"/>
              <a:gd name="connsiteY7" fmla="*/ 749999 h 900003"/>
              <a:gd name="connsiteX8" fmla="*/ 0 w 3780003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0003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29999" y="0"/>
                </a:lnTo>
                <a:cubicBezTo>
                  <a:pt x="3712844" y="0"/>
                  <a:pt x="3780003" y="67159"/>
                  <a:pt x="3780003" y="150004"/>
                </a:cubicBezTo>
                <a:lnTo>
                  <a:pt x="3780003" y="749999"/>
                </a:lnTo>
                <a:cubicBezTo>
                  <a:pt x="3780003" y="832844"/>
                  <a:pt x="3712844" y="900003"/>
                  <a:pt x="3629999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chemeClr val="bg1"/>
          </a:solidFill>
          <a:ln w="25400" cap="flat" cmpd="sng" algn="ctr">
            <a:solidFill>
              <a:srgbClr val="548DD4"/>
            </a:solidFill>
            <a:prstDash val="solid"/>
          </a:ln>
          <a:effectLst/>
        </p:spPr>
        <p:txBody>
          <a:bodyPr spcFirstLastPara="0" vert="horz" wrap="square" lIns="33220" tIns="86275" rIns="33220" bIns="86275" numCol="1" spcCol="1270" anchor="ctr" anchorCtr="0">
            <a:noAutofit/>
          </a:bodyPr>
          <a:lstStyle/>
          <a:p>
            <a:pPr algn="ctr"/>
            <a:r>
              <a:rPr lang="en-GB" sz="1108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Situation analysis, advocacy and communications (A) </a:t>
            </a:r>
          </a:p>
        </p:txBody>
      </p:sp>
      <p:sp>
        <p:nvSpPr>
          <p:cNvPr id="45" name="Freeform 44"/>
          <p:cNvSpPr/>
          <p:nvPr/>
        </p:nvSpPr>
        <p:spPr>
          <a:xfrm>
            <a:off x="4607310" y="3408474"/>
            <a:ext cx="1872645" cy="604097"/>
          </a:xfrm>
          <a:custGeom>
            <a:avLst/>
            <a:gdLst>
              <a:gd name="connsiteX0" fmla="*/ 0 w 3780003"/>
              <a:gd name="connsiteY0" fmla="*/ 150004 h 900003"/>
              <a:gd name="connsiteX1" fmla="*/ 150004 w 3780003"/>
              <a:gd name="connsiteY1" fmla="*/ 0 h 900003"/>
              <a:gd name="connsiteX2" fmla="*/ 3629999 w 3780003"/>
              <a:gd name="connsiteY2" fmla="*/ 0 h 900003"/>
              <a:gd name="connsiteX3" fmla="*/ 3780003 w 3780003"/>
              <a:gd name="connsiteY3" fmla="*/ 150004 h 900003"/>
              <a:gd name="connsiteX4" fmla="*/ 3780003 w 3780003"/>
              <a:gd name="connsiteY4" fmla="*/ 749999 h 900003"/>
              <a:gd name="connsiteX5" fmla="*/ 3629999 w 3780003"/>
              <a:gd name="connsiteY5" fmla="*/ 900003 h 900003"/>
              <a:gd name="connsiteX6" fmla="*/ 150004 w 3780003"/>
              <a:gd name="connsiteY6" fmla="*/ 900003 h 900003"/>
              <a:gd name="connsiteX7" fmla="*/ 0 w 3780003"/>
              <a:gd name="connsiteY7" fmla="*/ 749999 h 900003"/>
              <a:gd name="connsiteX8" fmla="*/ 0 w 3780003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0003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29999" y="0"/>
                </a:lnTo>
                <a:cubicBezTo>
                  <a:pt x="3712844" y="0"/>
                  <a:pt x="3780003" y="67159"/>
                  <a:pt x="3780003" y="150004"/>
                </a:cubicBezTo>
                <a:lnTo>
                  <a:pt x="3780003" y="749999"/>
                </a:lnTo>
                <a:cubicBezTo>
                  <a:pt x="3780003" y="832844"/>
                  <a:pt x="3712844" y="900003"/>
                  <a:pt x="3629999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chemeClr val="bg1"/>
          </a:solidFill>
          <a:ln w="25400" cap="flat" cmpd="sng" algn="ctr">
            <a:solidFill>
              <a:srgbClr val="CC0099"/>
            </a:solidFill>
            <a:prstDash val="solid"/>
          </a:ln>
          <a:effectLst/>
        </p:spPr>
        <p:txBody>
          <a:bodyPr spcFirstLastPara="0" vert="horz" wrap="square" lIns="99659" tIns="86275" rIns="99659" bIns="86275" numCol="1" spcCol="1270" anchor="ctr" anchorCtr="0">
            <a:noAutofit/>
          </a:bodyPr>
          <a:lstStyle/>
          <a:p>
            <a:pPr algn="ctr"/>
            <a:r>
              <a:rPr lang="en-GB" sz="1108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Policy formulation/review &amp; planning (P)</a:t>
            </a:r>
          </a:p>
        </p:txBody>
      </p:sp>
      <p:sp>
        <p:nvSpPr>
          <p:cNvPr id="46" name="Freeform 45"/>
          <p:cNvSpPr/>
          <p:nvPr/>
        </p:nvSpPr>
        <p:spPr>
          <a:xfrm>
            <a:off x="4607310" y="4319879"/>
            <a:ext cx="1874477" cy="604097"/>
          </a:xfrm>
          <a:custGeom>
            <a:avLst/>
            <a:gdLst>
              <a:gd name="connsiteX0" fmla="*/ 0 w 3783700"/>
              <a:gd name="connsiteY0" fmla="*/ 150004 h 900003"/>
              <a:gd name="connsiteX1" fmla="*/ 150004 w 3783700"/>
              <a:gd name="connsiteY1" fmla="*/ 0 h 900003"/>
              <a:gd name="connsiteX2" fmla="*/ 3633696 w 3783700"/>
              <a:gd name="connsiteY2" fmla="*/ 0 h 900003"/>
              <a:gd name="connsiteX3" fmla="*/ 3783700 w 3783700"/>
              <a:gd name="connsiteY3" fmla="*/ 150004 h 900003"/>
              <a:gd name="connsiteX4" fmla="*/ 3783700 w 3783700"/>
              <a:gd name="connsiteY4" fmla="*/ 749999 h 900003"/>
              <a:gd name="connsiteX5" fmla="*/ 3633696 w 3783700"/>
              <a:gd name="connsiteY5" fmla="*/ 900003 h 900003"/>
              <a:gd name="connsiteX6" fmla="*/ 150004 w 3783700"/>
              <a:gd name="connsiteY6" fmla="*/ 900003 h 900003"/>
              <a:gd name="connsiteX7" fmla="*/ 0 w 3783700"/>
              <a:gd name="connsiteY7" fmla="*/ 749999 h 900003"/>
              <a:gd name="connsiteX8" fmla="*/ 0 w 3783700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3700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33696" y="0"/>
                </a:lnTo>
                <a:cubicBezTo>
                  <a:pt x="3716541" y="0"/>
                  <a:pt x="3783700" y="67159"/>
                  <a:pt x="3783700" y="150004"/>
                </a:cubicBezTo>
                <a:lnTo>
                  <a:pt x="3783700" y="749999"/>
                </a:lnTo>
                <a:cubicBezTo>
                  <a:pt x="3783700" y="832844"/>
                  <a:pt x="3716541" y="900003"/>
                  <a:pt x="3633696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chemeClr val="bg1"/>
          </a:solidFill>
          <a:ln w="25400" cap="flat" cmpd="sng" algn="ctr">
            <a:solidFill>
              <a:srgbClr val="CC6600"/>
            </a:solidFill>
            <a:prstDash val="solid"/>
          </a:ln>
          <a:effectLst/>
        </p:spPr>
        <p:txBody>
          <a:bodyPr spcFirstLastPara="0" vert="horz" wrap="square" lIns="16610" tIns="86275" rIns="16610" bIns="86275" numCol="1" spcCol="1270" anchor="ctr" anchorCtr="0">
            <a:noAutofit/>
          </a:bodyPr>
          <a:lstStyle/>
          <a:p>
            <a:pPr algn="ctr"/>
            <a:r>
              <a:rPr lang="en-GB" sz="1108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Human &amp; institutional capacity development/training (C)</a:t>
            </a:r>
          </a:p>
        </p:txBody>
      </p:sp>
      <p:sp>
        <p:nvSpPr>
          <p:cNvPr id="47" name="Freeform 46"/>
          <p:cNvSpPr/>
          <p:nvPr/>
        </p:nvSpPr>
        <p:spPr>
          <a:xfrm>
            <a:off x="4607310" y="5231285"/>
            <a:ext cx="1872645" cy="604097"/>
          </a:xfrm>
          <a:custGeom>
            <a:avLst/>
            <a:gdLst>
              <a:gd name="connsiteX0" fmla="*/ 0 w 3780003"/>
              <a:gd name="connsiteY0" fmla="*/ 150004 h 900003"/>
              <a:gd name="connsiteX1" fmla="*/ 150004 w 3780003"/>
              <a:gd name="connsiteY1" fmla="*/ 0 h 900003"/>
              <a:gd name="connsiteX2" fmla="*/ 3629999 w 3780003"/>
              <a:gd name="connsiteY2" fmla="*/ 0 h 900003"/>
              <a:gd name="connsiteX3" fmla="*/ 3780003 w 3780003"/>
              <a:gd name="connsiteY3" fmla="*/ 150004 h 900003"/>
              <a:gd name="connsiteX4" fmla="*/ 3780003 w 3780003"/>
              <a:gd name="connsiteY4" fmla="*/ 749999 h 900003"/>
              <a:gd name="connsiteX5" fmla="*/ 3629999 w 3780003"/>
              <a:gd name="connsiteY5" fmla="*/ 900003 h 900003"/>
              <a:gd name="connsiteX6" fmla="*/ 150004 w 3780003"/>
              <a:gd name="connsiteY6" fmla="*/ 900003 h 900003"/>
              <a:gd name="connsiteX7" fmla="*/ 0 w 3780003"/>
              <a:gd name="connsiteY7" fmla="*/ 749999 h 900003"/>
              <a:gd name="connsiteX8" fmla="*/ 0 w 3780003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0003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29999" y="0"/>
                </a:lnTo>
                <a:cubicBezTo>
                  <a:pt x="3712844" y="0"/>
                  <a:pt x="3780003" y="67159"/>
                  <a:pt x="3780003" y="150004"/>
                </a:cubicBezTo>
                <a:lnTo>
                  <a:pt x="3780003" y="749999"/>
                </a:lnTo>
                <a:cubicBezTo>
                  <a:pt x="3780003" y="832844"/>
                  <a:pt x="3712844" y="900003"/>
                  <a:pt x="3629999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chemeClr val="bg1"/>
          </a:solidFill>
          <a:ln w="25400" cap="flat" cmpd="sng" algn="ctr">
            <a:solidFill>
              <a:srgbClr val="009900"/>
            </a:solidFill>
            <a:prstDash val="solid"/>
          </a:ln>
          <a:effectLst/>
        </p:spPr>
        <p:txBody>
          <a:bodyPr spcFirstLastPara="0" vert="horz" wrap="square" lIns="49830" tIns="86275" rIns="49830" bIns="86275" numCol="1" spcCol="1270" anchor="ctr" anchorCtr="0">
            <a:noAutofit/>
          </a:bodyPr>
          <a:lstStyle/>
          <a:p>
            <a:pPr algn="ctr"/>
            <a:r>
              <a:rPr lang="en-GB" sz="1108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Effectiveness &amp; accountability (E)</a:t>
            </a:r>
          </a:p>
        </p:txBody>
      </p:sp>
      <p:cxnSp>
        <p:nvCxnSpPr>
          <p:cNvPr id="48" name="Straight Arrow Connector 47"/>
          <p:cNvCxnSpPr/>
          <p:nvPr/>
        </p:nvCxnSpPr>
        <p:spPr>
          <a:xfrm flipV="1">
            <a:off x="4224567" y="3689210"/>
            <a:ext cx="306019" cy="3"/>
          </a:xfrm>
          <a:prstGeom prst="straightConnector1">
            <a:avLst/>
          </a:prstGeom>
          <a:ln w="28575">
            <a:solidFill>
              <a:srgbClr val="CC00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224567" y="4600408"/>
            <a:ext cx="306019" cy="4566"/>
          </a:xfrm>
          <a:prstGeom prst="straightConnector1">
            <a:avLst/>
          </a:prstGeom>
          <a:ln w="28575">
            <a:solidFill>
              <a:srgbClr val="CC66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>
            <a:off x="4224567" y="5512010"/>
            <a:ext cx="306019" cy="4566"/>
          </a:xfrm>
          <a:prstGeom prst="straightConnector1">
            <a:avLst/>
          </a:prstGeom>
          <a:ln w="28575">
            <a:solidFill>
              <a:srgbClr val="0099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V="1">
            <a:off x="4221462" y="2794681"/>
            <a:ext cx="306019" cy="3"/>
          </a:xfrm>
          <a:prstGeom prst="straightConnector1">
            <a:avLst/>
          </a:prstGeom>
          <a:ln w="28575">
            <a:solidFill>
              <a:srgbClr val="548DD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566052" y="6453336"/>
            <a:ext cx="8892480" cy="348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3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nl-NL" sz="83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nar M., De S., Leung Hm., Wang M., Fanzo J., Denning G. (2013) “</a:t>
            </a:r>
            <a:r>
              <a:rPr lang="en-GB" sz="83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trition governance: five crucial building blocks and an application of these building blocks into specific country contexts”. School of International and Public Affairs, Columbia University, New York, New York. 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6681192" y="2113404"/>
            <a:ext cx="0" cy="3721978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947068" y="1388945"/>
            <a:ext cx="2372252" cy="72445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53982" tIns="84406" rIns="53982" bIns="84406" anchor="b">
            <a:spAutoFit/>
          </a:bodyPr>
          <a:lstStyle/>
          <a:p>
            <a:pPr algn="ctr"/>
            <a:r>
              <a:rPr lang="en-GB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actions provide direct services to the                               beneficiaries</a:t>
            </a:r>
            <a:endParaRPr lang="en-US" sz="12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ounded Rectangular Callout 32"/>
          <p:cNvSpPr/>
          <p:nvPr/>
        </p:nvSpPr>
        <p:spPr>
          <a:xfrm>
            <a:off x="6447639" y="665527"/>
            <a:ext cx="2007262" cy="723418"/>
          </a:xfrm>
          <a:prstGeom prst="wedgeRoundRectCallout">
            <a:avLst>
              <a:gd name="adj1" fmla="val -38827"/>
              <a:gd name="adj2" fmla="val 7663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prstClr val="white"/>
                </a:solidFill>
                <a:latin typeface="Arial"/>
              </a:rPr>
              <a:t>This slide provides definitions. Do not edit. </a:t>
            </a:r>
            <a:endParaRPr lang="en-GB" sz="1000" b="1" dirty="0" smtClean="0">
              <a:solidFill>
                <a:prstClr val="white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947068" y="2440384"/>
            <a:ext cx="2372252" cy="318959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108" dirty="0" smtClean="0">
                <a:latin typeface="Arial" panose="020B0604020202020204" pitchFamily="34" charset="0"/>
                <a:cs typeface="Arial" panose="020B0604020202020204" pitchFamily="34" charset="0"/>
              </a:rPr>
              <a:t>These actions may include:</a:t>
            </a:r>
            <a:br>
              <a:rPr lang="en-US" sz="1108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108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US" sz="1108" dirty="0" smtClean="0">
                <a:latin typeface="Arial" panose="020B0604020202020204" pitchFamily="34" charset="0"/>
                <a:cs typeface="Arial" panose="020B0604020202020204" pitchFamily="34" charset="0"/>
              </a:rPr>
              <a:t>Procurement of food, supplements (e.g. vitamin A, iron, folic acid) or other supplies (e.g. </a:t>
            </a:r>
            <a:r>
              <a:rPr lang="en-US" sz="1108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ednets</a:t>
            </a:r>
            <a:r>
              <a:rPr lang="en-US" sz="1108" dirty="0" smtClean="0">
                <a:latin typeface="Arial" panose="020B0604020202020204" pitchFamily="34" charset="0"/>
                <a:cs typeface="Arial" panose="020B0604020202020204" pitchFamily="34" charset="0"/>
              </a:rPr>
              <a:t>, household water treatment kits) </a:t>
            </a:r>
            <a:br>
              <a:rPr lang="en-US" sz="1108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108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US" sz="1108" dirty="0" smtClean="0">
                <a:latin typeface="Arial" panose="020B0604020202020204" pitchFamily="34" charset="0"/>
                <a:cs typeface="Arial" panose="020B0604020202020204" pitchFamily="34" charset="0"/>
              </a:rPr>
              <a:t>Distribution of food, supplements or other supplies</a:t>
            </a:r>
            <a:br>
              <a:rPr lang="en-US" sz="1108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108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US" sz="1108" dirty="0" smtClean="0">
                <a:latin typeface="Arial" panose="020B0604020202020204" pitchFamily="34" charset="0"/>
                <a:cs typeface="Arial" panose="020B0604020202020204" pitchFamily="34" charset="0"/>
              </a:rPr>
              <a:t>Disbursement of cash and distribution of vouchers</a:t>
            </a:r>
            <a:br>
              <a:rPr lang="en-US" sz="1108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108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US" sz="1108" dirty="0" smtClean="0">
                <a:latin typeface="Arial" panose="020B0604020202020204" pitchFamily="34" charset="0"/>
                <a:cs typeface="Arial" panose="020B0604020202020204" pitchFamily="34" charset="0"/>
              </a:rPr>
              <a:t>Capacity building provided directly to beneficiaries (e.g. farmers’ organizations, women beneficiaries)</a:t>
            </a:r>
            <a:endParaRPr lang="en-US" sz="110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311782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88504" y="146580"/>
            <a:ext cx="8614465" cy="83185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dirty="0" smtClean="0">
                <a:solidFill>
                  <a:schemeClr val="tx1"/>
                </a:solidFill>
              </a:rPr>
              <a:t>Key summary findings from the UN Inventory exercise in Name of Country  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8717680" y="1"/>
            <a:ext cx="807320" cy="31072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8" name="Rounded Rectangular Callout 67"/>
          <p:cNvSpPr/>
          <p:nvPr/>
        </p:nvSpPr>
        <p:spPr>
          <a:xfrm>
            <a:off x="4448944" y="908720"/>
            <a:ext cx="2448272" cy="592092"/>
          </a:xfrm>
          <a:prstGeom prst="wedgeRoundRectCallout">
            <a:avLst>
              <a:gd name="adj1" fmla="val -68317"/>
              <a:gd name="adj2" fmla="val -3200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Please summarise 4-6 main/overarching findings of the UN Inventory Exercise conducted in the country</a:t>
            </a:r>
          </a:p>
        </p:txBody>
      </p:sp>
      <p:sp>
        <p:nvSpPr>
          <p:cNvPr id="70" name="Rectangle 69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71" name="TextBox 5"/>
          <p:cNvSpPr txBox="1">
            <a:spLocks noChangeArrowheads="1"/>
          </p:cNvSpPr>
          <p:nvPr/>
        </p:nvSpPr>
        <p:spPr bwMode="auto">
          <a:xfrm>
            <a:off x="543784" y="1296542"/>
            <a:ext cx="8729696" cy="5416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85750" lvl="0" indent="-285750" eaLnBrk="1" hangingPunct="1">
              <a:buFont typeface="Wingdings" pitchFamily="2" charset="2"/>
              <a:buChar char="ü"/>
            </a:pP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Implementation support by the UN agencies surveyed is clustered around XX thematic areas, namely:</a:t>
            </a:r>
          </a:p>
          <a:p>
            <a:pPr marL="569913" lvl="0" indent="-284163" eaLnBrk="1" hangingPunct="1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XXX</a:t>
            </a:r>
          </a:p>
          <a:p>
            <a:pPr marL="569913" lvl="0" indent="-284163" eaLnBrk="1" hangingPunct="1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XXX</a:t>
            </a:r>
          </a:p>
          <a:p>
            <a:pPr marL="569913" lvl="0" indent="-284163" eaLnBrk="1" hangingPunct="1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XXX</a:t>
            </a:r>
          </a:p>
          <a:p>
            <a:pPr marL="285750" lvl="0" indent="-285750" eaLnBrk="1" hangingPunct="1">
              <a:buFont typeface="Wingdings" pitchFamily="2" charset="2"/>
              <a:buChar char="ü"/>
            </a:pPr>
            <a:endParaRPr lang="en-US" sz="800" b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lvl="0" indent="-285750" eaLnBrk="1" hangingPunct="1">
              <a:buFont typeface="Wingdings" pitchFamily="2" charset="2"/>
              <a:buChar char="ü"/>
            </a:pP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UN nutrition support tends to take the form </a:t>
            </a:r>
            <a:r>
              <a:rPr lang="en-US" sz="1600" b="0" dirty="0">
                <a:solidFill>
                  <a:srgbClr val="000000"/>
                </a:solidFill>
                <a:latin typeface="Arial"/>
                <a:cs typeface="Arial"/>
              </a:rPr>
              <a:t>of governance/ implementation </a:t>
            </a: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actions as opposed to support </a:t>
            </a:r>
            <a:r>
              <a:rPr lang="en-US" sz="1600" b="0" dirty="0">
                <a:solidFill>
                  <a:srgbClr val="000000"/>
                </a:solidFill>
                <a:latin typeface="Arial"/>
                <a:cs typeface="Arial"/>
              </a:rPr>
              <a:t>with </a:t>
            </a: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implementation/governance actions.</a:t>
            </a:r>
            <a:endParaRPr lang="en-US" sz="1600" b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lvl="0" indent="-285750" eaLnBrk="1" hangingPunct="1">
              <a:buFont typeface="Wingdings" pitchFamily="2" charset="2"/>
              <a:buChar char="ü"/>
            </a:pPr>
            <a:endParaRPr lang="en-US" sz="800" b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lvl="0" indent="-285750" eaLnBrk="1" hangingPunct="1">
              <a:buFont typeface="Wingdings" pitchFamily="2" charset="2"/>
              <a:buChar char="ü"/>
            </a:pP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Governance </a:t>
            </a:r>
            <a:r>
              <a:rPr lang="en-US" sz="1600" b="0" dirty="0">
                <a:solidFill>
                  <a:srgbClr val="000000"/>
                </a:solidFill>
                <a:latin typeface="Arial"/>
                <a:cs typeface="Arial"/>
              </a:rPr>
              <a:t>actions </a:t>
            </a: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supported by the UN agencies surveyed are primarily oriented towards sectoral governance, with just X agency(</a:t>
            </a:r>
            <a:r>
              <a:rPr lang="en-US" sz="1600" b="0" dirty="0" err="1" smtClean="0">
                <a:solidFill>
                  <a:srgbClr val="000000"/>
                </a:solidFill>
                <a:latin typeface="Arial"/>
                <a:cs typeface="Arial"/>
              </a:rPr>
              <a:t>ies</a:t>
            </a: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) and REACH providing multi-sectoral </a:t>
            </a:r>
            <a:r>
              <a:rPr lang="en-US" sz="1600" b="0" dirty="0">
                <a:solidFill>
                  <a:srgbClr val="000000"/>
                </a:solidFill>
                <a:latin typeface="Arial"/>
                <a:cs typeface="Arial"/>
              </a:rPr>
              <a:t>facilitation </a:t>
            </a: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support.</a:t>
            </a:r>
          </a:p>
          <a:p>
            <a:pPr marL="285750" lvl="0" indent="-285750" eaLnBrk="1" hangingPunct="1">
              <a:buFont typeface="Wingdings" pitchFamily="2" charset="2"/>
              <a:buChar char="ü"/>
            </a:pPr>
            <a:endParaRPr lang="en-US" sz="800" b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lvl="0" indent="-285750" eaLnBrk="1" hangingPunct="1">
              <a:buFont typeface="Wingdings" pitchFamily="2" charset="2"/>
              <a:buChar char="ü"/>
            </a:pP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Sectoral governance actions are primarily concentrated in the following thematic areas with scope for increased synergy.</a:t>
            </a:r>
          </a:p>
          <a:p>
            <a:pPr marL="569913" lvl="0" indent="-284163" eaLnBrk="1" hangingPunct="1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XXX</a:t>
            </a:r>
            <a:endParaRPr lang="en-US" sz="1600" b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569913" lvl="0" indent="-284163" eaLnBrk="1" hangingPunct="1">
              <a:buFont typeface="Wingdings" panose="05000000000000000000" pitchFamily="2" charset="2"/>
              <a:buChar char="Ø"/>
            </a:pPr>
            <a:r>
              <a:rPr lang="en-US" sz="1600" b="0" dirty="0">
                <a:solidFill>
                  <a:srgbClr val="000000"/>
                </a:solidFill>
                <a:latin typeface="Arial"/>
                <a:cs typeface="Arial"/>
              </a:rPr>
              <a:t>XXX</a:t>
            </a:r>
          </a:p>
          <a:p>
            <a:pPr marL="569913" lvl="0" indent="-284163" eaLnBrk="1" hangingPunct="1">
              <a:buFont typeface="Wingdings" panose="05000000000000000000" pitchFamily="2" charset="2"/>
              <a:buChar char="Ø"/>
            </a:pP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XXX</a:t>
            </a:r>
            <a:endParaRPr lang="en-US" sz="1600" b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lvl="0" indent="-285750" eaLnBrk="1" hangingPunct="1">
              <a:buFont typeface="Wingdings" pitchFamily="2" charset="2"/>
              <a:buChar char="ü"/>
            </a:pPr>
            <a:endParaRPr lang="en-US" sz="800" b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lvl="0" indent="-285750" eaLnBrk="1" hangingPunct="1">
              <a:buFont typeface="Wingdings" pitchFamily="2" charset="2"/>
              <a:buChar char="ü"/>
            </a:pPr>
            <a:r>
              <a:rPr lang="en-US" sz="1600" b="0" dirty="0" smtClean="0">
                <a:solidFill>
                  <a:srgbClr val="000000"/>
                </a:solidFill>
                <a:latin typeface="Arial"/>
                <a:cs typeface="Arial"/>
              </a:rPr>
              <a:t>At present, most of the support for multi-sectoral facilitation is extended at the national level.</a:t>
            </a:r>
          </a:p>
          <a:p>
            <a:pPr lvl="0" eaLnBrk="1" hangingPunct="1"/>
            <a:endParaRPr lang="en-US" sz="1000" b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 eaLnBrk="1" hangingPunct="1">
              <a:buFont typeface="Wingdings" pitchFamily="2" charset="2"/>
              <a:buChar char="ü"/>
            </a:pPr>
            <a:r>
              <a:rPr lang="en-US" sz="1600" b="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t may be useful to include additional UN agencies in the inventory exercise, particularly in view of understanding apparent gaps in the UN’s contribution to the nutrition landscape</a:t>
            </a:r>
            <a:endParaRPr lang="en-US" sz="1600" b="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Rounded Rectangular Callout 71"/>
          <p:cNvSpPr/>
          <p:nvPr/>
        </p:nvSpPr>
        <p:spPr>
          <a:xfrm>
            <a:off x="2072680" y="1844824"/>
            <a:ext cx="1620620" cy="576064"/>
          </a:xfrm>
          <a:prstGeom prst="wedgeRoundRectCallout">
            <a:avLst>
              <a:gd name="adj1" fmla="val -67514"/>
              <a:gd name="adj2" fmla="val 1116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Please indicate the thematic areas, as applicable</a:t>
            </a:r>
          </a:p>
        </p:txBody>
      </p:sp>
      <p:sp>
        <p:nvSpPr>
          <p:cNvPr id="73" name="Rounded Rectangular Callout 72"/>
          <p:cNvSpPr/>
          <p:nvPr/>
        </p:nvSpPr>
        <p:spPr>
          <a:xfrm>
            <a:off x="2083197" y="4581128"/>
            <a:ext cx="1620620" cy="576064"/>
          </a:xfrm>
          <a:prstGeom prst="wedgeRoundRectCallout">
            <a:avLst>
              <a:gd name="adj1" fmla="val -67514"/>
              <a:gd name="adj2" fmla="val 1116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Please indicate the thematic areas, as applicable</a:t>
            </a:r>
          </a:p>
        </p:txBody>
      </p:sp>
      <p:sp>
        <p:nvSpPr>
          <p:cNvPr id="74" name="Rounded Rectangular Callout 73"/>
          <p:cNvSpPr/>
          <p:nvPr/>
        </p:nvSpPr>
        <p:spPr>
          <a:xfrm>
            <a:off x="4439550" y="3645024"/>
            <a:ext cx="1737586" cy="504056"/>
          </a:xfrm>
          <a:prstGeom prst="wedgeRoundRectCallout">
            <a:avLst>
              <a:gd name="adj1" fmla="val -67514"/>
              <a:gd name="adj2" fmla="val 1116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</a:rPr>
              <a:t>Please indicate the number of agencies based on the country data</a:t>
            </a:r>
          </a:p>
        </p:txBody>
      </p:sp>
    </p:spTree>
    <p:extLst>
      <p:ext uri="{BB962C8B-B14F-4D97-AF65-F5344CB8AC3E}">
        <p14:creationId xmlns:p14="http://schemas.microsoft.com/office/powerpoint/2010/main" val="3010636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/>
          <p:cNvSpPr txBox="1">
            <a:spLocks/>
          </p:cNvSpPr>
          <p:nvPr/>
        </p:nvSpPr>
        <p:spPr bwMode="auto">
          <a:xfrm>
            <a:off x="457202" y="162000"/>
            <a:ext cx="9176318" cy="83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rgbClr val="1F497D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GB" sz="1800" dirty="0" smtClean="0">
                <a:solidFill>
                  <a:schemeClr val="tx1"/>
                </a:solidFill>
              </a:rPr>
              <a:t>Process of undertaking </a:t>
            </a:r>
            <a:r>
              <a:rPr lang="en-GB" sz="1800" dirty="0">
                <a:solidFill>
                  <a:schemeClr val="tx1"/>
                </a:solidFill>
              </a:rPr>
              <a:t>inventory exercise in </a:t>
            </a:r>
            <a:r>
              <a:rPr lang="en-GB" sz="1800" dirty="0" smtClean="0">
                <a:solidFill>
                  <a:schemeClr val="tx1"/>
                </a:solidFill>
              </a:rPr>
              <a:t>Country Name (MM/YYYY – MM/YYYY)</a:t>
            </a:r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42" name="Freeform 41"/>
          <p:cNvSpPr/>
          <p:nvPr/>
        </p:nvSpPr>
        <p:spPr>
          <a:xfrm>
            <a:off x="3081552" y="1685314"/>
            <a:ext cx="6551968" cy="936000"/>
          </a:xfrm>
          <a:custGeom>
            <a:avLst/>
            <a:gdLst>
              <a:gd name="connsiteX0" fmla="*/ 106186 w 637104"/>
              <a:gd name="connsiteY0" fmla="*/ 0 h 6845414"/>
              <a:gd name="connsiteX1" fmla="*/ 530918 w 637104"/>
              <a:gd name="connsiteY1" fmla="*/ 0 h 6845414"/>
              <a:gd name="connsiteX2" fmla="*/ 637104 w 637104"/>
              <a:gd name="connsiteY2" fmla="*/ 106186 h 6845414"/>
              <a:gd name="connsiteX3" fmla="*/ 637104 w 637104"/>
              <a:gd name="connsiteY3" fmla="*/ 6845414 h 6845414"/>
              <a:gd name="connsiteX4" fmla="*/ 637104 w 637104"/>
              <a:gd name="connsiteY4" fmla="*/ 6845414 h 6845414"/>
              <a:gd name="connsiteX5" fmla="*/ 0 w 637104"/>
              <a:gd name="connsiteY5" fmla="*/ 6845414 h 6845414"/>
              <a:gd name="connsiteX6" fmla="*/ 0 w 637104"/>
              <a:gd name="connsiteY6" fmla="*/ 6845414 h 6845414"/>
              <a:gd name="connsiteX7" fmla="*/ 0 w 637104"/>
              <a:gd name="connsiteY7" fmla="*/ 106186 h 6845414"/>
              <a:gd name="connsiteX8" fmla="*/ 106186 w 637104"/>
              <a:gd name="connsiteY8" fmla="*/ 0 h 6845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7104" h="6845414">
                <a:moveTo>
                  <a:pt x="637104" y="1140927"/>
                </a:moveTo>
                <a:lnTo>
                  <a:pt x="637104" y="5704487"/>
                </a:lnTo>
                <a:cubicBezTo>
                  <a:pt x="637104" y="6334601"/>
                  <a:pt x="632679" y="6845409"/>
                  <a:pt x="627221" y="6845409"/>
                </a:cubicBezTo>
                <a:lnTo>
                  <a:pt x="0" y="6845409"/>
                </a:lnTo>
                <a:lnTo>
                  <a:pt x="0" y="6845409"/>
                </a:lnTo>
                <a:lnTo>
                  <a:pt x="0" y="5"/>
                </a:lnTo>
                <a:lnTo>
                  <a:pt x="0" y="5"/>
                </a:lnTo>
                <a:lnTo>
                  <a:pt x="627221" y="5"/>
                </a:lnTo>
                <a:cubicBezTo>
                  <a:pt x="632679" y="5"/>
                  <a:pt x="637104" y="510813"/>
                  <a:pt x="637104" y="1140927"/>
                </a:cubicBezTo>
                <a:close/>
              </a:path>
            </a:pathLst>
          </a:custGeom>
          <a:solidFill>
            <a:srgbClr val="D0D0D0">
              <a:alpha val="90000"/>
            </a:srgbClr>
          </a:solidFill>
          <a:ln w="25400" cap="flat" cmpd="sng" algn="ctr">
            <a:solidFill>
              <a:srgbClr val="4D4D4D">
                <a:tint val="40000"/>
                <a:alpha val="90000"/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txBody>
          <a:bodyPr spcFirstLastPara="0" vert="horz" wrap="square" lIns="91440" tIns="154925" rIns="0" bIns="154927" numCol="1" spcCol="1270" anchor="ctr" anchorCtr="0">
            <a:noAutofit/>
          </a:bodyPr>
          <a:lstStyle/>
          <a:p>
            <a:pPr marL="171450" marR="0" lvl="1" indent="-17145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•"/>
              <a:tabLst/>
              <a:defRPr/>
            </a:pPr>
            <a:r>
              <a:rPr kumimoji="0" 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el-based</a:t>
            </a:r>
            <a:r>
              <a:rPr kumimoji="0" lang="en-US" sz="1400" b="0" i="0" u="none" strike="noStrike" kern="0" cap="none" spc="0" normalizeH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ventory tool </a:t>
            </a:r>
            <a:r>
              <a:rPr kumimoji="0" 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red with focal points from X agencies</a:t>
            </a:r>
          </a:p>
          <a:p>
            <a:pPr marL="171450" marR="0" lvl="1" indent="-17145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•"/>
              <a:tabLst/>
              <a:defRPr/>
            </a:pPr>
            <a:r>
              <a:rPr kumimoji="0" 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llow-up by </a:t>
            </a:r>
            <a:r>
              <a:rPr kumimoji="0" lang="en-US" sz="1400" b="0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ACH facilitator/UN staff/consultant for </a:t>
            </a:r>
            <a:r>
              <a:rPr kumimoji="0" 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ro. to tool</a:t>
            </a:r>
          </a:p>
        </p:txBody>
      </p:sp>
      <p:sp>
        <p:nvSpPr>
          <p:cNvPr id="43" name="Freeform 42"/>
          <p:cNvSpPr/>
          <p:nvPr/>
        </p:nvSpPr>
        <p:spPr>
          <a:xfrm>
            <a:off x="920552" y="1703313"/>
            <a:ext cx="2056929" cy="900003"/>
          </a:xfrm>
          <a:custGeom>
            <a:avLst/>
            <a:gdLst>
              <a:gd name="connsiteX0" fmla="*/ 0 w 3780003"/>
              <a:gd name="connsiteY0" fmla="*/ 150004 h 900003"/>
              <a:gd name="connsiteX1" fmla="*/ 150004 w 3780003"/>
              <a:gd name="connsiteY1" fmla="*/ 0 h 900003"/>
              <a:gd name="connsiteX2" fmla="*/ 3629999 w 3780003"/>
              <a:gd name="connsiteY2" fmla="*/ 0 h 900003"/>
              <a:gd name="connsiteX3" fmla="*/ 3780003 w 3780003"/>
              <a:gd name="connsiteY3" fmla="*/ 150004 h 900003"/>
              <a:gd name="connsiteX4" fmla="*/ 3780003 w 3780003"/>
              <a:gd name="connsiteY4" fmla="*/ 749999 h 900003"/>
              <a:gd name="connsiteX5" fmla="*/ 3629999 w 3780003"/>
              <a:gd name="connsiteY5" fmla="*/ 900003 h 900003"/>
              <a:gd name="connsiteX6" fmla="*/ 150004 w 3780003"/>
              <a:gd name="connsiteY6" fmla="*/ 900003 h 900003"/>
              <a:gd name="connsiteX7" fmla="*/ 0 w 3780003"/>
              <a:gd name="connsiteY7" fmla="*/ 749999 h 900003"/>
              <a:gd name="connsiteX8" fmla="*/ 0 w 3780003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0003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29999" y="0"/>
                </a:lnTo>
                <a:cubicBezTo>
                  <a:pt x="3712844" y="0"/>
                  <a:pt x="3780003" y="67159"/>
                  <a:pt x="3780003" y="150004"/>
                </a:cubicBezTo>
                <a:lnTo>
                  <a:pt x="3780003" y="749999"/>
                </a:lnTo>
                <a:cubicBezTo>
                  <a:pt x="3780003" y="832844"/>
                  <a:pt x="3712844" y="900003"/>
                  <a:pt x="3629999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rgbClr val="548DD4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0" tIns="93465" rIns="0" bIns="93465" numCol="1" spcCol="1270" anchor="ctr" anchorCtr="0">
            <a:noAutofit/>
          </a:bodyPr>
          <a:lstStyle/>
          <a:p>
            <a:pPr marL="0" marR="0" lvl="0" indent="0" algn="ctr" defTabSz="11557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semination of &amp; introduction to tool</a:t>
            </a:r>
            <a:endParaRPr kumimoji="0" lang="en-GB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Freeform 43"/>
          <p:cNvSpPr/>
          <p:nvPr/>
        </p:nvSpPr>
        <p:spPr>
          <a:xfrm>
            <a:off x="3081552" y="2932652"/>
            <a:ext cx="6551968" cy="936000"/>
          </a:xfrm>
          <a:custGeom>
            <a:avLst/>
            <a:gdLst>
              <a:gd name="connsiteX0" fmla="*/ 201087 w 1206500"/>
              <a:gd name="connsiteY0" fmla="*/ 0 h 6845414"/>
              <a:gd name="connsiteX1" fmla="*/ 1005413 w 1206500"/>
              <a:gd name="connsiteY1" fmla="*/ 0 h 6845414"/>
              <a:gd name="connsiteX2" fmla="*/ 1206500 w 1206500"/>
              <a:gd name="connsiteY2" fmla="*/ 201087 h 6845414"/>
              <a:gd name="connsiteX3" fmla="*/ 1206500 w 1206500"/>
              <a:gd name="connsiteY3" fmla="*/ 6845414 h 6845414"/>
              <a:gd name="connsiteX4" fmla="*/ 1206500 w 1206500"/>
              <a:gd name="connsiteY4" fmla="*/ 6845414 h 6845414"/>
              <a:gd name="connsiteX5" fmla="*/ 0 w 1206500"/>
              <a:gd name="connsiteY5" fmla="*/ 6845414 h 6845414"/>
              <a:gd name="connsiteX6" fmla="*/ 0 w 1206500"/>
              <a:gd name="connsiteY6" fmla="*/ 6845414 h 6845414"/>
              <a:gd name="connsiteX7" fmla="*/ 0 w 1206500"/>
              <a:gd name="connsiteY7" fmla="*/ 201087 h 6845414"/>
              <a:gd name="connsiteX8" fmla="*/ 201087 w 1206500"/>
              <a:gd name="connsiteY8" fmla="*/ 0 h 6845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06500" h="6845414">
                <a:moveTo>
                  <a:pt x="1206500" y="1140925"/>
                </a:moveTo>
                <a:lnTo>
                  <a:pt x="1206500" y="5704489"/>
                </a:lnTo>
                <a:cubicBezTo>
                  <a:pt x="1206500" y="6334601"/>
                  <a:pt x="1190632" y="6845411"/>
                  <a:pt x="1171059" y="6845411"/>
                </a:cubicBezTo>
                <a:lnTo>
                  <a:pt x="0" y="6845411"/>
                </a:lnTo>
                <a:lnTo>
                  <a:pt x="0" y="6845411"/>
                </a:lnTo>
                <a:lnTo>
                  <a:pt x="0" y="3"/>
                </a:lnTo>
                <a:lnTo>
                  <a:pt x="0" y="3"/>
                </a:lnTo>
                <a:lnTo>
                  <a:pt x="1171059" y="3"/>
                </a:lnTo>
                <a:cubicBezTo>
                  <a:pt x="1190632" y="3"/>
                  <a:pt x="1206500" y="510813"/>
                  <a:pt x="1206500" y="1140925"/>
                </a:cubicBezTo>
                <a:close/>
              </a:path>
            </a:pathLst>
          </a:custGeom>
          <a:solidFill>
            <a:srgbClr val="D0D0D0"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91440" tIns="182721" rIns="0" bIns="182721" numCol="1" spcCol="1270" anchor="ctr" anchorCtr="0">
            <a:noAutofit/>
          </a:bodyPr>
          <a:lstStyle/>
          <a:p>
            <a:pPr marL="171450" marR="0" lvl="1" indent="-17145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•"/>
              <a:tabLst/>
              <a:defRPr/>
            </a:pPr>
            <a:r>
              <a:rPr kumimoji="0" 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</a:rPr>
              <a:t>Where necessary, focal points consulted with other sectors</a:t>
            </a:r>
          </a:p>
          <a:p>
            <a:pPr marL="171450" marR="0" lvl="1" indent="-17145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•"/>
              <a:tabLst/>
              <a:defRPr/>
            </a:pPr>
            <a:r>
              <a:rPr lang="en-US" sz="1400" kern="0" dirty="0" smtClean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Agency focal points enter data into the inventory</a:t>
            </a:r>
            <a:r>
              <a:rPr kumimoji="0" 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</a:rPr>
              <a:t> tool and submit completed</a:t>
            </a:r>
            <a:r>
              <a:rPr kumimoji="0" lang="en-US" sz="1400" b="0" i="0" u="none" strike="noStrike" kern="0" cap="none" spc="0" normalizeH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</a:rPr>
              <a:t> agency-specific inventory sheets to UN Network Secretariat</a:t>
            </a:r>
            <a:endParaRPr kumimoji="0" lang="en-US" sz="1400" b="0" i="0" u="none" strike="noStrike" kern="0" cap="none" spc="0" normalizeH="0" baseline="0" dirty="0" smtClean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5" name="Freeform 44"/>
          <p:cNvSpPr/>
          <p:nvPr/>
        </p:nvSpPr>
        <p:spPr>
          <a:xfrm>
            <a:off x="920552" y="2950651"/>
            <a:ext cx="2056929" cy="900003"/>
          </a:xfrm>
          <a:custGeom>
            <a:avLst/>
            <a:gdLst>
              <a:gd name="connsiteX0" fmla="*/ 0 w 3780003"/>
              <a:gd name="connsiteY0" fmla="*/ 150004 h 900003"/>
              <a:gd name="connsiteX1" fmla="*/ 150004 w 3780003"/>
              <a:gd name="connsiteY1" fmla="*/ 0 h 900003"/>
              <a:gd name="connsiteX2" fmla="*/ 3629999 w 3780003"/>
              <a:gd name="connsiteY2" fmla="*/ 0 h 900003"/>
              <a:gd name="connsiteX3" fmla="*/ 3780003 w 3780003"/>
              <a:gd name="connsiteY3" fmla="*/ 150004 h 900003"/>
              <a:gd name="connsiteX4" fmla="*/ 3780003 w 3780003"/>
              <a:gd name="connsiteY4" fmla="*/ 749999 h 900003"/>
              <a:gd name="connsiteX5" fmla="*/ 3629999 w 3780003"/>
              <a:gd name="connsiteY5" fmla="*/ 900003 h 900003"/>
              <a:gd name="connsiteX6" fmla="*/ 150004 w 3780003"/>
              <a:gd name="connsiteY6" fmla="*/ 900003 h 900003"/>
              <a:gd name="connsiteX7" fmla="*/ 0 w 3780003"/>
              <a:gd name="connsiteY7" fmla="*/ 749999 h 900003"/>
              <a:gd name="connsiteX8" fmla="*/ 0 w 3780003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0003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29999" y="0"/>
                </a:lnTo>
                <a:cubicBezTo>
                  <a:pt x="3712844" y="0"/>
                  <a:pt x="3780003" y="67159"/>
                  <a:pt x="3780003" y="150004"/>
                </a:cubicBezTo>
                <a:lnTo>
                  <a:pt x="3780003" y="749999"/>
                </a:lnTo>
                <a:cubicBezTo>
                  <a:pt x="3780003" y="832844"/>
                  <a:pt x="3712844" y="900003"/>
                  <a:pt x="3629999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rgbClr val="CC0099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0" tIns="93465" rIns="0" bIns="93465" numCol="1" spcCol="1270" anchor="ctr" anchorCtr="0">
            <a:noAutofit/>
          </a:bodyPr>
          <a:lstStyle/>
          <a:p>
            <a:pPr marL="0" marR="0" lvl="0" indent="0" algn="ctr" defTabSz="11557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ion of inventory tool</a:t>
            </a:r>
            <a:endParaRPr kumimoji="0" lang="en-GB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Freeform 45"/>
          <p:cNvSpPr/>
          <p:nvPr/>
        </p:nvSpPr>
        <p:spPr>
          <a:xfrm>
            <a:off x="3081552" y="4179990"/>
            <a:ext cx="6551968" cy="936000"/>
          </a:xfrm>
          <a:custGeom>
            <a:avLst/>
            <a:gdLst>
              <a:gd name="connsiteX0" fmla="*/ 201087 w 1206500"/>
              <a:gd name="connsiteY0" fmla="*/ 0 h 6832050"/>
              <a:gd name="connsiteX1" fmla="*/ 1005413 w 1206500"/>
              <a:gd name="connsiteY1" fmla="*/ 0 h 6832050"/>
              <a:gd name="connsiteX2" fmla="*/ 1206500 w 1206500"/>
              <a:gd name="connsiteY2" fmla="*/ 201087 h 6832050"/>
              <a:gd name="connsiteX3" fmla="*/ 1206500 w 1206500"/>
              <a:gd name="connsiteY3" fmla="*/ 6832050 h 6832050"/>
              <a:gd name="connsiteX4" fmla="*/ 1206500 w 1206500"/>
              <a:gd name="connsiteY4" fmla="*/ 6832050 h 6832050"/>
              <a:gd name="connsiteX5" fmla="*/ 0 w 1206500"/>
              <a:gd name="connsiteY5" fmla="*/ 6832050 h 6832050"/>
              <a:gd name="connsiteX6" fmla="*/ 0 w 1206500"/>
              <a:gd name="connsiteY6" fmla="*/ 6832050 h 6832050"/>
              <a:gd name="connsiteX7" fmla="*/ 0 w 1206500"/>
              <a:gd name="connsiteY7" fmla="*/ 201087 h 6832050"/>
              <a:gd name="connsiteX8" fmla="*/ 201087 w 1206500"/>
              <a:gd name="connsiteY8" fmla="*/ 0 h 683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06500" h="6832050">
                <a:moveTo>
                  <a:pt x="1206500" y="1138698"/>
                </a:moveTo>
                <a:lnTo>
                  <a:pt x="1206500" y="5693352"/>
                </a:lnTo>
                <a:cubicBezTo>
                  <a:pt x="1206500" y="6322235"/>
                  <a:pt x="1190601" y="6832047"/>
                  <a:pt x="1170989" y="6832047"/>
                </a:cubicBezTo>
                <a:lnTo>
                  <a:pt x="0" y="6832047"/>
                </a:lnTo>
                <a:lnTo>
                  <a:pt x="0" y="6832047"/>
                </a:lnTo>
                <a:lnTo>
                  <a:pt x="0" y="3"/>
                </a:lnTo>
                <a:lnTo>
                  <a:pt x="0" y="3"/>
                </a:lnTo>
                <a:lnTo>
                  <a:pt x="1170989" y="3"/>
                </a:lnTo>
                <a:cubicBezTo>
                  <a:pt x="1190601" y="3"/>
                  <a:pt x="1206500" y="509815"/>
                  <a:pt x="1206500" y="1138698"/>
                </a:cubicBezTo>
                <a:close/>
              </a:path>
            </a:pathLst>
          </a:custGeom>
          <a:solidFill>
            <a:srgbClr val="D0D0D0"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91440" tIns="182721" rIns="0" bIns="182721" numCol="1" spcCol="1270" anchor="ctr" anchorCtr="0">
            <a:noAutofit/>
          </a:bodyPr>
          <a:lstStyle/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kumimoji="0" 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</a:rPr>
              <a:t>Email exchanges between focal points and REACH / </a:t>
            </a:r>
            <a:r>
              <a:rPr lang="en-US" sz="1400" kern="0" dirty="0" smtClean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UN </a:t>
            </a:r>
            <a:r>
              <a:rPr lang="en-US" sz="14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Network </a:t>
            </a:r>
            <a:r>
              <a:rPr lang="en-US" sz="1400" kern="0" dirty="0" smtClean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Secretariat</a:t>
            </a:r>
            <a:r>
              <a:rPr kumimoji="0" 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</a:rPr>
              <a:t> for clarification about agency data, as needed</a:t>
            </a: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en-US" sz="14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REACH </a:t>
            </a:r>
            <a:r>
              <a:rPr lang="en-US" sz="1400" kern="0" dirty="0" smtClean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/ </a:t>
            </a:r>
            <a:r>
              <a:rPr lang="en-US" sz="14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UN Network </a:t>
            </a:r>
            <a:r>
              <a:rPr lang="en-US" sz="1400" kern="0" dirty="0" smtClean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</a:rPr>
              <a:t>Secretariat</a:t>
            </a:r>
            <a:r>
              <a:rPr kumimoji="0" lang="en-US" sz="1400" b="0" i="0" u="none" strike="noStrike" kern="0" cap="none" spc="0" normalizeH="0" baseline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/>
              </a:rPr>
              <a:t> conducts analysis of agency inventory data sheets and aggregates results across agencies</a:t>
            </a:r>
          </a:p>
        </p:txBody>
      </p:sp>
      <p:sp>
        <p:nvSpPr>
          <p:cNvPr id="47" name="Freeform 46"/>
          <p:cNvSpPr/>
          <p:nvPr/>
        </p:nvSpPr>
        <p:spPr>
          <a:xfrm>
            <a:off x="920934" y="4197989"/>
            <a:ext cx="2058941" cy="900003"/>
          </a:xfrm>
          <a:custGeom>
            <a:avLst/>
            <a:gdLst>
              <a:gd name="connsiteX0" fmla="*/ 0 w 3783700"/>
              <a:gd name="connsiteY0" fmla="*/ 150004 h 900003"/>
              <a:gd name="connsiteX1" fmla="*/ 150004 w 3783700"/>
              <a:gd name="connsiteY1" fmla="*/ 0 h 900003"/>
              <a:gd name="connsiteX2" fmla="*/ 3633696 w 3783700"/>
              <a:gd name="connsiteY2" fmla="*/ 0 h 900003"/>
              <a:gd name="connsiteX3" fmla="*/ 3783700 w 3783700"/>
              <a:gd name="connsiteY3" fmla="*/ 150004 h 900003"/>
              <a:gd name="connsiteX4" fmla="*/ 3783700 w 3783700"/>
              <a:gd name="connsiteY4" fmla="*/ 749999 h 900003"/>
              <a:gd name="connsiteX5" fmla="*/ 3633696 w 3783700"/>
              <a:gd name="connsiteY5" fmla="*/ 900003 h 900003"/>
              <a:gd name="connsiteX6" fmla="*/ 150004 w 3783700"/>
              <a:gd name="connsiteY6" fmla="*/ 900003 h 900003"/>
              <a:gd name="connsiteX7" fmla="*/ 0 w 3783700"/>
              <a:gd name="connsiteY7" fmla="*/ 749999 h 900003"/>
              <a:gd name="connsiteX8" fmla="*/ 0 w 3783700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3700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33696" y="0"/>
                </a:lnTo>
                <a:cubicBezTo>
                  <a:pt x="3716541" y="0"/>
                  <a:pt x="3783700" y="67159"/>
                  <a:pt x="3783700" y="150004"/>
                </a:cubicBezTo>
                <a:lnTo>
                  <a:pt x="3783700" y="749999"/>
                </a:lnTo>
                <a:cubicBezTo>
                  <a:pt x="3783700" y="832844"/>
                  <a:pt x="3716541" y="900003"/>
                  <a:pt x="3633696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rgbClr val="CC6600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0" tIns="93465" rIns="0" bIns="93465" numCol="1" spcCol="1270" anchor="ctr" anchorCtr="0">
            <a:noAutofit/>
          </a:bodyPr>
          <a:lstStyle/>
          <a:p>
            <a:pPr marL="0" marR="0" lvl="0" indent="0" algn="ctr" defTabSz="11557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sis of                  results</a:t>
            </a:r>
            <a:endParaRPr kumimoji="0" lang="en-GB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Freeform 47"/>
          <p:cNvSpPr/>
          <p:nvPr/>
        </p:nvSpPr>
        <p:spPr>
          <a:xfrm>
            <a:off x="920552" y="5445328"/>
            <a:ext cx="2056929" cy="900003"/>
          </a:xfrm>
          <a:custGeom>
            <a:avLst/>
            <a:gdLst>
              <a:gd name="connsiteX0" fmla="*/ 0 w 3780003"/>
              <a:gd name="connsiteY0" fmla="*/ 150004 h 900003"/>
              <a:gd name="connsiteX1" fmla="*/ 150004 w 3780003"/>
              <a:gd name="connsiteY1" fmla="*/ 0 h 900003"/>
              <a:gd name="connsiteX2" fmla="*/ 3629999 w 3780003"/>
              <a:gd name="connsiteY2" fmla="*/ 0 h 900003"/>
              <a:gd name="connsiteX3" fmla="*/ 3780003 w 3780003"/>
              <a:gd name="connsiteY3" fmla="*/ 150004 h 900003"/>
              <a:gd name="connsiteX4" fmla="*/ 3780003 w 3780003"/>
              <a:gd name="connsiteY4" fmla="*/ 749999 h 900003"/>
              <a:gd name="connsiteX5" fmla="*/ 3629999 w 3780003"/>
              <a:gd name="connsiteY5" fmla="*/ 900003 h 900003"/>
              <a:gd name="connsiteX6" fmla="*/ 150004 w 3780003"/>
              <a:gd name="connsiteY6" fmla="*/ 900003 h 900003"/>
              <a:gd name="connsiteX7" fmla="*/ 0 w 3780003"/>
              <a:gd name="connsiteY7" fmla="*/ 749999 h 900003"/>
              <a:gd name="connsiteX8" fmla="*/ 0 w 3780003"/>
              <a:gd name="connsiteY8" fmla="*/ 150004 h 90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80003" h="900003">
                <a:moveTo>
                  <a:pt x="0" y="150004"/>
                </a:moveTo>
                <a:cubicBezTo>
                  <a:pt x="0" y="67159"/>
                  <a:pt x="67159" y="0"/>
                  <a:pt x="150004" y="0"/>
                </a:cubicBezTo>
                <a:lnTo>
                  <a:pt x="3629999" y="0"/>
                </a:lnTo>
                <a:cubicBezTo>
                  <a:pt x="3712844" y="0"/>
                  <a:pt x="3780003" y="67159"/>
                  <a:pt x="3780003" y="150004"/>
                </a:cubicBezTo>
                <a:lnTo>
                  <a:pt x="3780003" y="749999"/>
                </a:lnTo>
                <a:cubicBezTo>
                  <a:pt x="3780003" y="832844"/>
                  <a:pt x="3712844" y="900003"/>
                  <a:pt x="3629999" y="900003"/>
                </a:cubicBezTo>
                <a:lnTo>
                  <a:pt x="150004" y="900003"/>
                </a:lnTo>
                <a:cubicBezTo>
                  <a:pt x="67159" y="900003"/>
                  <a:pt x="0" y="832844"/>
                  <a:pt x="0" y="749999"/>
                </a:cubicBezTo>
                <a:lnTo>
                  <a:pt x="0" y="150004"/>
                </a:lnTo>
                <a:close/>
              </a:path>
            </a:pathLst>
          </a:custGeom>
          <a:solidFill>
            <a:srgbClr val="009900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0" tIns="93465" rIns="0" bIns="93465" numCol="1" spcCol="1270" anchor="ctr" anchorCtr="0">
            <a:noAutofit/>
          </a:bodyPr>
          <a:lstStyle/>
          <a:p>
            <a:pPr marL="0" marR="0" lvl="0" indent="0" algn="ctr" defTabSz="11557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semination of results</a:t>
            </a:r>
            <a:endParaRPr kumimoji="0" lang="en-GB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Oval 2"/>
          <p:cNvSpPr/>
          <p:nvPr/>
        </p:nvSpPr>
        <p:spPr>
          <a:xfrm>
            <a:off x="344488" y="1898962"/>
            <a:ext cx="576064" cy="504056"/>
          </a:xfrm>
          <a:prstGeom prst="ellipse">
            <a:avLst/>
          </a:prstGeom>
          <a:solidFill>
            <a:srgbClr val="548D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1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0" name="Oval 49"/>
          <p:cNvSpPr/>
          <p:nvPr/>
        </p:nvSpPr>
        <p:spPr>
          <a:xfrm>
            <a:off x="344488" y="3148624"/>
            <a:ext cx="576064" cy="504056"/>
          </a:xfrm>
          <a:prstGeom prst="ellipse">
            <a:avLst/>
          </a:prstGeom>
          <a:solidFill>
            <a:srgbClr val="CC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2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1" name="Oval 50"/>
          <p:cNvSpPr/>
          <p:nvPr/>
        </p:nvSpPr>
        <p:spPr>
          <a:xfrm>
            <a:off x="344488" y="4398286"/>
            <a:ext cx="576064" cy="504056"/>
          </a:xfrm>
          <a:prstGeom prst="ellipse">
            <a:avLst/>
          </a:prstGeom>
          <a:solidFill>
            <a:srgbClr val="CC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3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2" name="Oval 51"/>
          <p:cNvSpPr/>
          <p:nvPr/>
        </p:nvSpPr>
        <p:spPr>
          <a:xfrm>
            <a:off x="344488" y="5647948"/>
            <a:ext cx="576064" cy="504056"/>
          </a:xfrm>
          <a:prstGeom prst="ellipse">
            <a:avLst/>
          </a:prstGeom>
          <a:solidFill>
            <a:srgbClr val="00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4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3" name="Freeform 52"/>
          <p:cNvSpPr/>
          <p:nvPr/>
        </p:nvSpPr>
        <p:spPr>
          <a:xfrm>
            <a:off x="3081552" y="5445328"/>
            <a:ext cx="6551968" cy="936000"/>
          </a:xfrm>
          <a:custGeom>
            <a:avLst/>
            <a:gdLst>
              <a:gd name="connsiteX0" fmla="*/ 201087 w 1206500"/>
              <a:gd name="connsiteY0" fmla="*/ 0 h 6832050"/>
              <a:gd name="connsiteX1" fmla="*/ 1005413 w 1206500"/>
              <a:gd name="connsiteY1" fmla="*/ 0 h 6832050"/>
              <a:gd name="connsiteX2" fmla="*/ 1206500 w 1206500"/>
              <a:gd name="connsiteY2" fmla="*/ 201087 h 6832050"/>
              <a:gd name="connsiteX3" fmla="*/ 1206500 w 1206500"/>
              <a:gd name="connsiteY3" fmla="*/ 6832050 h 6832050"/>
              <a:gd name="connsiteX4" fmla="*/ 1206500 w 1206500"/>
              <a:gd name="connsiteY4" fmla="*/ 6832050 h 6832050"/>
              <a:gd name="connsiteX5" fmla="*/ 0 w 1206500"/>
              <a:gd name="connsiteY5" fmla="*/ 6832050 h 6832050"/>
              <a:gd name="connsiteX6" fmla="*/ 0 w 1206500"/>
              <a:gd name="connsiteY6" fmla="*/ 6832050 h 6832050"/>
              <a:gd name="connsiteX7" fmla="*/ 0 w 1206500"/>
              <a:gd name="connsiteY7" fmla="*/ 201087 h 6832050"/>
              <a:gd name="connsiteX8" fmla="*/ 201087 w 1206500"/>
              <a:gd name="connsiteY8" fmla="*/ 0 h 683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06500" h="6832050">
                <a:moveTo>
                  <a:pt x="1206500" y="1138698"/>
                </a:moveTo>
                <a:lnTo>
                  <a:pt x="1206500" y="5693352"/>
                </a:lnTo>
                <a:cubicBezTo>
                  <a:pt x="1206500" y="6322235"/>
                  <a:pt x="1190601" y="6832047"/>
                  <a:pt x="1170989" y="6832047"/>
                </a:cubicBezTo>
                <a:lnTo>
                  <a:pt x="0" y="6832047"/>
                </a:lnTo>
                <a:lnTo>
                  <a:pt x="0" y="6832047"/>
                </a:lnTo>
                <a:lnTo>
                  <a:pt x="0" y="3"/>
                </a:lnTo>
                <a:lnTo>
                  <a:pt x="0" y="3"/>
                </a:lnTo>
                <a:lnTo>
                  <a:pt x="1170989" y="3"/>
                </a:lnTo>
                <a:cubicBezTo>
                  <a:pt x="1190601" y="3"/>
                  <a:pt x="1206500" y="509815"/>
                  <a:pt x="1206500" y="1138698"/>
                </a:cubicBezTo>
                <a:close/>
              </a:path>
            </a:pathLst>
          </a:custGeom>
          <a:solidFill>
            <a:srgbClr val="D0D0D0"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91440" tIns="182721" rIns="0" bIns="182721" numCol="1" spcCol="1270" anchor="ctr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ults shared in workshop with all focal points for </a:t>
            </a:r>
            <a:r>
              <a:rPr lang="en-US" sz="14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eedback / validation</a:t>
            </a: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4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mmary findings shared with other stakeholders, including government</a:t>
            </a:r>
          </a:p>
        </p:txBody>
      </p:sp>
      <p:sp>
        <p:nvSpPr>
          <p:cNvPr id="15" name="Rounded Rectangular Callout 14"/>
          <p:cNvSpPr/>
          <p:nvPr/>
        </p:nvSpPr>
        <p:spPr>
          <a:xfrm>
            <a:off x="387028" y="9106"/>
            <a:ext cx="3123976" cy="658282"/>
          </a:xfrm>
          <a:prstGeom prst="wedgeRoundRectCallout">
            <a:avLst>
              <a:gd name="adj1" fmla="val 61750"/>
              <a:gd name="adj2" fmla="val 3678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prstClr val="white"/>
                </a:solidFill>
                <a:latin typeface="Arial"/>
              </a:rPr>
              <a:t>Adapt the text in this slide to reflect the process that was carried out in-country</a:t>
            </a:r>
            <a:endParaRPr lang="en-GB" sz="1000" b="1" dirty="0" smtClean="0">
              <a:solidFill>
                <a:prstClr val="white"/>
              </a:solidFill>
            </a:endParaRPr>
          </a:p>
        </p:txBody>
      </p:sp>
      <p:sp>
        <p:nvSpPr>
          <p:cNvPr id="16" name="Rounded Rectangular Callout 15"/>
          <p:cNvSpPr/>
          <p:nvPr/>
        </p:nvSpPr>
        <p:spPr>
          <a:xfrm>
            <a:off x="7489545" y="1391986"/>
            <a:ext cx="1512168" cy="398375"/>
          </a:xfrm>
          <a:prstGeom prst="wedgeRoundRectCallout">
            <a:avLst>
              <a:gd name="adj1" fmla="val -24398"/>
              <a:gd name="adj2" fmla="val 7432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prstClr val="white"/>
                </a:solidFill>
                <a:latin typeface="Arial"/>
              </a:rPr>
              <a:t>Number of agencies</a:t>
            </a:r>
            <a:endParaRPr lang="en-GB" sz="1000" b="1" dirty="0" smtClean="0">
              <a:solidFill>
                <a:prstClr val="white"/>
              </a:solidFill>
            </a:endParaRPr>
          </a:p>
        </p:txBody>
      </p:sp>
      <p:sp>
        <p:nvSpPr>
          <p:cNvPr id="17" name="Rounded Rectangular Callout 16"/>
          <p:cNvSpPr/>
          <p:nvPr/>
        </p:nvSpPr>
        <p:spPr>
          <a:xfrm>
            <a:off x="5529444" y="2508912"/>
            <a:ext cx="1656184" cy="398375"/>
          </a:xfrm>
          <a:prstGeom prst="wedgeRoundRectCallout">
            <a:avLst>
              <a:gd name="adj1" fmla="val -28063"/>
              <a:gd name="adj2" fmla="val -8913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prstClr val="white"/>
                </a:solidFill>
                <a:latin typeface="Arial"/>
              </a:rPr>
              <a:t>Select which of these three introduced the tool</a:t>
            </a:r>
            <a:endParaRPr lang="en-GB" sz="1000" b="1" dirty="0" smtClean="0">
              <a:solidFill>
                <a:prstClr val="white"/>
              </a:solidFill>
            </a:endParaRPr>
          </a:p>
        </p:txBody>
      </p:sp>
      <p:sp>
        <p:nvSpPr>
          <p:cNvPr id="18" name="Rounded Rectangular Callout 17"/>
          <p:cNvSpPr/>
          <p:nvPr/>
        </p:nvSpPr>
        <p:spPr>
          <a:xfrm>
            <a:off x="8005497" y="3781615"/>
            <a:ext cx="1512168" cy="398375"/>
          </a:xfrm>
          <a:prstGeom prst="wedgeRoundRectCallout">
            <a:avLst>
              <a:gd name="adj1" fmla="val -28063"/>
              <a:gd name="adj2" fmla="val -8913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prstClr val="white"/>
                </a:solidFill>
                <a:latin typeface="Arial"/>
              </a:rPr>
              <a:t>Edit if necessary</a:t>
            </a:r>
            <a:endParaRPr lang="en-GB" sz="1000" b="1" dirty="0" smtClean="0">
              <a:solidFill>
                <a:prstClr val="white"/>
              </a:solidFill>
            </a:endParaRPr>
          </a:p>
        </p:txBody>
      </p:sp>
      <p:sp>
        <p:nvSpPr>
          <p:cNvPr id="19" name="Rounded Rectangular Callout 18"/>
          <p:cNvSpPr/>
          <p:nvPr/>
        </p:nvSpPr>
        <p:spPr>
          <a:xfrm>
            <a:off x="6810824" y="4647990"/>
            <a:ext cx="1512168" cy="566476"/>
          </a:xfrm>
          <a:prstGeom prst="wedgeRoundRectCallout">
            <a:avLst>
              <a:gd name="adj1" fmla="val -28063"/>
              <a:gd name="adj2" fmla="val -8913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prstClr val="white"/>
                </a:solidFill>
                <a:latin typeface="Arial"/>
              </a:rPr>
              <a:t>Edit based on who clarified and analysed the data</a:t>
            </a:r>
            <a:endParaRPr lang="en-GB" sz="1000" b="1" dirty="0" smtClean="0">
              <a:solidFill>
                <a:prstClr val="white"/>
              </a:solidFill>
            </a:endParaRPr>
          </a:p>
        </p:txBody>
      </p:sp>
      <p:sp>
        <p:nvSpPr>
          <p:cNvPr id="20" name="Rounded Rectangular Callout 19"/>
          <p:cNvSpPr/>
          <p:nvPr/>
        </p:nvSpPr>
        <p:spPr>
          <a:xfrm>
            <a:off x="7306694" y="6099951"/>
            <a:ext cx="2326826" cy="419142"/>
          </a:xfrm>
          <a:prstGeom prst="wedgeRoundRectCallout">
            <a:avLst>
              <a:gd name="adj1" fmla="val -28063"/>
              <a:gd name="adj2" fmla="val -8913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prstClr val="white"/>
                </a:solidFill>
                <a:latin typeface="Arial"/>
              </a:rPr>
              <a:t>Edit based on process experienced (or planned) in country</a:t>
            </a:r>
            <a:endParaRPr lang="en-GB" sz="1000" b="1" dirty="0" smtClean="0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00472" y="6501095"/>
            <a:ext cx="91747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ote: The results presented in these slides is based on data reported by the agencies who participated in the Inventory Exercise 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3716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5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Agenda</a:t>
            </a:r>
            <a:endParaRPr lang="en-US" sz="2000" dirty="0"/>
          </a:p>
        </p:txBody>
      </p:sp>
      <p:sp>
        <p:nvSpPr>
          <p:cNvPr id="8" name="Text Placeholder 3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-15552" y="2921000"/>
            <a:ext cx="9906000" cy="508000"/>
          </a:xfrm>
          <a:prstGeom prst="rect">
            <a:avLst/>
          </a:prstGeom>
          <a:noFill/>
          <a:effectLst/>
        </p:spPr>
        <p:txBody>
          <a:bodyPr vert="horz" wrap="square" lIns="457200" tIns="101600" rIns="0" bIns="1016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rgbClr val="4D4D4D">
                    <a:lumMod val="40000"/>
                    <a:lumOff val="60000"/>
                  </a:srgbClr>
                </a:solidFill>
              </a:rPr>
              <a:t>Introduction to inventory exercise</a:t>
            </a:r>
            <a:endParaRPr lang="en-US" sz="2000" dirty="0">
              <a:solidFill>
                <a:srgbClr val="4D4D4D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0" name="Text Placeholder 3">
            <a:hlinkClick r:id="rId10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-15552" y="3429000"/>
            <a:ext cx="9906000" cy="508000"/>
          </a:xfrm>
          <a:prstGeom prst="rect">
            <a:avLst/>
          </a:prstGeom>
          <a:noFill/>
          <a:effectLst/>
        </p:spPr>
        <p:txBody>
          <a:bodyPr vert="horz" wrap="square" lIns="457200" tIns="101600" rIns="0" bIns="1016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rgbClr val="548DD4"/>
                </a:solidFill>
              </a:rPr>
              <a:t>Results of inventory exercise</a:t>
            </a:r>
            <a:endParaRPr lang="en-US" sz="2000" dirty="0">
              <a:solidFill>
                <a:srgbClr val="548DD4"/>
              </a:solidFill>
            </a:endParaRPr>
          </a:p>
        </p:txBody>
      </p:sp>
      <p:sp>
        <p:nvSpPr>
          <p:cNvPr id="11" name="Text Placeholder 3">
            <a:hlinkClick r:id="rId10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-15552" y="3935663"/>
            <a:ext cx="9906000" cy="508000"/>
          </a:xfrm>
          <a:prstGeom prst="rect">
            <a:avLst/>
          </a:prstGeom>
          <a:noFill/>
          <a:effectLst/>
        </p:spPr>
        <p:txBody>
          <a:bodyPr vert="horz" wrap="square" lIns="457200" tIns="101600" rIns="0" bIns="1016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rgbClr val="B2B2B2"/>
                </a:solidFill>
              </a:rPr>
              <a:t>Next steps </a:t>
            </a:r>
            <a:endParaRPr lang="en-US" sz="2000" dirty="0">
              <a:solidFill>
                <a:srgbClr val="B2B2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9712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5" name="Group 374"/>
          <p:cNvGrpSpPr>
            <a:grpSpLocks noChangeAspect="1"/>
          </p:cNvGrpSpPr>
          <p:nvPr/>
        </p:nvGrpSpPr>
        <p:grpSpPr>
          <a:xfrm>
            <a:off x="3725095" y="1575761"/>
            <a:ext cx="2572009" cy="3312951"/>
            <a:chOff x="4131895" y="1614522"/>
            <a:chExt cx="1701378" cy="3509813"/>
          </a:xfrm>
        </p:grpSpPr>
        <p:sp>
          <p:nvSpPr>
            <p:cNvPr id="376" name="Freeform 375"/>
            <p:cNvSpPr>
              <a:spLocks/>
            </p:cNvSpPr>
            <p:nvPr/>
          </p:nvSpPr>
          <p:spPr bwMode="auto">
            <a:xfrm>
              <a:off x="4305741" y="3918523"/>
              <a:ext cx="507782" cy="883038"/>
            </a:xfrm>
            <a:custGeom>
              <a:avLst/>
              <a:gdLst>
                <a:gd name="T0" fmla="*/ 2039 w 2547"/>
                <a:gd name="T1" fmla="*/ 3029 h 3272"/>
                <a:gd name="T2" fmla="*/ 1538 w 2547"/>
                <a:gd name="T3" fmla="*/ 3233 h 3272"/>
                <a:gd name="T4" fmla="*/ 1364 w 2547"/>
                <a:gd name="T5" fmla="*/ 3099 h 3272"/>
                <a:gd name="T6" fmla="*/ 1359 w 2547"/>
                <a:gd name="T7" fmla="*/ 3040 h 3272"/>
                <a:gd name="T8" fmla="*/ 1303 w 2547"/>
                <a:gd name="T9" fmla="*/ 3013 h 3272"/>
                <a:gd name="T10" fmla="*/ 1286 w 2547"/>
                <a:gd name="T11" fmla="*/ 2922 h 3272"/>
                <a:gd name="T12" fmla="*/ 1314 w 2547"/>
                <a:gd name="T13" fmla="*/ 2891 h 3272"/>
                <a:gd name="T14" fmla="*/ 1292 w 2547"/>
                <a:gd name="T15" fmla="*/ 2864 h 3272"/>
                <a:gd name="T16" fmla="*/ 1259 w 2547"/>
                <a:gd name="T17" fmla="*/ 2775 h 3272"/>
                <a:gd name="T18" fmla="*/ 1236 w 2547"/>
                <a:gd name="T19" fmla="*/ 2716 h 3272"/>
                <a:gd name="T20" fmla="*/ 1184 w 2547"/>
                <a:gd name="T21" fmla="*/ 2644 h 3272"/>
                <a:gd name="T22" fmla="*/ 1136 w 2547"/>
                <a:gd name="T23" fmla="*/ 2579 h 3272"/>
                <a:gd name="T24" fmla="*/ 1060 w 2547"/>
                <a:gd name="T25" fmla="*/ 2468 h 3272"/>
                <a:gd name="T26" fmla="*/ 953 w 2547"/>
                <a:gd name="T27" fmla="*/ 2428 h 3272"/>
                <a:gd name="T28" fmla="*/ 860 w 2547"/>
                <a:gd name="T29" fmla="*/ 2365 h 3272"/>
                <a:gd name="T30" fmla="*/ 769 w 2547"/>
                <a:gd name="T31" fmla="*/ 2356 h 3272"/>
                <a:gd name="T32" fmla="*/ 704 w 2547"/>
                <a:gd name="T33" fmla="*/ 2336 h 3272"/>
                <a:gd name="T34" fmla="*/ 590 w 2547"/>
                <a:gd name="T35" fmla="*/ 2333 h 3272"/>
                <a:gd name="T36" fmla="*/ 374 w 2547"/>
                <a:gd name="T37" fmla="*/ 2071 h 3272"/>
                <a:gd name="T38" fmla="*/ 101 w 2547"/>
                <a:gd name="T39" fmla="*/ 1185 h 3272"/>
                <a:gd name="T40" fmla="*/ 54 w 2547"/>
                <a:gd name="T41" fmla="*/ 859 h 3272"/>
                <a:gd name="T42" fmla="*/ 740 w 2547"/>
                <a:gd name="T43" fmla="*/ 159 h 3272"/>
                <a:gd name="T44" fmla="*/ 1011 w 2547"/>
                <a:gd name="T45" fmla="*/ 68 h 3272"/>
                <a:gd name="T46" fmla="*/ 1127 w 2547"/>
                <a:gd name="T47" fmla="*/ 85 h 3272"/>
                <a:gd name="T48" fmla="*/ 1217 w 2547"/>
                <a:gd name="T49" fmla="*/ 152 h 3272"/>
                <a:gd name="T50" fmla="*/ 1317 w 2547"/>
                <a:gd name="T51" fmla="*/ 152 h 3272"/>
                <a:gd name="T52" fmla="*/ 1388 w 2547"/>
                <a:gd name="T53" fmla="*/ 214 h 3272"/>
                <a:gd name="T54" fmla="*/ 1479 w 2547"/>
                <a:gd name="T55" fmla="*/ 166 h 3272"/>
                <a:gd name="T56" fmla="*/ 1571 w 2547"/>
                <a:gd name="T57" fmla="*/ 143 h 3272"/>
                <a:gd name="T58" fmla="*/ 1530 w 2547"/>
                <a:gd name="T59" fmla="*/ 245 h 3272"/>
                <a:gd name="T60" fmla="*/ 1630 w 2547"/>
                <a:gd name="T61" fmla="*/ 607 h 3272"/>
                <a:gd name="T62" fmla="*/ 1635 w 2547"/>
                <a:gd name="T63" fmla="*/ 677 h 3272"/>
                <a:gd name="T64" fmla="*/ 1659 w 2547"/>
                <a:gd name="T65" fmla="*/ 776 h 3272"/>
                <a:gd name="T66" fmla="*/ 1666 w 2547"/>
                <a:gd name="T67" fmla="*/ 864 h 3272"/>
                <a:gd name="T68" fmla="*/ 1609 w 2547"/>
                <a:gd name="T69" fmla="*/ 904 h 3272"/>
                <a:gd name="T70" fmla="*/ 1583 w 2547"/>
                <a:gd name="T71" fmla="*/ 989 h 3272"/>
                <a:gd name="T72" fmla="*/ 1609 w 2547"/>
                <a:gd name="T73" fmla="*/ 1054 h 3272"/>
                <a:gd name="T74" fmla="*/ 1723 w 2547"/>
                <a:gd name="T75" fmla="*/ 1121 h 3272"/>
                <a:gd name="T76" fmla="*/ 1769 w 2547"/>
                <a:gd name="T77" fmla="*/ 1202 h 3272"/>
                <a:gd name="T78" fmla="*/ 1898 w 2547"/>
                <a:gd name="T79" fmla="*/ 1307 h 3272"/>
                <a:gd name="T80" fmla="*/ 1916 w 2547"/>
                <a:gd name="T81" fmla="*/ 1373 h 3272"/>
                <a:gd name="T82" fmla="*/ 1976 w 2547"/>
                <a:gd name="T83" fmla="*/ 1426 h 3272"/>
                <a:gd name="T84" fmla="*/ 2025 w 2547"/>
                <a:gd name="T85" fmla="*/ 1498 h 3272"/>
                <a:gd name="T86" fmla="*/ 2044 w 2547"/>
                <a:gd name="T87" fmla="*/ 1555 h 3272"/>
                <a:gd name="T88" fmla="*/ 2064 w 2547"/>
                <a:gd name="T89" fmla="*/ 1618 h 3272"/>
                <a:gd name="T90" fmla="*/ 2050 w 2547"/>
                <a:gd name="T91" fmla="*/ 1640 h 3272"/>
                <a:gd name="T92" fmla="*/ 2055 w 2547"/>
                <a:gd name="T93" fmla="*/ 1693 h 3272"/>
                <a:gd name="T94" fmla="*/ 2078 w 2547"/>
                <a:gd name="T95" fmla="*/ 1748 h 3272"/>
                <a:gd name="T96" fmla="*/ 2117 w 2547"/>
                <a:gd name="T97" fmla="*/ 1780 h 3272"/>
                <a:gd name="T98" fmla="*/ 2114 w 2547"/>
                <a:gd name="T99" fmla="*/ 1813 h 3272"/>
                <a:gd name="T100" fmla="*/ 2094 w 2547"/>
                <a:gd name="T101" fmla="*/ 1870 h 3272"/>
                <a:gd name="T102" fmla="*/ 2119 w 2547"/>
                <a:gd name="T103" fmla="*/ 1901 h 3272"/>
                <a:gd name="T104" fmla="*/ 2114 w 2547"/>
                <a:gd name="T105" fmla="*/ 1940 h 3272"/>
                <a:gd name="T106" fmla="*/ 2108 w 2547"/>
                <a:gd name="T107" fmla="*/ 2010 h 3272"/>
                <a:gd name="T108" fmla="*/ 2119 w 2547"/>
                <a:gd name="T109" fmla="*/ 2049 h 3272"/>
                <a:gd name="T110" fmla="*/ 2108 w 2547"/>
                <a:gd name="T111" fmla="*/ 2103 h 3272"/>
                <a:gd name="T112" fmla="*/ 2104 w 2547"/>
                <a:gd name="T113" fmla="*/ 2163 h 3272"/>
                <a:gd name="T114" fmla="*/ 2144 w 2547"/>
                <a:gd name="T115" fmla="*/ 2219 h 3272"/>
                <a:gd name="T116" fmla="*/ 2307 w 2547"/>
                <a:gd name="T117" fmla="*/ 2580 h 3272"/>
                <a:gd name="T118" fmla="*/ 2418 w 2547"/>
                <a:gd name="T119" fmla="*/ 2552 h 3272"/>
                <a:gd name="T120" fmla="*/ 2498 w 2547"/>
                <a:gd name="T121" fmla="*/ 2638 h 327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547"/>
                <a:gd name="T184" fmla="*/ 0 h 3272"/>
                <a:gd name="T185" fmla="*/ 2547 w 2547"/>
                <a:gd name="T186" fmla="*/ 3272 h 327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547" h="3272">
                  <a:moveTo>
                    <a:pt x="2489" y="2875"/>
                  </a:moveTo>
                  <a:lnTo>
                    <a:pt x="2475" y="2880"/>
                  </a:lnTo>
                  <a:lnTo>
                    <a:pt x="2468" y="2885"/>
                  </a:lnTo>
                  <a:lnTo>
                    <a:pt x="2438" y="2897"/>
                  </a:lnTo>
                  <a:lnTo>
                    <a:pt x="2423" y="2902"/>
                  </a:lnTo>
                  <a:lnTo>
                    <a:pt x="2412" y="2907"/>
                  </a:lnTo>
                  <a:lnTo>
                    <a:pt x="2377" y="2916"/>
                  </a:lnTo>
                  <a:lnTo>
                    <a:pt x="2365" y="2916"/>
                  </a:lnTo>
                  <a:lnTo>
                    <a:pt x="2356" y="2917"/>
                  </a:lnTo>
                  <a:lnTo>
                    <a:pt x="2253" y="2958"/>
                  </a:lnTo>
                  <a:lnTo>
                    <a:pt x="2210" y="2971"/>
                  </a:lnTo>
                  <a:lnTo>
                    <a:pt x="2188" y="2981"/>
                  </a:lnTo>
                  <a:lnTo>
                    <a:pt x="2176" y="2984"/>
                  </a:lnTo>
                  <a:lnTo>
                    <a:pt x="2163" y="2992"/>
                  </a:lnTo>
                  <a:lnTo>
                    <a:pt x="2144" y="2995"/>
                  </a:lnTo>
                  <a:lnTo>
                    <a:pt x="2133" y="2999"/>
                  </a:lnTo>
                  <a:lnTo>
                    <a:pt x="2121" y="3001"/>
                  </a:lnTo>
                  <a:lnTo>
                    <a:pt x="2078" y="3014"/>
                  </a:lnTo>
                  <a:lnTo>
                    <a:pt x="2057" y="3021"/>
                  </a:lnTo>
                  <a:lnTo>
                    <a:pt x="2039" y="3029"/>
                  </a:lnTo>
                  <a:lnTo>
                    <a:pt x="2003" y="3041"/>
                  </a:lnTo>
                  <a:lnTo>
                    <a:pt x="1969" y="3054"/>
                  </a:lnTo>
                  <a:lnTo>
                    <a:pt x="1957" y="3056"/>
                  </a:lnTo>
                  <a:lnTo>
                    <a:pt x="1939" y="3065"/>
                  </a:lnTo>
                  <a:lnTo>
                    <a:pt x="1904" y="3079"/>
                  </a:lnTo>
                  <a:lnTo>
                    <a:pt x="1878" y="3093"/>
                  </a:lnTo>
                  <a:lnTo>
                    <a:pt x="1848" y="3104"/>
                  </a:lnTo>
                  <a:lnTo>
                    <a:pt x="1818" y="3113"/>
                  </a:lnTo>
                  <a:lnTo>
                    <a:pt x="1797" y="3124"/>
                  </a:lnTo>
                  <a:lnTo>
                    <a:pt x="1769" y="3135"/>
                  </a:lnTo>
                  <a:lnTo>
                    <a:pt x="1764" y="3137"/>
                  </a:lnTo>
                  <a:lnTo>
                    <a:pt x="1730" y="3149"/>
                  </a:lnTo>
                  <a:lnTo>
                    <a:pt x="1689" y="3168"/>
                  </a:lnTo>
                  <a:lnTo>
                    <a:pt x="1648" y="3183"/>
                  </a:lnTo>
                  <a:lnTo>
                    <a:pt x="1630" y="3193"/>
                  </a:lnTo>
                  <a:lnTo>
                    <a:pt x="1591" y="3210"/>
                  </a:lnTo>
                  <a:lnTo>
                    <a:pt x="1560" y="3227"/>
                  </a:lnTo>
                  <a:lnTo>
                    <a:pt x="1558" y="3227"/>
                  </a:lnTo>
                  <a:lnTo>
                    <a:pt x="1552" y="3227"/>
                  </a:lnTo>
                  <a:lnTo>
                    <a:pt x="1538" y="3233"/>
                  </a:lnTo>
                  <a:lnTo>
                    <a:pt x="1470" y="3272"/>
                  </a:lnTo>
                  <a:lnTo>
                    <a:pt x="1470" y="3235"/>
                  </a:lnTo>
                  <a:lnTo>
                    <a:pt x="1473" y="3205"/>
                  </a:lnTo>
                  <a:lnTo>
                    <a:pt x="1470" y="3191"/>
                  </a:lnTo>
                  <a:lnTo>
                    <a:pt x="1469" y="3170"/>
                  </a:lnTo>
                  <a:lnTo>
                    <a:pt x="1466" y="3163"/>
                  </a:lnTo>
                  <a:lnTo>
                    <a:pt x="1457" y="3149"/>
                  </a:lnTo>
                  <a:lnTo>
                    <a:pt x="1442" y="3127"/>
                  </a:lnTo>
                  <a:lnTo>
                    <a:pt x="1355" y="3129"/>
                  </a:lnTo>
                  <a:lnTo>
                    <a:pt x="1355" y="3124"/>
                  </a:lnTo>
                  <a:lnTo>
                    <a:pt x="1359" y="3123"/>
                  </a:lnTo>
                  <a:lnTo>
                    <a:pt x="1359" y="3120"/>
                  </a:lnTo>
                  <a:lnTo>
                    <a:pt x="1362" y="3112"/>
                  </a:lnTo>
                  <a:lnTo>
                    <a:pt x="1360" y="3111"/>
                  </a:lnTo>
                  <a:lnTo>
                    <a:pt x="1357" y="3110"/>
                  </a:lnTo>
                  <a:lnTo>
                    <a:pt x="1357" y="3108"/>
                  </a:lnTo>
                  <a:lnTo>
                    <a:pt x="1359" y="3108"/>
                  </a:lnTo>
                  <a:lnTo>
                    <a:pt x="1357" y="3104"/>
                  </a:lnTo>
                  <a:lnTo>
                    <a:pt x="1362" y="3100"/>
                  </a:lnTo>
                  <a:lnTo>
                    <a:pt x="1364" y="3099"/>
                  </a:lnTo>
                  <a:lnTo>
                    <a:pt x="1366" y="3094"/>
                  </a:lnTo>
                  <a:lnTo>
                    <a:pt x="1370" y="3091"/>
                  </a:lnTo>
                  <a:lnTo>
                    <a:pt x="1371" y="3088"/>
                  </a:lnTo>
                  <a:lnTo>
                    <a:pt x="1370" y="3082"/>
                  </a:lnTo>
                  <a:lnTo>
                    <a:pt x="1371" y="3079"/>
                  </a:lnTo>
                  <a:lnTo>
                    <a:pt x="1369" y="3073"/>
                  </a:lnTo>
                  <a:lnTo>
                    <a:pt x="1364" y="3073"/>
                  </a:lnTo>
                  <a:lnTo>
                    <a:pt x="1359" y="3075"/>
                  </a:lnTo>
                  <a:lnTo>
                    <a:pt x="1353" y="3068"/>
                  </a:lnTo>
                  <a:lnTo>
                    <a:pt x="1349" y="3066"/>
                  </a:lnTo>
                  <a:lnTo>
                    <a:pt x="1348" y="3065"/>
                  </a:lnTo>
                  <a:lnTo>
                    <a:pt x="1348" y="3063"/>
                  </a:lnTo>
                  <a:lnTo>
                    <a:pt x="1350" y="3062"/>
                  </a:lnTo>
                  <a:lnTo>
                    <a:pt x="1349" y="3056"/>
                  </a:lnTo>
                  <a:lnTo>
                    <a:pt x="1353" y="3056"/>
                  </a:lnTo>
                  <a:lnTo>
                    <a:pt x="1353" y="3053"/>
                  </a:lnTo>
                  <a:lnTo>
                    <a:pt x="1355" y="3049"/>
                  </a:lnTo>
                  <a:lnTo>
                    <a:pt x="1355" y="3046"/>
                  </a:lnTo>
                  <a:lnTo>
                    <a:pt x="1357" y="3045"/>
                  </a:lnTo>
                  <a:lnTo>
                    <a:pt x="1359" y="3040"/>
                  </a:lnTo>
                  <a:lnTo>
                    <a:pt x="1360" y="3041"/>
                  </a:lnTo>
                  <a:lnTo>
                    <a:pt x="1363" y="3038"/>
                  </a:lnTo>
                  <a:lnTo>
                    <a:pt x="1363" y="3037"/>
                  </a:lnTo>
                  <a:lnTo>
                    <a:pt x="1360" y="3033"/>
                  </a:lnTo>
                  <a:lnTo>
                    <a:pt x="1357" y="3033"/>
                  </a:lnTo>
                  <a:lnTo>
                    <a:pt x="1355" y="3033"/>
                  </a:lnTo>
                  <a:lnTo>
                    <a:pt x="1352" y="3033"/>
                  </a:lnTo>
                  <a:lnTo>
                    <a:pt x="1348" y="3032"/>
                  </a:lnTo>
                  <a:lnTo>
                    <a:pt x="1344" y="3032"/>
                  </a:lnTo>
                  <a:lnTo>
                    <a:pt x="1341" y="3031"/>
                  </a:lnTo>
                  <a:lnTo>
                    <a:pt x="1334" y="3032"/>
                  </a:lnTo>
                  <a:lnTo>
                    <a:pt x="1330" y="3029"/>
                  </a:lnTo>
                  <a:lnTo>
                    <a:pt x="1322" y="3028"/>
                  </a:lnTo>
                  <a:lnTo>
                    <a:pt x="1321" y="3025"/>
                  </a:lnTo>
                  <a:lnTo>
                    <a:pt x="1317" y="3025"/>
                  </a:lnTo>
                  <a:lnTo>
                    <a:pt x="1316" y="3023"/>
                  </a:lnTo>
                  <a:lnTo>
                    <a:pt x="1313" y="3021"/>
                  </a:lnTo>
                  <a:lnTo>
                    <a:pt x="1302" y="3021"/>
                  </a:lnTo>
                  <a:lnTo>
                    <a:pt x="1300" y="3017"/>
                  </a:lnTo>
                  <a:lnTo>
                    <a:pt x="1303" y="3013"/>
                  </a:lnTo>
                  <a:lnTo>
                    <a:pt x="1303" y="3009"/>
                  </a:lnTo>
                  <a:lnTo>
                    <a:pt x="1296" y="3003"/>
                  </a:lnTo>
                  <a:lnTo>
                    <a:pt x="1295" y="3000"/>
                  </a:lnTo>
                  <a:lnTo>
                    <a:pt x="1295" y="2998"/>
                  </a:lnTo>
                  <a:lnTo>
                    <a:pt x="1300" y="2975"/>
                  </a:lnTo>
                  <a:lnTo>
                    <a:pt x="1299" y="2972"/>
                  </a:lnTo>
                  <a:lnTo>
                    <a:pt x="1295" y="2969"/>
                  </a:lnTo>
                  <a:lnTo>
                    <a:pt x="1296" y="2967"/>
                  </a:lnTo>
                  <a:lnTo>
                    <a:pt x="1300" y="2967"/>
                  </a:lnTo>
                  <a:lnTo>
                    <a:pt x="1302" y="2964"/>
                  </a:lnTo>
                  <a:lnTo>
                    <a:pt x="1302" y="2961"/>
                  </a:lnTo>
                  <a:lnTo>
                    <a:pt x="1297" y="2958"/>
                  </a:lnTo>
                  <a:lnTo>
                    <a:pt x="1299" y="2955"/>
                  </a:lnTo>
                  <a:lnTo>
                    <a:pt x="1302" y="2954"/>
                  </a:lnTo>
                  <a:lnTo>
                    <a:pt x="1303" y="2950"/>
                  </a:lnTo>
                  <a:lnTo>
                    <a:pt x="1302" y="2946"/>
                  </a:lnTo>
                  <a:lnTo>
                    <a:pt x="1295" y="2945"/>
                  </a:lnTo>
                  <a:lnTo>
                    <a:pt x="1286" y="2939"/>
                  </a:lnTo>
                  <a:lnTo>
                    <a:pt x="1285" y="2936"/>
                  </a:lnTo>
                  <a:lnTo>
                    <a:pt x="1286" y="2922"/>
                  </a:lnTo>
                  <a:lnTo>
                    <a:pt x="1289" y="2917"/>
                  </a:lnTo>
                  <a:lnTo>
                    <a:pt x="1294" y="2913"/>
                  </a:lnTo>
                  <a:lnTo>
                    <a:pt x="1295" y="2911"/>
                  </a:lnTo>
                  <a:lnTo>
                    <a:pt x="1295" y="2907"/>
                  </a:lnTo>
                  <a:lnTo>
                    <a:pt x="1296" y="2905"/>
                  </a:lnTo>
                  <a:lnTo>
                    <a:pt x="1300" y="2908"/>
                  </a:lnTo>
                  <a:lnTo>
                    <a:pt x="1302" y="2907"/>
                  </a:lnTo>
                  <a:lnTo>
                    <a:pt x="1299" y="2907"/>
                  </a:lnTo>
                  <a:lnTo>
                    <a:pt x="1300" y="2904"/>
                  </a:lnTo>
                  <a:lnTo>
                    <a:pt x="1306" y="2902"/>
                  </a:lnTo>
                  <a:lnTo>
                    <a:pt x="1306" y="2900"/>
                  </a:lnTo>
                  <a:lnTo>
                    <a:pt x="1309" y="2900"/>
                  </a:lnTo>
                  <a:lnTo>
                    <a:pt x="1309" y="2899"/>
                  </a:lnTo>
                  <a:lnTo>
                    <a:pt x="1311" y="2897"/>
                  </a:lnTo>
                  <a:lnTo>
                    <a:pt x="1313" y="2899"/>
                  </a:lnTo>
                  <a:lnTo>
                    <a:pt x="1316" y="2897"/>
                  </a:lnTo>
                  <a:lnTo>
                    <a:pt x="1317" y="2899"/>
                  </a:lnTo>
                  <a:lnTo>
                    <a:pt x="1319" y="2897"/>
                  </a:lnTo>
                  <a:lnTo>
                    <a:pt x="1317" y="2894"/>
                  </a:lnTo>
                  <a:lnTo>
                    <a:pt x="1314" y="2891"/>
                  </a:lnTo>
                  <a:lnTo>
                    <a:pt x="1316" y="2889"/>
                  </a:lnTo>
                  <a:lnTo>
                    <a:pt x="1316" y="2888"/>
                  </a:lnTo>
                  <a:lnTo>
                    <a:pt x="1316" y="2885"/>
                  </a:lnTo>
                  <a:lnTo>
                    <a:pt x="1314" y="2884"/>
                  </a:lnTo>
                  <a:lnTo>
                    <a:pt x="1313" y="2885"/>
                  </a:lnTo>
                  <a:lnTo>
                    <a:pt x="1306" y="2884"/>
                  </a:lnTo>
                  <a:lnTo>
                    <a:pt x="1305" y="2885"/>
                  </a:lnTo>
                  <a:lnTo>
                    <a:pt x="1302" y="2885"/>
                  </a:lnTo>
                  <a:lnTo>
                    <a:pt x="1296" y="2883"/>
                  </a:lnTo>
                  <a:lnTo>
                    <a:pt x="1297" y="2880"/>
                  </a:lnTo>
                  <a:lnTo>
                    <a:pt x="1295" y="2879"/>
                  </a:lnTo>
                  <a:lnTo>
                    <a:pt x="1297" y="2877"/>
                  </a:lnTo>
                  <a:lnTo>
                    <a:pt x="1295" y="2876"/>
                  </a:lnTo>
                  <a:lnTo>
                    <a:pt x="1297" y="2874"/>
                  </a:lnTo>
                  <a:lnTo>
                    <a:pt x="1296" y="2872"/>
                  </a:lnTo>
                  <a:lnTo>
                    <a:pt x="1294" y="2872"/>
                  </a:lnTo>
                  <a:lnTo>
                    <a:pt x="1292" y="2871"/>
                  </a:lnTo>
                  <a:lnTo>
                    <a:pt x="1292" y="2867"/>
                  </a:lnTo>
                  <a:lnTo>
                    <a:pt x="1294" y="2866"/>
                  </a:lnTo>
                  <a:lnTo>
                    <a:pt x="1292" y="2864"/>
                  </a:lnTo>
                  <a:lnTo>
                    <a:pt x="1294" y="2863"/>
                  </a:lnTo>
                  <a:lnTo>
                    <a:pt x="1286" y="2860"/>
                  </a:lnTo>
                  <a:lnTo>
                    <a:pt x="1288" y="2858"/>
                  </a:lnTo>
                  <a:lnTo>
                    <a:pt x="1291" y="2857"/>
                  </a:lnTo>
                  <a:lnTo>
                    <a:pt x="1289" y="2854"/>
                  </a:lnTo>
                  <a:lnTo>
                    <a:pt x="1291" y="2854"/>
                  </a:lnTo>
                  <a:lnTo>
                    <a:pt x="1291" y="2852"/>
                  </a:lnTo>
                  <a:lnTo>
                    <a:pt x="1291" y="2851"/>
                  </a:lnTo>
                  <a:lnTo>
                    <a:pt x="1285" y="2851"/>
                  </a:lnTo>
                  <a:lnTo>
                    <a:pt x="1285" y="2850"/>
                  </a:lnTo>
                  <a:lnTo>
                    <a:pt x="1296" y="2834"/>
                  </a:lnTo>
                  <a:lnTo>
                    <a:pt x="1306" y="2824"/>
                  </a:lnTo>
                  <a:lnTo>
                    <a:pt x="1327" y="2775"/>
                  </a:lnTo>
                  <a:lnTo>
                    <a:pt x="1288" y="2775"/>
                  </a:lnTo>
                  <a:lnTo>
                    <a:pt x="1272" y="2775"/>
                  </a:lnTo>
                  <a:lnTo>
                    <a:pt x="1260" y="2785"/>
                  </a:lnTo>
                  <a:lnTo>
                    <a:pt x="1256" y="2787"/>
                  </a:lnTo>
                  <a:lnTo>
                    <a:pt x="1256" y="2782"/>
                  </a:lnTo>
                  <a:lnTo>
                    <a:pt x="1260" y="2779"/>
                  </a:lnTo>
                  <a:lnTo>
                    <a:pt x="1259" y="2775"/>
                  </a:lnTo>
                  <a:lnTo>
                    <a:pt x="1261" y="2772"/>
                  </a:lnTo>
                  <a:lnTo>
                    <a:pt x="1263" y="2766"/>
                  </a:lnTo>
                  <a:lnTo>
                    <a:pt x="1259" y="2763"/>
                  </a:lnTo>
                  <a:lnTo>
                    <a:pt x="1256" y="2764"/>
                  </a:lnTo>
                  <a:lnTo>
                    <a:pt x="1252" y="2762"/>
                  </a:lnTo>
                  <a:lnTo>
                    <a:pt x="1252" y="2760"/>
                  </a:lnTo>
                  <a:lnTo>
                    <a:pt x="1250" y="2758"/>
                  </a:lnTo>
                  <a:lnTo>
                    <a:pt x="1250" y="2755"/>
                  </a:lnTo>
                  <a:lnTo>
                    <a:pt x="1241" y="2750"/>
                  </a:lnTo>
                  <a:lnTo>
                    <a:pt x="1239" y="2750"/>
                  </a:lnTo>
                  <a:lnTo>
                    <a:pt x="1234" y="2745"/>
                  </a:lnTo>
                  <a:lnTo>
                    <a:pt x="1232" y="2742"/>
                  </a:lnTo>
                  <a:lnTo>
                    <a:pt x="1235" y="2737"/>
                  </a:lnTo>
                  <a:lnTo>
                    <a:pt x="1234" y="2730"/>
                  </a:lnTo>
                  <a:lnTo>
                    <a:pt x="1235" y="2726"/>
                  </a:lnTo>
                  <a:lnTo>
                    <a:pt x="1236" y="2726"/>
                  </a:lnTo>
                  <a:lnTo>
                    <a:pt x="1234" y="2722"/>
                  </a:lnTo>
                  <a:lnTo>
                    <a:pt x="1238" y="2721"/>
                  </a:lnTo>
                  <a:lnTo>
                    <a:pt x="1239" y="2718"/>
                  </a:lnTo>
                  <a:lnTo>
                    <a:pt x="1236" y="2716"/>
                  </a:lnTo>
                  <a:lnTo>
                    <a:pt x="1236" y="2713"/>
                  </a:lnTo>
                  <a:lnTo>
                    <a:pt x="1232" y="2711"/>
                  </a:lnTo>
                  <a:lnTo>
                    <a:pt x="1232" y="2706"/>
                  </a:lnTo>
                  <a:lnTo>
                    <a:pt x="1230" y="2701"/>
                  </a:lnTo>
                  <a:lnTo>
                    <a:pt x="1227" y="2700"/>
                  </a:lnTo>
                  <a:lnTo>
                    <a:pt x="1222" y="2700"/>
                  </a:lnTo>
                  <a:lnTo>
                    <a:pt x="1221" y="2700"/>
                  </a:lnTo>
                  <a:lnTo>
                    <a:pt x="1211" y="2684"/>
                  </a:lnTo>
                  <a:lnTo>
                    <a:pt x="1213" y="2681"/>
                  </a:lnTo>
                  <a:lnTo>
                    <a:pt x="1211" y="2677"/>
                  </a:lnTo>
                  <a:lnTo>
                    <a:pt x="1209" y="2677"/>
                  </a:lnTo>
                  <a:lnTo>
                    <a:pt x="1206" y="2675"/>
                  </a:lnTo>
                  <a:lnTo>
                    <a:pt x="1206" y="2671"/>
                  </a:lnTo>
                  <a:lnTo>
                    <a:pt x="1200" y="2664"/>
                  </a:lnTo>
                  <a:lnTo>
                    <a:pt x="1197" y="2661"/>
                  </a:lnTo>
                  <a:lnTo>
                    <a:pt x="1196" y="2659"/>
                  </a:lnTo>
                  <a:lnTo>
                    <a:pt x="1191" y="2655"/>
                  </a:lnTo>
                  <a:lnTo>
                    <a:pt x="1189" y="2651"/>
                  </a:lnTo>
                  <a:lnTo>
                    <a:pt x="1185" y="2648"/>
                  </a:lnTo>
                  <a:lnTo>
                    <a:pt x="1184" y="2644"/>
                  </a:lnTo>
                  <a:lnTo>
                    <a:pt x="1182" y="2642"/>
                  </a:lnTo>
                  <a:lnTo>
                    <a:pt x="1181" y="2633"/>
                  </a:lnTo>
                  <a:lnTo>
                    <a:pt x="1178" y="2627"/>
                  </a:lnTo>
                  <a:lnTo>
                    <a:pt x="1178" y="2626"/>
                  </a:lnTo>
                  <a:lnTo>
                    <a:pt x="1174" y="2624"/>
                  </a:lnTo>
                  <a:lnTo>
                    <a:pt x="1175" y="2619"/>
                  </a:lnTo>
                  <a:lnTo>
                    <a:pt x="1174" y="2617"/>
                  </a:lnTo>
                  <a:lnTo>
                    <a:pt x="1174" y="2616"/>
                  </a:lnTo>
                  <a:lnTo>
                    <a:pt x="1167" y="2610"/>
                  </a:lnTo>
                  <a:lnTo>
                    <a:pt x="1163" y="2610"/>
                  </a:lnTo>
                  <a:lnTo>
                    <a:pt x="1160" y="2605"/>
                  </a:lnTo>
                  <a:lnTo>
                    <a:pt x="1161" y="2599"/>
                  </a:lnTo>
                  <a:lnTo>
                    <a:pt x="1157" y="2597"/>
                  </a:lnTo>
                  <a:lnTo>
                    <a:pt x="1155" y="2596"/>
                  </a:lnTo>
                  <a:lnTo>
                    <a:pt x="1152" y="2597"/>
                  </a:lnTo>
                  <a:lnTo>
                    <a:pt x="1150" y="2597"/>
                  </a:lnTo>
                  <a:lnTo>
                    <a:pt x="1150" y="2594"/>
                  </a:lnTo>
                  <a:lnTo>
                    <a:pt x="1142" y="2588"/>
                  </a:lnTo>
                  <a:lnTo>
                    <a:pt x="1142" y="2581"/>
                  </a:lnTo>
                  <a:lnTo>
                    <a:pt x="1136" y="2579"/>
                  </a:lnTo>
                  <a:lnTo>
                    <a:pt x="1135" y="2576"/>
                  </a:lnTo>
                  <a:lnTo>
                    <a:pt x="1135" y="2564"/>
                  </a:lnTo>
                  <a:lnTo>
                    <a:pt x="1138" y="2559"/>
                  </a:lnTo>
                  <a:lnTo>
                    <a:pt x="1138" y="2555"/>
                  </a:lnTo>
                  <a:lnTo>
                    <a:pt x="1145" y="2547"/>
                  </a:lnTo>
                  <a:lnTo>
                    <a:pt x="1145" y="2534"/>
                  </a:lnTo>
                  <a:lnTo>
                    <a:pt x="1143" y="2532"/>
                  </a:lnTo>
                  <a:lnTo>
                    <a:pt x="1145" y="2526"/>
                  </a:lnTo>
                  <a:lnTo>
                    <a:pt x="1142" y="2512"/>
                  </a:lnTo>
                  <a:lnTo>
                    <a:pt x="1143" y="2501"/>
                  </a:lnTo>
                  <a:lnTo>
                    <a:pt x="1141" y="2489"/>
                  </a:lnTo>
                  <a:lnTo>
                    <a:pt x="1127" y="2481"/>
                  </a:lnTo>
                  <a:lnTo>
                    <a:pt x="1122" y="2481"/>
                  </a:lnTo>
                  <a:lnTo>
                    <a:pt x="1118" y="2478"/>
                  </a:lnTo>
                  <a:lnTo>
                    <a:pt x="1120" y="2477"/>
                  </a:lnTo>
                  <a:lnTo>
                    <a:pt x="1100" y="2474"/>
                  </a:lnTo>
                  <a:lnTo>
                    <a:pt x="1088" y="2467"/>
                  </a:lnTo>
                  <a:lnTo>
                    <a:pt x="1084" y="2467"/>
                  </a:lnTo>
                  <a:lnTo>
                    <a:pt x="1075" y="2465"/>
                  </a:lnTo>
                  <a:lnTo>
                    <a:pt x="1060" y="2468"/>
                  </a:lnTo>
                  <a:lnTo>
                    <a:pt x="1054" y="2467"/>
                  </a:lnTo>
                  <a:lnTo>
                    <a:pt x="1050" y="2468"/>
                  </a:lnTo>
                  <a:lnTo>
                    <a:pt x="1046" y="2462"/>
                  </a:lnTo>
                  <a:lnTo>
                    <a:pt x="1040" y="2457"/>
                  </a:lnTo>
                  <a:lnTo>
                    <a:pt x="1039" y="2452"/>
                  </a:lnTo>
                  <a:lnTo>
                    <a:pt x="1036" y="2449"/>
                  </a:lnTo>
                  <a:lnTo>
                    <a:pt x="1035" y="2445"/>
                  </a:lnTo>
                  <a:lnTo>
                    <a:pt x="1032" y="2444"/>
                  </a:lnTo>
                  <a:lnTo>
                    <a:pt x="1031" y="2442"/>
                  </a:lnTo>
                  <a:lnTo>
                    <a:pt x="1020" y="2435"/>
                  </a:lnTo>
                  <a:lnTo>
                    <a:pt x="1010" y="2431"/>
                  </a:lnTo>
                  <a:lnTo>
                    <a:pt x="1000" y="2440"/>
                  </a:lnTo>
                  <a:lnTo>
                    <a:pt x="995" y="2442"/>
                  </a:lnTo>
                  <a:lnTo>
                    <a:pt x="987" y="2439"/>
                  </a:lnTo>
                  <a:lnTo>
                    <a:pt x="983" y="2431"/>
                  </a:lnTo>
                  <a:lnTo>
                    <a:pt x="979" y="2432"/>
                  </a:lnTo>
                  <a:lnTo>
                    <a:pt x="970" y="2428"/>
                  </a:lnTo>
                  <a:lnTo>
                    <a:pt x="960" y="2430"/>
                  </a:lnTo>
                  <a:lnTo>
                    <a:pt x="957" y="2428"/>
                  </a:lnTo>
                  <a:lnTo>
                    <a:pt x="953" y="2428"/>
                  </a:lnTo>
                  <a:lnTo>
                    <a:pt x="949" y="2427"/>
                  </a:lnTo>
                  <a:lnTo>
                    <a:pt x="946" y="2427"/>
                  </a:lnTo>
                  <a:lnTo>
                    <a:pt x="943" y="2425"/>
                  </a:lnTo>
                  <a:lnTo>
                    <a:pt x="931" y="2408"/>
                  </a:lnTo>
                  <a:lnTo>
                    <a:pt x="926" y="2408"/>
                  </a:lnTo>
                  <a:lnTo>
                    <a:pt x="922" y="2407"/>
                  </a:lnTo>
                  <a:lnTo>
                    <a:pt x="921" y="2399"/>
                  </a:lnTo>
                  <a:lnTo>
                    <a:pt x="917" y="2397"/>
                  </a:lnTo>
                  <a:lnTo>
                    <a:pt x="912" y="2385"/>
                  </a:lnTo>
                  <a:lnTo>
                    <a:pt x="906" y="2387"/>
                  </a:lnTo>
                  <a:lnTo>
                    <a:pt x="898" y="2381"/>
                  </a:lnTo>
                  <a:lnTo>
                    <a:pt x="896" y="2377"/>
                  </a:lnTo>
                  <a:lnTo>
                    <a:pt x="892" y="2373"/>
                  </a:lnTo>
                  <a:lnTo>
                    <a:pt x="889" y="2373"/>
                  </a:lnTo>
                  <a:lnTo>
                    <a:pt x="887" y="2369"/>
                  </a:lnTo>
                  <a:lnTo>
                    <a:pt x="885" y="2368"/>
                  </a:lnTo>
                  <a:lnTo>
                    <a:pt x="882" y="2368"/>
                  </a:lnTo>
                  <a:lnTo>
                    <a:pt x="881" y="2370"/>
                  </a:lnTo>
                  <a:lnTo>
                    <a:pt x="871" y="2365"/>
                  </a:lnTo>
                  <a:lnTo>
                    <a:pt x="860" y="2365"/>
                  </a:lnTo>
                  <a:lnTo>
                    <a:pt x="853" y="2361"/>
                  </a:lnTo>
                  <a:lnTo>
                    <a:pt x="844" y="2361"/>
                  </a:lnTo>
                  <a:lnTo>
                    <a:pt x="840" y="2358"/>
                  </a:lnTo>
                  <a:lnTo>
                    <a:pt x="835" y="2360"/>
                  </a:lnTo>
                  <a:lnTo>
                    <a:pt x="830" y="2358"/>
                  </a:lnTo>
                  <a:lnTo>
                    <a:pt x="829" y="2358"/>
                  </a:lnTo>
                  <a:lnTo>
                    <a:pt x="829" y="2360"/>
                  </a:lnTo>
                  <a:lnTo>
                    <a:pt x="823" y="2361"/>
                  </a:lnTo>
                  <a:lnTo>
                    <a:pt x="819" y="2365"/>
                  </a:lnTo>
                  <a:lnTo>
                    <a:pt x="814" y="2363"/>
                  </a:lnTo>
                  <a:lnTo>
                    <a:pt x="810" y="2365"/>
                  </a:lnTo>
                  <a:lnTo>
                    <a:pt x="805" y="2363"/>
                  </a:lnTo>
                  <a:lnTo>
                    <a:pt x="803" y="2362"/>
                  </a:lnTo>
                  <a:lnTo>
                    <a:pt x="797" y="2362"/>
                  </a:lnTo>
                  <a:lnTo>
                    <a:pt x="793" y="2363"/>
                  </a:lnTo>
                  <a:lnTo>
                    <a:pt x="790" y="2368"/>
                  </a:lnTo>
                  <a:lnTo>
                    <a:pt x="787" y="2368"/>
                  </a:lnTo>
                  <a:lnTo>
                    <a:pt x="782" y="2365"/>
                  </a:lnTo>
                  <a:lnTo>
                    <a:pt x="780" y="2362"/>
                  </a:lnTo>
                  <a:lnTo>
                    <a:pt x="769" y="2356"/>
                  </a:lnTo>
                  <a:lnTo>
                    <a:pt x="761" y="2350"/>
                  </a:lnTo>
                  <a:lnTo>
                    <a:pt x="758" y="2352"/>
                  </a:lnTo>
                  <a:lnTo>
                    <a:pt x="750" y="2348"/>
                  </a:lnTo>
                  <a:lnTo>
                    <a:pt x="748" y="2350"/>
                  </a:lnTo>
                  <a:lnTo>
                    <a:pt x="747" y="2349"/>
                  </a:lnTo>
                  <a:lnTo>
                    <a:pt x="743" y="2357"/>
                  </a:lnTo>
                  <a:lnTo>
                    <a:pt x="740" y="2352"/>
                  </a:lnTo>
                  <a:lnTo>
                    <a:pt x="735" y="2350"/>
                  </a:lnTo>
                  <a:lnTo>
                    <a:pt x="729" y="2350"/>
                  </a:lnTo>
                  <a:lnTo>
                    <a:pt x="725" y="2345"/>
                  </a:lnTo>
                  <a:lnTo>
                    <a:pt x="721" y="2344"/>
                  </a:lnTo>
                  <a:lnTo>
                    <a:pt x="721" y="2341"/>
                  </a:lnTo>
                  <a:lnTo>
                    <a:pt x="718" y="2343"/>
                  </a:lnTo>
                  <a:lnTo>
                    <a:pt x="718" y="2338"/>
                  </a:lnTo>
                  <a:lnTo>
                    <a:pt x="715" y="2336"/>
                  </a:lnTo>
                  <a:lnTo>
                    <a:pt x="711" y="2336"/>
                  </a:lnTo>
                  <a:lnTo>
                    <a:pt x="710" y="2337"/>
                  </a:lnTo>
                  <a:lnTo>
                    <a:pt x="708" y="2336"/>
                  </a:lnTo>
                  <a:lnTo>
                    <a:pt x="707" y="2337"/>
                  </a:lnTo>
                  <a:lnTo>
                    <a:pt x="704" y="2336"/>
                  </a:lnTo>
                  <a:lnTo>
                    <a:pt x="702" y="2337"/>
                  </a:lnTo>
                  <a:lnTo>
                    <a:pt x="698" y="2337"/>
                  </a:lnTo>
                  <a:lnTo>
                    <a:pt x="696" y="2336"/>
                  </a:lnTo>
                  <a:lnTo>
                    <a:pt x="693" y="2337"/>
                  </a:lnTo>
                  <a:lnTo>
                    <a:pt x="690" y="2333"/>
                  </a:lnTo>
                  <a:lnTo>
                    <a:pt x="686" y="2333"/>
                  </a:lnTo>
                  <a:lnTo>
                    <a:pt x="682" y="2335"/>
                  </a:lnTo>
                  <a:lnTo>
                    <a:pt x="677" y="2333"/>
                  </a:lnTo>
                  <a:lnTo>
                    <a:pt x="675" y="2337"/>
                  </a:lnTo>
                  <a:lnTo>
                    <a:pt x="669" y="2335"/>
                  </a:lnTo>
                  <a:lnTo>
                    <a:pt x="655" y="2335"/>
                  </a:lnTo>
                  <a:lnTo>
                    <a:pt x="654" y="2330"/>
                  </a:lnTo>
                  <a:lnTo>
                    <a:pt x="647" y="2330"/>
                  </a:lnTo>
                  <a:lnTo>
                    <a:pt x="644" y="2330"/>
                  </a:lnTo>
                  <a:lnTo>
                    <a:pt x="622" y="2325"/>
                  </a:lnTo>
                  <a:lnTo>
                    <a:pt x="616" y="2325"/>
                  </a:lnTo>
                  <a:lnTo>
                    <a:pt x="612" y="2328"/>
                  </a:lnTo>
                  <a:lnTo>
                    <a:pt x="612" y="2330"/>
                  </a:lnTo>
                  <a:lnTo>
                    <a:pt x="598" y="2330"/>
                  </a:lnTo>
                  <a:lnTo>
                    <a:pt x="590" y="2333"/>
                  </a:lnTo>
                  <a:lnTo>
                    <a:pt x="588" y="2336"/>
                  </a:lnTo>
                  <a:lnTo>
                    <a:pt x="584" y="2336"/>
                  </a:lnTo>
                  <a:lnTo>
                    <a:pt x="583" y="2338"/>
                  </a:lnTo>
                  <a:lnTo>
                    <a:pt x="580" y="2338"/>
                  </a:lnTo>
                  <a:lnTo>
                    <a:pt x="571" y="2345"/>
                  </a:lnTo>
                  <a:lnTo>
                    <a:pt x="561" y="2347"/>
                  </a:lnTo>
                  <a:lnTo>
                    <a:pt x="559" y="2349"/>
                  </a:lnTo>
                  <a:lnTo>
                    <a:pt x="545" y="2355"/>
                  </a:lnTo>
                  <a:lnTo>
                    <a:pt x="541" y="2358"/>
                  </a:lnTo>
                  <a:lnTo>
                    <a:pt x="522" y="2363"/>
                  </a:lnTo>
                  <a:lnTo>
                    <a:pt x="486" y="2307"/>
                  </a:lnTo>
                  <a:lnTo>
                    <a:pt x="465" y="2136"/>
                  </a:lnTo>
                  <a:lnTo>
                    <a:pt x="463" y="2133"/>
                  </a:lnTo>
                  <a:lnTo>
                    <a:pt x="463" y="2129"/>
                  </a:lnTo>
                  <a:lnTo>
                    <a:pt x="463" y="2127"/>
                  </a:lnTo>
                  <a:lnTo>
                    <a:pt x="463" y="2125"/>
                  </a:lnTo>
                  <a:lnTo>
                    <a:pt x="459" y="2122"/>
                  </a:lnTo>
                  <a:lnTo>
                    <a:pt x="458" y="2120"/>
                  </a:lnTo>
                  <a:lnTo>
                    <a:pt x="456" y="2120"/>
                  </a:lnTo>
                  <a:lnTo>
                    <a:pt x="374" y="2071"/>
                  </a:lnTo>
                  <a:lnTo>
                    <a:pt x="316" y="1938"/>
                  </a:lnTo>
                  <a:lnTo>
                    <a:pt x="312" y="1861"/>
                  </a:lnTo>
                  <a:lnTo>
                    <a:pt x="298" y="1843"/>
                  </a:lnTo>
                  <a:lnTo>
                    <a:pt x="291" y="1831"/>
                  </a:lnTo>
                  <a:lnTo>
                    <a:pt x="221" y="1760"/>
                  </a:lnTo>
                  <a:lnTo>
                    <a:pt x="207" y="1746"/>
                  </a:lnTo>
                  <a:lnTo>
                    <a:pt x="199" y="1688"/>
                  </a:lnTo>
                  <a:lnTo>
                    <a:pt x="203" y="1573"/>
                  </a:lnTo>
                  <a:lnTo>
                    <a:pt x="206" y="1543"/>
                  </a:lnTo>
                  <a:lnTo>
                    <a:pt x="206" y="1541"/>
                  </a:lnTo>
                  <a:lnTo>
                    <a:pt x="206" y="1539"/>
                  </a:lnTo>
                  <a:lnTo>
                    <a:pt x="209" y="1508"/>
                  </a:lnTo>
                  <a:lnTo>
                    <a:pt x="173" y="1402"/>
                  </a:lnTo>
                  <a:lnTo>
                    <a:pt x="170" y="1394"/>
                  </a:lnTo>
                  <a:lnTo>
                    <a:pt x="162" y="1366"/>
                  </a:lnTo>
                  <a:lnTo>
                    <a:pt x="159" y="1358"/>
                  </a:lnTo>
                  <a:lnTo>
                    <a:pt x="148" y="1325"/>
                  </a:lnTo>
                  <a:lnTo>
                    <a:pt x="129" y="1274"/>
                  </a:lnTo>
                  <a:lnTo>
                    <a:pt x="124" y="1258"/>
                  </a:lnTo>
                  <a:lnTo>
                    <a:pt x="101" y="1185"/>
                  </a:lnTo>
                  <a:lnTo>
                    <a:pt x="81" y="1126"/>
                  </a:lnTo>
                  <a:lnTo>
                    <a:pt x="74" y="1108"/>
                  </a:lnTo>
                  <a:lnTo>
                    <a:pt x="51" y="1037"/>
                  </a:lnTo>
                  <a:lnTo>
                    <a:pt x="34" y="988"/>
                  </a:lnTo>
                  <a:lnTo>
                    <a:pt x="34" y="984"/>
                  </a:lnTo>
                  <a:lnTo>
                    <a:pt x="29" y="972"/>
                  </a:lnTo>
                  <a:lnTo>
                    <a:pt x="23" y="954"/>
                  </a:lnTo>
                  <a:lnTo>
                    <a:pt x="17" y="934"/>
                  </a:lnTo>
                  <a:lnTo>
                    <a:pt x="16" y="931"/>
                  </a:lnTo>
                  <a:lnTo>
                    <a:pt x="10" y="914"/>
                  </a:lnTo>
                  <a:lnTo>
                    <a:pt x="9" y="910"/>
                  </a:lnTo>
                  <a:lnTo>
                    <a:pt x="4" y="899"/>
                  </a:lnTo>
                  <a:lnTo>
                    <a:pt x="4" y="896"/>
                  </a:lnTo>
                  <a:lnTo>
                    <a:pt x="3" y="896"/>
                  </a:lnTo>
                  <a:lnTo>
                    <a:pt x="2" y="896"/>
                  </a:lnTo>
                  <a:lnTo>
                    <a:pt x="2" y="894"/>
                  </a:lnTo>
                  <a:lnTo>
                    <a:pt x="0" y="894"/>
                  </a:lnTo>
                  <a:lnTo>
                    <a:pt x="23" y="880"/>
                  </a:lnTo>
                  <a:lnTo>
                    <a:pt x="43" y="867"/>
                  </a:lnTo>
                  <a:lnTo>
                    <a:pt x="54" y="859"/>
                  </a:lnTo>
                  <a:lnTo>
                    <a:pt x="63" y="854"/>
                  </a:lnTo>
                  <a:lnTo>
                    <a:pt x="143" y="772"/>
                  </a:lnTo>
                  <a:lnTo>
                    <a:pt x="162" y="757"/>
                  </a:lnTo>
                  <a:lnTo>
                    <a:pt x="181" y="731"/>
                  </a:lnTo>
                  <a:lnTo>
                    <a:pt x="234" y="678"/>
                  </a:lnTo>
                  <a:lnTo>
                    <a:pt x="245" y="670"/>
                  </a:lnTo>
                  <a:lnTo>
                    <a:pt x="269" y="645"/>
                  </a:lnTo>
                  <a:lnTo>
                    <a:pt x="303" y="608"/>
                  </a:lnTo>
                  <a:lnTo>
                    <a:pt x="341" y="570"/>
                  </a:lnTo>
                  <a:lnTo>
                    <a:pt x="372" y="539"/>
                  </a:lnTo>
                  <a:lnTo>
                    <a:pt x="380" y="529"/>
                  </a:lnTo>
                  <a:lnTo>
                    <a:pt x="394" y="514"/>
                  </a:lnTo>
                  <a:lnTo>
                    <a:pt x="477" y="430"/>
                  </a:lnTo>
                  <a:lnTo>
                    <a:pt x="484" y="424"/>
                  </a:lnTo>
                  <a:lnTo>
                    <a:pt x="517" y="390"/>
                  </a:lnTo>
                  <a:lnTo>
                    <a:pt x="531" y="375"/>
                  </a:lnTo>
                  <a:lnTo>
                    <a:pt x="641" y="259"/>
                  </a:lnTo>
                  <a:lnTo>
                    <a:pt x="648" y="253"/>
                  </a:lnTo>
                  <a:lnTo>
                    <a:pt x="661" y="241"/>
                  </a:lnTo>
                  <a:lnTo>
                    <a:pt x="740" y="159"/>
                  </a:lnTo>
                  <a:lnTo>
                    <a:pt x="766" y="131"/>
                  </a:lnTo>
                  <a:lnTo>
                    <a:pt x="796" y="101"/>
                  </a:lnTo>
                  <a:lnTo>
                    <a:pt x="870" y="26"/>
                  </a:lnTo>
                  <a:lnTo>
                    <a:pt x="890" y="5"/>
                  </a:lnTo>
                  <a:lnTo>
                    <a:pt x="903" y="1"/>
                  </a:lnTo>
                  <a:lnTo>
                    <a:pt x="914" y="0"/>
                  </a:lnTo>
                  <a:lnTo>
                    <a:pt x="923" y="1"/>
                  </a:lnTo>
                  <a:lnTo>
                    <a:pt x="946" y="14"/>
                  </a:lnTo>
                  <a:lnTo>
                    <a:pt x="956" y="19"/>
                  </a:lnTo>
                  <a:lnTo>
                    <a:pt x="961" y="26"/>
                  </a:lnTo>
                  <a:lnTo>
                    <a:pt x="965" y="27"/>
                  </a:lnTo>
                  <a:lnTo>
                    <a:pt x="971" y="31"/>
                  </a:lnTo>
                  <a:lnTo>
                    <a:pt x="974" y="31"/>
                  </a:lnTo>
                  <a:lnTo>
                    <a:pt x="975" y="38"/>
                  </a:lnTo>
                  <a:lnTo>
                    <a:pt x="981" y="46"/>
                  </a:lnTo>
                  <a:lnTo>
                    <a:pt x="992" y="50"/>
                  </a:lnTo>
                  <a:lnTo>
                    <a:pt x="997" y="56"/>
                  </a:lnTo>
                  <a:lnTo>
                    <a:pt x="1003" y="59"/>
                  </a:lnTo>
                  <a:lnTo>
                    <a:pt x="1007" y="64"/>
                  </a:lnTo>
                  <a:lnTo>
                    <a:pt x="1011" y="68"/>
                  </a:lnTo>
                  <a:lnTo>
                    <a:pt x="1015" y="68"/>
                  </a:lnTo>
                  <a:lnTo>
                    <a:pt x="1021" y="68"/>
                  </a:lnTo>
                  <a:lnTo>
                    <a:pt x="1025" y="67"/>
                  </a:lnTo>
                  <a:lnTo>
                    <a:pt x="1031" y="67"/>
                  </a:lnTo>
                  <a:lnTo>
                    <a:pt x="1039" y="64"/>
                  </a:lnTo>
                  <a:lnTo>
                    <a:pt x="1059" y="71"/>
                  </a:lnTo>
                  <a:lnTo>
                    <a:pt x="1067" y="68"/>
                  </a:lnTo>
                  <a:lnTo>
                    <a:pt x="1082" y="65"/>
                  </a:lnTo>
                  <a:lnTo>
                    <a:pt x="1085" y="65"/>
                  </a:lnTo>
                  <a:lnTo>
                    <a:pt x="1086" y="72"/>
                  </a:lnTo>
                  <a:lnTo>
                    <a:pt x="1089" y="75"/>
                  </a:lnTo>
                  <a:lnTo>
                    <a:pt x="1093" y="76"/>
                  </a:lnTo>
                  <a:lnTo>
                    <a:pt x="1099" y="79"/>
                  </a:lnTo>
                  <a:lnTo>
                    <a:pt x="1103" y="79"/>
                  </a:lnTo>
                  <a:lnTo>
                    <a:pt x="1104" y="79"/>
                  </a:lnTo>
                  <a:lnTo>
                    <a:pt x="1106" y="76"/>
                  </a:lnTo>
                  <a:lnTo>
                    <a:pt x="1107" y="80"/>
                  </a:lnTo>
                  <a:lnTo>
                    <a:pt x="1113" y="79"/>
                  </a:lnTo>
                  <a:lnTo>
                    <a:pt x="1121" y="81"/>
                  </a:lnTo>
                  <a:lnTo>
                    <a:pt x="1127" y="85"/>
                  </a:lnTo>
                  <a:lnTo>
                    <a:pt x="1134" y="89"/>
                  </a:lnTo>
                  <a:lnTo>
                    <a:pt x="1134" y="93"/>
                  </a:lnTo>
                  <a:lnTo>
                    <a:pt x="1132" y="94"/>
                  </a:lnTo>
                  <a:lnTo>
                    <a:pt x="1132" y="97"/>
                  </a:lnTo>
                  <a:lnTo>
                    <a:pt x="1138" y="104"/>
                  </a:lnTo>
                  <a:lnTo>
                    <a:pt x="1150" y="107"/>
                  </a:lnTo>
                  <a:lnTo>
                    <a:pt x="1157" y="107"/>
                  </a:lnTo>
                  <a:lnTo>
                    <a:pt x="1163" y="109"/>
                  </a:lnTo>
                  <a:lnTo>
                    <a:pt x="1182" y="119"/>
                  </a:lnTo>
                  <a:lnTo>
                    <a:pt x="1188" y="129"/>
                  </a:lnTo>
                  <a:lnTo>
                    <a:pt x="1186" y="131"/>
                  </a:lnTo>
                  <a:lnTo>
                    <a:pt x="1186" y="134"/>
                  </a:lnTo>
                  <a:lnTo>
                    <a:pt x="1194" y="137"/>
                  </a:lnTo>
                  <a:lnTo>
                    <a:pt x="1199" y="135"/>
                  </a:lnTo>
                  <a:lnTo>
                    <a:pt x="1203" y="138"/>
                  </a:lnTo>
                  <a:lnTo>
                    <a:pt x="1205" y="139"/>
                  </a:lnTo>
                  <a:lnTo>
                    <a:pt x="1209" y="143"/>
                  </a:lnTo>
                  <a:lnTo>
                    <a:pt x="1211" y="147"/>
                  </a:lnTo>
                  <a:lnTo>
                    <a:pt x="1217" y="150"/>
                  </a:lnTo>
                  <a:lnTo>
                    <a:pt x="1217" y="152"/>
                  </a:lnTo>
                  <a:lnTo>
                    <a:pt x="1222" y="156"/>
                  </a:lnTo>
                  <a:lnTo>
                    <a:pt x="1227" y="158"/>
                  </a:lnTo>
                  <a:lnTo>
                    <a:pt x="1231" y="154"/>
                  </a:lnTo>
                  <a:lnTo>
                    <a:pt x="1236" y="155"/>
                  </a:lnTo>
                  <a:lnTo>
                    <a:pt x="1239" y="151"/>
                  </a:lnTo>
                  <a:lnTo>
                    <a:pt x="1245" y="150"/>
                  </a:lnTo>
                  <a:lnTo>
                    <a:pt x="1252" y="152"/>
                  </a:lnTo>
                  <a:lnTo>
                    <a:pt x="1259" y="156"/>
                  </a:lnTo>
                  <a:lnTo>
                    <a:pt x="1266" y="156"/>
                  </a:lnTo>
                  <a:lnTo>
                    <a:pt x="1269" y="155"/>
                  </a:lnTo>
                  <a:lnTo>
                    <a:pt x="1277" y="143"/>
                  </a:lnTo>
                  <a:lnTo>
                    <a:pt x="1278" y="142"/>
                  </a:lnTo>
                  <a:lnTo>
                    <a:pt x="1282" y="143"/>
                  </a:lnTo>
                  <a:lnTo>
                    <a:pt x="1286" y="138"/>
                  </a:lnTo>
                  <a:lnTo>
                    <a:pt x="1289" y="138"/>
                  </a:lnTo>
                  <a:lnTo>
                    <a:pt x="1294" y="143"/>
                  </a:lnTo>
                  <a:lnTo>
                    <a:pt x="1305" y="150"/>
                  </a:lnTo>
                  <a:lnTo>
                    <a:pt x="1309" y="150"/>
                  </a:lnTo>
                  <a:lnTo>
                    <a:pt x="1313" y="152"/>
                  </a:lnTo>
                  <a:lnTo>
                    <a:pt x="1317" y="152"/>
                  </a:lnTo>
                  <a:lnTo>
                    <a:pt x="1325" y="159"/>
                  </a:lnTo>
                  <a:lnTo>
                    <a:pt x="1327" y="161"/>
                  </a:lnTo>
                  <a:lnTo>
                    <a:pt x="1325" y="162"/>
                  </a:lnTo>
                  <a:lnTo>
                    <a:pt x="1325" y="166"/>
                  </a:lnTo>
                  <a:lnTo>
                    <a:pt x="1331" y="174"/>
                  </a:lnTo>
                  <a:lnTo>
                    <a:pt x="1332" y="178"/>
                  </a:lnTo>
                  <a:lnTo>
                    <a:pt x="1334" y="180"/>
                  </a:lnTo>
                  <a:lnTo>
                    <a:pt x="1327" y="192"/>
                  </a:lnTo>
                  <a:lnTo>
                    <a:pt x="1327" y="194"/>
                  </a:lnTo>
                  <a:lnTo>
                    <a:pt x="1330" y="200"/>
                  </a:lnTo>
                  <a:lnTo>
                    <a:pt x="1332" y="200"/>
                  </a:lnTo>
                  <a:lnTo>
                    <a:pt x="1334" y="203"/>
                  </a:lnTo>
                  <a:lnTo>
                    <a:pt x="1344" y="203"/>
                  </a:lnTo>
                  <a:lnTo>
                    <a:pt x="1346" y="206"/>
                  </a:lnTo>
                  <a:lnTo>
                    <a:pt x="1348" y="209"/>
                  </a:lnTo>
                  <a:lnTo>
                    <a:pt x="1352" y="211"/>
                  </a:lnTo>
                  <a:lnTo>
                    <a:pt x="1367" y="211"/>
                  </a:lnTo>
                  <a:lnTo>
                    <a:pt x="1374" y="213"/>
                  </a:lnTo>
                  <a:lnTo>
                    <a:pt x="1380" y="211"/>
                  </a:lnTo>
                  <a:lnTo>
                    <a:pt x="1388" y="214"/>
                  </a:lnTo>
                  <a:lnTo>
                    <a:pt x="1395" y="214"/>
                  </a:lnTo>
                  <a:lnTo>
                    <a:pt x="1402" y="218"/>
                  </a:lnTo>
                  <a:lnTo>
                    <a:pt x="1410" y="218"/>
                  </a:lnTo>
                  <a:lnTo>
                    <a:pt x="1419" y="217"/>
                  </a:lnTo>
                  <a:lnTo>
                    <a:pt x="1419" y="209"/>
                  </a:lnTo>
                  <a:lnTo>
                    <a:pt x="1420" y="206"/>
                  </a:lnTo>
                  <a:lnTo>
                    <a:pt x="1426" y="206"/>
                  </a:lnTo>
                  <a:lnTo>
                    <a:pt x="1430" y="203"/>
                  </a:lnTo>
                  <a:lnTo>
                    <a:pt x="1431" y="199"/>
                  </a:lnTo>
                  <a:lnTo>
                    <a:pt x="1435" y="196"/>
                  </a:lnTo>
                  <a:lnTo>
                    <a:pt x="1435" y="192"/>
                  </a:lnTo>
                  <a:lnTo>
                    <a:pt x="1438" y="188"/>
                  </a:lnTo>
                  <a:lnTo>
                    <a:pt x="1452" y="184"/>
                  </a:lnTo>
                  <a:lnTo>
                    <a:pt x="1459" y="175"/>
                  </a:lnTo>
                  <a:lnTo>
                    <a:pt x="1463" y="172"/>
                  </a:lnTo>
                  <a:lnTo>
                    <a:pt x="1463" y="168"/>
                  </a:lnTo>
                  <a:lnTo>
                    <a:pt x="1467" y="168"/>
                  </a:lnTo>
                  <a:lnTo>
                    <a:pt x="1470" y="169"/>
                  </a:lnTo>
                  <a:lnTo>
                    <a:pt x="1476" y="169"/>
                  </a:lnTo>
                  <a:lnTo>
                    <a:pt x="1479" y="166"/>
                  </a:lnTo>
                  <a:lnTo>
                    <a:pt x="1479" y="164"/>
                  </a:lnTo>
                  <a:lnTo>
                    <a:pt x="1480" y="162"/>
                  </a:lnTo>
                  <a:lnTo>
                    <a:pt x="1484" y="162"/>
                  </a:lnTo>
                  <a:lnTo>
                    <a:pt x="1487" y="162"/>
                  </a:lnTo>
                  <a:lnTo>
                    <a:pt x="1490" y="162"/>
                  </a:lnTo>
                  <a:lnTo>
                    <a:pt x="1494" y="155"/>
                  </a:lnTo>
                  <a:lnTo>
                    <a:pt x="1499" y="151"/>
                  </a:lnTo>
                  <a:lnTo>
                    <a:pt x="1502" y="147"/>
                  </a:lnTo>
                  <a:lnTo>
                    <a:pt x="1510" y="143"/>
                  </a:lnTo>
                  <a:lnTo>
                    <a:pt x="1510" y="139"/>
                  </a:lnTo>
                  <a:lnTo>
                    <a:pt x="1517" y="135"/>
                  </a:lnTo>
                  <a:lnTo>
                    <a:pt x="1537" y="131"/>
                  </a:lnTo>
                  <a:lnTo>
                    <a:pt x="1540" y="133"/>
                  </a:lnTo>
                  <a:lnTo>
                    <a:pt x="1544" y="133"/>
                  </a:lnTo>
                  <a:lnTo>
                    <a:pt x="1551" y="129"/>
                  </a:lnTo>
                  <a:lnTo>
                    <a:pt x="1554" y="129"/>
                  </a:lnTo>
                  <a:lnTo>
                    <a:pt x="1559" y="131"/>
                  </a:lnTo>
                  <a:lnTo>
                    <a:pt x="1563" y="131"/>
                  </a:lnTo>
                  <a:lnTo>
                    <a:pt x="1570" y="138"/>
                  </a:lnTo>
                  <a:lnTo>
                    <a:pt x="1571" y="143"/>
                  </a:lnTo>
                  <a:lnTo>
                    <a:pt x="1577" y="146"/>
                  </a:lnTo>
                  <a:lnTo>
                    <a:pt x="1580" y="147"/>
                  </a:lnTo>
                  <a:lnTo>
                    <a:pt x="1583" y="150"/>
                  </a:lnTo>
                  <a:lnTo>
                    <a:pt x="1587" y="147"/>
                  </a:lnTo>
                  <a:lnTo>
                    <a:pt x="1596" y="155"/>
                  </a:lnTo>
                  <a:lnTo>
                    <a:pt x="1601" y="155"/>
                  </a:lnTo>
                  <a:lnTo>
                    <a:pt x="1583" y="178"/>
                  </a:lnTo>
                  <a:lnTo>
                    <a:pt x="1577" y="178"/>
                  </a:lnTo>
                  <a:lnTo>
                    <a:pt x="1576" y="172"/>
                  </a:lnTo>
                  <a:lnTo>
                    <a:pt x="1569" y="176"/>
                  </a:lnTo>
                  <a:lnTo>
                    <a:pt x="1555" y="176"/>
                  </a:lnTo>
                  <a:lnTo>
                    <a:pt x="1552" y="180"/>
                  </a:lnTo>
                  <a:lnTo>
                    <a:pt x="1551" y="187"/>
                  </a:lnTo>
                  <a:lnTo>
                    <a:pt x="1556" y="200"/>
                  </a:lnTo>
                  <a:lnTo>
                    <a:pt x="1558" y="206"/>
                  </a:lnTo>
                  <a:lnTo>
                    <a:pt x="1552" y="214"/>
                  </a:lnTo>
                  <a:lnTo>
                    <a:pt x="1535" y="218"/>
                  </a:lnTo>
                  <a:lnTo>
                    <a:pt x="1531" y="222"/>
                  </a:lnTo>
                  <a:lnTo>
                    <a:pt x="1527" y="231"/>
                  </a:lnTo>
                  <a:lnTo>
                    <a:pt x="1530" y="245"/>
                  </a:lnTo>
                  <a:lnTo>
                    <a:pt x="1527" y="249"/>
                  </a:lnTo>
                  <a:lnTo>
                    <a:pt x="1524" y="250"/>
                  </a:lnTo>
                  <a:lnTo>
                    <a:pt x="1519" y="246"/>
                  </a:lnTo>
                  <a:lnTo>
                    <a:pt x="1513" y="248"/>
                  </a:lnTo>
                  <a:lnTo>
                    <a:pt x="1492" y="301"/>
                  </a:lnTo>
                  <a:lnTo>
                    <a:pt x="1499" y="312"/>
                  </a:lnTo>
                  <a:lnTo>
                    <a:pt x="1516" y="346"/>
                  </a:lnTo>
                  <a:lnTo>
                    <a:pt x="1499" y="378"/>
                  </a:lnTo>
                  <a:lnTo>
                    <a:pt x="1498" y="386"/>
                  </a:lnTo>
                  <a:lnTo>
                    <a:pt x="1520" y="441"/>
                  </a:lnTo>
                  <a:lnTo>
                    <a:pt x="1562" y="504"/>
                  </a:lnTo>
                  <a:lnTo>
                    <a:pt x="1567" y="514"/>
                  </a:lnTo>
                  <a:lnTo>
                    <a:pt x="1596" y="539"/>
                  </a:lnTo>
                  <a:lnTo>
                    <a:pt x="1638" y="556"/>
                  </a:lnTo>
                  <a:lnTo>
                    <a:pt x="1631" y="577"/>
                  </a:lnTo>
                  <a:lnTo>
                    <a:pt x="1626" y="583"/>
                  </a:lnTo>
                  <a:lnTo>
                    <a:pt x="1624" y="587"/>
                  </a:lnTo>
                  <a:lnTo>
                    <a:pt x="1626" y="598"/>
                  </a:lnTo>
                  <a:lnTo>
                    <a:pt x="1624" y="602"/>
                  </a:lnTo>
                  <a:lnTo>
                    <a:pt x="1630" y="607"/>
                  </a:lnTo>
                  <a:lnTo>
                    <a:pt x="1629" y="611"/>
                  </a:lnTo>
                  <a:lnTo>
                    <a:pt x="1627" y="615"/>
                  </a:lnTo>
                  <a:lnTo>
                    <a:pt x="1629" y="620"/>
                  </a:lnTo>
                  <a:lnTo>
                    <a:pt x="1633" y="624"/>
                  </a:lnTo>
                  <a:lnTo>
                    <a:pt x="1643" y="626"/>
                  </a:lnTo>
                  <a:lnTo>
                    <a:pt x="1645" y="629"/>
                  </a:lnTo>
                  <a:lnTo>
                    <a:pt x="1647" y="633"/>
                  </a:lnTo>
                  <a:lnTo>
                    <a:pt x="1649" y="636"/>
                  </a:lnTo>
                  <a:lnTo>
                    <a:pt x="1649" y="638"/>
                  </a:lnTo>
                  <a:lnTo>
                    <a:pt x="1652" y="641"/>
                  </a:lnTo>
                  <a:lnTo>
                    <a:pt x="1651" y="648"/>
                  </a:lnTo>
                  <a:lnTo>
                    <a:pt x="1654" y="653"/>
                  </a:lnTo>
                  <a:lnTo>
                    <a:pt x="1655" y="656"/>
                  </a:lnTo>
                  <a:lnTo>
                    <a:pt x="1654" y="660"/>
                  </a:lnTo>
                  <a:lnTo>
                    <a:pt x="1655" y="664"/>
                  </a:lnTo>
                  <a:lnTo>
                    <a:pt x="1654" y="669"/>
                  </a:lnTo>
                  <a:lnTo>
                    <a:pt x="1652" y="673"/>
                  </a:lnTo>
                  <a:lnTo>
                    <a:pt x="1649" y="676"/>
                  </a:lnTo>
                  <a:lnTo>
                    <a:pt x="1637" y="676"/>
                  </a:lnTo>
                  <a:lnTo>
                    <a:pt x="1635" y="677"/>
                  </a:lnTo>
                  <a:lnTo>
                    <a:pt x="1635" y="685"/>
                  </a:lnTo>
                  <a:lnTo>
                    <a:pt x="1638" y="694"/>
                  </a:lnTo>
                  <a:lnTo>
                    <a:pt x="1635" y="699"/>
                  </a:lnTo>
                  <a:lnTo>
                    <a:pt x="1634" y="705"/>
                  </a:lnTo>
                  <a:lnTo>
                    <a:pt x="1635" y="708"/>
                  </a:lnTo>
                  <a:lnTo>
                    <a:pt x="1633" y="713"/>
                  </a:lnTo>
                  <a:lnTo>
                    <a:pt x="1631" y="722"/>
                  </a:lnTo>
                  <a:lnTo>
                    <a:pt x="1626" y="727"/>
                  </a:lnTo>
                  <a:lnTo>
                    <a:pt x="1626" y="733"/>
                  </a:lnTo>
                  <a:lnTo>
                    <a:pt x="1627" y="735"/>
                  </a:lnTo>
                  <a:lnTo>
                    <a:pt x="1627" y="743"/>
                  </a:lnTo>
                  <a:lnTo>
                    <a:pt x="1629" y="744"/>
                  </a:lnTo>
                  <a:lnTo>
                    <a:pt x="1627" y="747"/>
                  </a:lnTo>
                  <a:lnTo>
                    <a:pt x="1629" y="750"/>
                  </a:lnTo>
                  <a:lnTo>
                    <a:pt x="1637" y="753"/>
                  </a:lnTo>
                  <a:lnTo>
                    <a:pt x="1648" y="763"/>
                  </a:lnTo>
                  <a:lnTo>
                    <a:pt x="1658" y="764"/>
                  </a:lnTo>
                  <a:lnTo>
                    <a:pt x="1662" y="770"/>
                  </a:lnTo>
                  <a:lnTo>
                    <a:pt x="1662" y="775"/>
                  </a:lnTo>
                  <a:lnTo>
                    <a:pt x="1659" y="776"/>
                  </a:lnTo>
                  <a:lnTo>
                    <a:pt x="1662" y="778"/>
                  </a:lnTo>
                  <a:lnTo>
                    <a:pt x="1662" y="780"/>
                  </a:lnTo>
                  <a:lnTo>
                    <a:pt x="1659" y="782"/>
                  </a:lnTo>
                  <a:lnTo>
                    <a:pt x="1656" y="785"/>
                  </a:lnTo>
                  <a:lnTo>
                    <a:pt x="1656" y="788"/>
                  </a:lnTo>
                  <a:lnTo>
                    <a:pt x="1648" y="802"/>
                  </a:lnTo>
                  <a:lnTo>
                    <a:pt x="1648" y="809"/>
                  </a:lnTo>
                  <a:lnTo>
                    <a:pt x="1649" y="812"/>
                  </a:lnTo>
                  <a:lnTo>
                    <a:pt x="1652" y="813"/>
                  </a:lnTo>
                  <a:lnTo>
                    <a:pt x="1652" y="818"/>
                  </a:lnTo>
                  <a:lnTo>
                    <a:pt x="1652" y="825"/>
                  </a:lnTo>
                  <a:lnTo>
                    <a:pt x="1654" y="832"/>
                  </a:lnTo>
                  <a:lnTo>
                    <a:pt x="1658" y="838"/>
                  </a:lnTo>
                  <a:lnTo>
                    <a:pt x="1656" y="842"/>
                  </a:lnTo>
                  <a:lnTo>
                    <a:pt x="1663" y="847"/>
                  </a:lnTo>
                  <a:lnTo>
                    <a:pt x="1665" y="855"/>
                  </a:lnTo>
                  <a:lnTo>
                    <a:pt x="1672" y="859"/>
                  </a:lnTo>
                  <a:lnTo>
                    <a:pt x="1672" y="860"/>
                  </a:lnTo>
                  <a:lnTo>
                    <a:pt x="1670" y="863"/>
                  </a:lnTo>
                  <a:lnTo>
                    <a:pt x="1666" y="864"/>
                  </a:lnTo>
                  <a:lnTo>
                    <a:pt x="1662" y="860"/>
                  </a:lnTo>
                  <a:lnTo>
                    <a:pt x="1655" y="860"/>
                  </a:lnTo>
                  <a:lnTo>
                    <a:pt x="1647" y="855"/>
                  </a:lnTo>
                  <a:lnTo>
                    <a:pt x="1644" y="855"/>
                  </a:lnTo>
                  <a:lnTo>
                    <a:pt x="1640" y="856"/>
                  </a:lnTo>
                  <a:lnTo>
                    <a:pt x="1629" y="864"/>
                  </a:lnTo>
                  <a:lnTo>
                    <a:pt x="1626" y="864"/>
                  </a:lnTo>
                  <a:lnTo>
                    <a:pt x="1621" y="860"/>
                  </a:lnTo>
                  <a:lnTo>
                    <a:pt x="1617" y="862"/>
                  </a:lnTo>
                  <a:lnTo>
                    <a:pt x="1617" y="863"/>
                  </a:lnTo>
                  <a:lnTo>
                    <a:pt x="1619" y="865"/>
                  </a:lnTo>
                  <a:lnTo>
                    <a:pt x="1616" y="868"/>
                  </a:lnTo>
                  <a:lnTo>
                    <a:pt x="1617" y="869"/>
                  </a:lnTo>
                  <a:lnTo>
                    <a:pt x="1612" y="877"/>
                  </a:lnTo>
                  <a:lnTo>
                    <a:pt x="1612" y="881"/>
                  </a:lnTo>
                  <a:lnTo>
                    <a:pt x="1608" y="885"/>
                  </a:lnTo>
                  <a:lnTo>
                    <a:pt x="1613" y="892"/>
                  </a:lnTo>
                  <a:lnTo>
                    <a:pt x="1615" y="894"/>
                  </a:lnTo>
                  <a:lnTo>
                    <a:pt x="1609" y="902"/>
                  </a:lnTo>
                  <a:lnTo>
                    <a:pt x="1609" y="904"/>
                  </a:lnTo>
                  <a:lnTo>
                    <a:pt x="1609" y="907"/>
                  </a:lnTo>
                  <a:lnTo>
                    <a:pt x="1613" y="912"/>
                  </a:lnTo>
                  <a:lnTo>
                    <a:pt x="1609" y="914"/>
                  </a:lnTo>
                  <a:lnTo>
                    <a:pt x="1610" y="917"/>
                  </a:lnTo>
                  <a:lnTo>
                    <a:pt x="1608" y="918"/>
                  </a:lnTo>
                  <a:lnTo>
                    <a:pt x="1609" y="922"/>
                  </a:lnTo>
                  <a:lnTo>
                    <a:pt x="1606" y="927"/>
                  </a:lnTo>
                  <a:lnTo>
                    <a:pt x="1605" y="937"/>
                  </a:lnTo>
                  <a:lnTo>
                    <a:pt x="1602" y="939"/>
                  </a:lnTo>
                  <a:lnTo>
                    <a:pt x="1601" y="944"/>
                  </a:lnTo>
                  <a:lnTo>
                    <a:pt x="1596" y="952"/>
                  </a:lnTo>
                  <a:lnTo>
                    <a:pt x="1598" y="956"/>
                  </a:lnTo>
                  <a:lnTo>
                    <a:pt x="1596" y="960"/>
                  </a:lnTo>
                  <a:lnTo>
                    <a:pt x="1592" y="963"/>
                  </a:lnTo>
                  <a:lnTo>
                    <a:pt x="1594" y="971"/>
                  </a:lnTo>
                  <a:lnTo>
                    <a:pt x="1590" y="975"/>
                  </a:lnTo>
                  <a:lnTo>
                    <a:pt x="1591" y="980"/>
                  </a:lnTo>
                  <a:lnTo>
                    <a:pt x="1585" y="984"/>
                  </a:lnTo>
                  <a:lnTo>
                    <a:pt x="1588" y="989"/>
                  </a:lnTo>
                  <a:lnTo>
                    <a:pt x="1583" y="989"/>
                  </a:lnTo>
                  <a:lnTo>
                    <a:pt x="1580" y="996"/>
                  </a:lnTo>
                  <a:lnTo>
                    <a:pt x="1581" y="1000"/>
                  </a:lnTo>
                  <a:lnTo>
                    <a:pt x="1577" y="1003"/>
                  </a:lnTo>
                  <a:lnTo>
                    <a:pt x="1584" y="1008"/>
                  </a:lnTo>
                  <a:lnTo>
                    <a:pt x="1590" y="1012"/>
                  </a:lnTo>
                  <a:lnTo>
                    <a:pt x="1588" y="1019"/>
                  </a:lnTo>
                  <a:lnTo>
                    <a:pt x="1590" y="1025"/>
                  </a:lnTo>
                  <a:lnTo>
                    <a:pt x="1592" y="1025"/>
                  </a:lnTo>
                  <a:lnTo>
                    <a:pt x="1594" y="1025"/>
                  </a:lnTo>
                  <a:lnTo>
                    <a:pt x="1592" y="1028"/>
                  </a:lnTo>
                  <a:lnTo>
                    <a:pt x="1596" y="1028"/>
                  </a:lnTo>
                  <a:lnTo>
                    <a:pt x="1596" y="1031"/>
                  </a:lnTo>
                  <a:lnTo>
                    <a:pt x="1599" y="1033"/>
                  </a:lnTo>
                  <a:lnTo>
                    <a:pt x="1599" y="1038"/>
                  </a:lnTo>
                  <a:lnTo>
                    <a:pt x="1602" y="1042"/>
                  </a:lnTo>
                  <a:lnTo>
                    <a:pt x="1604" y="1046"/>
                  </a:lnTo>
                  <a:lnTo>
                    <a:pt x="1606" y="1047"/>
                  </a:lnTo>
                  <a:lnTo>
                    <a:pt x="1606" y="1054"/>
                  </a:lnTo>
                  <a:lnTo>
                    <a:pt x="1609" y="1055"/>
                  </a:lnTo>
                  <a:lnTo>
                    <a:pt x="1609" y="1054"/>
                  </a:lnTo>
                  <a:lnTo>
                    <a:pt x="1610" y="1054"/>
                  </a:lnTo>
                  <a:lnTo>
                    <a:pt x="1612" y="1056"/>
                  </a:lnTo>
                  <a:lnTo>
                    <a:pt x="1615" y="1059"/>
                  </a:lnTo>
                  <a:lnTo>
                    <a:pt x="1617" y="1063"/>
                  </a:lnTo>
                  <a:lnTo>
                    <a:pt x="1617" y="1066"/>
                  </a:lnTo>
                  <a:lnTo>
                    <a:pt x="1621" y="1072"/>
                  </a:lnTo>
                  <a:lnTo>
                    <a:pt x="1623" y="1083"/>
                  </a:lnTo>
                  <a:lnTo>
                    <a:pt x="1626" y="1090"/>
                  </a:lnTo>
                  <a:lnTo>
                    <a:pt x="1629" y="1090"/>
                  </a:lnTo>
                  <a:lnTo>
                    <a:pt x="1634" y="1085"/>
                  </a:lnTo>
                  <a:lnTo>
                    <a:pt x="1651" y="1083"/>
                  </a:lnTo>
                  <a:lnTo>
                    <a:pt x="1655" y="1093"/>
                  </a:lnTo>
                  <a:lnTo>
                    <a:pt x="1666" y="1096"/>
                  </a:lnTo>
                  <a:lnTo>
                    <a:pt x="1675" y="1100"/>
                  </a:lnTo>
                  <a:lnTo>
                    <a:pt x="1681" y="1105"/>
                  </a:lnTo>
                  <a:lnTo>
                    <a:pt x="1689" y="1108"/>
                  </a:lnTo>
                  <a:lnTo>
                    <a:pt x="1695" y="1113"/>
                  </a:lnTo>
                  <a:lnTo>
                    <a:pt x="1701" y="1120"/>
                  </a:lnTo>
                  <a:lnTo>
                    <a:pt x="1711" y="1121"/>
                  </a:lnTo>
                  <a:lnTo>
                    <a:pt x="1723" y="1121"/>
                  </a:lnTo>
                  <a:lnTo>
                    <a:pt x="1729" y="1124"/>
                  </a:lnTo>
                  <a:lnTo>
                    <a:pt x="1730" y="1128"/>
                  </a:lnTo>
                  <a:lnTo>
                    <a:pt x="1729" y="1132"/>
                  </a:lnTo>
                  <a:lnTo>
                    <a:pt x="1733" y="1141"/>
                  </a:lnTo>
                  <a:lnTo>
                    <a:pt x="1733" y="1143"/>
                  </a:lnTo>
                  <a:lnTo>
                    <a:pt x="1739" y="1150"/>
                  </a:lnTo>
                  <a:lnTo>
                    <a:pt x="1740" y="1153"/>
                  </a:lnTo>
                  <a:lnTo>
                    <a:pt x="1744" y="1154"/>
                  </a:lnTo>
                  <a:lnTo>
                    <a:pt x="1756" y="1158"/>
                  </a:lnTo>
                  <a:lnTo>
                    <a:pt x="1761" y="1162"/>
                  </a:lnTo>
                  <a:lnTo>
                    <a:pt x="1758" y="1166"/>
                  </a:lnTo>
                  <a:lnTo>
                    <a:pt x="1753" y="1171"/>
                  </a:lnTo>
                  <a:lnTo>
                    <a:pt x="1753" y="1179"/>
                  </a:lnTo>
                  <a:lnTo>
                    <a:pt x="1755" y="1183"/>
                  </a:lnTo>
                  <a:lnTo>
                    <a:pt x="1764" y="1180"/>
                  </a:lnTo>
                  <a:lnTo>
                    <a:pt x="1766" y="1184"/>
                  </a:lnTo>
                  <a:lnTo>
                    <a:pt x="1769" y="1188"/>
                  </a:lnTo>
                  <a:lnTo>
                    <a:pt x="1766" y="1193"/>
                  </a:lnTo>
                  <a:lnTo>
                    <a:pt x="1766" y="1196"/>
                  </a:lnTo>
                  <a:lnTo>
                    <a:pt x="1769" y="1202"/>
                  </a:lnTo>
                  <a:lnTo>
                    <a:pt x="1786" y="1215"/>
                  </a:lnTo>
                  <a:lnTo>
                    <a:pt x="1794" y="1215"/>
                  </a:lnTo>
                  <a:lnTo>
                    <a:pt x="1804" y="1225"/>
                  </a:lnTo>
                  <a:lnTo>
                    <a:pt x="1822" y="1233"/>
                  </a:lnTo>
                  <a:lnTo>
                    <a:pt x="1830" y="1246"/>
                  </a:lnTo>
                  <a:lnTo>
                    <a:pt x="1829" y="1252"/>
                  </a:lnTo>
                  <a:lnTo>
                    <a:pt x="1830" y="1255"/>
                  </a:lnTo>
                  <a:lnTo>
                    <a:pt x="1843" y="1263"/>
                  </a:lnTo>
                  <a:lnTo>
                    <a:pt x="1848" y="1274"/>
                  </a:lnTo>
                  <a:lnTo>
                    <a:pt x="1865" y="1278"/>
                  </a:lnTo>
                  <a:lnTo>
                    <a:pt x="1869" y="1277"/>
                  </a:lnTo>
                  <a:lnTo>
                    <a:pt x="1879" y="1270"/>
                  </a:lnTo>
                  <a:lnTo>
                    <a:pt x="1880" y="1270"/>
                  </a:lnTo>
                  <a:lnTo>
                    <a:pt x="1883" y="1270"/>
                  </a:lnTo>
                  <a:lnTo>
                    <a:pt x="1886" y="1278"/>
                  </a:lnTo>
                  <a:lnTo>
                    <a:pt x="1883" y="1282"/>
                  </a:lnTo>
                  <a:lnTo>
                    <a:pt x="1881" y="1286"/>
                  </a:lnTo>
                  <a:lnTo>
                    <a:pt x="1884" y="1291"/>
                  </a:lnTo>
                  <a:lnTo>
                    <a:pt x="1894" y="1296"/>
                  </a:lnTo>
                  <a:lnTo>
                    <a:pt x="1898" y="1307"/>
                  </a:lnTo>
                  <a:lnTo>
                    <a:pt x="1904" y="1314"/>
                  </a:lnTo>
                  <a:lnTo>
                    <a:pt x="1909" y="1315"/>
                  </a:lnTo>
                  <a:lnTo>
                    <a:pt x="1911" y="1317"/>
                  </a:lnTo>
                  <a:lnTo>
                    <a:pt x="1911" y="1319"/>
                  </a:lnTo>
                  <a:lnTo>
                    <a:pt x="1908" y="1322"/>
                  </a:lnTo>
                  <a:lnTo>
                    <a:pt x="1909" y="1328"/>
                  </a:lnTo>
                  <a:lnTo>
                    <a:pt x="1911" y="1329"/>
                  </a:lnTo>
                  <a:lnTo>
                    <a:pt x="1915" y="1331"/>
                  </a:lnTo>
                  <a:lnTo>
                    <a:pt x="1915" y="1333"/>
                  </a:lnTo>
                  <a:lnTo>
                    <a:pt x="1912" y="1340"/>
                  </a:lnTo>
                  <a:lnTo>
                    <a:pt x="1914" y="1341"/>
                  </a:lnTo>
                  <a:lnTo>
                    <a:pt x="1916" y="1345"/>
                  </a:lnTo>
                  <a:lnTo>
                    <a:pt x="1919" y="1348"/>
                  </a:lnTo>
                  <a:lnTo>
                    <a:pt x="1921" y="1354"/>
                  </a:lnTo>
                  <a:lnTo>
                    <a:pt x="1923" y="1358"/>
                  </a:lnTo>
                  <a:lnTo>
                    <a:pt x="1921" y="1359"/>
                  </a:lnTo>
                  <a:lnTo>
                    <a:pt x="1919" y="1361"/>
                  </a:lnTo>
                  <a:lnTo>
                    <a:pt x="1918" y="1367"/>
                  </a:lnTo>
                  <a:lnTo>
                    <a:pt x="1919" y="1370"/>
                  </a:lnTo>
                  <a:lnTo>
                    <a:pt x="1916" y="1373"/>
                  </a:lnTo>
                  <a:lnTo>
                    <a:pt x="1916" y="1376"/>
                  </a:lnTo>
                  <a:lnTo>
                    <a:pt x="1919" y="1379"/>
                  </a:lnTo>
                  <a:lnTo>
                    <a:pt x="1923" y="1379"/>
                  </a:lnTo>
                  <a:lnTo>
                    <a:pt x="1930" y="1384"/>
                  </a:lnTo>
                  <a:lnTo>
                    <a:pt x="1936" y="1386"/>
                  </a:lnTo>
                  <a:lnTo>
                    <a:pt x="1939" y="1389"/>
                  </a:lnTo>
                  <a:lnTo>
                    <a:pt x="1941" y="1393"/>
                  </a:lnTo>
                  <a:lnTo>
                    <a:pt x="1941" y="1398"/>
                  </a:lnTo>
                  <a:lnTo>
                    <a:pt x="1943" y="1399"/>
                  </a:lnTo>
                  <a:lnTo>
                    <a:pt x="1944" y="1403"/>
                  </a:lnTo>
                  <a:lnTo>
                    <a:pt x="1955" y="1408"/>
                  </a:lnTo>
                  <a:lnTo>
                    <a:pt x="1954" y="1412"/>
                  </a:lnTo>
                  <a:lnTo>
                    <a:pt x="1954" y="1416"/>
                  </a:lnTo>
                  <a:lnTo>
                    <a:pt x="1957" y="1419"/>
                  </a:lnTo>
                  <a:lnTo>
                    <a:pt x="1955" y="1424"/>
                  </a:lnTo>
                  <a:lnTo>
                    <a:pt x="1957" y="1428"/>
                  </a:lnTo>
                  <a:lnTo>
                    <a:pt x="1961" y="1431"/>
                  </a:lnTo>
                  <a:lnTo>
                    <a:pt x="1966" y="1427"/>
                  </a:lnTo>
                  <a:lnTo>
                    <a:pt x="1972" y="1424"/>
                  </a:lnTo>
                  <a:lnTo>
                    <a:pt x="1976" y="1426"/>
                  </a:lnTo>
                  <a:lnTo>
                    <a:pt x="1982" y="1423"/>
                  </a:lnTo>
                  <a:lnTo>
                    <a:pt x="1985" y="1424"/>
                  </a:lnTo>
                  <a:lnTo>
                    <a:pt x="1990" y="1433"/>
                  </a:lnTo>
                  <a:lnTo>
                    <a:pt x="1989" y="1437"/>
                  </a:lnTo>
                  <a:lnTo>
                    <a:pt x="1983" y="1443"/>
                  </a:lnTo>
                  <a:lnTo>
                    <a:pt x="1985" y="1446"/>
                  </a:lnTo>
                  <a:lnTo>
                    <a:pt x="1988" y="1448"/>
                  </a:lnTo>
                  <a:lnTo>
                    <a:pt x="2007" y="1456"/>
                  </a:lnTo>
                  <a:lnTo>
                    <a:pt x="2007" y="1460"/>
                  </a:lnTo>
                  <a:lnTo>
                    <a:pt x="2008" y="1464"/>
                  </a:lnTo>
                  <a:lnTo>
                    <a:pt x="2007" y="1469"/>
                  </a:lnTo>
                  <a:lnTo>
                    <a:pt x="2013" y="1476"/>
                  </a:lnTo>
                  <a:lnTo>
                    <a:pt x="2016" y="1477"/>
                  </a:lnTo>
                  <a:lnTo>
                    <a:pt x="2028" y="1480"/>
                  </a:lnTo>
                  <a:lnTo>
                    <a:pt x="2029" y="1483"/>
                  </a:lnTo>
                  <a:lnTo>
                    <a:pt x="2032" y="1486"/>
                  </a:lnTo>
                  <a:lnTo>
                    <a:pt x="2032" y="1489"/>
                  </a:lnTo>
                  <a:lnTo>
                    <a:pt x="2028" y="1491"/>
                  </a:lnTo>
                  <a:lnTo>
                    <a:pt x="2025" y="1495"/>
                  </a:lnTo>
                  <a:lnTo>
                    <a:pt x="2025" y="1498"/>
                  </a:lnTo>
                  <a:lnTo>
                    <a:pt x="2025" y="1502"/>
                  </a:lnTo>
                  <a:lnTo>
                    <a:pt x="2032" y="1505"/>
                  </a:lnTo>
                  <a:lnTo>
                    <a:pt x="2035" y="1506"/>
                  </a:lnTo>
                  <a:lnTo>
                    <a:pt x="2038" y="1506"/>
                  </a:lnTo>
                  <a:lnTo>
                    <a:pt x="2040" y="1505"/>
                  </a:lnTo>
                  <a:lnTo>
                    <a:pt x="2044" y="1505"/>
                  </a:lnTo>
                  <a:lnTo>
                    <a:pt x="2046" y="1506"/>
                  </a:lnTo>
                  <a:lnTo>
                    <a:pt x="2041" y="1510"/>
                  </a:lnTo>
                  <a:lnTo>
                    <a:pt x="2046" y="1516"/>
                  </a:lnTo>
                  <a:lnTo>
                    <a:pt x="2043" y="1519"/>
                  </a:lnTo>
                  <a:lnTo>
                    <a:pt x="2043" y="1522"/>
                  </a:lnTo>
                  <a:lnTo>
                    <a:pt x="2047" y="1522"/>
                  </a:lnTo>
                  <a:lnTo>
                    <a:pt x="2047" y="1523"/>
                  </a:lnTo>
                  <a:lnTo>
                    <a:pt x="2043" y="1527"/>
                  </a:lnTo>
                  <a:lnTo>
                    <a:pt x="2043" y="1535"/>
                  </a:lnTo>
                  <a:lnTo>
                    <a:pt x="2046" y="1539"/>
                  </a:lnTo>
                  <a:lnTo>
                    <a:pt x="2043" y="1545"/>
                  </a:lnTo>
                  <a:lnTo>
                    <a:pt x="2040" y="1548"/>
                  </a:lnTo>
                  <a:lnTo>
                    <a:pt x="2041" y="1551"/>
                  </a:lnTo>
                  <a:lnTo>
                    <a:pt x="2044" y="1555"/>
                  </a:lnTo>
                  <a:lnTo>
                    <a:pt x="2049" y="1555"/>
                  </a:lnTo>
                  <a:lnTo>
                    <a:pt x="2053" y="1555"/>
                  </a:lnTo>
                  <a:lnTo>
                    <a:pt x="2055" y="1555"/>
                  </a:lnTo>
                  <a:lnTo>
                    <a:pt x="2057" y="1558"/>
                  </a:lnTo>
                  <a:lnTo>
                    <a:pt x="2060" y="1561"/>
                  </a:lnTo>
                  <a:lnTo>
                    <a:pt x="2063" y="1568"/>
                  </a:lnTo>
                  <a:lnTo>
                    <a:pt x="2068" y="1573"/>
                  </a:lnTo>
                  <a:lnTo>
                    <a:pt x="2066" y="1577"/>
                  </a:lnTo>
                  <a:lnTo>
                    <a:pt x="2063" y="1577"/>
                  </a:lnTo>
                  <a:lnTo>
                    <a:pt x="2063" y="1581"/>
                  </a:lnTo>
                  <a:lnTo>
                    <a:pt x="2064" y="1585"/>
                  </a:lnTo>
                  <a:lnTo>
                    <a:pt x="2060" y="1589"/>
                  </a:lnTo>
                  <a:lnTo>
                    <a:pt x="2058" y="1594"/>
                  </a:lnTo>
                  <a:lnTo>
                    <a:pt x="2060" y="1599"/>
                  </a:lnTo>
                  <a:lnTo>
                    <a:pt x="2064" y="1603"/>
                  </a:lnTo>
                  <a:lnTo>
                    <a:pt x="2063" y="1611"/>
                  </a:lnTo>
                  <a:lnTo>
                    <a:pt x="2066" y="1614"/>
                  </a:lnTo>
                  <a:lnTo>
                    <a:pt x="2066" y="1615"/>
                  </a:lnTo>
                  <a:lnTo>
                    <a:pt x="2064" y="1615"/>
                  </a:lnTo>
                  <a:lnTo>
                    <a:pt x="2064" y="1618"/>
                  </a:lnTo>
                  <a:lnTo>
                    <a:pt x="2069" y="1622"/>
                  </a:lnTo>
                  <a:lnTo>
                    <a:pt x="2076" y="1620"/>
                  </a:lnTo>
                  <a:lnTo>
                    <a:pt x="2083" y="1619"/>
                  </a:lnTo>
                  <a:lnTo>
                    <a:pt x="2086" y="1619"/>
                  </a:lnTo>
                  <a:lnTo>
                    <a:pt x="2088" y="1620"/>
                  </a:lnTo>
                  <a:lnTo>
                    <a:pt x="2086" y="1630"/>
                  </a:lnTo>
                  <a:lnTo>
                    <a:pt x="2079" y="1635"/>
                  </a:lnTo>
                  <a:lnTo>
                    <a:pt x="2075" y="1636"/>
                  </a:lnTo>
                  <a:lnTo>
                    <a:pt x="2068" y="1634"/>
                  </a:lnTo>
                  <a:lnTo>
                    <a:pt x="2065" y="1632"/>
                  </a:lnTo>
                  <a:lnTo>
                    <a:pt x="2064" y="1632"/>
                  </a:lnTo>
                  <a:lnTo>
                    <a:pt x="2061" y="1638"/>
                  </a:lnTo>
                  <a:lnTo>
                    <a:pt x="2066" y="1640"/>
                  </a:lnTo>
                  <a:lnTo>
                    <a:pt x="2066" y="1642"/>
                  </a:lnTo>
                  <a:lnTo>
                    <a:pt x="2064" y="1643"/>
                  </a:lnTo>
                  <a:lnTo>
                    <a:pt x="2063" y="1647"/>
                  </a:lnTo>
                  <a:lnTo>
                    <a:pt x="2061" y="1648"/>
                  </a:lnTo>
                  <a:lnTo>
                    <a:pt x="2054" y="1648"/>
                  </a:lnTo>
                  <a:lnTo>
                    <a:pt x="2053" y="1643"/>
                  </a:lnTo>
                  <a:lnTo>
                    <a:pt x="2050" y="1640"/>
                  </a:lnTo>
                  <a:lnTo>
                    <a:pt x="2044" y="1640"/>
                  </a:lnTo>
                  <a:lnTo>
                    <a:pt x="2041" y="1643"/>
                  </a:lnTo>
                  <a:lnTo>
                    <a:pt x="2040" y="1644"/>
                  </a:lnTo>
                  <a:lnTo>
                    <a:pt x="2040" y="1648"/>
                  </a:lnTo>
                  <a:lnTo>
                    <a:pt x="2041" y="1654"/>
                  </a:lnTo>
                  <a:lnTo>
                    <a:pt x="2044" y="1656"/>
                  </a:lnTo>
                  <a:lnTo>
                    <a:pt x="2043" y="1659"/>
                  </a:lnTo>
                  <a:lnTo>
                    <a:pt x="2044" y="1661"/>
                  </a:lnTo>
                  <a:lnTo>
                    <a:pt x="2040" y="1670"/>
                  </a:lnTo>
                  <a:lnTo>
                    <a:pt x="2039" y="1674"/>
                  </a:lnTo>
                  <a:lnTo>
                    <a:pt x="2041" y="1677"/>
                  </a:lnTo>
                  <a:lnTo>
                    <a:pt x="2051" y="1677"/>
                  </a:lnTo>
                  <a:lnTo>
                    <a:pt x="2054" y="1680"/>
                  </a:lnTo>
                  <a:lnTo>
                    <a:pt x="2061" y="1682"/>
                  </a:lnTo>
                  <a:lnTo>
                    <a:pt x="2061" y="1684"/>
                  </a:lnTo>
                  <a:lnTo>
                    <a:pt x="2061" y="1685"/>
                  </a:lnTo>
                  <a:lnTo>
                    <a:pt x="2058" y="1686"/>
                  </a:lnTo>
                  <a:lnTo>
                    <a:pt x="2058" y="1688"/>
                  </a:lnTo>
                  <a:lnTo>
                    <a:pt x="2060" y="1690"/>
                  </a:lnTo>
                  <a:lnTo>
                    <a:pt x="2055" y="1693"/>
                  </a:lnTo>
                  <a:lnTo>
                    <a:pt x="2055" y="1697"/>
                  </a:lnTo>
                  <a:lnTo>
                    <a:pt x="2058" y="1699"/>
                  </a:lnTo>
                  <a:lnTo>
                    <a:pt x="2057" y="1704"/>
                  </a:lnTo>
                  <a:lnTo>
                    <a:pt x="2057" y="1705"/>
                  </a:lnTo>
                  <a:lnTo>
                    <a:pt x="2060" y="1709"/>
                  </a:lnTo>
                  <a:lnTo>
                    <a:pt x="2064" y="1709"/>
                  </a:lnTo>
                  <a:lnTo>
                    <a:pt x="2065" y="1711"/>
                  </a:lnTo>
                  <a:lnTo>
                    <a:pt x="2066" y="1711"/>
                  </a:lnTo>
                  <a:lnTo>
                    <a:pt x="2069" y="1709"/>
                  </a:lnTo>
                  <a:lnTo>
                    <a:pt x="2072" y="1711"/>
                  </a:lnTo>
                  <a:lnTo>
                    <a:pt x="2072" y="1715"/>
                  </a:lnTo>
                  <a:lnTo>
                    <a:pt x="2075" y="1715"/>
                  </a:lnTo>
                  <a:lnTo>
                    <a:pt x="2074" y="1719"/>
                  </a:lnTo>
                  <a:lnTo>
                    <a:pt x="2078" y="1726"/>
                  </a:lnTo>
                  <a:lnTo>
                    <a:pt x="2078" y="1729"/>
                  </a:lnTo>
                  <a:lnTo>
                    <a:pt x="2075" y="1731"/>
                  </a:lnTo>
                  <a:lnTo>
                    <a:pt x="2076" y="1738"/>
                  </a:lnTo>
                  <a:lnTo>
                    <a:pt x="2078" y="1741"/>
                  </a:lnTo>
                  <a:lnTo>
                    <a:pt x="2076" y="1742"/>
                  </a:lnTo>
                  <a:lnTo>
                    <a:pt x="2078" y="1748"/>
                  </a:lnTo>
                  <a:lnTo>
                    <a:pt x="2083" y="1749"/>
                  </a:lnTo>
                  <a:lnTo>
                    <a:pt x="2090" y="1748"/>
                  </a:lnTo>
                  <a:lnTo>
                    <a:pt x="2090" y="1747"/>
                  </a:lnTo>
                  <a:lnTo>
                    <a:pt x="2090" y="1746"/>
                  </a:lnTo>
                  <a:lnTo>
                    <a:pt x="2093" y="1744"/>
                  </a:lnTo>
                  <a:lnTo>
                    <a:pt x="2097" y="1747"/>
                  </a:lnTo>
                  <a:lnTo>
                    <a:pt x="2101" y="1746"/>
                  </a:lnTo>
                  <a:lnTo>
                    <a:pt x="2107" y="1748"/>
                  </a:lnTo>
                  <a:lnTo>
                    <a:pt x="2110" y="1757"/>
                  </a:lnTo>
                  <a:lnTo>
                    <a:pt x="2108" y="1759"/>
                  </a:lnTo>
                  <a:lnTo>
                    <a:pt x="2105" y="1760"/>
                  </a:lnTo>
                  <a:lnTo>
                    <a:pt x="2105" y="1764"/>
                  </a:lnTo>
                  <a:lnTo>
                    <a:pt x="2107" y="1767"/>
                  </a:lnTo>
                  <a:lnTo>
                    <a:pt x="2111" y="1768"/>
                  </a:lnTo>
                  <a:lnTo>
                    <a:pt x="2113" y="1774"/>
                  </a:lnTo>
                  <a:lnTo>
                    <a:pt x="2111" y="1777"/>
                  </a:lnTo>
                  <a:lnTo>
                    <a:pt x="2113" y="1777"/>
                  </a:lnTo>
                  <a:lnTo>
                    <a:pt x="2115" y="1776"/>
                  </a:lnTo>
                  <a:lnTo>
                    <a:pt x="2115" y="1779"/>
                  </a:lnTo>
                  <a:lnTo>
                    <a:pt x="2117" y="1780"/>
                  </a:lnTo>
                  <a:lnTo>
                    <a:pt x="2115" y="1784"/>
                  </a:lnTo>
                  <a:lnTo>
                    <a:pt x="2114" y="1784"/>
                  </a:lnTo>
                  <a:lnTo>
                    <a:pt x="2113" y="1784"/>
                  </a:lnTo>
                  <a:lnTo>
                    <a:pt x="2111" y="1783"/>
                  </a:lnTo>
                  <a:lnTo>
                    <a:pt x="2110" y="1785"/>
                  </a:lnTo>
                  <a:lnTo>
                    <a:pt x="2111" y="1786"/>
                  </a:lnTo>
                  <a:lnTo>
                    <a:pt x="2113" y="1786"/>
                  </a:lnTo>
                  <a:lnTo>
                    <a:pt x="2114" y="1789"/>
                  </a:lnTo>
                  <a:lnTo>
                    <a:pt x="2114" y="1791"/>
                  </a:lnTo>
                  <a:lnTo>
                    <a:pt x="2117" y="1791"/>
                  </a:lnTo>
                  <a:lnTo>
                    <a:pt x="2121" y="1797"/>
                  </a:lnTo>
                  <a:lnTo>
                    <a:pt x="2125" y="1797"/>
                  </a:lnTo>
                  <a:lnTo>
                    <a:pt x="2126" y="1799"/>
                  </a:lnTo>
                  <a:lnTo>
                    <a:pt x="2126" y="1801"/>
                  </a:lnTo>
                  <a:lnTo>
                    <a:pt x="2122" y="1804"/>
                  </a:lnTo>
                  <a:lnTo>
                    <a:pt x="2122" y="1808"/>
                  </a:lnTo>
                  <a:lnTo>
                    <a:pt x="2119" y="1809"/>
                  </a:lnTo>
                  <a:lnTo>
                    <a:pt x="2115" y="1811"/>
                  </a:lnTo>
                  <a:lnTo>
                    <a:pt x="2114" y="1811"/>
                  </a:lnTo>
                  <a:lnTo>
                    <a:pt x="2114" y="1813"/>
                  </a:lnTo>
                  <a:lnTo>
                    <a:pt x="2108" y="1818"/>
                  </a:lnTo>
                  <a:lnTo>
                    <a:pt x="2107" y="1823"/>
                  </a:lnTo>
                  <a:lnTo>
                    <a:pt x="2111" y="1823"/>
                  </a:lnTo>
                  <a:lnTo>
                    <a:pt x="2114" y="1827"/>
                  </a:lnTo>
                  <a:lnTo>
                    <a:pt x="2121" y="1827"/>
                  </a:lnTo>
                  <a:lnTo>
                    <a:pt x="2124" y="1827"/>
                  </a:lnTo>
                  <a:lnTo>
                    <a:pt x="2122" y="1831"/>
                  </a:lnTo>
                  <a:lnTo>
                    <a:pt x="2117" y="1838"/>
                  </a:lnTo>
                  <a:lnTo>
                    <a:pt x="2110" y="1841"/>
                  </a:lnTo>
                  <a:lnTo>
                    <a:pt x="2108" y="1844"/>
                  </a:lnTo>
                  <a:lnTo>
                    <a:pt x="2108" y="1851"/>
                  </a:lnTo>
                  <a:lnTo>
                    <a:pt x="2113" y="1855"/>
                  </a:lnTo>
                  <a:lnTo>
                    <a:pt x="2110" y="1856"/>
                  </a:lnTo>
                  <a:lnTo>
                    <a:pt x="2110" y="1860"/>
                  </a:lnTo>
                  <a:lnTo>
                    <a:pt x="2105" y="1861"/>
                  </a:lnTo>
                  <a:lnTo>
                    <a:pt x="2103" y="1864"/>
                  </a:lnTo>
                  <a:lnTo>
                    <a:pt x="2101" y="1866"/>
                  </a:lnTo>
                  <a:lnTo>
                    <a:pt x="2100" y="1864"/>
                  </a:lnTo>
                  <a:lnTo>
                    <a:pt x="2099" y="1867"/>
                  </a:lnTo>
                  <a:lnTo>
                    <a:pt x="2094" y="1870"/>
                  </a:lnTo>
                  <a:lnTo>
                    <a:pt x="2096" y="1872"/>
                  </a:lnTo>
                  <a:lnTo>
                    <a:pt x="2093" y="1876"/>
                  </a:lnTo>
                  <a:lnTo>
                    <a:pt x="2096" y="1876"/>
                  </a:lnTo>
                  <a:lnTo>
                    <a:pt x="2096" y="1880"/>
                  </a:lnTo>
                  <a:lnTo>
                    <a:pt x="2093" y="1880"/>
                  </a:lnTo>
                  <a:lnTo>
                    <a:pt x="2090" y="1880"/>
                  </a:lnTo>
                  <a:lnTo>
                    <a:pt x="2089" y="1880"/>
                  </a:lnTo>
                  <a:lnTo>
                    <a:pt x="2089" y="1884"/>
                  </a:lnTo>
                  <a:lnTo>
                    <a:pt x="2086" y="1886"/>
                  </a:lnTo>
                  <a:lnTo>
                    <a:pt x="2085" y="1888"/>
                  </a:lnTo>
                  <a:lnTo>
                    <a:pt x="2079" y="1889"/>
                  </a:lnTo>
                  <a:lnTo>
                    <a:pt x="2079" y="1892"/>
                  </a:lnTo>
                  <a:lnTo>
                    <a:pt x="2086" y="1893"/>
                  </a:lnTo>
                  <a:lnTo>
                    <a:pt x="2088" y="1896"/>
                  </a:lnTo>
                  <a:lnTo>
                    <a:pt x="2091" y="1896"/>
                  </a:lnTo>
                  <a:lnTo>
                    <a:pt x="2101" y="1892"/>
                  </a:lnTo>
                  <a:lnTo>
                    <a:pt x="2107" y="1884"/>
                  </a:lnTo>
                  <a:lnTo>
                    <a:pt x="2113" y="1884"/>
                  </a:lnTo>
                  <a:lnTo>
                    <a:pt x="2114" y="1895"/>
                  </a:lnTo>
                  <a:lnTo>
                    <a:pt x="2119" y="1901"/>
                  </a:lnTo>
                  <a:lnTo>
                    <a:pt x="2118" y="1903"/>
                  </a:lnTo>
                  <a:lnTo>
                    <a:pt x="2117" y="1909"/>
                  </a:lnTo>
                  <a:lnTo>
                    <a:pt x="2121" y="1910"/>
                  </a:lnTo>
                  <a:lnTo>
                    <a:pt x="2126" y="1909"/>
                  </a:lnTo>
                  <a:lnTo>
                    <a:pt x="2126" y="1914"/>
                  </a:lnTo>
                  <a:lnTo>
                    <a:pt x="2125" y="1917"/>
                  </a:lnTo>
                  <a:lnTo>
                    <a:pt x="2124" y="1917"/>
                  </a:lnTo>
                  <a:lnTo>
                    <a:pt x="2122" y="1920"/>
                  </a:lnTo>
                  <a:lnTo>
                    <a:pt x="2124" y="1920"/>
                  </a:lnTo>
                  <a:lnTo>
                    <a:pt x="2125" y="1921"/>
                  </a:lnTo>
                  <a:lnTo>
                    <a:pt x="2129" y="1922"/>
                  </a:lnTo>
                  <a:lnTo>
                    <a:pt x="2130" y="1923"/>
                  </a:lnTo>
                  <a:lnTo>
                    <a:pt x="2130" y="1926"/>
                  </a:lnTo>
                  <a:lnTo>
                    <a:pt x="2128" y="1928"/>
                  </a:lnTo>
                  <a:lnTo>
                    <a:pt x="2121" y="1928"/>
                  </a:lnTo>
                  <a:lnTo>
                    <a:pt x="2118" y="1929"/>
                  </a:lnTo>
                  <a:lnTo>
                    <a:pt x="2118" y="1933"/>
                  </a:lnTo>
                  <a:lnTo>
                    <a:pt x="2113" y="1934"/>
                  </a:lnTo>
                  <a:lnTo>
                    <a:pt x="2110" y="1937"/>
                  </a:lnTo>
                  <a:lnTo>
                    <a:pt x="2114" y="1940"/>
                  </a:lnTo>
                  <a:lnTo>
                    <a:pt x="2113" y="1946"/>
                  </a:lnTo>
                  <a:lnTo>
                    <a:pt x="2115" y="1950"/>
                  </a:lnTo>
                  <a:lnTo>
                    <a:pt x="2110" y="1955"/>
                  </a:lnTo>
                  <a:lnTo>
                    <a:pt x="2108" y="1960"/>
                  </a:lnTo>
                  <a:lnTo>
                    <a:pt x="2110" y="1963"/>
                  </a:lnTo>
                  <a:lnTo>
                    <a:pt x="2110" y="1966"/>
                  </a:lnTo>
                  <a:lnTo>
                    <a:pt x="2107" y="1968"/>
                  </a:lnTo>
                  <a:lnTo>
                    <a:pt x="2107" y="1973"/>
                  </a:lnTo>
                  <a:lnTo>
                    <a:pt x="2100" y="1980"/>
                  </a:lnTo>
                  <a:lnTo>
                    <a:pt x="2100" y="1982"/>
                  </a:lnTo>
                  <a:lnTo>
                    <a:pt x="2100" y="1984"/>
                  </a:lnTo>
                  <a:lnTo>
                    <a:pt x="2104" y="1985"/>
                  </a:lnTo>
                  <a:lnTo>
                    <a:pt x="2105" y="1990"/>
                  </a:lnTo>
                  <a:lnTo>
                    <a:pt x="2107" y="1991"/>
                  </a:lnTo>
                  <a:lnTo>
                    <a:pt x="2107" y="1993"/>
                  </a:lnTo>
                  <a:lnTo>
                    <a:pt x="2110" y="1996"/>
                  </a:lnTo>
                  <a:lnTo>
                    <a:pt x="2108" y="2000"/>
                  </a:lnTo>
                  <a:lnTo>
                    <a:pt x="2111" y="2004"/>
                  </a:lnTo>
                  <a:lnTo>
                    <a:pt x="2108" y="2008"/>
                  </a:lnTo>
                  <a:lnTo>
                    <a:pt x="2108" y="2010"/>
                  </a:lnTo>
                  <a:lnTo>
                    <a:pt x="2105" y="2013"/>
                  </a:lnTo>
                  <a:lnTo>
                    <a:pt x="2108" y="2016"/>
                  </a:lnTo>
                  <a:lnTo>
                    <a:pt x="2110" y="2015"/>
                  </a:lnTo>
                  <a:lnTo>
                    <a:pt x="2110" y="2017"/>
                  </a:lnTo>
                  <a:lnTo>
                    <a:pt x="2111" y="2018"/>
                  </a:lnTo>
                  <a:lnTo>
                    <a:pt x="2107" y="2020"/>
                  </a:lnTo>
                  <a:lnTo>
                    <a:pt x="2105" y="2025"/>
                  </a:lnTo>
                  <a:lnTo>
                    <a:pt x="2103" y="2027"/>
                  </a:lnTo>
                  <a:lnTo>
                    <a:pt x="2101" y="2025"/>
                  </a:lnTo>
                  <a:lnTo>
                    <a:pt x="2099" y="2029"/>
                  </a:lnTo>
                  <a:lnTo>
                    <a:pt x="2103" y="2034"/>
                  </a:lnTo>
                  <a:lnTo>
                    <a:pt x="2104" y="2034"/>
                  </a:lnTo>
                  <a:lnTo>
                    <a:pt x="2107" y="2037"/>
                  </a:lnTo>
                  <a:lnTo>
                    <a:pt x="2104" y="2040"/>
                  </a:lnTo>
                  <a:lnTo>
                    <a:pt x="2104" y="2044"/>
                  </a:lnTo>
                  <a:lnTo>
                    <a:pt x="2108" y="2044"/>
                  </a:lnTo>
                  <a:lnTo>
                    <a:pt x="2110" y="2045"/>
                  </a:lnTo>
                  <a:lnTo>
                    <a:pt x="2114" y="2047"/>
                  </a:lnTo>
                  <a:lnTo>
                    <a:pt x="2114" y="2049"/>
                  </a:lnTo>
                  <a:lnTo>
                    <a:pt x="2119" y="2049"/>
                  </a:lnTo>
                  <a:lnTo>
                    <a:pt x="2121" y="2054"/>
                  </a:lnTo>
                  <a:lnTo>
                    <a:pt x="2118" y="2057"/>
                  </a:lnTo>
                  <a:lnTo>
                    <a:pt x="2113" y="2059"/>
                  </a:lnTo>
                  <a:lnTo>
                    <a:pt x="2103" y="2062"/>
                  </a:lnTo>
                  <a:lnTo>
                    <a:pt x="2103" y="2065"/>
                  </a:lnTo>
                  <a:lnTo>
                    <a:pt x="2099" y="2063"/>
                  </a:lnTo>
                  <a:lnTo>
                    <a:pt x="2097" y="2065"/>
                  </a:lnTo>
                  <a:lnTo>
                    <a:pt x="2099" y="2066"/>
                  </a:lnTo>
                  <a:lnTo>
                    <a:pt x="2097" y="2067"/>
                  </a:lnTo>
                  <a:lnTo>
                    <a:pt x="2096" y="2067"/>
                  </a:lnTo>
                  <a:lnTo>
                    <a:pt x="2094" y="2067"/>
                  </a:lnTo>
                  <a:lnTo>
                    <a:pt x="2097" y="2071"/>
                  </a:lnTo>
                  <a:lnTo>
                    <a:pt x="2097" y="2077"/>
                  </a:lnTo>
                  <a:lnTo>
                    <a:pt x="2101" y="2079"/>
                  </a:lnTo>
                  <a:lnTo>
                    <a:pt x="2104" y="2079"/>
                  </a:lnTo>
                  <a:lnTo>
                    <a:pt x="2103" y="2083"/>
                  </a:lnTo>
                  <a:lnTo>
                    <a:pt x="2100" y="2087"/>
                  </a:lnTo>
                  <a:lnTo>
                    <a:pt x="2103" y="2092"/>
                  </a:lnTo>
                  <a:lnTo>
                    <a:pt x="2111" y="2099"/>
                  </a:lnTo>
                  <a:lnTo>
                    <a:pt x="2108" y="2103"/>
                  </a:lnTo>
                  <a:lnTo>
                    <a:pt x="2107" y="2104"/>
                  </a:lnTo>
                  <a:lnTo>
                    <a:pt x="2104" y="2107"/>
                  </a:lnTo>
                  <a:lnTo>
                    <a:pt x="2105" y="2109"/>
                  </a:lnTo>
                  <a:lnTo>
                    <a:pt x="2103" y="2112"/>
                  </a:lnTo>
                  <a:lnTo>
                    <a:pt x="2107" y="2115"/>
                  </a:lnTo>
                  <a:lnTo>
                    <a:pt x="2110" y="2116"/>
                  </a:lnTo>
                  <a:lnTo>
                    <a:pt x="2110" y="2124"/>
                  </a:lnTo>
                  <a:lnTo>
                    <a:pt x="2113" y="2132"/>
                  </a:lnTo>
                  <a:lnTo>
                    <a:pt x="2110" y="2138"/>
                  </a:lnTo>
                  <a:lnTo>
                    <a:pt x="2105" y="2142"/>
                  </a:lnTo>
                  <a:lnTo>
                    <a:pt x="2104" y="2145"/>
                  </a:lnTo>
                  <a:lnTo>
                    <a:pt x="2105" y="2149"/>
                  </a:lnTo>
                  <a:lnTo>
                    <a:pt x="2108" y="2150"/>
                  </a:lnTo>
                  <a:lnTo>
                    <a:pt x="2111" y="2150"/>
                  </a:lnTo>
                  <a:lnTo>
                    <a:pt x="2114" y="2149"/>
                  </a:lnTo>
                  <a:lnTo>
                    <a:pt x="2117" y="2152"/>
                  </a:lnTo>
                  <a:lnTo>
                    <a:pt x="2113" y="2158"/>
                  </a:lnTo>
                  <a:lnTo>
                    <a:pt x="2111" y="2159"/>
                  </a:lnTo>
                  <a:lnTo>
                    <a:pt x="2107" y="2161"/>
                  </a:lnTo>
                  <a:lnTo>
                    <a:pt x="2104" y="2163"/>
                  </a:lnTo>
                  <a:lnTo>
                    <a:pt x="2105" y="2165"/>
                  </a:lnTo>
                  <a:lnTo>
                    <a:pt x="2107" y="2169"/>
                  </a:lnTo>
                  <a:lnTo>
                    <a:pt x="2111" y="2170"/>
                  </a:lnTo>
                  <a:lnTo>
                    <a:pt x="2113" y="2174"/>
                  </a:lnTo>
                  <a:lnTo>
                    <a:pt x="2110" y="2179"/>
                  </a:lnTo>
                  <a:lnTo>
                    <a:pt x="2104" y="2179"/>
                  </a:lnTo>
                  <a:lnTo>
                    <a:pt x="2104" y="2183"/>
                  </a:lnTo>
                  <a:lnTo>
                    <a:pt x="2107" y="2187"/>
                  </a:lnTo>
                  <a:lnTo>
                    <a:pt x="2108" y="2195"/>
                  </a:lnTo>
                  <a:lnTo>
                    <a:pt x="2114" y="2206"/>
                  </a:lnTo>
                  <a:lnTo>
                    <a:pt x="2113" y="2208"/>
                  </a:lnTo>
                  <a:lnTo>
                    <a:pt x="2115" y="2209"/>
                  </a:lnTo>
                  <a:lnTo>
                    <a:pt x="2115" y="2213"/>
                  </a:lnTo>
                  <a:lnTo>
                    <a:pt x="2117" y="2213"/>
                  </a:lnTo>
                  <a:lnTo>
                    <a:pt x="2117" y="2221"/>
                  </a:lnTo>
                  <a:lnTo>
                    <a:pt x="2118" y="2224"/>
                  </a:lnTo>
                  <a:lnTo>
                    <a:pt x="2124" y="2224"/>
                  </a:lnTo>
                  <a:lnTo>
                    <a:pt x="2129" y="2220"/>
                  </a:lnTo>
                  <a:lnTo>
                    <a:pt x="2136" y="2223"/>
                  </a:lnTo>
                  <a:lnTo>
                    <a:pt x="2144" y="2219"/>
                  </a:lnTo>
                  <a:lnTo>
                    <a:pt x="2153" y="2224"/>
                  </a:lnTo>
                  <a:lnTo>
                    <a:pt x="2155" y="2232"/>
                  </a:lnTo>
                  <a:lnTo>
                    <a:pt x="2163" y="2234"/>
                  </a:lnTo>
                  <a:lnTo>
                    <a:pt x="2165" y="2320"/>
                  </a:lnTo>
                  <a:lnTo>
                    <a:pt x="2167" y="2362"/>
                  </a:lnTo>
                  <a:lnTo>
                    <a:pt x="2165" y="2445"/>
                  </a:lnTo>
                  <a:lnTo>
                    <a:pt x="2182" y="2464"/>
                  </a:lnTo>
                  <a:lnTo>
                    <a:pt x="2200" y="2490"/>
                  </a:lnTo>
                  <a:lnTo>
                    <a:pt x="2207" y="2497"/>
                  </a:lnTo>
                  <a:lnTo>
                    <a:pt x="2208" y="2502"/>
                  </a:lnTo>
                  <a:lnTo>
                    <a:pt x="2214" y="2509"/>
                  </a:lnTo>
                  <a:lnTo>
                    <a:pt x="2227" y="2524"/>
                  </a:lnTo>
                  <a:lnTo>
                    <a:pt x="2243" y="2539"/>
                  </a:lnTo>
                  <a:lnTo>
                    <a:pt x="2281" y="2593"/>
                  </a:lnTo>
                  <a:lnTo>
                    <a:pt x="2282" y="2594"/>
                  </a:lnTo>
                  <a:lnTo>
                    <a:pt x="2286" y="2591"/>
                  </a:lnTo>
                  <a:lnTo>
                    <a:pt x="2290" y="2588"/>
                  </a:lnTo>
                  <a:lnTo>
                    <a:pt x="2298" y="2588"/>
                  </a:lnTo>
                  <a:lnTo>
                    <a:pt x="2304" y="2584"/>
                  </a:lnTo>
                  <a:lnTo>
                    <a:pt x="2307" y="2580"/>
                  </a:lnTo>
                  <a:lnTo>
                    <a:pt x="2315" y="2580"/>
                  </a:lnTo>
                  <a:lnTo>
                    <a:pt x="2317" y="2579"/>
                  </a:lnTo>
                  <a:lnTo>
                    <a:pt x="2323" y="2577"/>
                  </a:lnTo>
                  <a:lnTo>
                    <a:pt x="2325" y="2580"/>
                  </a:lnTo>
                  <a:lnTo>
                    <a:pt x="2329" y="2580"/>
                  </a:lnTo>
                  <a:lnTo>
                    <a:pt x="2331" y="2577"/>
                  </a:lnTo>
                  <a:lnTo>
                    <a:pt x="2339" y="2576"/>
                  </a:lnTo>
                  <a:lnTo>
                    <a:pt x="2340" y="2571"/>
                  </a:lnTo>
                  <a:lnTo>
                    <a:pt x="2343" y="2568"/>
                  </a:lnTo>
                  <a:lnTo>
                    <a:pt x="2364" y="2561"/>
                  </a:lnTo>
                  <a:lnTo>
                    <a:pt x="2371" y="2560"/>
                  </a:lnTo>
                  <a:lnTo>
                    <a:pt x="2381" y="2554"/>
                  </a:lnTo>
                  <a:lnTo>
                    <a:pt x="2385" y="2554"/>
                  </a:lnTo>
                  <a:lnTo>
                    <a:pt x="2390" y="2556"/>
                  </a:lnTo>
                  <a:lnTo>
                    <a:pt x="2393" y="2556"/>
                  </a:lnTo>
                  <a:lnTo>
                    <a:pt x="2402" y="2551"/>
                  </a:lnTo>
                  <a:lnTo>
                    <a:pt x="2409" y="2549"/>
                  </a:lnTo>
                  <a:lnTo>
                    <a:pt x="2413" y="2549"/>
                  </a:lnTo>
                  <a:lnTo>
                    <a:pt x="2417" y="2552"/>
                  </a:lnTo>
                  <a:lnTo>
                    <a:pt x="2418" y="2552"/>
                  </a:lnTo>
                  <a:lnTo>
                    <a:pt x="2429" y="2549"/>
                  </a:lnTo>
                  <a:lnTo>
                    <a:pt x="2431" y="2547"/>
                  </a:lnTo>
                  <a:lnTo>
                    <a:pt x="2434" y="2543"/>
                  </a:lnTo>
                  <a:lnTo>
                    <a:pt x="2445" y="2537"/>
                  </a:lnTo>
                  <a:lnTo>
                    <a:pt x="2457" y="2536"/>
                  </a:lnTo>
                  <a:lnTo>
                    <a:pt x="2464" y="2536"/>
                  </a:lnTo>
                  <a:lnTo>
                    <a:pt x="2474" y="2532"/>
                  </a:lnTo>
                  <a:lnTo>
                    <a:pt x="2485" y="2532"/>
                  </a:lnTo>
                  <a:lnTo>
                    <a:pt x="2499" y="2526"/>
                  </a:lnTo>
                  <a:lnTo>
                    <a:pt x="2508" y="2527"/>
                  </a:lnTo>
                  <a:lnTo>
                    <a:pt x="2510" y="2530"/>
                  </a:lnTo>
                  <a:lnTo>
                    <a:pt x="2510" y="2532"/>
                  </a:lnTo>
                  <a:lnTo>
                    <a:pt x="2449" y="2594"/>
                  </a:lnTo>
                  <a:lnTo>
                    <a:pt x="2449" y="2596"/>
                  </a:lnTo>
                  <a:lnTo>
                    <a:pt x="2464" y="2597"/>
                  </a:lnTo>
                  <a:lnTo>
                    <a:pt x="2468" y="2601"/>
                  </a:lnTo>
                  <a:lnTo>
                    <a:pt x="2473" y="2610"/>
                  </a:lnTo>
                  <a:lnTo>
                    <a:pt x="2477" y="2617"/>
                  </a:lnTo>
                  <a:lnTo>
                    <a:pt x="2488" y="2630"/>
                  </a:lnTo>
                  <a:lnTo>
                    <a:pt x="2498" y="2638"/>
                  </a:lnTo>
                  <a:lnTo>
                    <a:pt x="2527" y="2672"/>
                  </a:lnTo>
                  <a:lnTo>
                    <a:pt x="2406" y="2733"/>
                  </a:lnTo>
                  <a:lnTo>
                    <a:pt x="2407" y="2758"/>
                  </a:lnTo>
                  <a:lnTo>
                    <a:pt x="2407" y="2801"/>
                  </a:lnTo>
                  <a:lnTo>
                    <a:pt x="2516" y="2810"/>
                  </a:lnTo>
                  <a:lnTo>
                    <a:pt x="2547" y="2855"/>
                  </a:lnTo>
                  <a:lnTo>
                    <a:pt x="2539" y="2855"/>
                  </a:lnTo>
                  <a:lnTo>
                    <a:pt x="2489" y="2875"/>
                  </a:lnTo>
                  <a:close/>
                </a:path>
              </a:pathLst>
            </a:custGeom>
            <a:solidFill>
              <a:srgbClr val="EACEE7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77" name="Freeform 376"/>
            <p:cNvSpPr>
              <a:spLocks/>
            </p:cNvSpPr>
            <p:nvPr/>
          </p:nvSpPr>
          <p:spPr bwMode="auto">
            <a:xfrm>
              <a:off x="4475999" y="2850888"/>
              <a:ext cx="348490" cy="1126469"/>
            </a:xfrm>
            <a:custGeom>
              <a:avLst/>
              <a:gdLst>
                <a:gd name="T0" fmla="*/ 1527 w 1748"/>
                <a:gd name="T1" fmla="*/ 539 h 4174"/>
                <a:gd name="T2" fmla="*/ 1461 w 1748"/>
                <a:gd name="T3" fmla="*/ 888 h 4174"/>
                <a:gd name="T4" fmla="*/ 1481 w 1748"/>
                <a:gd name="T5" fmla="*/ 1191 h 4174"/>
                <a:gd name="T6" fmla="*/ 1535 w 1748"/>
                <a:gd name="T7" fmla="*/ 1228 h 4174"/>
                <a:gd name="T8" fmla="*/ 1499 w 1748"/>
                <a:gd name="T9" fmla="*/ 1464 h 4174"/>
                <a:gd name="T10" fmla="*/ 1364 w 1748"/>
                <a:gd name="T11" fmla="*/ 1476 h 4174"/>
                <a:gd name="T12" fmla="*/ 1335 w 1748"/>
                <a:gd name="T13" fmla="*/ 1399 h 4174"/>
                <a:gd name="T14" fmla="*/ 1167 w 1748"/>
                <a:gd name="T15" fmla="*/ 1515 h 4174"/>
                <a:gd name="T16" fmla="*/ 1181 w 1748"/>
                <a:gd name="T17" fmla="*/ 1597 h 4174"/>
                <a:gd name="T18" fmla="*/ 1204 w 1748"/>
                <a:gd name="T19" fmla="*/ 1657 h 4174"/>
                <a:gd name="T20" fmla="*/ 1192 w 1748"/>
                <a:gd name="T21" fmla="*/ 1707 h 4174"/>
                <a:gd name="T22" fmla="*/ 1090 w 1748"/>
                <a:gd name="T23" fmla="*/ 1846 h 4174"/>
                <a:gd name="T24" fmla="*/ 1214 w 1748"/>
                <a:gd name="T25" fmla="*/ 1928 h 4174"/>
                <a:gd name="T26" fmla="*/ 1304 w 1748"/>
                <a:gd name="T27" fmla="*/ 2028 h 4174"/>
                <a:gd name="T28" fmla="*/ 1263 w 1748"/>
                <a:gd name="T29" fmla="*/ 2388 h 4174"/>
                <a:gd name="T30" fmla="*/ 1122 w 1748"/>
                <a:gd name="T31" fmla="*/ 2617 h 4174"/>
                <a:gd name="T32" fmla="*/ 1175 w 1748"/>
                <a:gd name="T33" fmla="*/ 2750 h 4174"/>
                <a:gd name="T34" fmla="*/ 1103 w 1748"/>
                <a:gd name="T35" fmla="*/ 2896 h 4174"/>
                <a:gd name="T36" fmla="*/ 990 w 1748"/>
                <a:gd name="T37" fmla="*/ 2843 h 4174"/>
                <a:gd name="T38" fmla="*/ 944 w 1748"/>
                <a:gd name="T39" fmla="*/ 2887 h 4174"/>
                <a:gd name="T40" fmla="*/ 883 w 1748"/>
                <a:gd name="T41" fmla="*/ 2924 h 4174"/>
                <a:gd name="T42" fmla="*/ 821 w 1748"/>
                <a:gd name="T43" fmla="*/ 2971 h 4174"/>
                <a:gd name="T44" fmla="*/ 891 w 1748"/>
                <a:gd name="T45" fmla="*/ 3141 h 4174"/>
                <a:gd name="T46" fmla="*/ 1054 w 1748"/>
                <a:gd name="T47" fmla="*/ 3404 h 4174"/>
                <a:gd name="T48" fmla="*/ 1171 w 1748"/>
                <a:gd name="T49" fmla="*/ 3497 h 4174"/>
                <a:gd name="T50" fmla="*/ 1342 w 1748"/>
                <a:gd name="T51" fmla="*/ 3882 h 4174"/>
                <a:gd name="T52" fmla="*/ 1263 w 1748"/>
                <a:gd name="T53" fmla="*/ 3995 h 4174"/>
                <a:gd name="T54" fmla="*/ 1209 w 1748"/>
                <a:gd name="T55" fmla="*/ 4037 h 4174"/>
                <a:gd name="T56" fmla="*/ 1124 w 1748"/>
                <a:gd name="T57" fmla="*/ 4036 h 4174"/>
                <a:gd name="T58" fmla="*/ 1014 w 1748"/>
                <a:gd name="T59" fmla="*/ 4021 h 4174"/>
                <a:gd name="T60" fmla="*/ 908 w 1748"/>
                <a:gd name="T61" fmla="*/ 4023 h 4174"/>
                <a:gd name="T62" fmla="*/ 812 w 1748"/>
                <a:gd name="T63" fmla="*/ 4083 h 4174"/>
                <a:gd name="T64" fmla="*/ 709 w 1748"/>
                <a:gd name="T65" fmla="*/ 4087 h 4174"/>
                <a:gd name="T66" fmla="*/ 616 w 1748"/>
                <a:gd name="T67" fmla="*/ 4125 h 4174"/>
                <a:gd name="T68" fmla="*/ 520 w 1748"/>
                <a:gd name="T69" fmla="*/ 4169 h 4174"/>
                <a:gd name="T70" fmla="*/ 455 w 1748"/>
                <a:gd name="T71" fmla="*/ 4106 h 4174"/>
                <a:gd name="T72" fmla="*/ 357 w 1748"/>
                <a:gd name="T73" fmla="*/ 4103 h 4174"/>
                <a:gd name="T74" fmla="*/ 259 w 1748"/>
                <a:gd name="T75" fmla="*/ 4035 h 4174"/>
                <a:gd name="T76" fmla="*/ 149 w 1748"/>
                <a:gd name="T77" fmla="*/ 4015 h 4174"/>
                <a:gd name="T78" fmla="*/ 13 w 1748"/>
                <a:gd name="T79" fmla="*/ 3792 h 4174"/>
                <a:gd name="T80" fmla="*/ 225 w 1748"/>
                <a:gd name="T81" fmla="*/ 3354 h 4174"/>
                <a:gd name="T82" fmla="*/ 405 w 1748"/>
                <a:gd name="T83" fmla="*/ 3048 h 4174"/>
                <a:gd name="T84" fmla="*/ 553 w 1748"/>
                <a:gd name="T85" fmla="*/ 2741 h 4174"/>
                <a:gd name="T86" fmla="*/ 391 w 1748"/>
                <a:gd name="T87" fmla="*/ 2542 h 4174"/>
                <a:gd name="T88" fmla="*/ 390 w 1748"/>
                <a:gd name="T89" fmla="*/ 2277 h 4174"/>
                <a:gd name="T90" fmla="*/ 271 w 1748"/>
                <a:gd name="T91" fmla="*/ 2048 h 4174"/>
                <a:gd name="T92" fmla="*/ 473 w 1748"/>
                <a:gd name="T93" fmla="*/ 1856 h 4174"/>
                <a:gd name="T94" fmla="*/ 547 w 1748"/>
                <a:gd name="T95" fmla="*/ 1601 h 4174"/>
                <a:gd name="T96" fmla="*/ 485 w 1748"/>
                <a:gd name="T97" fmla="*/ 1399 h 4174"/>
                <a:gd name="T98" fmla="*/ 522 w 1748"/>
                <a:gd name="T99" fmla="*/ 1120 h 4174"/>
                <a:gd name="T100" fmla="*/ 477 w 1748"/>
                <a:gd name="T101" fmla="*/ 907 h 4174"/>
                <a:gd name="T102" fmla="*/ 569 w 1748"/>
                <a:gd name="T103" fmla="*/ 696 h 4174"/>
                <a:gd name="T104" fmla="*/ 611 w 1748"/>
                <a:gd name="T105" fmla="*/ 598 h 4174"/>
                <a:gd name="T106" fmla="*/ 637 w 1748"/>
                <a:gd name="T107" fmla="*/ 514 h 4174"/>
                <a:gd name="T108" fmla="*/ 704 w 1748"/>
                <a:gd name="T109" fmla="*/ 412 h 4174"/>
                <a:gd name="T110" fmla="*/ 759 w 1748"/>
                <a:gd name="T111" fmla="*/ 283 h 4174"/>
                <a:gd name="T112" fmla="*/ 827 w 1748"/>
                <a:gd name="T113" fmla="*/ 212 h 4174"/>
                <a:gd name="T114" fmla="*/ 876 w 1748"/>
                <a:gd name="T115" fmla="*/ 105 h 4174"/>
                <a:gd name="T116" fmla="*/ 1004 w 1748"/>
                <a:gd name="T117" fmla="*/ 34 h 4174"/>
                <a:gd name="T118" fmla="*/ 1125 w 1748"/>
                <a:gd name="T119" fmla="*/ 6 h 4174"/>
                <a:gd name="T120" fmla="*/ 1303 w 1748"/>
                <a:gd name="T121" fmla="*/ 149 h 4174"/>
                <a:gd name="T122" fmla="*/ 1483 w 1748"/>
                <a:gd name="T123" fmla="*/ 262 h 4174"/>
                <a:gd name="T124" fmla="*/ 1713 w 1748"/>
                <a:gd name="T125" fmla="*/ 315 h 417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748"/>
                <a:gd name="T190" fmla="*/ 0 h 4174"/>
                <a:gd name="T191" fmla="*/ 1748 w 1748"/>
                <a:gd name="T192" fmla="*/ 4174 h 417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748" h="4174">
                  <a:moveTo>
                    <a:pt x="1743" y="341"/>
                  </a:moveTo>
                  <a:lnTo>
                    <a:pt x="1741" y="348"/>
                  </a:lnTo>
                  <a:lnTo>
                    <a:pt x="1731" y="360"/>
                  </a:lnTo>
                  <a:lnTo>
                    <a:pt x="1729" y="362"/>
                  </a:lnTo>
                  <a:lnTo>
                    <a:pt x="1723" y="363"/>
                  </a:lnTo>
                  <a:lnTo>
                    <a:pt x="1720" y="371"/>
                  </a:lnTo>
                  <a:lnTo>
                    <a:pt x="1721" y="385"/>
                  </a:lnTo>
                  <a:lnTo>
                    <a:pt x="1729" y="386"/>
                  </a:lnTo>
                  <a:lnTo>
                    <a:pt x="1744" y="386"/>
                  </a:lnTo>
                  <a:lnTo>
                    <a:pt x="1743" y="388"/>
                  </a:lnTo>
                  <a:lnTo>
                    <a:pt x="1731" y="407"/>
                  </a:lnTo>
                  <a:lnTo>
                    <a:pt x="1727" y="416"/>
                  </a:lnTo>
                  <a:lnTo>
                    <a:pt x="1724" y="423"/>
                  </a:lnTo>
                  <a:lnTo>
                    <a:pt x="1719" y="431"/>
                  </a:lnTo>
                  <a:lnTo>
                    <a:pt x="1691" y="482"/>
                  </a:lnTo>
                  <a:lnTo>
                    <a:pt x="1638" y="498"/>
                  </a:lnTo>
                  <a:lnTo>
                    <a:pt x="1616" y="504"/>
                  </a:lnTo>
                  <a:lnTo>
                    <a:pt x="1591" y="510"/>
                  </a:lnTo>
                  <a:lnTo>
                    <a:pt x="1563" y="514"/>
                  </a:lnTo>
                  <a:lnTo>
                    <a:pt x="1527" y="539"/>
                  </a:lnTo>
                  <a:lnTo>
                    <a:pt x="1453" y="673"/>
                  </a:lnTo>
                  <a:lnTo>
                    <a:pt x="1470" y="681"/>
                  </a:lnTo>
                  <a:lnTo>
                    <a:pt x="1483" y="685"/>
                  </a:lnTo>
                  <a:lnTo>
                    <a:pt x="1484" y="689"/>
                  </a:lnTo>
                  <a:lnTo>
                    <a:pt x="1485" y="693"/>
                  </a:lnTo>
                  <a:lnTo>
                    <a:pt x="1486" y="693"/>
                  </a:lnTo>
                  <a:lnTo>
                    <a:pt x="1491" y="693"/>
                  </a:lnTo>
                  <a:lnTo>
                    <a:pt x="1496" y="697"/>
                  </a:lnTo>
                  <a:lnTo>
                    <a:pt x="1498" y="701"/>
                  </a:lnTo>
                  <a:lnTo>
                    <a:pt x="1499" y="705"/>
                  </a:lnTo>
                  <a:lnTo>
                    <a:pt x="1492" y="715"/>
                  </a:lnTo>
                  <a:lnTo>
                    <a:pt x="1478" y="730"/>
                  </a:lnTo>
                  <a:lnTo>
                    <a:pt x="1477" y="746"/>
                  </a:lnTo>
                  <a:lnTo>
                    <a:pt x="1467" y="786"/>
                  </a:lnTo>
                  <a:lnTo>
                    <a:pt x="1463" y="798"/>
                  </a:lnTo>
                  <a:lnTo>
                    <a:pt x="1463" y="801"/>
                  </a:lnTo>
                  <a:lnTo>
                    <a:pt x="1469" y="815"/>
                  </a:lnTo>
                  <a:lnTo>
                    <a:pt x="1475" y="826"/>
                  </a:lnTo>
                  <a:lnTo>
                    <a:pt x="1474" y="839"/>
                  </a:lnTo>
                  <a:lnTo>
                    <a:pt x="1461" y="888"/>
                  </a:lnTo>
                  <a:lnTo>
                    <a:pt x="1453" y="910"/>
                  </a:lnTo>
                  <a:lnTo>
                    <a:pt x="1424" y="970"/>
                  </a:lnTo>
                  <a:lnTo>
                    <a:pt x="1444" y="1000"/>
                  </a:lnTo>
                  <a:lnTo>
                    <a:pt x="1445" y="1007"/>
                  </a:lnTo>
                  <a:lnTo>
                    <a:pt x="1442" y="1047"/>
                  </a:lnTo>
                  <a:lnTo>
                    <a:pt x="1442" y="1051"/>
                  </a:lnTo>
                  <a:lnTo>
                    <a:pt x="1445" y="1053"/>
                  </a:lnTo>
                  <a:lnTo>
                    <a:pt x="1475" y="1071"/>
                  </a:lnTo>
                  <a:lnTo>
                    <a:pt x="1477" y="1075"/>
                  </a:lnTo>
                  <a:lnTo>
                    <a:pt x="1477" y="1082"/>
                  </a:lnTo>
                  <a:lnTo>
                    <a:pt x="1481" y="1092"/>
                  </a:lnTo>
                  <a:lnTo>
                    <a:pt x="1478" y="1104"/>
                  </a:lnTo>
                  <a:lnTo>
                    <a:pt x="1480" y="1114"/>
                  </a:lnTo>
                  <a:lnTo>
                    <a:pt x="1477" y="1124"/>
                  </a:lnTo>
                  <a:lnTo>
                    <a:pt x="1475" y="1137"/>
                  </a:lnTo>
                  <a:lnTo>
                    <a:pt x="1471" y="1151"/>
                  </a:lnTo>
                  <a:lnTo>
                    <a:pt x="1470" y="1165"/>
                  </a:lnTo>
                  <a:lnTo>
                    <a:pt x="1461" y="1191"/>
                  </a:lnTo>
                  <a:lnTo>
                    <a:pt x="1471" y="1193"/>
                  </a:lnTo>
                  <a:lnTo>
                    <a:pt x="1481" y="1191"/>
                  </a:lnTo>
                  <a:lnTo>
                    <a:pt x="1484" y="1191"/>
                  </a:lnTo>
                  <a:lnTo>
                    <a:pt x="1484" y="1195"/>
                  </a:lnTo>
                  <a:lnTo>
                    <a:pt x="1488" y="1196"/>
                  </a:lnTo>
                  <a:lnTo>
                    <a:pt x="1491" y="1200"/>
                  </a:lnTo>
                  <a:lnTo>
                    <a:pt x="1498" y="1198"/>
                  </a:lnTo>
                  <a:lnTo>
                    <a:pt x="1506" y="1199"/>
                  </a:lnTo>
                  <a:lnTo>
                    <a:pt x="1508" y="1201"/>
                  </a:lnTo>
                  <a:lnTo>
                    <a:pt x="1506" y="1204"/>
                  </a:lnTo>
                  <a:lnTo>
                    <a:pt x="1506" y="1205"/>
                  </a:lnTo>
                  <a:lnTo>
                    <a:pt x="1508" y="1205"/>
                  </a:lnTo>
                  <a:lnTo>
                    <a:pt x="1513" y="1213"/>
                  </a:lnTo>
                  <a:lnTo>
                    <a:pt x="1517" y="1213"/>
                  </a:lnTo>
                  <a:lnTo>
                    <a:pt x="1523" y="1217"/>
                  </a:lnTo>
                  <a:lnTo>
                    <a:pt x="1525" y="1224"/>
                  </a:lnTo>
                  <a:lnTo>
                    <a:pt x="1530" y="1224"/>
                  </a:lnTo>
                  <a:lnTo>
                    <a:pt x="1531" y="1224"/>
                  </a:lnTo>
                  <a:lnTo>
                    <a:pt x="1536" y="1227"/>
                  </a:lnTo>
                  <a:lnTo>
                    <a:pt x="1536" y="1228"/>
                  </a:lnTo>
                  <a:lnTo>
                    <a:pt x="1534" y="1228"/>
                  </a:lnTo>
                  <a:lnTo>
                    <a:pt x="1535" y="1228"/>
                  </a:lnTo>
                  <a:lnTo>
                    <a:pt x="1535" y="1236"/>
                  </a:lnTo>
                  <a:lnTo>
                    <a:pt x="1541" y="1242"/>
                  </a:lnTo>
                  <a:lnTo>
                    <a:pt x="1544" y="1243"/>
                  </a:lnTo>
                  <a:lnTo>
                    <a:pt x="1545" y="1246"/>
                  </a:lnTo>
                  <a:lnTo>
                    <a:pt x="1548" y="1246"/>
                  </a:lnTo>
                  <a:lnTo>
                    <a:pt x="1524" y="1277"/>
                  </a:lnTo>
                  <a:lnTo>
                    <a:pt x="1530" y="1280"/>
                  </a:lnTo>
                  <a:lnTo>
                    <a:pt x="1539" y="1299"/>
                  </a:lnTo>
                  <a:lnTo>
                    <a:pt x="1538" y="1307"/>
                  </a:lnTo>
                  <a:lnTo>
                    <a:pt x="1541" y="1322"/>
                  </a:lnTo>
                  <a:lnTo>
                    <a:pt x="1544" y="1340"/>
                  </a:lnTo>
                  <a:lnTo>
                    <a:pt x="1546" y="1354"/>
                  </a:lnTo>
                  <a:lnTo>
                    <a:pt x="1542" y="1361"/>
                  </a:lnTo>
                  <a:lnTo>
                    <a:pt x="1517" y="1471"/>
                  </a:lnTo>
                  <a:lnTo>
                    <a:pt x="1516" y="1471"/>
                  </a:lnTo>
                  <a:lnTo>
                    <a:pt x="1513" y="1464"/>
                  </a:lnTo>
                  <a:lnTo>
                    <a:pt x="1509" y="1462"/>
                  </a:lnTo>
                  <a:lnTo>
                    <a:pt x="1503" y="1462"/>
                  </a:lnTo>
                  <a:lnTo>
                    <a:pt x="1502" y="1464"/>
                  </a:lnTo>
                  <a:lnTo>
                    <a:pt x="1499" y="1464"/>
                  </a:lnTo>
                  <a:lnTo>
                    <a:pt x="1496" y="1460"/>
                  </a:lnTo>
                  <a:lnTo>
                    <a:pt x="1492" y="1460"/>
                  </a:lnTo>
                  <a:lnTo>
                    <a:pt x="1489" y="1460"/>
                  </a:lnTo>
                  <a:lnTo>
                    <a:pt x="1485" y="1456"/>
                  </a:lnTo>
                  <a:lnTo>
                    <a:pt x="1485" y="1453"/>
                  </a:lnTo>
                  <a:lnTo>
                    <a:pt x="1478" y="1449"/>
                  </a:lnTo>
                  <a:lnTo>
                    <a:pt x="1474" y="1449"/>
                  </a:lnTo>
                  <a:lnTo>
                    <a:pt x="1470" y="1448"/>
                  </a:lnTo>
                  <a:lnTo>
                    <a:pt x="1464" y="1449"/>
                  </a:lnTo>
                  <a:lnTo>
                    <a:pt x="1456" y="1459"/>
                  </a:lnTo>
                  <a:lnTo>
                    <a:pt x="1434" y="1502"/>
                  </a:lnTo>
                  <a:lnTo>
                    <a:pt x="1420" y="1507"/>
                  </a:lnTo>
                  <a:lnTo>
                    <a:pt x="1411" y="1507"/>
                  </a:lnTo>
                  <a:lnTo>
                    <a:pt x="1406" y="1504"/>
                  </a:lnTo>
                  <a:lnTo>
                    <a:pt x="1395" y="1497"/>
                  </a:lnTo>
                  <a:lnTo>
                    <a:pt x="1392" y="1490"/>
                  </a:lnTo>
                  <a:lnTo>
                    <a:pt x="1384" y="1486"/>
                  </a:lnTo>
                  <a:lnTo>
                    <a:pt x="1374" y="1472"/>
                  </a:lnTo>
                  <a:lnTo>
                    <a:pt x="1370" y="1471"/>
                  </a:lnTo>
                  <a:lnTo>
                    <a:pt x="1364" y="1476"/>
                  </a:lnTo>
                  <a:lnTo>
                    <a:pt x="1361" y="1474"/>
                  </a:lnTo>
                  <a:lnTo>
                    <a:pt x="1360" y="1472"/>
                  </a:lnTo>
                  <a:lnTo>
                    <a:pt x="1360" y="1464"/>
                  </a:lnTo>
                  <a:lnTo>
                    <a:pt x="1356" y="1460"/>
                  </a:lnTo>
                  <a:lnTo>
                    <a:pt x="1354" y="1457"/>
                  </a:lnTo>
                  <a:lnTo>
                    <a:pt x="1353" y="1449"/>
                  </a:lnTo>
                  <a:lnTo>
                    <a:pt x="1352" y="1448"/>
                  </a:lnTo>
                  <a:lnTo>
                    <a:pt x="1348" y="1448"/>
                  </a:lnTo>
                  <a:lnTo>
                    <a:pt x="1348" y="1445"/>
                  </a:lnTo>
                  <a:lnTo>
                    <a:pt x="1349" y="1441"/>
                  </a:lnTo>
                  <a:lnTo>
                    <a:pt x="1353" y="1437"/>
                  </a:lnTo>
                  <a:lnTo>
                    <a:pt x="1352" y="1429"/>
                  </a:lnTo>
                  <a:lnTo>
                    <a:pt x="1338" y="1426"/>
                  </a:lnTo>
                  <a:lnTo>
                    <a:pt x="1336" y="1423"/>
                  </a:lnTo>
                  <a:lnTo>
                    <a:pt x="1336" y="1422"/>
                  </a:lnTo>
                  <a:lnTo>
                    <a:pt x="1339" y="1415"/>
                  </a:lnTo>
                  <a:lnTo>
                    <a:pt x="1338" y="1411"/>
                  </a:lnTo>
                  <a:lnTo>
                    <a:pt x="1334" y="1410"/>
                  </a:lnTo>
                  <a:lnTo>
                    <a:pt x="1336" y="1403"/>
                  </a:lnTo>
                  <a:lnTo>
                    <a:pt x="1335" y="1399"/>
                  </a:lnTo>
                  <a:lnTo>
                    <a:pt x="1324" y="1395"/>
                  </a:lnTo>
                  <a:lnTo>
                    <a:pt x="1320" y="1395"/>
                  </a:lnTo>
                  <a:lnTo>
                    <a:pt x="1317" y="1397"/>
                  </a:lnTo>
                  <a:lnTo>
                    <a:pt x="1313" y="1403"/>
                  </a:lnTo>
                  <a:lnTo>
                    <a:pt x="1304" y="1401"/>
                  </a:lnTo>
                  <a:lnTo>
                    <a:pt x="1296" y="1401"/>
                  </a:lnTo>
                  <a:lnTo>
                    <a:pt x="1274" y="1397"/>
                  </a:lnTo>
                  <a:lnTo>
                    <a:pt x="1272" y="1392"/>
                  </a:lnTo>
                  <a:lnTo>
                    <a:pt x="1265" y="1410"/>
                  </a:lnTo>
                  <a:lnTo>
                    <a:pt x="1250" y="1432"/>
                  </a:lnTo>
                  <a:lnTo>
                    <a:pt x="1235" y="1466"/>
                  </a:lnTo>
                  <a:lnTo>
                    <a:pt x="1229" y="1471"/>
                  </a:lnTo>
                  <a:lnTo>
                    <a:pt x="1211" y="1472"/>
                  </a:lnTo>
                  <a:lnTo>
                    <a:pt x="1203" y="1478"/>
                  </a:lnTo>
                  <a:lnTo>
                    <a:pt x="1193" y="1482"/>
                  </a:lnTo>
                  <a:lnTo>
                    <a:pt x="1187" y="1486"/>
                  </a:lnTo>
                  <a:lnTo>
                    <a:pt x="1185" y="1502"/>
                  </a:lnTo>
                  <a:lnTo>
                    <a:pt x="1179" y="1511"/>
                  </a:lnTo>
                  <a:lnTo>
                    <a:pt x="1174" y="1513"/>
                  </a:lnTo>
                  <a:lnTo>
                    <a:pt x="1167" y="1515"/>
                  </a:lnTo>
                  <a:lnTo>
                    <a:pt x="1162" y="1516"/>
                  </a:lnTo>
                  <a:lnTo>
                    <a:pt x="1162" y="1521"/>
                  </a:lnTo>
                  <a:lnTo>
                    <a:pt x="1157" y="1524"/>
                  </a:lnTo>
                  <a:lnTo>
                    <a:pt x="1157" y="1527"/>
                  </a:lnTo>
                  <a:lnTo>
                    <a:pt x="1162" y="1534"/>
                  </a:lnTo>
                  <a:lnTo>
                    <a:pt x="1170" y="1531"/>
                  </a:lnTo>
                  <a:lnTo>
                    <a:pt x="1171" y="1531"/>
                  </a:lnTo>
                  <a:lnTo>
                    <a:pt x="1174" y="1535"/>
                  </a:lnTo>
                  <a:lnTo>
                    <a:pt x="1175" y="1539"/>
                  </a:lnTo>
                  <a:lnTo>
                    <a:pt x="1175" y="1546"/>
                  </a:lnTo>
                  <a:lnTo>
                    <a:pt x="1172" y="1549"/>
                  </a:lnTo>
                  <a:lnTo>
                    <a:pt x="1172" y="1553"/>
                  </a:lnTo>
                  <a:lnTo>
                    <a:pt x="1168" y="1560"/>
                  </a:lnTo>
                  <a:lnTo>
                    <a:pt x="1170" y="1561"/>
                  </a:lnTo>
                  <a:lnTo>
                    <a:pt x="1174" y="1565"/>
                  </a:lnTo>
                  <a:lnTo>
                    <a:pt x="1174" y="1575"/>
                  </a:lnTo>
                  <a:lnTo>
                    <a:pt x="1172" y="1580"/>
                  </a:lnTo>
                  <a:lnTo>
                    <a:pt x="1175" y="1584"/>
                  </a:lnTo>
                  <a:lnTo>
                    <a:pt x="1175" y="1590"/>
                  </a:lnTo>
                  <a:lnTo>
                    <a:pt x="1181" y="1597"/>
                  </a:lnTo>
                  <a:lnTo>
                    <a:pt x="1187" y="1597"/>
                  </a:lnTo>
                  <a:lnTo>
                    <a:pt x="1189" y="1598"/>
                  </a:lnTo>
                  <a:lnTo>
                    <a:pt x="1181" y="1606"/>
                  </a:lnTo>
                  <a:lnTo>
                    <a:pt x="1182" y="1618"/>
                  </a:lnTo>
                  <a:lnTo>
                    <a:pt x="1181" y="1623"/>
                  </a:lnTo>
                  <a:lnTo>
                    <a:pt x="1178" y="1625"/>
                  </a:lnTo>
                  <a:lnTo>
                    <a:pt x="1178" y="1627"/>
                  </a:lnTo>
                  <a:lnTo>
                    <a:pt x="1182" y="1632"/>
                  </a:lnTo>
                  <a:lnTo>
                    <a:pt x="1186" y="1632"/>
                  </a:lnTo>
                  <a:lnTo>
                    <a:pt x="1192" y="1631"/>
                  </a:lnTo>
                  <a:lnTo>
                    <a:pt x="1193" y="1623"/>
                  </a:lnTo>
                  <a:lnTo>
                    <a:pt x="1197" y="1621"/>
                  </a:lnTo>
                  <a:lnTo>
                    <a:pt x="1200" y="1622"/>
                  </a:lnTo>
                  <a:lnTo>
                    <a:pt x="1203" y="1627"/>
                  </a:lnTo>
                  <a:lnTo>
                    <a:pt x="1197" y="1632"/>
                  </a:lnTo>
                  <a:lnTo>
                    <a:pt x="1201" y="1636"/>
                  </a:lnTo>
                  <a:lnTo>
                    <a:pt x="1197" y="1640"/>
                  </a:lnTo>
                  <a:lnTo>
                    <a:pt x="1199" y="1651"/>
                  </a:lnTo>
                  <a:lnTo>
                    <a:pt x="1195" y="1655"/>
                  </a:lnTo>
                  <a:lnTo>
                    <a:pt x="1204" y="1657"/>
                  </a:lnTo>
                  <a:lnTo>
                    <a:pt x="1206" y="1665"/>
                  </a:lnTo>
                  <a:lnTo>
                    <a:pt x="1210" y="1668"/>
                  </a:lnTo>
                  <a:lnTo>
                    <a:pt x="1206" y="1672"/>
                  </a:lnTo>
                  <a:lnTo>
                    <a:pt x="1207" y="1677"/>
                  </a:lnTo>
                  <a:lnTo>
                    <a:pt x="1206" y="1681"/>
                  </a:lnTo>
                  <a:lnTo>
                    <a:pt x="1209" y="1685"/>
                  </a:lnTo>
                  <a:lnTo>
                    <a:pt x="1207" y="1694"/>
                  </a:lnTo>
                  <a:lnTo>
                    <a:pt x="1211" y="1696"/>
                  </a:lnTo>
                  <a:lnTo>
                    <a:pt x="1214" y="1704"/>
                  </a:lnTo>
                  <a:lnTo>
                    <a:pt x="1220" y="1707"/>
                  </a:lnTo>
                  <a:lnTo>
                    <a:pt x="1221" y="1712"/>
                  </a:lnTo>
                  <a:lnTo>
                    <a:pt x="1215" y="1714"/>
                  </a:lnTo>
                  <a:lnTo>
                    <a:pt x="1214" y="1715"/>
                  </a:lnTo>
                  <a:lnTo>
                    <a:pt x="1212" y="1717"/>
                  </a:lnTo>
                  <a:lnTo>
                    <a:pt x="1211" y="1714"/>
                  </a:lnTo>
                  <a:lnTo>
                    <a:pt x="1210" y="1710"/>
                  </a:lnTo>
                  <a:lnTo>
                    <a:pt x="1206" y="1712"/>
                  </a:lnTo>
                  <a:lnTo>
                    <a:pt x="1200" y="1704"/>
                  </a:lnTo>
                  <a:lnTo>
                    <a:pt x="1193" y="1707"/>
                  </a:lnTo>
                  <a:lnTo>
                    <a:pt x="1192" y="1707"/>
                  </a:lnTo>
                  <a:lnTo>
                    <a:pt x="1179" y="1714"/>
                  </a:lnTo>
                  <a:lnTo>
                    <a:pt x="1162" y="1718"/>
                  </a:lnTo>
                  <a:lnTo>
                    <a:pt x="1149" y="1718"/>
                  </a:lnTo>
                  <a:lnTo>
                    <a:pt x="1136" y="1713"/>
                  </a:lnTo>
                  <a:lnTo>
                    <a:pt x="1134" y="1713"/>
                  </a:lnTo>
                  <a:lnTo>
                    <a:pt x="1134" y="1729"/>
                  </a:lnTo>
                  <a:lnTo>
                    <a:pt x="1132" y="1740"/>
                  </a:lnTo>
                  <a:lnTo>
                    <a:pt x="1134" y="1771"/>
                  </a:lnTo>
                  <a:lnTo>
                    <a:pt x="1132" y="1775"/>
                  </a:lnTo>
                  <a:lnTo>
                    <a:pt x="1131" y="1777"/>
                  </a:lnTo>
                  <a:lnTo>
                    <a:pt x="1125" y="1779"/>
                  </a:lnTo>
                  <a:lnTo>
                    <a:pt x="1100" y="1782"/>
                  </a:lnTo>
                  <a:lnTo>
                    <a:pt x="1096" y="1785"/>
                  </a:lnTo>
                  <a:lnTo>
                    <a:pt x="1100" y="1806"/>
                  </a:lnTo>
                  <a:lnTo>
                    <a:pt x="1103" y="1812"/>
                  </a:lnTo>
                  <a:lnTo>
                    <a:pt x="1103" y="1816"/>
                  </a:lnTo>
                  <a:lnTo>
                    <a:pt x="1099" y="1826"/>
                  </a:lnTo>
                  <a:lnTo>
                    <a:pt x="1099" y="1830"/>
                  </a:lnTo>
                  <a:lnTo>
                    <a:pt x="1092" y="1841"/>
                  </a:lnTo>
                  <a:lnTo>
                    <a:pt x="1090" y="1846"/>
                  </a:lnTo>
                  <a:lnTo>
                    <a:pt x="1099" y="1861"/>
                  </a:lnTo>
                  <a:lnTo>
                    <a:pt x="1104" y="1863"/>
                  </a:lnTo>
                  <a:lnTo>
                    <a:pt x="1109" y="1868"/>
                  </a:lnTo>
                  <a:lnTo>
                    <a:pt x="1115" y="1871"/>
                  </a:lnTo>
                  <a:lnTo>
                    <a:pt x="1117" y="1868"/>
                  </a:lnTo>
                  <a:lnTo>
                    <a:pt x="1120" y="1868"/>
                  </a:lnTo>
                  <a:lnTo>
                    <a:pt x="1134" y="1879"/>
                  </a:lnTo>
                  <a:lnTo>
                    <a:pt x="1136" y="1880"/>
                  </a:lnTo>
                  <a:lnTo>
                    <a:pt x="1139" y="1883"/>
                  </a:lnTo>
                  <a:lnTo>
                    <a:pt x="1159" y="1894"/>
                  </a:lnTo>
                  <a:lnTo>
                    <a:pt x="1157" y="1897"/>
                  </a:lnTo>
                  <a:lnTo>
                    <a:pt x="1157" y="1903"/>
                  </a:lnTo>
                  <a:lnTo>
                    <a:pt x="1159" y="1905"/>
                  </a:lnTo>
                  <a:lnTo>
                    <a:pt x="1167" y="1913"/>
                  </a:lnTo>
                  <a:lnTo>
                    <a:pt x="1178" y="1917"/>
                  </a:lnTo>
                  <a:lnTo>
                    <a:pt x="1185" y="1928"/>
                  </a:lnTo>
                  <a:lnTo>
                    <a:pt x="1193" y="1928"/>
                  </a:lnTo>
                  <a:lnTo>
                    <a:pt x="1199" y="1921"/>
                  </a:lnTo>
                  <a:lnTo>
                    <a:pt x="1207" y="1926"/>
                  </a:lnTo>
                  <a:lnTo>
                    <a:pt x="1214" y="1928"/>
                  </a:lnTo>
                  <a:lnTo>
                    <a:pt x="1217" y="1928"/>
                  </a:lnTo>
                  <a:lnTo>
                    <a:pt x="1221" y="1924"/>
                  </a:lnTo>
                  <a:lnTo>
                    <a:pt x="1222" y="1925"/>
                  </a:lnTo>
                  <a:lnTo>
                    <a:pt x="1225" y="1929"/>
                  </a:lnTo>
                  <a:lnTo>
                    <a:pt x="1231" y="1931"/>
                  </a:lnTo>
                  <a:lnTo>
                    <a:pt x="1236" y="1949"/>
                  </a:lnTo>
                  <a:lnTo>
                    <a:pt x="1239" y="1950"/>
                  </a:lnTo>
                  <a:lnTo>
                    <a:pt x="1243" y="1951"/>
                  </a:lnTo>
                  <a:lnTo>
                    <a:pt x="1250" y="1965"/>
                  </a:lnTo>
                  <a:lnTo>
                    <a:pt x="1251" y="1970"/>
                  </a:lnTo>
                  <a:lnTo>
                    <a:pt x="1251" y="1979"/>
                  </a:lnTo>
                  <a:lnTo>
                    <a:pt x="1256" y="1991"/>
                  </a:lnTo>
                  <a:lnTo>
                    <a:pt x="1257" y="1992"/>
                  </a:lnTo>
                  <a:lnTo>
                    <a:pt x="1267" y="1996"/>
                  </a:lnTo>
                  <a:lnTo>
                    <a:pt x="1267" y="2001"/>
                  </a:lnTo>
                  <a:lnTo>
                    <a:pt x="1271" y="2007"/>
                  </a:lnTo>
                  <a:lnTo>
                    <a:pt x="1278" y="2009"/>
                  </a:lnTo>
                  <a:lnTo>
                    <a:pt x="1292" y="2018"/>
                  </a:lnTo>
                  <a:lnTo>
                    <a:pt x="1295" y="2018"/>
                  </a:lnTo>
                  <a:lnTo>
                    <a:pt x="1304" y="2028"/>
                  </a:lnTo>
                  <a:lnTo>
                    <a:pt x="1313" y="2032"/>
                  </a:lnTo>
                  <a:lnTo>
                    <a:pt x="1317" y="2037"/>
                  </a:lnTo>
                  <a:lnTo>
                    <a:pt x="1320" y="2041"/>
                  </a:lnTo>
                  <a:lnTo>
                    <a:pt x="1322" y="2043"/>
                  </a:lnTo>
                  <a:lnTo>
                    <a:pt x="1325" y="2041"/>
                  </a:lnTo>
                  <a:lnTo>
                    <a:pt x="1325" y="2037"/>
                  </a:lnTo>
                  <a:lnTo>
                    <a:pt x="1327" y="2036"/>
                  </a:lnTo>
                  <a:lnTo>
                    <a:pt x="1332" y="2036"/>
                  </a:lnTo>
                  <a:lnTo>
                    <a:pt x="1334" y="2037"/>
                  </a:lnTo>
                  <a:lnTo>
                    <a:pt x="1336" y="2041"/>
                  </a:lnTo>
                  <a:lnTo>
                    <a:pt x="1339" y="2036"/>
                  </a:lnTo>
                  <a:lnTo>
                    <a:pt x="1352" y="2045"/>
                  </a:lnTo>
                  <a:lnTo>
                    <a:pt x="1354" y="2048"/>
                  </a:lnTo>
                  <a:lnTo>
                    <a:pt x="1356" y="2052"/>
                  </a:lnTo>
                  <a:lnTo>
                    <a:pt x="1360" y="2055"/>
                  </a:lnTo>
                  <a:lnTo>
                    <a:pt x="1354" y="2055"/>
                  </a:lnTo>
                  <a:lnTo>
                    <a:pt x="1350" y="2060"/>
                  </a:lnTo>
                  <a:lnTo>
                    <a:pt x="1304" y="2190"/>
                  </a:lnTo>
                  <a:lnTo>
                    <a:pt x="1263" y="2303"/>
                  </a:lnTo>
                  <a:lnTo>
                    <a:pt x="1263" y="2388"/>
                  </a:lnTo>
                  <a:lnTo>
                    <a:pt x="1267" y="2389"/>
                  </a:lnTo>
                  <a:lnTo>
                    <a:pt x="1261" y="2415"/>
                  </a:lnTo>
                  <a:lnTo>
                    <a:pt x="1261" y="2580"/>
                  </a:lnTo>
                  <a:lnTo>
                    <a:pt x="1234" y="2580"/>
                  </a:lnTo>
                  <a:lnTo>
                    <a:pt x="1111" y="2579"/>
                  </a:lnTo>
                  <a:lnTo>
                    <a:pt x="1111" y="2582"/>
                  </a:lnTo>
                  <a:lnTo>
                    <a:pt x="1109" y="2582"/>
                  </a:lnTo>
                  <a:lnTo>
                    <a:pt x="1109" y="2581"/>
                  </a:lnTo>
                  <a:lnTo>
                    <a:pt x="1106" y="2582"/>
                  </a:lnTo>
                  <a:lnTo>
                    <a:pt x="1106" y="2588"/>
                  </a:lnTo>
                  <a:lnTo>
                    <a:pt x="1101" y="2590"/>
                  </a:lnTo>
                  <a:lnTo>
                    <a:pt x="1104" y="2593"/>
                  </a:lnTo>
                  <a:lnTo>
                    <a:pt x="1110" y="2593"/>
                  </a:lnTo>
                  <a:lnTo>
                    <a:pt x="1110" y="2594"/>
                  </a:lnTo>
                  <a:lnTo>
                    <a:pt x="1106" y="2594"/>
                  </a:lnTo>
                  <a:lnTo>
                    <a:pt x="1106" y="2597"/>
                  </a:lnTo>
                  <a:lnTo>
                    <a:pt x="1107" y="2601"/>
                  </a:lnTo>
                  <a:lnTo>
                    <a:pt x="1112" y="2601"/>
                  </a:lnTo>
                  <a:lnTo>
                    <a:pt x="1115" y="2612"/>
                  </a:lnTo>
                  <a:lnTo>
                    <a:pt x="1122" y="2617"/>
                  </a:lnTo>
                  <a:lnTo>
                    <a:pt x="1128" y="2625"/>
                  </a:lnTo>
                  <a:lnTo>
                    <a:pt x="1128" y="2629"/>
                  </a:lnTo>
                  <a:lnTo>
                    <a:pt x="1125" y="2632"/>
                  </a:lnTo>
                  <a:lnTo>
                    <a:pt x="1128" y="2638"/>
                  </a:lnTo>
                  <a:lnTo>
                    <a:pt x="1139" y="2643"/>
                  </a:lnTo>
                  <a:lnTo>
                    <a:pt x="1147" y="2646"/>
                  </a:lnTo>
                  <a:lnTo>
                    <a:pt x="1151" y="2647"/>
                  </a:lnTo>
                  <a:lnTo>
                    <a:pt x="1160" y="2651"/>
                  </a:lnTo>
                  <a:lnTo>
                    <a:pt x="1162" y="2655"/>
                  </a:lnTo>
                  <a:lnTo>
                    <a:pt x="1165" y="2664"/>
                  </a:lnTo>
                  <a:lnTo>
                    <a:pt x="1170" y="2672"/>
                  </a:lnTo>
                  <a:lnTo>
                    <a:pt x="1178" y="2681"/>
                  </a:lnTo>
                  <a:lnTo>
                    <a:pt x="1178" y="2696"/>
                  </a:lnTo>
                  <a:lnTo>
                    <a:pt x="1178" y="2699"/>
                  </a:lnTo>
                  <a:lnTo>
                    <a:pt x="1192" y="2718"/>
                  </a:lnTo>
                  <a:lnTo>
                    <a:pt x="1189" y="2722"/>
                  </a:lnTo>
                  <a:lnTo>
                    <a:pt x="1187" y="2728"/>
                  </a:lnTo>
                  <a:lnTo>
                    <a:pt x="1179" y="2739"/>
                  </a:lnTo>
                  <a:lnTo>
                    <a:pt x="1178" y="2745"/>
                  </a:lnTo>
                  <a:lnTo>
                    <a:pt x="1175" y="2750"/>
                  </a:lnTo>
                  <a:lnTo>
                    <a:pt x="1168" y="2781"/>
                  </a:lnTo>
                  <a:lnTo>
                    <a:pt x="1170" y="2792"/>
                  </a:lnTo>
                  <a:lnTo>
                    <a:pt x="1168" y="2806"/>
                  </a:lnTo>
                  <a:lnTo>
                    <a:pt x="1172" y="2820"/>
                  </a:lnTo>
                  <a:lnTo>
                    <a:pt x="1175" y="2837"/>
                  </a:lnTo>
                  <a:lnTo>
                    <a:pt x="1175" y="2845"/>
                  </a:lnTo>
                  <a:lnTo>
                    <a:pt x="1174" y="2847"/>
                  </a:lnTo>
                  <a:lnTo>
                    <a:pt x="1167" y="2849"/>
                  </a:lnTo>
                  <a:lnTo>
                    <a:pt x="1161" y="2855"/>
                  </a:lnTo>
                  <a:lnTo>
                    <a:pt x="1151" y="2857"/>
                  </a:lnTo>
                  <a:lnTo>
                    <a:pt x="1147" y="2859"/>
                  </a:lnTo>
                  <a:lnTo>
                    <a:pt x="1140" y="2868"/>
                  </a:lnTo>
                  <a:lnTo>
                    <a:pt x="1131" y="2875"/>
                  </a:lnTo>
                  <a:lnTo>
                    <a:pt x="1128" y="2883"/>
                  </a:lnTo>
                  <a:lnTo>
                    <a:pt x="1128" y="2887"/>
                  </a:lnTo>
                  <a:lnTo>
                    <a:pt x="1125" y="2893"/>
                  </a:lnTo>
                  <a:lnTo>
                    <a:pt x="1122" y="2896"/>
                  </a:lnTo>
                  <a:lnTo>
                    <a:pt x="1120" y="2897"/>
                  </a:lnTo>
                  <a:lnTo>
                    <a:pt x="1111" y="2897"/>
                  </a:lnTo>
                  <a:lnTo>
                    <a:pt x="1103" y="2896"/>
                  </a:lnTo>
                  <a:lnTo>
                    <a:pt x="1093" y="2888"/>
                  </a:lnTo>
                  <a:lnTo>
                    <a:pt x="1086" y="2885"/>
                  </a:lnTo>
                  <a:lnTo>
                    <a:pt x="1081" y="2878"/>
                  </a:lnTo>
                  <a:lnTo>
                    <a:pt x="1064" y="2866"/>
                  </a:lnTo>
                  <a:lnTo>
                    <a:pt x="1053" y="2851"/>
                  </a:lnTo>
                  <a:lnTo>
                    <a:pt x="1047" y="2849"/>
                  </a:lnTo>
                  <a:lnTo>
                    <a:pt x="1039" y="2853"/>
                  </a:lnTo>
                  <a:lnTo>
                    <a:pt x="1037" y="2851"/>
                  </a:lnTo>
                  <a:lnTo>
                    <a:pt x="1036" y="2849"/>
                  </a:lnTo>
                  <a:lnTo>
                    <a:pt x="1032" y="2849"/>
                  </a:lnTo>
                  <a:lnTo>
                    <a:pt x="1030" y="2849"/>
                  </a:lnTo>
                  <a:lnTo>
                    <a:pt x="1026" y="2857"/>
                  </a:lnTo>
                  <a:lnTo>
                    <a:pt x="1024" y="2859"/>
                  </a:lnTo>
                  <a:lnTo>
                    <a:pt x="1016" y="2860"/>
                  </a:lnTo>
                  <a:lnTo>
                    <a:pt x="1012" y="2860"/>
                  </a:lnTo>
                  <a:lnTo>
                    <a:pt x="1004" y="2857"/>
                  </a:lnTo>
                  <a:lnTo>
                    <a:pt x="1000" y="2853"/>
                  </a:lnTo>
                  <a:lnTo>
                    <a:pt x="994" y="2841"/>
                  </a:lnTo>
                  <a:lnTo>
                    <a:pt x="991" y="2841"/>
                  </a:lnTo>
                  <a:lnTo>
                    <a:pt x="990" y="2843"/>
                  </a:lnTo>
                  <a:lnTo>
                    <a:pt x="991" y="2849"/>
                  </a:lnTo>
                  <a:lnTo>
                    <a:pt x="989" y="2853"/>
                  </a:lnTo>
                  <a:lnTo>
                    <a:pt x="987" y="2860"/>
                  </a:lnTo>
                  <a:lnTo>
                    <a:pt x="986" y="2863"/>
                  </a:lnTo>
                  <a:lnTo>
                    <a:pt x="982" y="2865"/>
                  </a:lnTo>
                  <a:lnTo>
                    <a:pt x="977" y="2868"/>
                  </a:lnTo>
                  <a:lnTo>
                    <a:pt x="966" y="2871"/>
                  </a:lnTo>
                  <a:lnTo>
                    <a:pt x="962" y="2871"/>
                  </a:lnTo>
                  <a:lnTo>
                    <a:pt x="958" y="2870"/>
                  </a:lnTo>
                  <a:lnTo>
                    <a:pt x="957" y="2868"/>
                  </a:lnTo>
                  <a:lnTo>
                    <a:pt x="955" y="2868"/>
                  </a:lnTo>
                  <a:lnTo>
                    <a:pt x="955" y="2871"/>
                  </a:lnTo>
                  <a:lnTo>
                    <a:pt x="952" y="2874"/>
                  </a:lnTo>
                  <a:lnTo>
                    <a:pt x="952" y="2871"/>
                  </a:lnTo>
                  <a:lnTo>
                    <a:pt x="951" y="2871"/>
                  </a:lnTo>
                  <a:lnTo>
                    <a:pt x="951" y="2875"/>
                  </a:lnTo>
                  <a:lnTo>
                    <a:pt x="949" y="2878"/>
                  </a:lnTo>
                  <a:lnTo>
                    <a:pt x="949" y="2879"/>
                  </a:lnTo>
                  <a:lnTo>
                    <a:pt x="943" y="2883"/>
                  </a:lnTo>
                  <a:lnTo>
                    <a:pt x="944" y="2887"/>
                  </a:lnTo>
                  <a:lnTo>
                    <a:pt x="941" y="2890"/>
                  </a:lnTo>
                  <a:lnTo>
                    <a:pt x="940" y="2893"/>
                  </a:lnTo>
                  <a:lnTo>
                    <a:pt x="930" y="2896"/>
                  </a:lnTo>
                  <a:lnTo>
                    <a:pt x="929" y="2892"/>
                  </a:lnTo>
                  <a:lnTo>
                    <a:pt x="926" y="2893"/>
                  </a:lnTo>
                  <a:lnTo>
                    <a:pt x="921" y="2893"/>
                  </a:lnTo>
                  <a:lnTo>
                    <a:pt x="921" y="2897"/>
                  </a:lnTo>
                  <a:lnTo>
                    <a:pt x="921" y="2902"/>
                  </a:lnTo>
                  <a:lnTo>
                    <a:pt x="919" y="2905"/>
                  </a:lnTo>
                  <a:lnTo>
                    <a:pt x="911" y="2905"/>
                  </a:lnTo>
                  <a:lnTo>
                    <a:pt x="910" y="2902"/>
                  </a:lnTo>
                  <a:lnTo>
                    <a:pt x="907" y="2897"/>
                  </a:lnTo>
                  <a:lnTo>
                    <a:pt x="900" y="2900"/>
                  </a:lnTo>
                  <a:lnTo>
                    <a:pt x="896" y="2902"/>
                  </a:lnTo>
                  <a:lnTo>
                    <a:pt x="893" y="2902"/>
                  </a:lnTo>
                  <a:lnTo>
                    <a:pt x="889" y="2905"/>
                  </a:lnTo>
                  <a:lnTo>
                    <a:pt x="889" y="2910"/>
                  </a:lnTo>
                  <a:lnTo>
                    <a:pt x="886" y="2912"/>
                  </a:lnTo>
                  <a:lnTo>
                    <a:pt x="886" y="2920"/>
                  </a:lnTo>
                  <a:lnTo>
                    <a:pt x="883" y="2924"/>
                  </a:lnTo>
                  <a:lnTo>
                    <a:pt x="883" y="2930"/>
                  </a:lnTo>
                  <a:lnTo>
                    <a:pt x="882" y="2934"/>
                  </a:lnTo>
                  <a:lnTo>
                    <a:pt x="874" y="2940"/>
                  </a:lnTo>
                  <a:lnTo>
                    <a:pt x="875" y="2942"/>
                  </a:lnTo>
                  <a:lnTo>
                    <a:pt x="871" y="2942"/>
                  </a:lnTo>
                  <a:lnTo>
                    <a:pt x="868" y="2942"/>
                  </a:lnTo>
                  <a:lnTo>
                    <a:pt x="865" y="2941"/>
                  </a:lnTo>
                  <a:lnTo>
                    <a:pt x="861" y="2942"/>
                  </a:lnTo>
                  <a:lnTo>
                    <a:pt x="857" y="2942"/>
                  </a:lnTo>
                  <a:lnTo>
                    <a:pt x="852" y="2945"/>
                  </a:lnTo>
                  <a:lnTo>
                    <a:pt x="850" y="2945"/>
                  </a:lnTo>
                  <a:lnTo>
                    <a:pt x="847" y="2946"/>
                  </a:lnTo>
                  <a:lnTo>
                    <a:pt x="844" y="2950"/>
                  </a:lnTo>
                  <a:lnTo>
                    <a:pt x="840" y="2954"/>
                  </a:lnTo>
                  <a:lnTo>
                    <a:pt x="840" y="2958"/>
                  </a:lnTo>
                  <a:lnTo>
                    <a:pt x="836" y="2959"/>
                  </a:lnTo>
                  <a:lnTo>
                    <a:pt x="833" y="2962"/>
                  </a:lnTo>
                  <a:lnTo>
                    <a:pt x="823" y="2963"/>
                  </a:lnTo>
                  <a:lnTo>
                    <a:pt x="821" y="2965"/>
                  </a:lnTo>
                  <a:lnTo>
                    <a:pt x="821" y="2971"/>
                  </a:lnTo>
                  <a:lnTo>
                    <a:pt x="818" y="2977"/>
                  </a:lnTo>
                  <a:lnTo>
                    <a:pt x="819" y="2980"/>
                  </a:lnTo>
                  <a:lnTo>
                    <a:pt x="823" y="2986"/>
                  </a:lnTo>
                  <a:lnTo>
                    <a:pt x="832" y="2987"/>
                  </a:lnTo>
                  <a:lnTo>
                    <a:pt x="833" y="2995"/>
                  </a:lnTo>
                  <a:lnTo>
                    <a:pt x="877" y="3039"/>
                  </a:lnTo>
                  <a:lnTo>
                    <a:pt x="882" y="3054"/>
                  </a:lnTo>
                  <a:lnTo>
                    <a:pt x="891" y="3062"/>
                  </a:lnTo>
                  <a:lnTo>
                    <a:pt x="904" y="3093"/>
                  </a:lnTo>
                  <a:lnTo>
                    <a:pt x="904" y="3102"/>
                  </a:lnTo>
                  <a:lnTo>
                    <a:pt x="907" y="3106"/>
                  </a:lnTo>
                  <a:lnTo>
                    <a:pt x="910" y="3111"/>
                  </a:lnTo>
                  <a:lnTo>
                    <a:pt x="918" y="3115"/>
                  </a:lnTo>
                  <a:lnTo>
                    <a:pt x="922" y="3119"/>
                  </a:lnTo>
                  <a:lnTo>
                    <a:pt x="918" y="3121"/>
                  </a:lnTo>
                  <a:lnTo>
                    <a:pt x="908" y="3123"/>
                  </a:lnTo>
                  <a:lnTo>
                    <a:pt x="900" y="3128"/>
                  </a:lnTo>
                  <a:lnTo>
                    <a:pt x="897" y="3137"/>
                  </a:lnTo>
                  <a:lnTo>
                    <a:pt x="889" y="3137"/>
                  </a:lnTo>
                  <a:lnTo>
                    <a:pt x="891" y="3141"/>
                  </a:lnTo>
                  <a:lnTo>
                    <a:pt x="889" y="3145"/>
                  </a:lnTo>
                  <a:lnTo>
                    <a:pt x="889" y="3148"/>
                  </a:lnTo>
                  <a:lnTo>
                    <a:pt x="887" y="3149"/>
                  </a:lnTo>
                  <a:lnTo>
                    <a:pt x="887" y="3151"/>
                  </a:lnTo>
                  <a:lnTo>
                    <a:pt x="886" y="3152"/>
                  </a:lnTo>
                  <a:lnTo>
                    <a:pt x="908" y="3182"/>
                  </a:lnTo>
                  <a:lnTo>
                    <a:pt x="904" y="3186"/>
                  </a:lnTo>
                  <a:lnTo>
                    <a:pt x="889" y="3238"/>
                  </a:lnTo>
                  <a:lnTo>
                    <a:pt x="926" y="3269"/>
                  </a:lnTo>
                  <a:lnTo>
                    <a:pt x="977" y="3315"/>
                  </a:lnTo>
                  <a:lnTo>
                    <a:pt x="996" y="3331"/>
                  </a:lnTo>
                  <a:lnTo>
                    <a:pt x="1043" y="3334"/>
                  </a:lnTo>
                  <a:lnTo>
                    <a:pt x="1036" y="3347"/>
                  </a:lnTo>
                  <a:lnTo>
                    <a:pt x="1029" y="3381"/>
                  </a:lnTo>
                  <a:lnTo>
                    <a:pt x="1033" y="3386"/>
                  </a:lnTo>
                  <a:lnTo>
                    <a:pt x="1036" y="3388"/>
                  </a:lnTo>
                  <a:lnTo>
                    <a:pt x="1036" y="3390"/>
                  </a:lnTo>
                  <a:lnTo>
                    <a:pt x="1036" y="3392"/>
                  </a:lnTo>
                  <a:lnTo>
                    <a:pt x="1046" y="3399"/>
                  </a:lnTo>
                  <a:lnTo>
                    <a:pt x="1054" y="3404"/>
                  </a:lnTo>
                  <a:lnTo>
                    <a:pt x="1055" y="3406"/>
                  </a:lnTo>
                  <a:lnTo>
                    <a:pt x="1061" y="3407"/>
                  </a:lnTo>
                  <a:lnTo>
                    <a:pt x="1072" y="3414"/>
                  </a:lnTo>
                  <a:lnTo>
                    <a:pt x="1089" y="3421"/>
                  </a:lnTo>
                  <a:lnTo>
                    <a:pt x="1092" y="3469"/>
                  </a:lnTo>
                  <a:lnTo>
                    <a:pt x="1096" y="3473"/>
                  </a:lnTo>
                  <a:lnTo>
                    <a:pt x="1100" y="3474"/>
                  </a:lnTo>
                  <a:lnTo>
                    <a:pt x="1103" y="3479"/>
                  </a:lnTo>
                  <a:lnTo>
                    <a:pt x="1107" y="3479"/>
                  </a:lnTo>
                  <a:lnTo>
                    <a:pt x="1109" y="3480"/>
                  </a:lnTo>
                  <a:lnTo>
                    <a:pt x="1115" y="3481"/>
                  </a:lnTo>
                  <a:lnTo>
                    <a:pt x="1124" y="3484"/>
                  </a:lnTo>
                  <a:lnTo>
                    <a:pt x="1125" y="3485"/>
                  </a:lnTo>
                  <a:lnTo>
                    <a:pt x="1134" y="3488"/>
                  </a:lnTo>
                  <a:lnTo>
                    <a:pt x="1135" y="3489"/>
                  </a:lnTo>
                  <a:lnTo>
                    <a:pt x="1147" y="3489"/>
                  </a:lnTo>
                  <a:lnTo>
                    <a:pt x="1153" y="3492"/>
                  </a:lnTo>
                  <a:lnTo>
                    <a:pt x="1156" y="3496"/>
                  </a:lnTo>
                  <a:lnTo>
                    <a:pt x="1161" y="3497"/>
                  </a:lnTo>
                  <a:lnTo>
                    <a:pt x="1171" y="3497"/>
                  </a:lnTo>
                  <a:lnTo>
                    <a:pt x="1176" y="3493"/>
                  </a:lnTo>
                  <a:lnTo>
                    <a:pt x="1179" y="3493"/>
                  </a:lnTo>
                  <a:lnTo>
                    <a:pt x="1187" y="3497"/>
                  </a:lnTo>
                  <a:lnTo>
                    <a:pt x="1190" y="3499"/>
                  </a:lnTo>
                  <a:lnTo>
                    <a:pt x="1195" y="3508"/>
                  </a:lnTo>
                  <a:lnTo>
                    <a:pt x="1210" y="3518"/>
                  </a:lnTo>
                  <a:lnTo>
                    <a:pt x="1211" y="3525"/>
                  </a:lnTo>
                  <a:lnTo>
                    <a:pt x="1220" y="3530"/>
                  </a:lnTo>
                  <a:lnTo>
                    <a:pt x="1222" y="3538"/>
                  </a:lnTo>
                  <a:lnTo>
                    <a:pt x="1225" y="3541"/>
                  </a:lnTo>
                  <a:lnTo>
                    <a:pt x="1231" y="3542"/>
                  </a:lnTo>
                  <a:lnTo>
                    <a:pt x="1235" y="3597"/>
                  </a:lnTo>
                  <a:lnTo>
                    <a:pt x="1226" y="3707"/>
                  </a:lnTo>
                  <a:lnTo>
                    <a:pt x="1297" y="3707"/>
                  </a:lnTo>
                  <a:lnTo>
                    <a:pt x="1306" y="3707"/>
                  </a:lnTo>
                  <a:lnTo>
                    <a:pt x="1403" y="3766"/>
                  </a:lnTo>
                  <a:lnTo>
                    <a:pt x="1394" y="3809"/>
                  </a:lnTo>
                  <a:lnTo>
                    <a:pt x="1348" y="3837"/>
                  </a:lnTo>
                  <a:lnTo>
                    <a:pt x="1342" y="3870"/>
                  </a:lnTo>
                  <a:lnTo>
                    <a:pt x="1342" y="3882"/>
                  </a:lnTo>
                  <a:lnTo>
                    <a:pt x="1332" y="3890"/>
                  </a:lnTo>
                  <a:lnTo>
                    <a:pt x="1327" y="3899"/>
                  </a:lnTo>
                  <a:lnTo>
                    <a:pt x="1322" y="3911"/>
                  </a:lnTo>
                  <a:lnTo>
                    <a:pt x="1320" y="3952"/>
                  </a:lnTo>
                  <a:lnTo>
                    <a:pt x="1321" y="3956"/>
                  </a:lnTo>
                  <a:lnTo>
                    <a:pt x="1314" y="3957"/>
                  </a:lnTo>
                  <a:lnTo>
                    <a:pt x="1290" y="3957"/>
                  </a:lnTo>
                  <a:lnTo>
                    <a:pt x="1286" y="3953"/>
                  </a:lnTo>
                  <a:lnTo>
                    <a:pt x="1284" y="3953"/>
                  </a:lnTo>
                  <a:lnTo>
                    <a:pt x="1281" y="3953"/>
                  </a:lnTo>
                  <a:lnTo>
                    <a:pt x="1276" y="3957"/>
                  </a:lnTo>
                  <a:lnTo>
                    <a:pt x="1270" y="3960"/>
                  </a:lnTo>
                  <a:lnTo>
                    <a:pt x="1268" y="3965"/>
                  </a:lnTo>
                  <a:lnTo>
                    <a:pt x="1263" y="3966"/>
                  </a:lnTo>
                  <a:lnTo>
                    <a:pt x="1261" y="3969"/>
                  </a:lnTo>
                  <a:lnTo>
                    <a:pt x="1261" y="3975"/>
                  </a:lnTo>
                  <a:lnTo>
                    <a:pt x="1263" y="3979"/>
                  </a:lnTo>
                  <a:lnTo>
                    <a:pt x="1263" y="3983"/>
                  </a:lnTo>
                  <a:lnTo>
                    <a:pt x="1264" y="3987"/>
                  </a:lnTo>
                  <a:lnTo>
                    <a:pt x="1263" y="3995"/>
                  </a:lnTo>
                  <a:lnTo>
                    <a:pt x="1260" y="3998"/>
                  </a:lnTo>
                  <a:lnTo>
                    <a:pt x="1259" y="4004"/>
                  </a:lnTo>
                  <a:lnTo>
                    <a:pt x="1256" y="4006"/>
                  </a:lnTo>
                  <a:lnTo>
                    <a:pt x="1251" y="4006"/>
                  </a:lnTo>
                  <a:lnTo>
                    <a:pt x="1250" y="4008"/>
                  </a:lnTo>
                  <a:lnTo>
                    <a:pt x="1250" y="4012"/>
                  </a:lnTo>
                  <a:lnTo>
                    <a:pt x="1253" y="4013"/>
                  </a:lnTo>
                  <a:lnTo>
                    <a:pt x="1254" y="4015"/>
                  </a:lnTo>
                  <a:lnTo>
                    <a:pt x="1253" y="4016"/>
                  </a:lnTo>
                  <a:lnTo>
                    <a:pt x="1250" y="4019"/>
                  </a:lnTo>
                  <a:lnTo>
                    <a:pt x="1250" y="4023"/>
                  </a:lnTo>
                  <a:lnTo>
                    <a:pt x="1246" y="4024"/>
                  </a:lnTo>
                  <a:lnTo>
                    <a:pt x="1243" y="4028"/>
                  </a:lnTo>
                  <a:lnTo>
                    <a:pt x="1240" y="4028"/>
                  </a:lnTo>
                  <a:lnTo>
                    <a:pt x="1237" y="4027"/>
                  </a:lnTo>
                  <a:lnTo>
                    <a:pt x="1234" y="4027"/>
                  </a:lnTo>
                  <a:lnTo>
                    <a:pt x="1229" y="4032"/>
                  </a:lnTo>
                  <a:lnTo>
                    <a:pt x="1222" y="4032"/>
                  </a:lnTo>
                  <a:lnTo>
                    <a:pt x="1218" y="4035"/>
                  </a:lnTo>
                  <a:lnTo>
                    <a:pt x="1209" y="4037"/>
                  </a:lnTo>
                  <a:lnTo>
                    <a:pt x="1204" y="4040"/>
                  </a:lnTo>
                  <a:lnTo>
                    <a:pt x="1199" y="4037"/>
                  </a:lnTo>
                  <a:lnTo>
                    <a:pt x="1199" y="4035"/>
                  </a:lnTo>
                  <a:lnTo>
                    <a:pt x="1190" y="4032"/>
                  </a:lnTo>
                  <a:lnTo>
                    <a:pt x="1182" y="4024"/>
                  </a:lnTo>
                  <a:lnTo>
                    <a:pt x="1176" y="4024"/>
                  </a:lnTo>
                  <a:lnTo>
                    <a:pt x="1175" y="4020"/>
                  </a:lnTo>
                  <a:lnTo>
                    <a:pt x="1170" y="4020"/>
                  </a:lnTo>
                  <a:lnTo>
                    <a:pt x="1168" y="4021"/>
                  </a:lnTo>
                  <a:lnTo>
                    <a:pt x="1167" y="4021"/>
                  </a:lnTo>
                  <a:lnTo>
                    <a:pt x="1161" y="4018"/>
                  </a:lnTo>
                  <a:lnTo>
                    <a:pt x="1154" y="4019"/>
                  </a:lnTo>
                  <a:lnTo>
                    <a:pt x="1146" y="4018"/>
                  </a:lnTo>
                  <a:lnTo>
                    <a:pt x="1145" y="4015"/>
                  </a:lnTo>
                  <a:lnTo>
                    <a:pt x="1139" y="4016"/>
                  </a:lnTo>
                  <a:lnTo>
                    <a:pt x="1137" y="4021"/>
                  </a:lnTo>
                  <a:lnTo>
                    <a:pt x="1128" y="4024"/>
                  </a:lnTo>
                  <a:lnTo>
                    <a:pt x="1128" y="4027"/>
                  </a:lnTo>
                  <a:lnTo>
                    <a:pt x="1128" y="4032"/>
                  </a:lnTo>
                  <a:lnTo>
                    <a:pt x="1124" y="4036"/>
                  </a:lnTo>
                  <a:lnTo>
                    <a:pt x="1117" y="4040"/>
                  </a:lnTo>
                  <a:lnTo>
                    <a:pt x="1112" y="4038"/>
                  </a:lnTo>
                  <a:lnTo>
                    <a:pt x="1104" y="4045"/>
                  </a:lnTo>
                  <a:lnTo>
                    <a:pt x="1101" y="4047"/>
                  </a:lnTo>
                  <a:lnTo>
                    <a:pt x="1096" y="4043"/>
                  </a:lnTo>
                  <a:lnTo>
                    <a:pt x="1090" y="4041"/>
                  </a:lnTo>
                  <a:lnTo>
                    <a:pt x="1083" y="4036"/>
                  </a:lnTo>
                  <a:lnTo>
                    <a:pt x="1078" y="4037"/>
                  </a:lnTo>
                  <a:lnTo>
                    <a:pt x="1075" y="4032"/>
                  </a:lnTo>
                  <a:lnTo>
                    <a:pt x="1069" y="4032"/>
                  </a:lnTo>
                  <a:lnTo>
                    <a:pt x="1065" y="4035"/>
                  </a:lnTo>
                  <a:lnTo>
                    <a:pt x="1060" y="4027"/>
                  </a:lnTo>
                  <a:lnTo>
                    <a:pt x="1053" y="4024"/>
                  </a:lnTo>
                  <a:lnTo>
                    <a:pt x="1044" y="4021"/>
                  </a:lnTo>
                  <a:lnTo>
                    <a:pt x="1043" y="4020"/>
                  </a:lnTo>
                  <a:lnTo>
                    <a:pt x="1044" y="4015"/>
                  </a:lnTo>
                  <a:lnTo>
                    <a:pt x="1039" y="4012"/>
                  </a:lnTo>
                  <a:lnTo>
                    <a:pt x="1029" y="4012"/>
                  </a:lnTo>
                  <a:lnTo>
                    <a:pt x="1024" y="4019"/>
                  </a:lnTo>
                  <a:lnTo>
                    <a:pt x="1014" y="4021"/>
                  </a:lnTo>
                  <a:lnTo>
                    <a:pt x="1012" y="4021"/>
                  </a:lnTo>
                  <a:lnTo>
                    <a:pt x="1008" y="4019"/>
                  </a:lnTo>
                  <a:lnTo>
                    <a:pt x="1005" y="4018"/>
                  </a:lnTo>
                  <a:lnTo>
                    <a:pt x="1002" y="4019"/>
                  </a:lnTo>
                  <a:lnTo>
                    <a:pt x="999" y="4021"/>
                  </a:lnTo>
                  <a:lnTo>
                    <a:pt x="987" y="4021"/>
                  </a:lnTo>
                  <a:lnTo>
                    <a:pt x="983" y="4020"/>
                  </a:lnTo>
                  <a:lnTo>
                    <a:pt x="975" y="4019"/>
                  </a:lnTo>
                  <a:lnTo>
                    <a:pt x="969" y="4013"/>
                  </a:lnTo>
                  <a:lnTo>
                    <a:pt x="957" y="4015"/>
                  </a:lnTo>
                  <a:lnTo>
                    <a:pt x="954" y="4013"/>
                  </a:lnTo>
                  <a:lnTo>
                    <a:pt x="951" y="4010"/>
                  </a:lnTo>
                  <a:lnTo>
                    <a:pt x="944" y="4010"/>
                  </a:lnTo>
                  <a:lnTo>
                    <a:pt x="941" y="4008"/>
                  </a:lnTo>
                  <a:lnTo>
                    <a:pt x="940" y="4008"/>
                  </a:lnTo>
                  <a:lnTo>
                    <a:pt x="929" y="4010"/>
                  </a:lnTo>
                  <a:lnTo>
                    <a:pt x="927" y="4012"/>
                  </a:lnTo>
                  <a:lnTo>
                    <a:pt x="921" y="4013"/>
                  </a:lnTo>
                  <a:lnTo>
                    <a:pt x="910" y="4019"/>
                  </a:lnTo>
                  <a:lnTo>
                    <a:pt x="908" y="4023"/>
                  </a:lnTo>
                  <a:lnTo>
                    <a:pt x="904" y="4024"/>
                  </a:lnTo>
                  <a:lnTo>
                    <a:pt x="899" y="4035"/>
                  </a:lnTo>
                  <a:lnTo>
                    <a:pt x="893" y="4038"/>
                  </a:lnTo>
                  <a:lnTo>
                    <a:pt x="887" y="4038"/>
                  </a:lnTo>
                  <a:lnTo>
                    <a:pt x="882" y="4044"/>
                  </a:lnTo>
                  <a:lnTo>
                    <a:pt x="880" y="4047"/>
                  </a:lnTo>
                  <a:lnTo>
                    <a:pt x="882" y="4050"/>
                  </a:lnTo>
                  <a:lnTo>
                    <a:pt x="877" y="4062"/>
                  </a:lnTo>
                  <a:lnTo>
                    <a:pt x="875" y="4062"/>
                  </a:lnTo>
                  <a:lnTo>
                    <a:pt x="872" y="4061"/>
                  </a:lnTo>
                  <a:lnTo>
                    <a:pt x="862" y="4069"/>
                  </a:lnTo>
                  <a:lnTo>
                    <a:pt x="861" y="4069"/>
                  </a:lnTo>
                  <a:lnTo>
                    <a:pt x="858" y="4066"/>
                  </a:lnTo>
                  <a:lnTo>
                    <a:pt x="857" y="4068"/>
                  </a:lnTo>
                  <a:lnTo>
                    <a:pt x="847" y="4073"/>
                  </a:lnTo>
                  <a:lnTo>
                    <a:pt x="841" y="4075"/>
                  </a:lnTo>
                  <a:lnTo>
                    <a:pt x="832" y="4080"/>
                  </a:lnTo>
                  <a:lnTo>
                    <a:pt x="822" y="4087"/>
                  </a:lnTo>
                  <a:lnTo>
                    <a:pt x="818" y="4087"/>
                  </a:lnTo>
                  <a:lnTo>
                    <a:pt x="812" y="4083"/>
                  </a:lnTo>
                  <a:lnTo>
                    <a:pt x="808" y="4086"/>
                  </a:lnTo>
                  <a:lnTo>
                    <a:pt x="802" y="4087"/>
                  </a:lnTo>
                  <a:lnTo>
                    <a:pt x="800" y="4087"/>
                  </a:lnTo>
                  <a:lnTo>
                    <a:pt x="797" y="4085"/>
                  </a:lnTo>
                  <a:lnTo>
                    <a:pt x="794" y="4083"/>
                  </a:lnTo>
                  <a:lnTo>
                    <a:pt x="790" y="4083"/>
                  </a:lnTo>
                  <a:lnTo>
                    <a:pt x="786" y="4085"/>
                  </a:lnTo>
                  <a:lnTo>
                    <a:pt x="775" y="4090"/>
                  </a:lnTo>
                  <a:lnTo>
                    <a:pt x="770" y="4102"/>
                  </a:lnTo>
                  <a:lnTo>
                    <a:pt x="767" y="4103"/>
                  </a:lnTo>
                  <a:lnTo>
                    <a:pt x="759" y="4108"/>
                  </a:lnTo>
                  <a:lnTo>
                    <a:pt x="747" y="4111"/>
                  </a:lnTo>
                  <a:lnTo>
                    <a:pt x="742" y="4111"/>
                  </a:lnTo>
                  <a:lnTo>
                    <a:pt x="733" y="4103"/>
                  </a:lnTo>
                  <a:lnTo>
                    <a:pt x="729" y="4106"/>
                  </a:lnTo>
                  <a:lnTo>
                    <a:pt x="726" y="4103"/>
                  </a:lnTo>
                  <a:lnTo>
                    <a:pt x="723" y="4102"/>
                  </a:lnTo>
                  <a:lnTo>
                    <a:pt x="717" y="4099"/>
                  </a:lnTo>
                  <a:lnTo>
                    <a:pt x="716" y="4094"/>
                  </a:lnTo>
                  <a:lnTo>
                    <a:pt x="709" y="4087"/>
                  </a:lnTo>
                  <a:lnTo>
                    <a:pt x="705" y="4087"/>
                  </a:lnTo>
                  <a:lnTo>
                    <a:pt x="700" y="4085"/>
                  </a:lnTo>
                  <a:lnTo>
                    <a:pt x="697" y="4085"/>
                  </a:lnTo>
                  <a:lnTo>
                    <a:pt x="690" y="4089"/>
                  </a:lnTo>
                  <a:lnTo>
                    <a:pt x="686" y="4089"/>
                  </a:lnTo>
                  <a:lnTo>
                    <a:pt x="683" y="4087"/>
                  </a:lnTo>
                  <a:lnTo>
                    <a:pt x="663" y="4091"/>
                  </a:lnTo>
                  <a:lnTo>
                    <a:pt x="656" y="4095"/>
                  </a:lnTo>
                  <a:lnTo>
                    <a:pt x="656" y="4099"/>
                  </a:lnTo>
                  <a:lnTo>
                    <a:pt x="648" y="4103"/>
                  </a:lnTo>
                  <a:lnTo>
                    <a:pt x="645" y="4107"/>
                  </a:lnTo>
                  <a:lnTo>
                    <a:pt x="640" y="4111"/>
                  </a:lnTo>
                  <a:lnTo>
                    <a:pt x="636" y="4118"/>
                  </a:lnTo>
                  <a:lnTo>
                    <a:pt x="633" y="4118"/>
                  </a:lnTo>
                  <a:lnTo>
                    <a:pt x="630" y="4118"/>
                  </a:lnTo>
                  <a:lnTo>
                    <a:pt x="626" y="4118"/>
                  </a:lnTo>
                  <a:lnTo>
                    <a:pt x="625" y="4120"/>
                  </a:lnTo>
                  <a:lnTo>
                    <a:pt x="625" y="4122"/>
                  </a:lnTo>
                  <a:lnTo>
                    <a:pt x="622" y="4125"/>
                  </a:lnTo>
                  <a:lnTo>
                    <a:pt x="616" y="4125"/>
                  </a:lnTo>
                  <a:lnTo>
                    <a:pt x="613" y="4124"/>
                  </a:lnTo>
                  <a:lnTo>
                    <a:pt x="609" y="4124"/>
                  </a:lnTo>
                  <a:lnTo>
                    <a:pt x="609" y="4128"/>
                  </a:lnTo>
                  <a:lnTo>
                    <a:pt x="605" y="4131"/>
                  </a:lnTo>
                  <a:lnTo>
                    <a:pt x="598" y="4140"/>
                  </a:lnTo>
                  <a:lnTo>
                    <a:pt x="584" y="4144"/>
                  </a:lnTo>
                  <a:lnTo>
                    <a:pt x="581" y="4148"/>
                  </a:lnTo>
                  <a:lnTo>
                    <a:pt x="581" y="4152"/>
                  </a:lnTo>
                  <a:lnTo>
                    <a:pt x="577" y="4155"/>
                  </a:lnTo>
                  <a:lnTo>
                    <a:pt x="576" y="4159"/>
                  </a:lnTo>
                  <a:lnTo>
                    <a:pt x="572" y="4162"/>
                  </a:lnTo>
                  <a:lnTo>
                    <a:pt x="566" y="4162"/>
                  </a:lnTo>
                  <a:lnTo>
                    <a:pt x="565" y="4165"/>
                  </a:lnTo>
                  <a:lnTo>
                    <a:pt x="565" y="4173"/>
                  </a:lnTo>
                  <a:lnTo>
                    <a:pt x="556" y="4174"/>
                  </a:lnTo>
                  <a:lnTo>
                    <a:pt x="548" y="4174"/>
                  </a:lnTo>
                  <a:lnTo>
                    <a:pt x="541" y="4170"/>
                  </a:lnTo>
                  <a:lnTo>
                    <a:pt x="534" y="4170"/>
                  </a:lnTo>
                  <a:lnTo>
                    <a:pt x="526" y="4167"/>
                  </a:lnTo>
                  <a:lnTo>
                    <a:pt x="520" y="4169"/>
                  </a:lnTo>
                  <a:lnTo>
                    <a:pt x="513" y="4167"/>
                  </a:lnTo>
                  <a:lnTo>
                    <a:pt x="498" y="4167"/>
                  </a:lnTo>
                  <a:lnTo>
                    <a:pt x="494" y="4165"/>
                  </a:lnTo>
                  <a:lnTo>
                    <a:pt x="492" y="4162"/>
                  </a:lnTo>
                  <a:lnTo>
                    <a:pt x="490" y="4159"/>
                  </a:lnTo>
                  <a:lnTo>
                    <a:pt x="480" y="4159"/>
                  </a:lnTo>
                  <a:lnTo>
                    <a:pt x="478" y="4156"/>
                  </a:lnTo>
                  <a:lnTo>
                    <a:pt x="476" y="4156"/>
                  </a:lnTo>
                  <a:lnTo>
                    <a:pt x="473" y="4150"/>
                  </a:lnTo>
                  <a:lnTo>
                    <a:pt x="473" y="4148"/>
                  </a:lnTo>
                  <a:lnTo>
                    <a:pt x="480" y="4136"/>
                  </a:lnTo>
                  <a:lnTo>
                    <a:pt x="478" y="4134"/>
                  </a:lnTo>
                  <a:lnTo>
                    <a:pt x="477" y="4130"/>
                  </a:lnTo>
                  <a:lnTo>
                    <a:pt x="471" y="4122"/>
                  </a:lnTo>
                  <a:lnTo>
                    <a:pt x="471" y="4118"/>
                  </a:lnTo>
                  <a:lnTo>
                    <a:pt x="473" y="4117"/>
                  </a:lnTo>
                  <a:lnTo>
                    <a:pt x="471" y="4115"/>
                  </a:lnTo>
                  <a:lnTo>
                    <a:pt x="463" y="4108"/>
                  </a:lnTo>
                  <a:lnTo>
                    <a:pt x="459" y="4108"/>
                  </a:lnTo>
                  <a:lnTo>
                    <a:pt x="455" y="4106"/>
                  </a:lnTo>
                  <a:lnTo>
                    <a:pt x="451" y="4106"/>
                  </a:lnTo>
                  <a:lnTo>
                    <a:pt x="440" y="4099"/>
                  </a:lnTo>
                  <a:lnTo>
                    <a:pt x="435" y="4094"/>
                  </a:lnTo>
                  <a:lnTo>
                    <a:pt x="432" y="4094"/>
                  </a:lnTo>
                  <a:lnTo>
                    <a:pt x="428" y="4099"/>
                  </a:lnTo>
                  <a:lnTo>
                    <a:pt x="424" y="4098"/>
                  </a:lnTo>
                  <a:lnTo>
                    <a:pt x="423" y="4099"/>
                  </a:lnTo>
                  <a:lnTo>
                    <a:pt x="415" y="4111"/>
                  </a:lnTo>
                  <a:lnTo>
                    <a:pt x="412" y="4112"/>
                  </a:lnTo>
                  <a:lnTo>
                    <a:pt x="405" y="4112"/>
                  </a:lnTo>
                  <a:lnTo>
                    <a:pt x="398" y="4108"/>
                  </a:lnTo>
                  <a:lnTo>
                    <a:pt x="391" y="4106"/>
                  </a:lnTo>
                  <a:lnTo>
                    <a:pt x="385" y="4107"/>
                  </a:lnTo>
                  <a:lnTo>
                    <a:pt x="382" y="4111"/>
                  </a:lnTo>
                  <a:lnTo>
                    <a:pt x="377" y="4110"/>
                  </a:lnTo>
                  <a:lnTo>
                    <a:pt x="373" y="4114"/>
                  </a:lnTo>
                  <a:lnTo>
                    <a:pt x="368" y="4112"/>
                  </a:lnTo>
                  <a:lnTo>
                    <a:pt x="363" y="4108"/>
                  </a:lnTo>
                  <a:lnTo>
                    <a:pt x="363" y="4106"/>
                  </a:lnTo>
                  <a:lnTo>
                    <a:pt x="357" y="4103"/>
                  </a:lnTo>
                  <a:lnTo>
                    <a:pt x="355" y="4099"/>
                  </a:lnTo>
                  <a:lnTo>
                    <a:pt x="351" y="4095"/>
                  </a:lnTo>
                  <a:lnTo>
                    <a:pt x="349" y="4094"/>
                  </a:lnTo>
                  <a:lnTo>
                    <a:pt x="345" y="4091"/>
                  </a:lnTo>
                  <a:lnTo>
                    <a:pt x="340" y="4093"/>
                  </a:lnTo>
                  <a:lnTo>
                    <a:pt x="332" y="4090"/>
                  </a:lnTo>
                  <a:lnTo>
                    <a:pt x="332" y="4087"/>
                  </a:lnTo>
                  <a:lnTo>
                    <a:pt x="334" y="4085"/>
                  </a:lnTo>
                  <a:lnTo>
                    <a:pt x="328" y="4075"/>
                  </a:lnTo>
                  <a:lnTo>
                    <a:pt x="309" y="4065"/>
                  </a:lnTo>
                  <a:lnTo>
                    <a:pt x="303" y="4063"/>
                  </a:lnTo>
                  <a:lnTo>
                    <a:pt x="296" y="4063"/>
                  </a:lnTo>
                  <a:lnTo>
                    <a:pt x="284" y="4060"/>
                  </a:lnTo>
                  <a:lnTo>
                    <a:pt x="278" y="4053"/>
                  </a:lnTo>
                  <a:lnTo>
                    <a:pt x="278" y="4050"/>
                  </a:lnTo>
                  <a:lnTo>
                    <a:pt x="280" y="4049"/>
                  </a:lnTo>
                  <a:lnTo>
                    <a:pt x="280" y="4045"/>
                  </a:lnTo>
                  <a:lnTo>
                    <a:pt x="273" y="4041"/>
                  </a:lnTo>
                  <a:lnTo>
                    <a:pt x="267" y="4037"/>
                  </a:lnTo>
                  <a:lnTo>
                    <a:pt x="259" y="4035"/>
                  </a:lnTo>
                  <a:lnTo>
                    <a:pt x="253" y="4036"/>
                  </a:lnTo>
                  <a:lnTo>
                    <a:pt x="252" y="4032"/>
                  </a:lnTo>
                  <a:lnTo>
                    <a:pt x="250" y="4035"/>
                  </a:lnTo>
                  <a:lnTo>
                    <a:pt x="249" y="4035"/>
                  </a:lnTo>
                  <a:lnTo>
                    <a:pt x="245" y="4035"/>
                  </a:lnTo>
                  <a:lnTo>
                    <a:pt x="239" y="4032"/>
                  </a:lnTo>
                  <a:lnTo>
                    <a:pt x="235" y="4031"/>
                  </a:lnTo>
                  <a:lnTo>
                    <a:pt x="232" y="4028"/>
                  </a:lnTo>
                  <a:lnTo>
                    <a:pt x="231" y="4021"/>
                  </a:lnTo>
                  <a:lnTo>
                    <a:pt x="228" y="4021"/>
                  </a:lnTo>
                  <a:lnTo>
                    <a:pt x="213" y="4024"/>
                  </a:lnTo>
                  <a:lnTo>
                    <a:pt x="205" y="4027"/>
                  </a:lnTo>
                  <a:lnTo>
                    <a:pt x="185" y="4020"/>
                  </a:lnTo>
                  <a:lnTo>
                    <a:pt x="177" y="4023"/>
                  </a:lnTo>
                  <a:lnTo>
                    <a:pt x="171" y="4023"/>
                  </a:lnTo>
                  <a:lnTo>
                    <a:pt x="167" y="4024"/>
                  </a:lnTo>
                  <a:lnTo>
                    <a:pt x="161" y="4024"/>
                  </a:lnTo>
                  <a:lnTo>
                    <a:pt x="157" y="4024"/>
                  </a:lnTo>
                  <a:lnTo>
                    <a:pt x="153" y="4020"/>
                  </a:lnTo>
                  <a:lnTo>
                    <a:pt x="149" y="4015"/>
                  </a:lnTo>
                  <a:lnTo>
                    <a:pt x="143" y="4012"/>
                  </a:lnTo>
                  <a:lnTo>
                    <a:pt x="138" y="4006"/>
                  </a:lnTo>
                  <a:lnTo>
                    <a:pt x="127" y="4002"/>
                  </a:lnTo>
                  <a:lnTo>
                    <a:pt x="121" y="3994"/>
                  </a:lnTo>
                  <a:lnTo>
                    <a:pt x="120" y="3987"/>
                  </a:lnTo>
                  <a:lnTo>
                    <a:pt x="117" y="3987"/>
                  </a:lnTo>
                  <a:lnTo>
                    <a:pt x="111" y="3983"/>
                  </a:lnTo>
                  <a:lnTo>
                    <a:pt x="107" y="3982"/>
                  </a:lnTo>
                  <a:lnTo>
                    <a:pt x="102" y="3975"/>
                  </a:lnTo>
                  <a:lnTo>
                    <a:pt x="92" y="3970"/>
                  </a:lnTo>
                  <a:lnTo>
                    <a:pt x="88" y="3957"/>
                  </a:lnTo>
                  <a:lnTo>
                    <a:pt x="68" y="3928"/>
                  </a:lnTo>
                  <a:lnTo>
                    <a:pt x="53" y="3908"/>
                  </a:lnTo>
                  <a:lnTo>
                    <a:pt x="44" y="3890"/>
                  </a:lnTo>
                  <a:lnTo>
                    <a:pt x="27" y="3873"/>
                  </a:lnTo>
                  <a:lnTo>
                    <a:pt x="22" y="3862"/>
                  </a:lnTo>
                  <a:lnTo>
                    <a:pt x="32" y="3849"/>
                  </a:lnTo>
                  <a:lnTo>
                    <a:pt x="32" y="3844"/>
                  </a:lnTo>
                  <a:lnTo>
                    <a:pt x="0" y="3817"/>
                  </a:lnTo>
                  <a:lnTo>
                    <a:pt x="13" y="3792"/>
                  </a:lnTo>
                  <a:lnTo>
                    <a:pt x="29" y="3777"/>
                  </a:lnTo>
                  <a:lnTo>
                    <a:pt x="53" y="3750"/>
                  </a:lnTo>
                  <a:lnTo>
                    <a:pt x="58" y="3744"/>
                  </a:lnTo>
                  <a:lnTo>
                    <a:pt x="63" y="3740"/>
                  </a:lnTo>
                  <a:lnTo>
                    <a:pt x="92" y="3701"/>
                  </a:lnTo>
                  <a:lnTo>
                    <a:pt x="121" y="3634"/>
                  </a:lnTo>
                  <a:lnTo>
                    <a:pt x="121" y="3631"/>
                  </a:lnTo>
                  <a:lnTo>
                    <a:pt x="122" y="3618"/>
                  </a:lnTo>
                  <a:lnTo>
                    <a:pt x="122" y="3617"/>
                  </a:lnTo>
                  <a:lnTo>
                    <a:pt x="106" y="3547"/>
                  </a:lnTo>
                  <a:lnTo>
                    <a:pt x="104" y="3498"/>
                  </a:lnTo>
                  <a:lnTo>
                    <a:pt x="100" y="3459"/>
                  </a:lnTo>
                  <a:lnTo>
                    <a:pt x="96" y="3444"/>
                  </a:lnTo>
                  <a:lnTo>
                    <a:pt x="96" y="3440"/>
                  </a:lnTo>
                  <a:lnTo>
                    <a:pt x="95" y="3432"/>
                  </a:lnTo>
                  <a:lnTo>
                    <a:pt x="102" y="3399"/>
                  </a:lnTo>
                  <a:lnTo>
                    <a:pt x="153" y="3357"/>
                  </a:lnTo>
                  <a:lnTo>
                    <a:pt x="161" y="3354"/>
                  </a:lnTo>
                  <a:lnTo>
                    <a:pt x="216" y="3354"/>
                  </a:lnTo>
                  <a:lnTo>
                    <a:pt x="225" y="3354"/>
                  </a:lnTo>
                  <a:lnTo>
                    <a:pt x="234" y="3355"/>
                  </a:lnTo>
                  <a:lnTo>
                    <a:pt x="249" y="3343"/>
                  </a:lnTo>
                  <a:lnTo>
                    <a:pt x="260" y="3324"/>
                  </a:lnTo>
                  <a:lnTo>
                    <a:pt x="274" y="3298"/>
                  </a:lnTo>
                  <a:lnTo>
                    <a:pt x="298" y="3261"/>
                  </a:lnTo>
                  <a:lnTo>
                    <a:pt x="316" y="3239"/>
                  </a:lnTo>
                  <a:lnTo>
                    <a:pt x="331" y="3223"/>
                  </a:lnTo>
                  <a:lnTo>
                    <a:pt x="338" y="3215"/>
                  </a:lnTo>
                  <a:lnTo>
                    <a:pt x="346" y="3205"/>
                  </a:lnTo>
                  <a:lnTo>
                    <a:pt x="349" y="3186"/>
                  </a:lnTo>
                  <a:lnTo>
                    <a:pt x="355" y="3176"/>
                  </a:lnTo>
                  <a:lnTo>
                    <a:pt x="371" y="3160"/>
                  </a:lnTo>
                  <a:lnTo>
                    <a:pt x="399" y="3133"/>
                  </a:lnTo>
                  <a:lnTo>
                    <a:pt x="396" y="3124"/>
                  </a:lnTo>
                  <a:lnTo>
                    <a:pt x="402" y="3096"/>
                  </a:lnTo>
                  <a:lnTo>
                    <a:pt x="388" y="3089"/>
                  </a:lnTo>
                  <a:lnTo>
                    <a:pt x="380" y="3079"/>
                  </a:lnTo>
                  <a:lnTo>
                    <a:pt x="387" y="3065"/>
                  </a:lnTo>
                  <a:lnTo>
                    <a:pt x="406" y="3056"/>
                  </a:lnTo>
                  <a:lnTo>
                    <a:pt x="405" y="3048"/>
                  </a:lnTo>
                  <a:lnTo>
                    <a:pt x="393" y="3029"/>
                  </a:lnTo>
                  <a:lnTo>
                    <a:pt x="403" y="2991"/>
                  </a:lnTo>
                  <a:lnTo>
                    <a:pt x="405" y="2991"/>
                  </a:lnTo>
                  <a:lnTo>
                    <a:pt x="413" y="2986"/>
                  </a:lnTo>
                  <a:lnTo>
                    <a:pt x="418" y="2986"/>
                  </a:lnTo>
                  <a:lnTo>
                    <a:pt x="424" y="2995"/>
                  </a:lnTo>
                  <a:lnTo>
                    <a:pt x="437" y="2999"/>
                  </a:lnTo>
                  <a:lnTo>
                    <a:pt x="445" y="2995"/>
                  </a:lnTo>
                  <a:lnTo>
                    <a:pt x="443" y="2962"/>
                  </a:lnTo>
                  <a:lnTo>
                    <a:pt x="440" y="2950"/>
                  </a:lnTo>
                  <a:lnTo>
                    <a:pt x="445" y="2942"/>
                  </a:lnTo>
                  <a:lnTo>
                    <a:pt x="452" y="2938"/>
                  </a:lnTo>
                  <a:lnTo>
                    <a:pt x="473" y="2935"/>
                  </a:lnTo>
                  <a:lnTo>
                    <a:pt x="510" y="2922"/>
                  </a:lnTo>
                  <a:lnTo>
                    <a:pt x="517" y="2919"/>
                  </a:lnTo>
                  <a:lnTo>
                    <a:pt x="530" y="2871"/>
                  </a:lnTo>
                  <a:lnTo>
                    <a:pt x="531" y="2849"/>
                  </a:lnTo>
                  <a:lnTo>
                    <a:pt x="548" y="2770"/>
                  </a:lnTo>
                  <a:lnTo>
                    <a:pt x="547" y="2759"/>
                  </a:lnTo>
                  <a:lnTo>
                    <a:pt x="553" y="2741"/>
                  </a:lnTo>
                  <a:lnTo>
                    <a:pt x="552" y="2729"/>
                  </a:lnTo>
                  <a:lnTo>
                    <a:pt x="547" y="2722"/>
                  </a:lnTo>
                  <a:lnTo>
                    <a:pt x="540" y="2714"/>
                  </a:lnTo>
                  <a:lnTo>
                    <a:pt x="496" y="2696"/>
                  </a:lnTo>
                  <a:lnTo>
                    <a:pt x="476" y="2681"/>
                  </a:lnTo>
                  <a:lnTo>
                    <a:pt x="474" y="2672"/>
                  </a:lnTo>
                  <a:lnTo>
                    <a:pt x="492" y="2655"/>
                  </a:lnTo>
                  <a:lnTo>
                    <a:pt x="492" y="2639"/>
                  </a:lnTo>
                  <a:lnTo>
                    <a:pt x="484" y="2625"/>
                  </a:lnTo>
                  <a:lnTo>
                    <a:pt x="478" y="2625"/>
                  </a:lnTo>
                  <a:lnTo>
                    <a:pt x="466" y="2635"/>
                  </a:lnTo>
                  <a:lnTo>
                    <a:pt x="452" y="2639"/>
                  </a:lnTo>
                  <a:lnTo>
                    <a:pt x="420" y="2650"/>
                  </a:lnTo>
                  <a:lnTo>
                    <a:pt x="388" y="2650"/>
                  </a:lnTo>
                  <a:lnTo>
                    <a:pt x="377" y="2643"/>
                  </a:lnTo>
                  <a:lnTo>
                    <a:pt x="377" y="2635"/>
                  </a:lnTo>
                  <a:lnTo>
                    <a:pt x="390" y="2606"/>
                  </a:lnTo>
                  <a:lnTo>
                    <a:pt x="391" y="2601"/>
                  </a:lnTo>
                  <a:lnTo>
                    <a:pt x="387" y="2589"/>
                  </a:lnTo>
                  <a:lnTo>
                    <a:pt x="391" y="2542"/>
                  </a:lnTo>
                  <a:lnTo>
                    <a:pt x="390" y="2535"/>
                  </a:lnTo>
                  <a:lnTo>
                    <a:pt x="381" y="2523"/>
                  </a:lnTo>
                  <a:lnTo>
                    <a:pt x="381" y="2512"/>
                  </a:lnTo>
                  <a:lnTo>
                    <a:pt x="384" y="2490"/>
                  </a:lnTo>
                  <a:lnTo>
                    <a:pt x="384" y="2482"/>
                  </a:lnTo>
                  <a:lnTo>
                    <a:pt x="343" y="2481"/>
                  </a:lnTo>
                  <a:lnTo>
                    <a:pt x="330" y="2468"/>
                  </a:lnTo>
                  <a:lnTo>
                    <a:pt x="332" y="2445"/>
                  </a:lnTo>
                  <a:lnTo>
                    <a:pt x="331" y="2428"/>
                  </a:lnTo>
                  <a:lnTo>
                    <a:pt x="337" y="2416"/>
                  </a:lnTo>
                  <a:lnTo>
                    <a:pt x="337" y="2407"/>
                  </a:lnTo>
                  <a:lnTo>
                    <a:pt x="332" y="2402"/>
                  </a:lnTo>
                  <a:lnTo>
                    <a:pt x="331" y="2399"/>
                  </a:lnTo>
                  <a:lnTo>
                    <a:pt x="328" y="2397"/>
                  </a:lnTo>
                  <a:lnTo>
                    <a:pt x="330" y="2389"/>
                  </a:lnTo>
                  <a:lnTo>
                    <a:pt x="356" y="2369"/>
                  </a:lnTo>
                  <a:lnTo>
                    <a:pt x="388" y="2336"/>
                  </a:lnTo>
                  <a:lnTo>
                    <a:pt x="391" y="2323"/>
                  </a:lnTo>
                  <a:lnTo>
                    <a:pt x="388" y="2286"/>
                  </a:lnTo>
                  <a:lnTo>
                    <a:pt x="390" y="2277"/>
                  </a:lnTo>
                  <a:lnTo>
                    <a:pt x="391" y="2276"/>
                  </a:lnTo>
                  <a:lnTo>
                    <a:pt x="398" y="2242"/>
                  </a:lnTo>
                  <a:lnTo>
                    <a:pt x="410" y="2190"/>
                  </a:lnTo>
                  <a:lnTo>
                    <a:pt x="410" y="2178"/>
                  </a:lnTo>
                  <a:lnTo>
                    <a:pt x="406" y="2166"/>
                  </a:lnTo>
                  <a:lnTo>
                    <a:pt x="395" y="2161"/>
                  </a:lnTo>
                  <a:lnTo>
                    <a:pt x="390" y="2152"/>
                  </a:lnTo>
                  <a:lnTo>
                    <a:pt x="385" y="2119"/>
                  </a:lnTo>
                  <a:lnTo>
                    <a:pt x="376" y="2112"/>
                  </a:lnTo>
                  <a:lnTo>
                    <a:pt x="366" y="2113"/>
                  </a:lnTo>
                  <a:lnTo>
                    <a:pt x="356" y="2113"/>
                  </a:lnTo>
                  <a:lnTo>
                    <a:pt x="351" y="2113"/>
                  </a:lnTo>
                  <a:lnTo>
                    <a:pt x="342" y="2115"/>
                  </a:lnTo>
                  <a:lnTo>
                    <a:pt x="320" y="2123"/>
                  </a:lnTo>
                  <a:lnTo>
                    <a:pt x="302" y="2123"/>
                  </a:lnTo>
                  <a:lnTo>
                    <a:pt x="287" y="2119"/>
                  </a:lnTo>
                  <a:lnTo>
                    <a:pt x="281" y="2115"/>
                  </a:lnTo>
                  <a:lnTo>
                    <a:pt x="276" y="2100"/>
                  </a:lnTo>
                  <a:lnTo>
                    <a:pt x="268" y="2052"/>
                  </a:lnTo>
                  <a:lnTo>
                    <a:pt x="271" y="2048"/>
                  </a:lnTo>
                  <a:lnTo>
                    <a:pt x="273" y="2048"/>
                  </a:lnTo>
                  <a:lnTo>
                    <a:pt x="288" y="2043"/>
                  </a:lnTo>
                  <a:lnTo>
                    <a:pt x="292" y="2040"/>
                  </a:lnTo>
                  <a:lnTo>
                    <a:pt x="288" y="2011"/>
                  </a:lnTo>
                  <a:lnTo>
                    <a:pt x="271" y="1984"/>
                  </a:lnTo>
                  <a:lnTo>
                    <a:pt x="271" y="1975"/>
                  </a:lnTo>
                  <a:lnTo>
                    <a:pt x="278" y="1966"/>
                  </a:lnTo>
                  <a:lnTo>
                    <a:pt x="299" y="1953"/>
                  </a:lnTo>
                  <a:lnTo>
                    <a:pt x="306" y="1953"/>
                  </a:lnTo>
                  <a:lnTo>
                    <a:pt x="316" y="1950"/>
                  </a:lnTo>
                  <a:lnTo>
                    <a:pt x="330" y="1938"/>
                  </a:lnTo>
                  <a:lnTo>
                    <a:pt x="370" y="1921"/>
                  </a:lnTo>
                  <a:lnTo>
                    <a:pt x="382" y="1921"/>
                  </a:lnTo>
                  <a:lnTo>
                    <a:pt x="410" y="1936"/>
                  </a:lnTo>
                  <a:lnTo>
                    <a:pt x="423" y="1936"/>
                  </a:lnTo>
                  <a:lnTo>
                    <a:pt x="445" y="1920"/>
                  </a:lnTo>
                  <a:lnTo>
                    <a:pt x="451" y="1912"/>
                  </a:lnTo>
                  <a:lnTo>
                    <a:pt x="455" y="1894"/>
                  </a:lnTo>
                  <a:lnTo>
                    <a:pt x="468" y="1864"/>
                  </a:lnTo>
                  <a:lnTo>
                    <a:pt x="473" y="1856"/>
                  </a:lnTo>
                  <a:lnTo>
                    <a:pt x="471" y="1850"/>
                  </a:lnTo>
                  <a:lnTo>
                    <a:pt x="437" y="1796"/>
                  </a:lnTo>
                  <a:lnTo>
                    <a:pt x="428" y="1771"/>
                  </a:lnTo>
                  <a:lnTo>
                    <a:pt x="417" y="1762"/>
                  </a:lnTo>
                  <a:lnTo>
                    <a:pt x="426" y="1744"/>
                  </a:lnTo>
                  <a:lnTo>
                    <a:pt x="424" y="1732"/>
                  </a:lnTo>
                  <a:lnTo>
                    <a:pt x="416" y="1715"/>
                  </a:lnTo>
                  <a:lnTo>
                    <a:pt x="421" y="1704"/>
                  </a:lnTo>
                  <a:lnTo>
                    <a:pt x="428" y="1702"/>
                  </a:lnTo>
                  <a:lnTo>
                    <a:pt x="432" y="1696"/>
                  </a:lnTo>
                  <a:lnTo>
                    <a:pt x="441" y="1700"/>
                  </a:lnTo>
                  <a:lnTo>
                    <a:pt x="465" y="1690"/>
                  </a:lnTo>
                  <a:lnTo>
                    <a:pt x="477" y="1680"/>
                  </a:lnTo>
                  <a:lnTo>
                    <a:pt x="492" y="1689"/>
                  </a:lnTo>
                  <a:lnTo>
                    <a:pt x="520" y="1677"/>
                  </a:lnTo>
                  <a:lnTo>
                    <a:pt x="527" y="1663"/>
                  </a:lnTo>
                  <a:lnTo>
                    <a:pt x="527" y="1653"/>
                  </a:lnTo>
                  <a:lnTo>
                    <a:pt x="522" y="1643"/>
                  </a:lnTo>
                  <a:lnTo>
                    <a:pt x="528" y="1610"/>
                  </a:lnTo>
                  <a:lnTo>
                    <a:pt x="547" y="1601"/>
                  </a:lnTo>
                  <a:lnTo>
                    <a:pt x="548" y="1600"/>
                  </a:lnTo>
                  <a:lnTo>
                    <a:pt x="549" y="1596"/>
                  </a:lnTo>
                  <a:lnTo>
                    <a:pt x="553" y="1586"/>
                  </a:lnTo>
                  <a:lnTo>
                    <a:pt x="540" y="1572"/>
                  </a:lnTo>
                  <a:lnTo>
                    <a:pt x="541" y="1564"/>
                  </a:lnTo>
                  <a:lnTo>
                    <a:pt x="534" y="1557"/>
                  </a:lnTo>
                  <a:lnTo>
                    <a:pt x="519" y="1552"/>
                  </a:lnTo>
                  <a:lnTo>
                    <a:pt x="510" y="1539"/>
                  </a:lnTo>
                  <a:lnTo>
                    <a:pt x="508" y="1515"/>
                  </a:lnTo>
                  <a:lnTo>
                    <a:pt x="516" y="1489"/>
                  </a:lnTo>
                  <a:lnTo>
                    <a:pt x="516" y="1479"/>
                  </a:lnTo>
                  <a:lnTo>
                    <a:pt x="508" y="1460"/>
                  </a:lnTo>
                  <a:lnTo>
                    <a:pt x="508" y="1459"/>
                  </a:lnTo>
                  <a:lnTo>
                    <a:pt x="508" y="1456"/>
                  </a:lnTo>
                  <a:lnTo>
                    <a:pt x="506" y="1449"/>
                  </a:lnTo>
                  <a:lnTo>
                    <a:pt x="508" y="1434"/>
                  </a:lnTo>
                  <a:lnTo>
                    <a:pt x="499" y="1422"/>
                  </a:lnTo>
                  <a:lnTo>
                    <a:pt x="491" y="1419"/>
                  </a:lnTo>
                  <a:lnTo>
                    <a:pt x="487" y="1410"/>
                  </a:lnTo>
                  <a:lnTo>
                    <a:pt x="485" y="1399"/>
                  </a:lnTo>
                  <a:lnTo>
                    <a:pt x="488" y="1382"/>
                  </a:lnTo>
                  <a:lnTo>
                    <a:pt x="477" y="1352"/>
                  </a:lnTo>
                  <a:lnTo>
                    <a:pt x="476" y="1339"/>
                  </a:lnTo>
                  <a:lnTo>
                    <a:pt x="468" y="1322"/>
                  </a:lnTo>
                  <a:lnTo>
                    <a:pt x="463" y="1275"/>
                  </a:lnTo>
                  <a:lnTo>
                    <a:pt x="467" y="1266"/>
                  </a:lnTo>
                  <a:lnTo>
                    <a:pt x="470" y="1262"/>
                  </a:lnTo>
                  <a:lnTo>
                    <a:pt x="478" y="1266"/>
                  </a:lnTo>
                  <a:lnTo>
                    <a:pt x="484" y="1258"/>
                  </a:lnTo>
                  <a:lnTo>
                    <a:pt x="491" y="1228"/>
                  </a:lnTo>
                  <a:lnTo>
                    <a:pt x="474" y="1224"/>
                  </a:lnTo>
                  <a:lnTo>
                    <a:pt x="471" y="1213"/>
                  </a:lnTo>
                  <a:lnTo>
                    <a:pt x="471" y="1201"/>
                  </a:lnTo>
                  <a:lnTo>
                    <a:pt x="478" y="1179"/>
                  </a:lnTo>
                  <a:lnTo>
                    <a:pt x="477" y="1149"/>
                  </a:lnTo>
                  <a:lnTo>
                    <a:pt x="484" y="1137"/>
                  </a:lnTo>
                  <a:lnTo>
                    <a:pt x="501" y="1138"/>
                  </a:lnTo>
                  <a:lnTo>
                    <a:pt x="517" y="1137"/>
                  </a:lnTo>
                  <a:lnTo>
                    <a:pt x="519" y="1129"/>
                  </a:lnTo>
                  <a:lnTo>
                    <a:pt x="522" y="1120"/>
                  </a:lnTo>
                  <a:lnTo>
                    <a:pt x="520" y="1111"/>
                  </a:lnTo>
                  <a:lnTo>
                    <a:pt x="530" y="1105"/>
                  </a:lnTo>
                  <a:lnTo>
                    <a:pt x="530" y="1101"/>
                  </a:lnTo>
                  <a:lnTo>
                    <a:pt x="523" y="1096"/>
                  </a:lnTo>
                  <a:lnTo>
                    <a:pt x="510" y="1086"/>
                  </a:lnTo>
                  <a:lnTo>
                    <a:pt x="510" y="1075"/>
                  </a:lnTo>
                  <a:lnTo>
                    <a:pt x="512" y="1071"/>
                  </a:lnTo>
                  <a:lnTo>
                    <a:pt x="519" y="1074"/>
                  </a:lnTo>
                  <a:lnTo>
                    <a:pt x="526" y="1071"/>
                  </a:lnTo>
                  <a:lnTo>
                    <a:pt x="520" y="1066"/>
                  </a:lnTo>
                  <a:lnTo>
                    <a:pt x="519" y="1057"/>
                  </a:lnTo>
                  <a:lnTo>
                    <a:pt x="523" y="1030"/>
                  </a:lnTo>
                  <a:lnTo>
                    <a:pt x="530" y="1013"/>
                  </a:lnTo>
                  <a:lnTo>
                    <a:pt x="541" y="1004"/>
                  </a:lnTo>
                  <a:lnTo>
                    <a:pt x="544" y="977"/>
                  </a:lnTo>
                  <a:lnTo>
                    <a:pt x="516" y="950"/>
                  </a:lnTo>
                  <a:lnTo>
                    <a:pt x="494" y="943"/>
                  </a:lnTo>
                  <a:lnTo>
                    <a:pt x="488" y="929"/>
                  </a:lnTo>
                  <a:lnTo>
                    <a:pt x="481" y="920"/>
                  </a:lnTo>
                  <a:lnTo>
                    <a:pt x="477" y="907"/>
                  </a:lnTo>
                  <a:lnTo>
                    <a:pt x="478" y="879"/>
                  </a:lnTo>
                  <a:lnTo>
                    <a:pt x="495" y="858"/>
                  </a:lnTo>
                  <a:lnTo>
                    <a:pt x="508" y="856"/>
                  </a:lnTo>
                  <a:lnTo>
                    <a:pt x="510" y="826"/>
                  </a:lnTo>
                  <a:lnTo>
                    <a:pt x="515" y="813"/>
                  </a:lnTo>
                  <a:lnTo>
                    <a:pt x="526" y="794"/>
                  </a:lnTo>
                  <a:lnTo>
                    <a:pt x="545" y="771"/>
                  </a:lnTo>
                  <a:lnTo>
                    <a:pt x="549" y="763"/>
                  </a:lnTo>
                  <a:lnTo>
                    <a:pt x="552" y="756"/>
                  </a:lnTo>
                  <a:lnTo>
                    <a:pt x="553" y="752"/>
                  </a:lnTo>
                  <a:lnTo>
                    <a:pt x="551" y="750"/>
                  </a:lnTo>
                  <a:lnTo>
                    <a:pt x="549" y="741"/>
                  </a:lnTo>
                  <a:lnTo>
                    <a:pt x="548" y="738"/>
                  </a:lnTo>
                  <a:lnTo>
                    <a:pt x="549" y="734"/>
                  </a:lnTo>
                  <a:lnTo>
                    <a:pt x="555" y="726"/>
                  </a:lnTo>
                  <a:lnTo>
                    <a:pt x="562" y="719"/>
                  </a:lnTo>
                  <a:lnTo>
                    <a:pt x="562" y="711"/>
                  </a:lnTo>
                  <a:lnTo>
                    <a:pt x="565" y="707"/>
                  </a:lnTo>
                  <a:lnTo>
                    <a:pt x="566" y="699"/>
                  </a:lnTo>
                  <a:lnTo>
                    <a:pt x="569" y="696"/>
                  </a:lnTo>
                  <a:lnTo>
                    <a:pt x="569" y="691"/>
                  </a:lnTo>
                  <a:lnTo>
                    <a:pt x="573" y="688"/>
                  </a:lnTo>
                  <a:lnTo>
                    <a:pt x="581" y="684"/>
                  </a:lnTo>
                  <a:lnTo>
                    <a:pt x="583" y="684"/>
                  </a:lnTo>
                  <a:lnTo>
                    <a:pt x="583" y="669"/>
                  </a:lnTo>
                  <a:lnTo>
                    <a:pt x="584" y="661"/>
                  </a:lnTo>
                  <a:lnTo>
                    <a:pt x="584" y="656"/>
                  </a:lnTo>
                  <a:lnTo>
                    <a:pt x="581" y="652"/>
                  </a:lnTo>
                  <a:lnTo>
                    <a:pt x="583" y="648"/>
                  </a:lnTo>
                  <a:lnTo>
                    <a:pt x="581" y="644"/>
                  </a:lnTo>
                  <a:lnTo>
                    <a:pt x="583" y="640"/>
                  </a:lnTo>
                  <a:lnTo>
                    <a:pt x="583" y="636"/>
                  </a:lnTo>
                  <a:lnTo>
                    <a:pt x="586" y="634"/>
                  </a:lnTo>
                  <a:lnTo>
                    <a:pt x="594" y="626"/>
                  </a:lnTo>
                  <a:lnTo>
                    <a:pt x="595" y="624"/>
                  </a:lnTo>
                  <a:lnTo>
                    <a:pt x="595" y="618"/>
                  </a:lnTo>
                  <a:lnTo>
                    <a:pt x="597" y="614"/>
                  </a:lnTo>
                  <a:lnTo>
                    <a:pt x="612" y="602"/>
                  </a:lnTo>
                  <a:lnTo>
                    <a:pt x="612" y="599"/>
                  </a:lnTo>
                  <a:lnTo>
                    <a:pt x="611" y="598"/>
                  </a:lnTo>
                  <a:lnTo>
                    <a:pt x="602" y="595"/>
                  </a:lnTo>
                  <a:lnTo>
                    <a:pt x="601" y="595"/>
                  </a:lnTo>
                  <a:lnTo>
                    <a:pt x="600" y="585"/>
                  </a:lnTo>
                  <a:lnTo>
                    <a:pt x="594" y="581"/>
                  </a:lnTo>
                  <a:lnTo>
                    <a:pt x="592" y="577"/>
                  </a:lnTo>
                  <a:lnTo>
                    <a:pt x="594" y="576"/>
                  </a:lnTo>
                  <a:lnTo>
                    <a:pt x="605" y="572"/>
                  </a:lnTo>
                  <a:lnTo>
                    <a:pt x="606" y="565"/>
                  </a:lnTo>
                  <a:lnTo>
                    <a:pt x="613" y="564"/>
                  </a:lnTo>
                  <a:lnTo>
                    <a:pt x="613" y="554"/>
                  </a:lnTo>
                  <a:lnTo>
                    <a:pt x="615" y="550"/>
                  </a:lnTo>
                  <a:lnTo>
                    <a:pt x="625" y="549"/>
                  </a:lnTo>
                  <a:lnTo>
                    <a:pt x="626" y="543"/>
                  </a:lnTo>
                  <a:lnTo>
                    <a:pt x="625" y="540"/>
                  </a:lnTo>
                  <a:lnTo>
                    <a:pt x="626" y="532"/>
                  </a:lnTo>
                  <a:lnTo>
                    <a:pt x="625" y="524"/>
                  </a:lnTo>
                  <a:lnTo>
                    <a:pt x="626" y="520"/>
                  </a:lnTo>
                  <a:lnTo>
                    <a:pt x="633" y="516"/>
                  </a:lnTo>
                  <a:lnTo>
                    <a:pt x="633" y="514"/>
                  </a:lnTo>
                  <a:lnTo>
                    <a:pt x="637" y="514"/>
                  </a:lnTo>
                  <a:lnTo>
                    <a:pt x="638" y="510"/>
                  </a:lnTo>
                  <a:lnTo>
                    <a:pt x="645" y="510"/>
                  </a:lnTo>
                  <a:lnTo>
                    <a:pt x="647" y="506"/>
                  </a:lnTo>
                  <a:lnTo>
                    <a:pt x="662" y="497"/>
                  </a:lnTo>
                  <a:lnTo>
                    <a:pt x="666" y="493"/>
                  </a:lnTo>
                  <a:lnTo>
                    <a:pt x="672" y="487"/>
                  </a:lnTo>
                  <a:lnTo>
                    <a:pt x="675" y="487"/>
                  </a:lnTo>
                  <a:lnTo>
                    <a:pt x="673" y="486"/>
                  </a:lnTo>
                  <a:lnTo>
                    <a:pt x="679" y="483"/>
                  </a:lnTo>
                  <a:lnTo>
                    <a:pt x="680" y="483"/>
                  </a:lnTo>
                  <a:lnTo>
                    <a:pt x="684" y="479"/>
                  </a:lnTo>
                  <a:lnTo>
                    <a:pt x="687" y="475"/>
                  </a:lnTo>
                  <a:lnTo>
                    <a:pt x="686" y="472"/>
                  </a:lnTo>
                  <a:lnTo>
                    <a:pt x="681" y="465"/>
                  </a:lnTo>
                  <a:lnTo>
                    <a:pt x="683" y="461"/>
                  </a:lnTo>
                  <a:lnTo>
                    <a:pt x="691" y="449"/>
                  </a:lnTo>
                  <a:lnTo>
                    <a:pt x="692" y="438"/>
                  </a:lnTo>
                  <a:lnTo>
                    <a:pt x="700" y="427"/>
                  </a:lnTo>
                  <a:lnTo>
                    <a:pt x="700" y="423"/>
                  </a:lnTo>
                  <a:lnTo>
                    <a:pt x="704" y="412"/>
                  </a:lnTo>
                  <a:lnTo>
                    <a:pt x="706" y="408"/>
                  </a:lnTo>
                  <a:lnTo>
                    <a:pt x="712" y="399"/>
                  </a:lnTo>
                  <a:lnTo>
                    <a:pt x="717" y="393"/>
                  </a:lnTo>
                  <a:lnTo>
                    <a:pt x="727" y="388"/>
                  </a:lnTo>
                  <a:lnTo>
                    <a:pt x="731" y="382"/>
                  </a:lnTo>
                  <a:lnTo>
                    <a:pt x="736" y="378"/>
                  </a:lnTo>
                  <a:lnTo>
                    <a:pt x="738" y="375"/>
                  </a:lnTo>
                  <a:lnTo>
                    <a:pt x="741" y="362"/>
                  </a:lnTo>
                  <a:lnTo>
                    <a:pt x="737" y="356"/>
                  </a:lnTo>
                  <a:lnTo>
                    <a:pt x="741" y="348"/>
                  </a:lnTo>
                  <a:lnTo>
                    <a:pt x="742" y="341"/>
                  </a:lnTo>
                  <a:lnTo>
                    <a:pt x="741" y="333"/>
                  </a:lnTo>
                  <a:lnTo>
                    <a:pt x="742" y="332"/>
                  </a:lnTo>
                  <a:lnTo>
                    <a:pt x="747" y="321"/>
                  </a:lnTo>
                  <a:lnTo>
                    <a:pt x="747" y="315"/>
                  </a:lnTo>
                  <a:lnTo>
                    <a:pt x="748" y="307"/>
                  </a:lnTo>
                  <a:lnTo>
                    <a:pt x="752" y="303"/>
                  </a:lnTo>
                  <a:lnTo>
                    <a:pt x="752" y="295"/>
                  </a:lnTo>
                  <a:lnTo>
                    <a:pt x="761" y="288"/>
                  </a:lnTo>
                  <a:lnTo>
                    <a:pt x="759" y="283"/>
                  </a:lnTo>
                  <a:lnTo>
                    <a:pt x="763" y="276"/>
                  </a:lnTo>
                  <a:lnTo>
                    <a:pt x="767" y="274"/>
                  </a:lnTo>
                  <a:lnTo>
                    <a:pt x="769" y="274"/>
                  </a:lnTo>
                  <a:lnTo>
                    <a:pt x="769" y="270"/>
                  </a:lnTo>
                  <a:lnTo>
                    <a:pt x="767" y="266"/>
                  </a:lnTo>
                  <a:lnTo>
                    <a:pt x="772" y="258"/>
                  </a:lnTo>
                  <a:lnTo>
                    <a:pt x="780" y="251"/>
                  </a:lnTo>
                  <a:lnTo>
                    <a:pt x="780" y="254"/>
                  </a:lnTo>
                  <a:lnTo>
                    <a:pt x="780" y="250"/>
                  </a:lnTo>
                  <a:lnTo>
                    <a:pt x="781" y="247"/>
                  </a:lnTo>
                  <a:lnTo>
                    <a:pt x="786" y="247"/>
                  </a:lnTo>
                  <a:lnTo>
                    <a:pt x="793" y="247"/>
                  </a:lnTo>
                  <a:lnTo>
                    <a:pt x="795" y="247"/>
                  </a:lnTo>
                  <a:lnTo>
                    <a:pt x="801" y="247"/>
                  </a:lnTo>
                  <a:lnTo>
                    <a:pt x="809" y="242"/>
                  </a:lnTo>
                  <a:lnTo>
                    <a:pt x="812" y="228"/>
                  </a:lnTo>
                  <a:lnTo>
                    <a:pt x="818" y="224"/>
                  </a:lnTo>
                  <a:lnTo>
                    <a:pt x="826" y="221"/>
                  </a:lnTo>
                  <a:lnTo>
                    <a:pt x="827" y="217"/>
                  </a:lnTo>
                  <a:lnTo>
                    <a:pt x="827" y="212"/>
                  </a:lnTo>
                  <a:lnTo>
                    <a:pt x="825" y="207"/>
                  </a:lnTo>
                  <a:lnTo>
                    <a:pt x="825" y="201"/>
                  </a:lnTo>
                  <a:lnTo>
                    <a:pt x="833" y="195"/>
                  </a:lnTo>
                  <a:lnTo>
                    <a:pt x="839" y="189"/>
                  </a:lnTo>
                  <a:lnTo>
                    <a:pt x="848" y="184"/>
                  </a:lnTo>
                  <a:lnTo>
                    <a:pt x="851" y="175"/>
                  </a:lnTo>
                  <a:lnTo>
                    <a:pt x="855" y="172"/>
                  </a:lnTo>
                  <a:lnTo>
                    <a:pt x="857" y="171"/>
                  </a:lnTo>
                  <a:lnTo>
                    <a:pt x="860" y="162"/>
                  </a:lnTo>
                  <a:lnTo>
                    <a:pt x="868" y="160"/>
                  </a:lnTo>
                  <a:lnTo>
                    <a:pt x="869" y="157"/>
                  </a:lnTo>
                  <a:lnTo>
                    <a:pt x="866" y="152"/>
                  </a:lnTo>
                  <a:lnTo>
                    <a:pt x="861" y="146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58" y="120"/>
                  </a:lnTo>
                  <a:lnTo>
                    <a:pt x="858" y="113"/>
                  </a:lnTo>
                  <a:lnTo>
                    <a:pt x="860" y="112"/>
                  </a:lnTo>
                  <a:lnTo>
                    <a:pt x="868" y="112"/>
                  </a:lnTo>
                  <a:lnTo>
                    <a:pt x="876" y="105"/>
                  </a:lnTo>
                  <a:lnTo>
                    <a:pt x="877" y="101"/>
                  </a:lnTo>
                  <a:lnTo>
                    <a:pt x="885" y="90"/>
                  </a:lnTo>
                  <a:lnTo>
                    <a:pt x="886" y="79"/>
                  </a:lnTo>
                  <a:lnTo>
                    <a:pt x="887" y="77"/>
                  </a:lnTo>
                  <a:lnTo>
                    <a:pt x="893" y="73"/>
                  </a:lnTo>
                  <a:lnTo>
                    <a:pt x="901" y="75"/>
                  </a:lnTo>
                  <a:lnTo>
                    <a:pt x="912" y="71"/>
                  </a:lnTo>
                  <a:lnTo>
                    <a:pt x="919" y="56"/>
                  </a:lnTo>
                  <a:lnTo>
                    <a:pt x="925" y="48"/>
                  </a:lnTo>
                  <a:lnTo>
                    <a:pt x="930" y="46"/>
                  </a:lnTo>
                  <a:lnTo>
                    <a:pt x="944" y="42"/>
                  </a:lnTo>
                  <a:lnTo>
                    <a:pt x="952" y="34"/>
                  </a:lnTo>
                  <a:lnTo>
                    <a:pt x="957" y="30"/>
                  </a:lnTo>
                  <a:lnTo>
                    <a:pt x="961" y="30"/>
                  </a:lnTo>
                  <a:lnTo>
                    <a:pt x="968" y="34"/>
                  </a:lnTo>
                  <a:lnTo>
                    <a:pt x="974" y="30"/>
                  </a:lnTo>
                  <a:lnTo>
                    <a:pt x="982" y="29"/>
                  </a:lnTo>
                  <a:lnTo>
                    <a:pt x="991" y="33"/>
                  </a:lnTo>
                  <a:lnTo>
                    <a:pt x="994" y="34"/>
                  </a:lnTo>
                  <a:lnTo>
                    <a:pt x="1004" y="34"/>
                  </a:lnTo>
                  <a:lnTo>
                    <a:pt x="1012" y="37"/>
                  </a:lnTo>
                  <a:lnTo>
                    <a:pt x="1018" y="34"/>
                  </a:lnTo>
                  <a:lnTo>
                    <a:pt x="1021" y="34"/>
                  </a:lnTo>
                  <a:lnTo>
                    <a:pt x="1027" y="34"/>
                  </a:lnTo>
                  <a:lnTo>
                    <a:pt x="1030" y="30"/>
                  </a:lnTo>
                  <a:lnTo>
                    <a:pt x="1040" y="29"/>
                  </a:lnTo>
                  <a:lnTo>
                    <a:pt x="1053" y="26"/>
                  </a:lnTo>
                  <a:lnTo>
                    <a:pt x="1061" y="30"/>
                  </a:lnTo>
                  <a:lnTo>
                    <a:pt x="1069" y="26"/>
                  </a:lnTo>
                  <a:lnTo>
                    <a:pt x="1074" y="29"/>
                  </a:lnTo>
                  <a:lnTo>
                    <a:pt x="1078" y="34"/>
                  </a:lnTo>
                  <a:lnTo>
                    <a:pt x="1083" y="37"/>
                  </a:lnTo>
                  <a:lnTo>
                    <a:pt x="1087" y="33"/>
                  </a:lnTo>
                  <a:lnTo>
                    <a:pt x="1089" y="29"/>
                  </a:lnTo>
                  <a:lnTo>
                    <a:pt x="1092" y="26"/>
                  </a:lnTo>
                  <a:lnTo>
                    <a:pt x="1093" y="15"/>
                  </a:lnTo>
                  <a:lnTo>
                    <a:pt x="1103" y="10"/>
                  </a:lnTo>
                  <a:lnTo>
                    <a:pt x="1109" y="8"/>
                  </a:lnTo>
                  <a:lnTo>
                    <a:pt x="1112" y="10"/>
                  </a:lnTo>
                  <a:lnTo>
                    <a:pt x="1125" y="6"/>
                  </a:lnTo>
                  <a:lnTo>
                    <a:pt x="1129" y="6"/>
                  </a:lnTo>
                  <a:lnTo>
                    <a:pt x="1135" y="6"/>
                  </a:lnTo>
                  <a:lnTo>
                    <a:pt x="1146" y="0"/>
                  </a:lnTo>
                  <a:lnTo>
                    <a:pt x="1156" y="8"/>
                  </a:lnTo>
                  <a:lnTo>
                    <a:pt x="1164" y="14"/>
                  </a:lnTo>
                  <a:lnTo>
                    <a:pt x="1184" y="46"/>
                  </a:lnTo>
                  <a:lnTo>
                    <a:pt x="1190" y="60"/>
                  </a:lnTo>
                  <a:lnTo>
                    <a:pt x="1197" y="70"/>
                  </a:lnTo>
                  <a:lnTo>
                    <a:pt x="1210" y="77"/>
                  </a:lnTo>
                  <a:lnTo>
                    <a:pt x="1220" y="85"/>
                  </a:lnTo>
                  <a:lnTo>
                    <a:pt x="1229" y="97"/>
                  </a:lnTo>
                  <a:lnTo>
                    <a:pt x="1234" y="108"/>
                  </a:lnTo>
                  <a:lnTo>
                    <a:pt x="1240" y="113"/>
                  </a:lnTo>
                  <a:lnTo>
                    <a:pt x="1242" y="118"/>
                  </a:lnTo>
                  <a:lnTo>
                    <a:pt x="1246" y="122"/>
                  </a:lnTo>
                  <a:lnTo>
                    <a:pt x="1263" y="134"/>
                  </a:lnTo>
                  <a:lnTo>
                    <a:pt x="1271" y="145"/>
                  </a:lnTo>
                  <a:lnTo>
                    <a:pt x="1278" y="150"/>
                  </a:lnTo>
                  <a:lnTo>
                    <a:pt x="1285" y="150"/>
                  </a:lnTo>
                  <a:lnTo>
                    <a:pt x="1303" y="149"/>
                  </a:lnTo>
                  <a:lnTo>
                    <a:pt x="1311" y="150"/>
                  </a:lnTo>
                  <a:lnTo>
                    <a:pt x="1313" y="154"/>
                  </a:lnTo>
                  <a:lnTo>
                    <a:pt x="1310" y="169"/>
                  </a:lnTo>
                  <a:lnTo>
                    <a:pt x="1310" y="172"/>
                  </a:lnTo>
                  <a:lnTo>
                    <a:pt x="1315" y="179"/>
                  </a:lnTo>
                  <a:lnTo>
                    <a:pt x="1321" y="183"/>
                  </a:lnTo>
                  <a:lnTo>
                    <a:pt x="1328" y="184"/>
                  </a:lnTo>
                  <a:lnTo>
                    <a:pt x="1352" y="184"/>
                  </a:lnTo>
                  <a:lnTo>
                    <a:pt x="1364" y="176"/>
                  </a:lnTo>
                  <a:lnTo>
                    <a:pt x="1368" y="175"/>
                  </a:lnTo>
                  <a:lnTo>
                    <a:pt x="1381" y="184"/>
                  </a:lnTo>
                  <a:lnTo>
                    <a:pt x="1385" y="187"/>
                  </a:lnTo>
                  <a:lnTo>
                    <a:pt x="1406" y="187"/>
                  </a:lnTo>
                  <a:lnTo>
                    <a:pt x="1417" y="191"/>
                  </a:lnTo>
                  <a:lnTo>
                    <a:pt x="1424" y="202"/>
                  </a:lnTo>
                  <a:lnTo>
                    <a:pt x="1436" y="216"/>
                  </a:lnTo>
                  <a:lnTo>
                    <a:pt x="1452" y="239"/>
                  </a:lnTo>
                  <a:lnTo>
                    <a:pt x="1463" y="251"/>
                  </a:lnTo>
                  <a:lnTo>
                    <a:pt x="1477" y="258"/>
                  </a:lnTo>
                  <a:lnTo>
                    <a:pt x="1483" y="262"/>
                  </a:lnTo>
                  <a:lnTo>
                    <a:pt x="1516" y="262"/>
                  </a:lnTo>
                  <a:lnTo>
                    <a:pt x="1520" y="261"/>
                  </a:lnTo>
                  <a:lnTo>
                    <a:pt x="1523" y="254"/>
                  </a:lnTo>
                  <a:lnTo>
                    <a:pt x="1538" y="250"/>
                  </a:lnTo>
                  <a:lnTo>
                    <a:pt x="1544" y="251"/>
                  </a:lnTo>
                  <a:lnTo>
                    <a:pt x="1552" y="258"/>
                  </a:lnTo>
                  <a:lnTo>
                    <a:pt x="1573" y="261"/>
                  </a:lnTo>
                  <a:lnTo>
                    <a:pt x="1594" y="278"/>
                  </a:lnTo>
                  <a:lnTo>
                    <a:pt x="1602" y="281"/>
                  </a:lnTo>
                  <a:lnTo>
                    <a:pt x="1617" y="281"/>
                  </a:lnTo>
                  <a:lnTo>
                    <a:pt x="1671" y="270"/>
                  </a:lnTo>
                  <a:lnTo>
                    <a:pt x="1677" y="270"/>
                  </a:lnTo>
                  <a:lnTo>
                    <a:pt x="1683" y="270"/>
                  </a:lnTo>
                  <a:lnTo>
                    <a:pt x="1690" y="276"/>
                  </a:lnTo>
                  <a:lnTo>
                    <a:pt x="1698" y="284"/>
                  </a:lnTo>
                  <a:lnTo>
                    <a:pt x="1706" y="288"/>
                  </a:lnTo>
                  <a:lnTo>
                    <a:pt x="1708" y="299"/>
                  </a:lnTo>
                  <a:lnTo>
                    <a:pt x="1706" y="307"/>
                  </a:lnTo>
                  <a:lnTo>
                    <a:pt x="1709" y="313"/>
                  </a:lnTo>
                  <a:lnTo>
                    <a:pt x="1713" y="315"/>
                  </a:lnTo>
                  <a:lnTo>
                    <a:pt x="1721" y="313"/>
                  </a:lnTo>
                  <a:lnTo>
                    <a:pt x="1730" y="313"/>
                  </a:lnTo>
                  <a:lnTo>
                    <a:pt x="1745" y="326"/>
                  </a:lnTo>
                  <a:lnTo>
                    <a:pt x="1748" y="329"/>
                  </a:lnTo>
                  <a:lnTo>
                    <a:pt x="1743" y="341"/>
                  </a:lnTo>
                  <a:close/>
                </a:path>
              </a:pathLst>
            </a:custGeom>
            <a:solidFill>
              <a:srgbClr val="BD81B9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78" name="Freeform 377"/>
            <p:cNvSpPr>
              <a:spLocks/>
            </p:cNvSpPr>
            <p:nvPr/>
          </p:nvSpPr>
          <p:spPr bwMode="auto">
            <a:xfrm>
              <a:off x="4131895" y="2332184"/>
              <a:ext cx="821183" cy="803425"/>
            </a:xfrm>
            <a:custGeom>
              <a:avLst/>
              <a:gdLst>
                <a:gd name="T0" fmla="*/ 4106 w 4119"/>
                <a:gd name="T1" fmla="*/ 2864 h 2977"/>
                <a:gd name="T2" fmla="*/ 4019 w 4119"/>
                <a:gd name="T3" fmla="*/ 2963 h 2977"/>
                <a:gd name="T4" fmla="*/ 3846 w 4119"/>
                <a:gd name="T5" fmla="*/ 2712 h 2977"/>
                <a:gd name="T6" fmla="*/ 3726 w 4119"/>
                <a:gd name="T7" fmla="*/ 2432 h 2977"/>
                <a:gd name="T8" fmla="*/ 3471 w 4119"/>
                <a:gd name="T9" fmla="*/ 2248 h 2977"/>
                <a:gd name="T10" fmla="*/ 3107 w 4119"/>
                <a:gd name="T11" fmla="*/ 2106 h 2977"/>
                <a:gd name="T12" fmla="*/ 2838 w 4119"/>
                <a:gd name="T13" fmla="*/ 1932 h 2977"/>
                <a:gd name="T14" fmla="*/ 2638 w 4119"/>
                <a:gd name="T15" fmla="*/ 1993 h 2977"/>
                <a:gd name="T16" fmla="*/ 2535 w 4119"/>
                <a:gd name="T17" fmla="*/ 2164 h 2977"/>
                <a:gd name="T18" fmla="*/ 2443 w 4119"/>
                <a:gd name="T19" fmla="*/ 2315 h 2977"/>
                <a:gd name="T20" fmla="*/ 2341 w 4119"/>
                <a:gd name="T21" fmla="*/ 2472 h 2977"/>
                <a:gd name="T22" fmla="*/ 2292 w 4119"/>
                <a:gd name="T23" fmla="*/ 2621 h 2977"/>
                <a:gd name="T24" fmla="*/ 2213 w 4119"/>
                <a:gd name="T25" fmla="*/ 2218 h 2977"/>
                <a:gd name="T26" fmla="*/ 1482 w 4119"/>
                <a:gd name="T27" fmla="*/ 1964 h 2977"/>
                <a:gd name="T28" fmla="*/ 1125 w 4119"/>
                <a:gd name="T29" fmla="*/ 1764 h 2977"/>
                <a:gd name="T30" fmla="*/ 686 w 4119"/>
                <a:gd name="T31" fmla="*/ 1622 h 2977"/>
                <a:gd name="T32" fmla="*/ 141 w 4119"/>
                <a:gd name="T33" fmla="*/ 1273 h 2977"/>
                <a:gd name="T34" fmla="*/ 135 w 4119"/>
                <a:gd name="T35" fmla="*/ 1210 h 2977"/>
                <a:gd name="T36" fmla="*/ 131 w 4119"/>
                <a:gd name="T37" fmla="*/ 1143 h 2977"/>
                <a:gd name="T38" fmla="*/ 120 w 4119"/>
                <a:gd name="T39" fmla="*/ 1072 h 2977"/>
                <a:gd name="T40" fmla="*/ 73 w 4119"/>
                <a:gd name="T41" fmla="*/ 1024 h 2977"/>
                <a:gd name="T42" fmla="*/ 30 w 4119"/>
                <a:gd name="T43" fmla="*/ 980 h 2977"/>
                <a:gd name="T44" fmla="*/ 10 w 4119"/>
                <a:gd name="T45" fmla="*/ 918 h 2977"/>
                <a:gd name="T46" fmla="*/ 5 w 4119"/>
                <a:gd name="T47" fmla="*/ 850 h 2977"/>
                <a:gd name="T48" fmla="*/ 18 w 4119"/>
                <a:gd name="T49" fmla="*/ 798 h 2977"/>
                <a:gd name="T50" fmla="*/ 80 w 4119"/>
                <a:gd name="T51" fmla="*/ 783 h 2977"/>
                <a:gd name="T52" fmla="*/ 146 w 4119"/>
                <a:gd name="T53" fmla="*/ 762 h 2977"/>
                <a:gd name="T54" fmla="*/ 205 w 4119"/>
                <a:gd name="T55" fmla="*/ 734 h 2977"/>
                <a:gd name="T56" fmla="*/ 266 w 4119"/>
                <a:gd name="T57" fmla="*/ 708 h 2977"/>
                <a:gd name="T58" fmla="*/ 330 w 4119"/>
                <a:gd name="T59" fmla="*/ 684 h 2977"/>
                <a:gd name="T60" fmla="*/ 394 w 4119"/>
                <a:gd name="T61" fmla="*/ 662 h 2977"/>
                <a:gd name="T62" fmla="*/ 454 w 4119"/>
                <a:gd name="T63" fmla="*/ 637 h 2977"/>
                <a:gd name="T64" fmla="*/ 520 w 4119"/>
                <a:gd name="T65" fmla="*/ 620 h 2977"/>
                <a:gd name="T66" fmla="*/ 591 w 4119"/>
                <a:gd name="T67" fmla="*/ 604 h 2977"/>
                <a:gd name="T68" fmla="*/ 660 w 4119"/>
                <a:gd name="T69" fmla="*/ 587 h 2977"/>
                <a:gd name="T70" fmla="*/ 722 w 4119"/>
                <a:gd name="T71" fmla="*/ 570 h 2977"/>
                <a:gd name="T72" fmla="*/ 789 w 4119"/>
                <a:gd name="T73" fmla="*/ 547 h 2977"/>
                <a:gd name="T74" fmla="*/ 860 w 4119"/>
                <a:gd name="T75" fmla="*/ 530 h 2977"/>
                <a:gd name="T76" fmla="*/ 921 w 4119"/>
                <a:gd name="T77" fmla="*/ 517 h 2977"/>
                <a:gd name="T78" fmla="*/ 975 w 4119"/>
                <a:gd name="T79" fmla="*/ 506 h 2977"/>
                <a:gd name="T80" fmla="*/ 1034 w 4119"/>
                <a:gd name="T81" fmla="*/ 488 h 2977"/>
                <a:gd name="T82" fmla="*/ 1093 w 4119"/>
                <a:gd name="T83" fmla="*/ 455 h 2977"/>
                <a:gd name="T84" fmla="*/ 1159 w 4119"/>
                <a:gd name="T85" fmla="*/ 419 h 2977"/>
                <a:gd name="T86" fmla="*/ 1230 w 4119"/>
                <a:gd name="T87" fmla="*/ 401 h 2977"/>
                <a:gd name="T88" fmla="*/ 1292 w 4119"/>
                <a:gd name="T89" fmla="*/ 382 h 2977"/>
                <a:gd name="T90" fmla="*/ 1355 w 4119"/>
                <a:gd name="T91" fmla="*/ 351 h 2977"/>
                <a:gd name="T92" fmla="*/ 1413 w 4119"/>
                <a:gd name="T93" fmla="*/ 329 h 2977"/>
                <a:gd name="T94" fmla="*/ 1482 w 4119"/>
                <a:gd name="T95" fmla="*/ 312 h 2977"/>
                <a:gd name="T96" fmla="*/ 1540 w 4119"/>
                <a:gd name="T97" fmla="*/ 290 h 2977"/>
                <a:gd name="T98" fmla="*/ 1608 w 4119"/>
                <a:gd name="T99" fmla="*/ 268 h 2977"/>
                <a:gd name="T100" fmla="*/ 2463 w 4119"/>
                <a:gd name="T101" fmla="*/ 22 h 2977"/>
                <a:gd name="T102" fmla="*/ 2659 w 4119"/>
                <a:gd name="T103" fmla="*/ 339 h 2977"/>
                <a:gd name="T104" fmla="*/ 2925 w 4119"/>
                <a:gd name="T105" fmla="*/ 413 h 2977"/>
                <a:gd name="T106" fmla="*/ 3354 w 4119"/>
                <a:gd name="T107" fmla="*/ 327 h 2977"/>
                <a:gd name="T108" fmla="*/ 3502 w 4119"/>
                <a:gd name="T109" fmla="*/ 707 h 2977"/>
                <a:gd name="T110" fmla="*/ 3524 w 4119"/>
                <a:gd name="T111" fmla="*/ 998 h 2977"/>
                <a:gd name="T112" fmla="*/ 3378 w 4119"/>
                <a:gd name="T113" fmla="*/ 1344 h 2977"/>
                <a:gd name="T114" fmla="*/ 3343 w 4119"/>
                <a:gd name="T115" fmla="*/ 1621 h 2977"/>
                <a:gd name="T116" fmla="*/ 3539 w 4119"/>
                <a:gd name="T117" fmla="*/ 1951 h 2977"/>
                <a:gd name="T118" fmla="*/ 3862 w 4119"/>
                <a:gd name="T119" fmla="*/ 2259 h 2977"/>
                <a:gd name="T120" fmla="*/ 3926 w 4119"/>
                <a:gd name="T121" fmla="*/ 2484 h 2977"/>
                <a:gd name="T122" fmla="*/ 4093 w 4119"/>
                <a:gd name="T123" fmla="*/ 2583 h 297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119"/>
                <a:gd name="T187" fmla="*/ 0 h 2977"/>
                <a:gd name="T188" fmla="*/ 4119 w 4119"/>
                <a:gd name="T189" fmla="*/ 2977 h 297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119" h="2977">
                  <a:moveTo>
                    <a:pt x="4115" y="2711"/>
                  </a:moveTo>
                  <a:lnTo>
                    <a:pt x="4108" y="2712"/>
                  </a:lnTo>
                  <a:lnTo>
                    <a:pt x="4101" y="2716"/>
                  </a:lnTo>
                  <a:lnTo>
                    <a:pt x="4098" y="2727"/>
                  </a:lnTo>
                  <a:lnTo>
                    <a:pt x="4094" y="2731"/>
                  </a:lnTo>
                  <a:lnTo>
                    <a:pt x="4095" y="2731"/>
                  </a:lnTo>
                  <a:lnTo>
                    <a:pt x="4098" y="2731"/>
                  </a:lnTo>
                  <a:lnTo>
                    <a:pt x="4100" y="2733"/>
                  </a:lnTo>
                  <a:lnTo>
                    <a:pt x="4097" y="2745"/>
                  </a:lnTo>
                  <a:lnTo>
                    <a:pt x="4098" y="2749"/>
                  </a:lnTo>
                  <a:lnTo>
                    <a:pt x="4101" y="2752"/>
                  </a:lnTo>
                  <a:lnTo>
                    <a:pt x="4108" y="2752"/>
                  </a:lnTo>
                  <a:lnTo>
                    <a:pt x="4112" y="2760"/>
                  </a:lnTo>
                  <a:lnTo>
                    <a:pt x="4115" y="2760"/>
                  </a:lnTo>
                  <a:lnTo>
                    <a:pt x="4118" y="2757"/>
                  </a:lnTo>
                  <a:lnTo>
                    <a:pt x="4119" y="2760"/>
                  </a:lnTo>
                  <a:lnTo>
                    <a:pt x="4115" y="2772"/>
                  </a:lnTo>
                  <a:lnTo>
                    <a:pt x="4109" y="2775"/>
                  </a:lnTo>
                  <a:lnTo>
                    <a:pt x="4114" y="2780"/>
                  </a:lnTo>
                  <a:lnTo>
                    <a:pt x="4114" y="2784"/>
                  </a:lnTo>
                  <a:lnTo>
                    <a:pt x="4109" y="2794"/>
                  </a:lnTo>
                  <a:lnTo>
                    <a:pt x="4109" y="2802"/>
                  </a:lnTo>
                  <a:lnTo>
                    <a:pt x="4112" y="2805"/>
                  </a:lnTo>
                  <a:lnTo>
                    <a:pt x="4119" y="2810"/>
                  </a:lnTo>
                  <a:lnTo>
                    <a:pt x="4119" y="2817"/>
                  </a:lnTo>
                  <a:lnTo>
                    <a:pt x="4112" y="2829"/>
                  </a:lnTo>
                  <a:lnTo>
                    <a:pt x="4111" y="2837"/>
                  </a:lnTo>
                  <a:lnTo>
                    <a:pt x="4108" y="2843"/>
                  </a:lnTo>
                  <a:lnTo>
                    <a:pt x="4106" y="2851"/>
                  </a:lnTo>
                  <a:lnTo>
                    <a:pt x="4104" y="2857"/>
                  </a:lnTo>
                  <a:lnTo>
                    <a:pt x="4104" y="2861"/>
                  </a:lnTo>
                  <a:lnTo>
                    <a:pt x="4106" y="2864"/>
                  </a:lnTo>
                  <a:lnTo>
                    <a:pt x="4109" y="2869"/>
                  </a:lnTo>
                  <a:lnTo>
                    <a:pt x="4106" y="2873"/>
                  </a:lnTo>
                  <a:lnTo>
                    <a:pt x="4098" y="2886"/>
                  </a:lnTo>
                  <a:lnTo>
                    <a:pt x="4098" y="2892"/>
                  </a:lnTo>
                  <a:lnTo>
                    <a:pt x="4101" y="2896"/>
                  </a:lnTo>
                  <a:lnTo>
                    <a:pt x="4105" y="2899"/>
                  </a:lnTo>
                  <a:lnTo>
                    <a:pt x="4105" y="2902"/>
                  </a:lnTo>
                  <a:lnTo>
                    <a:pt x="4104" y="2906"/>
                  </a:lnTo>
                  <a:lnTo>
                    <a:pt x="4098" y="2910"/>
                  </a:lnTo>
                  <a:lnTo>
                    <a:pt x="4098" y="2914"/>
                  </a:lnTo>
                  <a:lnTo>
                    <a:pt x="4105" y="2931"/>
                  </a:lnTo>
                  <a:lnTo>
                    <a:pt x="4108" y="2940"/>
                  </a:lnTo>
                  <a:lnTo>
                    <a:pt x="4112" y="2947"/>
                  </a:lnTo>
                  <a:lnTo>
                    <a:pt x="4114" y="2956"/>
                  </a:lnTo>
                  <a:lnTo>
                    <a:pt x="4112" y="2959"/>
                  </a:lnTo>
                  <a:lnTo>
                    <a:pt x="4108" y="2963"/>
                  </a:lnTo>
                  <a:lnTo>
                    <a:pt x="4104" y="2963"/>
                  </a:lnTo>
                  <a:lnTo>
                    <a:pt x="4097" y="2961"/>
                  </a:lnTo>
                  <a:lnTo>
                    <a:pt x="4094" y="2963"/>
                  </a:lnTo>
                  <a:lnTo>
                    <a:pt x="4094" y="2969"/>
                  </a:lnTo>
                  <a:lnTo>
                    <a:pt x="4097" y="2971"/>
                  </a:lnTo>
                  <a:lnTo>
                    <a:pt x="4101" y="2973"/>
                  </a:lnTo>
                  <a:lnTo>
                    <a:pt x="4095" y="2977"/>
                  </a:lnTo>
                  <a:lnTo>
                    <a:pt x="4078" y="2975"/>
                  </a:lnTo>
                  <a:lnTo>
                    <a:pt x="4070" y="2973"/>
                  </a:lnTo>
                  <a:lnTo>
                    <a:pt x="4059" y="2965"/>
                  </a:lnTo>
                  <a:lnTo>
                    <a:pt x="4054" y="2963"/>
                  </a:lnTo>
                  <a:lnTo>
                    <a:pt x="4048" y="2961"/>
                  </a:lnTo>
                  <a:lnTo>
                    <a:pt x="4041" y="2963"/>
                  </a:lnTo>
                  <a:lnTo>
                    <a:pt x="4036" y="2969"/>
                  </a:lnTo>
                  <a:lnTo>
                    <a:pt x="4031" y="2969"/>
                  </a:lnTo>
                  <a:lnTo>
                    <a:pt x="4019" y="2963"/>
                  </a:lnTo>
                  <a:lnTo>
                    <a:pt x="4009" y="2959"/>
                  </a:lnTo>
                  <a:lnTo>
                    <a:pt x="3986" y="2940"/>
                  </a:lnTo>
                  <a:lnTo>
                    <a:pt x="3984" y="2930"/>
                  </a:lnTo>
                  <a:lnTo>
                    <a:pt x="3990" y="2918"/>
                  </a:lnTo>
                  <a:lnTo>
                    <a:pt x="3990" y="2914"/>
                  </a:lnTo>
                  <a:lnTo>
                    <a:pt x="3989" y="2909"/>
                  </a:lnTo>
                  <a:lnTo>
                    <a:pt x="3981" y="2904"/>
                  </a:lnTo>
                  <a:lnTo>
                    <a:pt x="3975" y="2899"/>
                  </a:lnTo>
                  <a:lnTo>
                    <a:pt x="3970" y="2896"/>
                  </a:lnTo>
                  <a:lnTo>
                    <a:pt x="3968" y="2890"/>
                  </a:lnTo>
                  <a:lnTo>
                    <a:pt x="3962" y="2872"/>
                  </a:lnTo>
                  <a:lnTo>
                    <a:pt x="3961" y="2869"/>
                  </a:lnTo>
                  <a:lnTo>
                    <a:pt x="3958" y="2865"/>
                  </a:lnTo>
                  <a:lnTo>
                    <a:pt x="3939" y="2860"/>
                  </a:lnTo>
                  <a:lnTo>
                    <a:pt x="3934" y="2857"/>
                  </a:lnTo>
                  <a:lnTo>
                    <a:pt x="3925" y="2843"/>
                  </a:lnTo>
                  <a:lnTo>
                    <a:pt x="3922" y="2835"/>
                  </a:lnTo>
                  <a:lnTo>
                    <a:pt x="3925" y="2829"/>
                  </a:lnTo>
                  <a:lnTo>
                    <a:pt x="3926" y="2823"/>
                  </a:lnTo>
                  <a:lnTo>
                    <a:pt x="3922" y="2814"/>
                  </a:lnTo>
                  <a:lnTo>
                    <a:pt x="3918" y="2806"/>
                  </a:lnTo>
                  <a:lnTo>
                    <a:pt x="3901" y="2792"/>
                  </a:lnTo>
                  <a:lnTo>
                    <a:pt x="3898" y="2787"/>
                  </a:lnTo>
                  <a:lnTo>
                    <a:pt x="3893" y="2780"/>
                  </a:lnTo>
                  <a:lnTo>
                    <a:pt x="3891" y="2756"/>
                  </a:lnTo>
                  <a:lnTo>
                    <a:pt x="3890" y="2752"/>
                  </a:lnTo>
                  <a:lnTo>
                    <a:pt x="3884" y="2743"/>
                  </a:lnTo>
                  <a:lnTo>
                    <a:pt x="3877" y="2727"/>
                  </a:lnTo>
                  <a:lnTo>
                    <a:pt x="3872" y="2722"/>
                  </a:lnTo>
                  <a:lnTo>
                    <a:pt x="3856" y="2720"/>
                  </a:lnTo>
                  <a:lnTo>
                    <a:pt x="3852" y="2719"/>
                  </a:lnTo>
                  <a:lnTo>
                    <a:pt x="3846" y="2712"/>
                  </a:lnTo>
                  <a:lnTo>
                    <a:pt x="3844" y="2705"/>
                  </a:lnTo>
                  <a:lnTo>
                    <a:pt x="3841" y="2698"/>
                  </a:lnTo>
                  <a:lnTo>
                    <a:pt x="3833" y="2685"/>
                  </a:lnTo>
                  <a:lnTo>
                    <a:pt x="3830" y="2674"/>
                  </a:lnTo>
                  <a:lnTo>
                    <a:pt x="3826" y="2650"/>
                  </a:lnTo>
                  <a:lnTo>
                    <a:pt x="3826" y="2637"/>
                  </a:lnTo>
                  <a:lnTo>
                    <a:pt x="3824" y="2633"/>
                  </a:lnTo>
                  <a:lnTo>
                    <a:pt x="3813" y="2623"/>
                  </a:lnTo>
                  <a:lnTo>
                    <a:pt x="3808" y="2607"/>
                  </a:lnTo>
                  <a:lnTo>
                    <a:pt x="3787" y="2583"/>
                  </a:lnTo>
                  <a:lnTo>
                    <a:pt x="3787" y="2576"/>
                  </a:lnTo>
                  <a:lnTo>
                    <a:pt x="3790" y="2561"/>
                  </a:lnTo>
                  <a:lnTo>
                    <a:pt x="3790" y="2556"/>
                  </a:lnTo>
                  <a:lnTo>
                    <a:pt x="3787" y="2551"/>
                  </a:lnTo>
                  <a:lnTo>
                    <a:pt x="3779" y="2544"/>
                  </a:lnTo>
                  <a:lnTo>
                    <a:pt x="3774" y="2538"/>
                  </a:lnTo>
                  <a:lnTo>
                    <a:pt x="3773" y="2532"/>
                  </a:lnTo>
                  <a:lnTo>
                    <a:pt x="3776" y="2517"/>
                  </a:lnTo>
                  <a:lnTo>
                    <a:pt x="3773" y="2513"/>
                  </a:lnTo>
                  <a:lnTo>
                    <a:pt x="3766" y="2509"/>
                  </a:lnTo>
                  <a:lnTo>
                    <a:pt x="3763" y="2503"/>
                  </a:lnTo>
                  <a:lnTo>
                    <a:pt x="3758" y="2499"/>
                  </a:lnTo>
                  <a:lnTo>
                    <a:pt x="3756" y="2495"/>
                  </a:lnTo>
                  <a:lnTo>
                    <a:pt x="3756" y="2490"/>
                  </a:lnTo>
                  <a:lnTo>
                    <a:pt x="3762" y="2476"/>
                  </a:lnTo>
                  <a:lnTo>
                    <a:pt x="3760" y="2462"/>
                  </a:lnTo>
                  <a:lnTo>
                    <a:pt x="3759" y="2458"/>
                  </a:lnTo>
                  <a:lnTo>
                    <a:pt x="3754" y="2453"/>
                  </a:lnTo>
                  <a:lnTo>
                    <a:pt x="3737" y="2442"/>
                  </a:lnTo>
                  <a:lnTo>
                    <a:pt x="3726" y="2441"/>
                  </a:lnTo>
                  <a:lnTo>
                    <a:pt x="3724" y="2438"/>
                  </a:lnTo>
                  <a:lnTo>
                    <a:pt x="3726" y="2432"/>
                  </a:lnTo>
                  <a:lnTo>
                    <a:pt x="3724" y="2426"/>
                  </a:lnTo>
                  <a:lnTo>
                    <a:pt x="3717" y="2422"/>
                  </a:lnTo>
                  <a:lnTo>
                    <a:pt x="3710" y="2409"/>
                  </a:lnTo>
                  <a:lnTo>
                    <a:pt x="3704" y="2404"/>
                  </a:lnTo>
                  <a:lnTo>
                    <a:pt x="3701" y="2401"/>
                  </a:lnTo>
                  <a:lnTo>
                    <a:pt x="3694" y="2397"/>
                  </a:lnTo>
                  <a:lnTo>
                    <a:pt x="3691" y="2394"/>
                  </a:lnTo>
                  <a:lnTo>
                    <a:pt x="3690" y="2379"/>
                  </a:lnTo>
                  <a:lnTo>
                    <a:pt x="3688" y="2375"/>
                  </a:lnTo>
                  <a:lnTo>
                    <a:pt x="3690" y="2370"/>
                  </a:lnTo>
                  <a:lnTo>
                    <a:pt x="3688" y="2365"/>
                  </a:lnTo>
                  <a:lnTo>
                    <a:pt x="3679" y="2363"/>
                  </a:lnTo>
                  <a:lnTo>
                    <a:pt x="3673" y="2357"/>
                  </a:lnTo>
                  <a:lnTo>
                    <a:pt x="3665" y="2353"/>
                  </a:lnTo>
                  <a:lnTo>
                    <a:pt x="3656" y="2345"/>
                  </a:lnTo>
                  <a:lnTo>
                    <a:pt x="3634" y="2342"/>
                  </a:lnTo>
                  <a:lnTo>
                    <a:pt x="3621" y="2334"/>
                  </a:lnTo>
                  <a:lnTo>
                    <a:pt x="3612" y="2333"/>
                  </a:lnTo>
                  <a:lnTo>
                    <a:pt x="3594" y="2329"/>
                  </a:lnTo>
                  <a:lnTo>
                    <a:pt x="3580" y="2329"/>
                  </a:lnTo>
                  <a:lnTo>
                    <a:pt x="3552" y="2316"/>
                  </a:lnTo>
                  <a:lnTo>
                    <a:pt x="3541" y="2308"/>
                  </a:lnTo>
                  <a:lnTo>
                    <a:pt x="3534" y="2293"/>
                  </a:lnTo>
                  <a:lnTo>
                    <a:pt x="3525" y="2290"/>
                  </a:lnTo>
                  <a:lnTo>
                    <a:pt x="3521" y="2284"/>
                  </a:lnTo>
                  <a:lnTo>
                    <a:pt x="3520" y="2278"/>
                  </a:lnTo>
                  <a:lnTo>
                    <a:pt x="3516" y="2271"/>
                  </a:lnTo>
                  <a:lnTo>
                    <a:pt x="3494" y="2258"/>
                  </a:lnTo>
                  <a:lnTo>
                    <a:pt x="3480" y="2259"/>
                  </a:lnTo>
                  <a:lnTo>
                    <a:pt x="3475" y="2255"/>
                  </a:lnTo>
                  <a:lnTo>
                    <a:pt x="3474" y="2251"/>
                  </a:lnTo>
                  <a:lnTo>
                    <a:pt x="3471" y="2248"/>
                  </a:lnTo>
                  <a:lnTo>
                    <a:pt x="3456" y="2235"/>
                  </a:lnTo>
                  <a:lnTo>
                    <a:pt x="3447" y="2235"/>
                  </a:lnTo>
                  <a:lnTo>
                    <a:pt x="3439" y="2237"/>
                  </a:lnTo>
                  <a:lnTo>
                    <a:pt x="3435" y="2235"/>
                  </a:lnTo>
                  <a:lnTo>
                    <a:pt x="3432" y="2229"/>
                  </a:lnTo>
                  <a:lnTo>
                    <a:pt x="3434" y="2221"/>
                  </a:lnTo>
                  <a:lnTo>
                    <a:pt x="3432" y="2210"/>
                  </a:lnTo>
                  <a:lnTo>
                    <a:pt x="3424" y="2206"/>
                  </a:lnTo>
                  <a:lnTo>
                    <a:pt x="3416" y="2198"/>
                  </a:lnTo>
                  <a:lnTo>
                    <a:pt x="3409" y="2192"/>
                  </a:lnTo>
                  <a:lnTo>
                    <a:pt x="3403" y="2192"/>
                  </a:lnTo>
                  <a:lnTo>
                    <a:pt x="3397" y="2192"/>
                  </a:lnTo>
                  <a:lnTo>
                    <a:pt x="3343" y="2203"/>
                  </a:lnTo>
                  <a:lnTo>
                    <a:pt x="3328" y="2203"/>
                  </a:lnTo>
                  <a:lnTo>
                    <a:pt x="3320" y="2200"/>
                  </a:lnTo>
                  <a:lnTo>
                    <a:pt x="3299" y="2183"/>
                  </a:lnTo>
                  <a:lnTo>
                    <a:pt x="3278" y="2180"/>
                  </a:lnTo>
                  <a:lnTo>
                    <a:pt x="3270" y="2173"/>
                  </a:lnTo>
                  <a:lnTo>
                    <a:pt x="3264" y="2172"/>
                  </a:lnTo>
                  <a:lnTo>
                    <a:pt x="3249" y="2176"/>
                  </a:lnTo>
                  <a:lnTo>
                    <a:pt x="3246" y="2183"/>
                  </a:lnTo>
                  <a:lnTo>
                    <a:pt x="3242" y="2184"/>
                  </a:lnTo>
                  <a:lnTo>
                    <a:pt x="3209" y="2184"/>
                  </a:lnTo>
                  <a:lnTo>
                    <a:pt x="3203" y="2180"/>
                  </a:lnTo>
                  <a:lnTo>
                    <a:pt x="3189" y="2173"/>
                  </a:lnTo>
                  <a:lnTo>
                    <a:pt x="3178" y="2161"/>
                  </a:lnTo>
                  <a:lnTo>
                    <a:pt x="3162" y="2138"/>
                  </a:lnTo>
                  <a:lnTo>
                    <a:pt x="3150" y="2124"/>
                  </a:lnTo>
                  <a:lnTo>
                    <a:pt x="3143" y="2113"/>
                  </a:lnTo>
                  <a:lnTo>
                    <a:pt x="3132" y="2109"/>
                  </a:lnTo>
                  <a:lnTo>
                    <a:pt x="3111" y="2109"/>
                  </a:lnTo>
                  <a:lnTo>
                    <a:pt x="3107" y="2106"/>
                  </a:lnTo>
                  <a:lnTo>
                    <a:pt x="3094" y="2097"/>
                  </a:lnTo>
                  <a:lnTo>
                    <a:pt x="3090" y="2098"/>
                  </a:lnTo>
                  <a:lnTo>
                    <a:pt x="3078" y="2106"/>
                  </a:lnTo>
                  <a:lnTo>
                    <a:pt x="3054" y="2106"/>
                  </a:lnTo>
                  <a:lnTo>
                    <a:pt x="3047" y="2105"/>
                  </a:lnTo>
                  <a:lnTo>
                    <a:pt x="3041" y="2101"/>
                  </a:lnTo>
                  <a:lnTo>
                    <a:pt x="3036" y="2094"/>
                  </a:lnTo>
                  <a:lnTo>
                    <a:pt x="3036" y="2091"/>
                  </a:lnTo>
                  <a:lnTo>
                    <a:pt x="3039" y="2076"/>
                  </a:lnTo>
                  <a:lnTo>
                    <a:pt x="3037" y="2072"/>
                  </a:lnTo>
                  <a:lnTo>
                    <a:pt x="3029" y="2071"/>
                  </a:lnTo>
                  <a:lnTo>
                    <a:pt x="3011" y="2072"/>
                  </a:lnTo>
                  <a:lnTo>
                    <a:pt x="3004" y="2072"/>
                  </a:lnTo>
                  <a:lnTo>
                    <a:pt x="2997" y="2067"/>
                  </a:lnTo>
                  <a:lnTo>
                    <a:pt x="2989" y="2056"/>
                  </a:lnTo>
                  <a:lnTo>
                    <a:pt x="2972" y="2044"/>
                  </a:lnTo>
                  <a:lnTo>
                    <a:pt x="2968" y="2040"/>
                  </a:lnTo>
                  <a:lnTo>
                    <a:pt x="2966" y="2035"/>
                  </a:lnTo>
                  <a:lnTo>
                    <a:pt x="2960" y="2030"/>
                  </a:lnTo>
                  <a:lnTo>
                    <a:pt x="2955" y="2019"/>
                  </a:lnTo>
                  <a:lnTo>
                    <a:pt x="2946" y="2007"/>
                  </a:lnTo>
                  <a:lnTo>
                    <a:pt x="2936" y="1999"/>
                  </a:lnTo>
                  <a:lnTo>
                    <a:pt x="2923" y="1992"/>
                  </a:lnTo>
                  <a:lnTo>
                    <a:pt x="2916" y="1982"/>
                  </a:lnTo>
                  <a:lnTo>
                    <a:pt x="2910" y="1968"/>
                  </a:lnTo>
                  <a:lnTo>
                    <a:pt x="2890" y="1936"/>
                  </a:lnTo>
                  <a:lnTo>
                    <a:pt x="2882" y="1930"/>
                  </a:lnTo>
                  <a:lnTo>
                    <a:pt x="2872" y="1922"/>
                  </a:lnTo>
                  <a:lnTo>
                    <a:pt x="2861" y="1928"/>
                  </a:lnTo>
                  <a:lnTo>
                    <a:pt x="2855" y="1928"/>
                  </a:lnTo>
                  <a:lnTo>
                    <a:pt x="2851" y="1928"/>
                  </a:lnTo>
                  <a:lnTo>
                    <a:pt x="2838" y="1932"/>
                  </a:lnTo>
                  <a:lnTo>
                    <a:pt x="2835" y="1930"/>
                  </a:lnTo>
                  <a:lnTo>
                    <a:pt x="2829" y="1932"/>
                  </a:lnTo>
                  <a:lnTo>
                    <a:pt x="2819" y="1937"/>
                  </a:lnTo>
                  <a:lnTo>
                    <a:pt x="2818" y="1948"/>
                  </a:lnTo>
                  <a:lnTo>
                    <a:pt x="2815" y="1951"/>
                  </a:lnTo>
                  <a:lnTo>
                    <a:pt x="2813" y="1955"/>
                  </a:lnTo>
                  <a:lnTo>
                    <a:pt x="2809" y="1959"/>
                  </a:lnTo>
                  <a:lnTo>
                    <a:pt x="2804" y="1956"/>
                  </a:lnTo>
                  <a:lnTo>
                    <a:pt x="2800" y="1951"/>
                  </a:lnTo>
                  <a:lnTo>
                    <a:pt x="2795" y="1948"/>
                  </a:lnTo>
                  <a:lnTo>
                    <a:pt x="2787" y="1952"/>
                  </a:lnTo>
                  <a:lnTo>
                    <a:pt x="2779" y="1948"/>
                  </a:lnTo>
                  <a:lnTo>
                    <a:pt x="2766" y="1951"/>
                  </a:lnTo>
                  <a:lnTo>
                    <a:pt x="2756" y="1952"/>
                  </a:lnTo>
                  <a:lnTo>
                    <a:pt x="2753" y="1956"/>
                  </a:lnTo>
                  <a:lnTo>
                    <a:pt x="2747" y="1956"/>
                  </a:lnTo>
                  <a:lnTo>
                    <a:pt x="2744" y="1956"/>
                  </a:lnTo>
                  <a:lnTo>
                    <a:pt x="2738" y="1959"/>
                  </a:lnTo>
                  <a:lnTo>
                    <a:pt x="2730" y="1956"/>
                  </a:lnTo>
                  <a:lnTo>
                    <a:pt x="2720" y="1956"/>
                  </a:lnTo>
                  <a:lnTo>
                    <a:pt x="2717" y="1955"/>
                  </a:lnTo>
                  <a:lnTo>
                    <a:pt x="2708" y="1951"/>
                  </a:lnTo>
                  <a:lnTo>
                    <a:pt x="2700" y="1952"/>
                  </a:lnTo>
                  <a:lnTo>
                    <a:pt x="2694" y="1956"/>
                  </a:lnTo>
                  <a:lnTo>
                    <a:pt x="2687" y="1952"/>
                  </a:lnTo>
                  <a:lnTo>
                    <a:pt x="2683" y="1952"/>
                  </a:lnTo>
                  <a:lnTo>
                    <a:pt x="2678" y="1956"/>
                  </a:lnTo>
                  <a:lnTo>
                    <a:pt x="2670" y="1964"/>
                  </a:lnTo>
                  <a:lnTo>
                    <a:pt x="2656" y="1968"/>
                  </a:lnTo>
                  <a:lnTo>
                    <a:pt x="2651" y="1970"/>
                  </a:lnTo>
                  <a:lnTo>
                    <a:pt x="2645" y="1978"/>
                  </a:lnTo>
                  <a:lnTo>
                    <a:pt x="2638" y="1993"/>
                  </a:lnTo>
                  <a:lnTo>
                    <a:pt x="2627" y="1997"/>
                  </a:lnTo>
                  <a:lnTo>
                    <a:pt x="2619" y="1995"/>
                  </a:lnTo>
                  <a:lnTo>
                    <a:pt x="2613" y="1999"/>
                  </a:lnTo>
                  <a:lnTo>
                    <a:pt x="2612" y="2001"/>
                  </a:lnTo>
                  <a:lnTo>
                    <a:pt x="2611" y="2012"/>
                  </a:lnTo>
                  <a:lnTo>
                    <a:pt x="2603" y="2023"/>
                  </a:lnTo>
                  <a:lnTo>
                    <a:pt x="2602" y="2027"/>
                  </a:lnTo>
                  <a:lnTo>
                    <a:pt x="2594" y="2034"/>
                  </a:lnTo>
                  <a:lnTo>
                    <a:pt x="2586" y="2034"/>
                  </a:lnTo>
                  <a:lnTo>
                    <a:pt x="2584" y="2035"/>
                  </a:lnTo>
                  <a:lnTo>
                    <a:pt x="2584" y="2042"/>
                  </a:lnTo>
                  <a:lnTo>
                    <a:pt x="2588" y="2048"/>
                  </a:lnTo>
                  <a:lnTo>
                    <a:pt x="2590" y="2054"/>
                  </a:lnTo>
                  <a:lnTo>
                    <a:pt x="2587" y="2068"/>
                  </a:lnTo>
                  <a:lnTo>
                    <a:pt x="2592" y="2074"/>
                  </a:lnTo>
                  <a:lnTo>
                    <a:pt x="2595" y="2079"/>
                  </a:lnTo>
                  <a:lnTo>
                    <a:pt x="2594" y="2082"/>
                  </a:lnTo>
                  <a:lnTo>
                    <a:pt x="2586" y="2084"/>
                  </a:lnTo>
                  <a:lnTo>
                    <a:pt x="2583" y="2093"/>
                  </a:lnTo>
                  <a:lnTo>
                    <a:pt x="2581" y="2094"/>
                  </a:lnTo>
                  <a:lnTo>
                    <a:pt x="2577" y="2097"/>
                  </a:lnTo>
                  <a:lnTo>
                    <a:pt x="2574" y="2106"/>
                  </a:lnTo>
                  <a:lnTo>
                    <a:pt x="2565" y="2111"/>
                  </a:lnTo>
                  <a:lnTo>
                    <a:pt x="2559" y="2117"/>
                  </a:lnTo>
                  <a:lnTo>
                    <a:pt x="2551" y="2123"/>
                  </a:lnTo>
                  <a:lnTo>
                    <a:pt x="2551" y="2129"/>
                  </a:lnTo>
                  <a:lnTo>
                    <a:pt x="2553" y="2134"/>
                  </a:lnTo>
                  <a:lnTo>
                    <a:pt x="2553" y="2139"/>
                  </a:lnTo>
                  <a:lnTo>
                    <a:pt x="2552" y="2143"/>
                  </a:lnTo>
                  <a:lnTo>
                    <a:pt x="2544" y="2146"/>
                  </a:lnTo>
                  <a:lnTo>
                    <a:pt x="2538" y="2150"/>
                  </a:lnTo>
                  <a:lnTo>
                    <a:pt x="2535" y="2164"/>
                  </a:lnTo>
                  <a:lnTo>
                    <a:pt x="2527" y="2169"/>
                  </a:lnTo>
                  <a:lnTo>
                    <a:pt x="2521" y="2169"/>
                  </a:lnTo>
                  <a:lnTo>
                    <a:pt x="2519" y="2169"/>
                  </a:lnTo>
                  <a:lnTo>
                    <a:pt x="2512" y="2169"/>
                  </a:lnTo>
                  <a:lnTo>
                    <a:pt x="2507" y="2169"/>
                  </a:lnTo>
                  <a:lnTo>
                    <a:pt x="2506" y="2172"/>
                  </a:lnTo>
                  <a:lnTo>
                    <a:pt x="2506" y="2176"/>
                  </a:lnTo>
                  <a:lnTo>
                    <a:pt x="2506" y="2173"/>
                  </a:lnTo>
                  <a:lnTo>
                    <a:pt x="2498" y="2180"/>
                  </a:lnTo>
                  <a:lnTo>
                    <a:pt x="2493" y="2188"/>
                  </a:lnTo>
                  <a:lnTo>
                    <a:pt x="2495" y="2192"/>
                  </a:lnTo>
                  <a:lnTo>
                    <a:pt x="2495" y="2196"/>
                  </a:lnTo>
                  <a:lnTo>
                    <a:pt x="2493" y="2196"/>
                  </a:lnTo>
                  <a:lnTo>
                    <a:pt x="2489" y="2198"/>
                  </a:lnTo>
                  <a:lnTo>
                    <a:pt x="2485" y="2205"/>
                  </a:lnTo>
                  <a:lnTo>
                    <a:pt x="2487" y="2210"/>
                  </a:lnTo>
                  <a:lnTo>
                    <a:pt x="2478" y="2217"/>
                  </a:lnTo>
                  <a:lnTo>
                    <a:pt x="2478" y="2225"/>
                  </a:lnTo>
                  <a:lnTo>
                    <a:pt x="2474" y="2229"/>
                  </a:lnTo>
                  <a:lnTo>
                    <a:pt x="2473" y="2237"/>
                  </a:lnTo>
                  <a:lnTo>
                    <a:pt x="2473" y="2243"/>
                  </a:lnTo>
                  <a:lnTo>
                    <a:pt x="2468" y="2254"/>
                  </a:lnTo>
                  <a:lnTo>
                    <a:pt x="2467" y="2255"/>
                  </a:lnTo>
                  <a:lnTo>
                    <a:pt x="2468" y="2263"/>
                  </a:lnTo>
                  <a:lnTo>
                    <a:pt x="2467" y="2270"/>
                  </a:lnTo>
                  <a:lnTo>
                    <a:pt x="2463" y="2278"/>
                  </a:lnTo>
                  <a:lnTo>
                    <a:pt x="2467" y="2284"/>
                  </a:lnTo>
                  <a:lnTo>
                    <a:pt x="2464" y="2297"/>
                  </a:lnTo>
                  <a:lnTo>
                    <a:pt x="2462" y="2300"/>
                  </a:lnTo>
                  <a:lnTo>
                    <a:pt x="2457" y="2304"/>
                  </a:lnTo>
                  <a:lnTo>
                    <a:pt x="2453" y="2310"/>
                  </a:lnTo>
                  <a:lnTo>
                    <a:pt x="2443" y="2315"/>
                  </a:lnTo>
                  <a:lnTo>
                    <a:pt x="2438" y="2321"/>
                  </a:lnTo>
                  <a:lnTo>
                    <a:pt x="2432" y="2330"/>
                  </a:lnTo>
                  <a:lnTo>
                    <a:pt x="2430" y="2334"/>
                  </a:lnTo>
                  <a:lnTo>
                    <a:pt x="2426" y="2345"/>
                  </a:lnTo>
                  <a:lnTo>
                    <a:pt x="2426" y="2349"/>
                  </a:lnTo>
                  <a:lnTo>
                    <a:pt x="2418" y="2360"/>
                  </a:lnTo>
                  <a:lnTo>
                    <a:pt x="2417" y="2371"/>
                  </a:lnTo>
                  <a:lnTo>
                    <a:pt x="2409" y="2383"/>
                  </a:lnTo>
                  <a:lnTo>
                    <a:pt x="2407" y="2387"/>
                  </a:lnTo>
                  <a:lnTo>
                    <a:pt x="2412" y="2394"/>
                  </a:lnTo>
                  <a:lnTo>
                    <a:pt x="2413" y="2397"/>
                  </a:lnTo>
                  <a:lnTo>
                    <a:pt x="2410" y="2401"/>
                  </a:lnTo>
                  <a:lnTo>
                    <a:pt x="2406" y="2405"/>
                  </a:lnTo>
                  <a:lnTo>
                    <a:pt x="2405" y="2405"/>
                  </a:lnTo>
                  <a:lnTo>
                    <a:pt x="2399" y="2408"/>
                  </a:lnTo>
                  <a:lnTo>
                    <a:pt x="2401" y="2409"/>
                  </a:lnTo>
                  <a:lnTo>
                    <a:pt x="2398" y="2409"/>
                  </a:lnTo>
                  <a:lnTo>
                    <a:pt x="2392" y="2415"/>
                  </a:lnTo>
                  <a:lnTo>
                    <a:pt x="2388" y="2419"/>
                  </a:lnTo>
                  <a:lnTo>
                    <a:pt x="2373" y="2428"/>
                  </a:lnTo>
                  <a:lnTo>
                    <a:pt x="2371" y="2432"/>
                  </a:lnTo>
                  <a:lnTo>
                    <a:pt x="2364" y="2432"/>
                  </a:lnTo>
                  <a:lnTo>
                    <a:pt x="2363" y="2436"/>
                  </a:lnTo>
                  <a:lnTo>
                    <a:pt x="2359" y="2436"/>
                  </a:lnTo>
                  <a:lnTo>
                    <a:pt x="2359" y="2438"/>
                  </a:lnTo>
                  <a:lnTo>
                    <a:pt x="2352" y="2442"/>
                  </a:lnTo>
                  <a:lnTo>
                    <a:pt x="2351" y="2446"/>
                  </a:lnTo>
                  <a:lnTo>
                    <a:pt x="2352" y="2454"/>
                  </a:lnTo>
                  <a:lnTo>
                    <a:pt x="2351" y="2462"/>
                  </a:lnTo>
                  <a:lnTo>
                    <a:pt x="2352" y="2465"/>
                  </a:lnTo>
                  <a:lnTo>
                    <a:pt x="2351" y="2471"/>
                  </a:lnTo>
                  <a:lnTo>
                    <a:pt x="2341" y="2472"/>
                  </a:lnTo>
                  <a:lnTo>
                    <a:pt x="2339" y="2476"/>
                  </a:lnTo>
                  <a:lnTo>
                    <a:pt x="2339" y="2486"/>
                  </a:lnTo>
                  <a:lnTo>
                    <a:pt x="2332" y="2487"/>
                  </a:lnTo>
                  <a:lnTo>
                    <a:pt x="2331" y="2494"/>
                  </a:lnTo>
                  <a:lnTo>
                    <a:pt x="2320" y="2498"/>
                  </a:lnTo>
                  <a:lnTo>
                    <a:pt x="2318" y="2499"/>
                  </a:lnTo>
                  <a:lnTo>
                    <a:pt x="2320" y="2503"/>
                  </a:lnTo>
                  <a:lnTo>
                    <a:pt x="2326" y="2507"/>
                  </a:lnTo>
                  <a:lnTo>
                    <a:pt x="2327" y="2517"/>
                  </a:lnTo>
                  <a:lnTo>
                    <a:pt x="2328" y="2517"/>
                  </a:lnTo>
                  <a:lnTo>
                    <a:pt x="2337" y="2520"/>
                  </a:lnTo>
                  <a:lnTo>
                    <a:pt x="2338" y="2521"/>
                  </a:lnTo>
                  <a:lnTo>
                    <a:pt x="2338" y="2524"/>
                  </a:lnTo>
                  <a:lnTo>
                    <a:pt x="2323" y="2536"/>
                  </a:lnTo>
                  <a:lnTo>
                    <a:pt x="2321" y="2540"/>
                  </a:lnTo>
                  <a:lnTo>
                    <a:pt x="2321" y="2546"/>
                  </a:lnTo>
                  <a:lnTo>
                    <a:pt x="2320" y="2548"/>
                  </a:lnTo>
                  <a:lnTo>
                    <a:pt x="2312" y="2556"/>
                  </a:lnTo>
                  <a:lnTo>
                    <a:pt x="2309" y="2558"/>
                  </a:lnTo>
                  <a:lnTo>
                    <a:pt x="2309" y="2562"/>
                  </a:lnTo>
                  <a:lnTo>
                    <a:pt x="2307" y="2566"/>
                  </a:lnTo>
                  <a:lnTo>
                    <a:pt x="2309" y="2570"/>
                  </a:lnTo>
                  <a:lnTo>
                    <a:pt x="2307" y="2574"/>
                  </a:lnTo>
                  <a:lnTo>
                    <a:pt x="2310" y="2578"/>
                  </a:lnTo>
                  <a:lnTo>
                    <a:pt x="2310" y="2583"/>
                  </a:lnTo>
                  <a:lnTo>
                    <a:pt x="2309" y="2591"/>
                  </a:lnTo>
                  <a:lnTo>
                    <a:pt x="2309" y="2606"/>
                  </a:lnTo>
                  <a:lnTo>
                    <a:pt x="2307" y="2606"/>
                  </a:lnTo>
                  <a:lnTo>
                    <a:pt x="2299" y="2610"/>
                  </a:lnTo>
                  <a:lnTo>
                    <a:pt x="2295" y="2613"/>
                  </a:lnTo>
                  <a:lnTo>
                    <a:pt x="2295" y="2618"/>
                  </a:lnTo>
                  <a:lnTo>
                    <a:pt x="2292" y="2621"/>
                  </a:lnTo>
                  <a:lnTo>
                    <a:pt x="2291" y="2629"/>
                  </a:lnTo>
                  <a:lnTo>
                    <a:pt x="2288" y="2633"/>
                  </a:lnTo>
                  <a:lnTo>
                    <a:pt x="2288" y="2641"/>
                  </a:lnTo>
                  <a:lnTo>
                    <a:pt x="2281" y="2648"/>
                  </a:lnTo>
                  <a:lnTo>
                    <a:pt x="2275" y="2656"/>
                  </a:lnTo>
                  <a:lnTo>
                    <a:pt x="2274" y="2660"/>
                  </a:lnTo>
                  <a:lnTo>
                    <a:pt x="2275" y="2663"/>
                  </a:lnTo>
                  <a:lnTo>
                    <a:pt x="2277" y="2672"/>
                  </a:lnTo>
                  <a:lnTo>
                    <a:pt x="2279" y="2674"/>
                  </a:lnTo>
                  <a:lnTo>
                    <a:pt x="2278" y="2678"/>
                  </a:lnTo>
                  <a:lnTo>
                    <a:pt x="2275" y="2685"/>
                  </a:lnTo>
                  <a:lnTo>
                    <a:pt x="2271" y="2693"/>
                  </a:lnTo>
                  <a:lnTo>
                    <a:pt x="2262" y="2685"/>
                  </a:lnTo>
                  <a:lnTo>
                    <a:pt x="2242" y="2668"/>
                  </a:lnTo>
                  <a:lnTo>
                    <a:pt x="2235" y="2666"/>
                  </a:lnTo>
                  <a:lnTo>
                    <a:pt x="2232" y="2652"/>
                  </a:lnTo>
                  <a:lnTo>
                    <a:pt x="2232" y="2628"/>
                  </a:lnTo>
                  <a:lnTo>
                    <a:pt x="2229" y="2610"/>
                  </a:lnTo>
                  <a:lnTo>
                    <a:pt x="2224" y="2558"/>
                  </a:lnTo>
                  <a:lnTo>
                    <a:pt x="2208" y="2520"/>
                  </a:lnTo>
                  <a:lnTo>
                    <a:pt x="2185" y="2469"/>
                  </a:lnTo>
                  <a:lnTo>
                    <a:pt x="2136" y="2401"/>
                  </a:lnTo>
                  <a:lnTo>
                    <a:pt x="2133" y="2397"/>
                  </a:lnTo>
                  <a:lnTo>
                    <a:pt x="2124" y="2383"/>
                  </a:lnTo>
                  <a:lnTo>
                    <a:pt x="2117" y="2375"/>
                  </a:lnTo>
                  <a:lnTo>
                    <a:pt x="2106" y="2359"/>
                  </a:lnTo>
                  <a:lnTo>
                    <a:pt x="2103" y="2349"/>
                  </a:lnTo>
                  <a:lnTo>
                    <a:pt x="2150" y="2337"/>
                  </a:lnTo>
                  <a:lnTo>
                    <a:pt x="2166" y="2329"/>
                  </a:lnTo>
                  <a:lnTo>
                    <a:pt x="2181" y="2292"/>
                  </a:lnTo>
                  <a:lnTo>
                    <a:pt x="2199" y="2255"/>
                  </a:lnTo>
                  <a:lnTo>
                    <a:pt x="2213" y="2218"/>
                  </a:lnTo>
                  <a:lnTo>
                    <a:pt x="2218" y="2178"/>
                  </a:lnTo>
                  <a:lnTo>
                    <a:pt x="2211" y="2178"/>
                  </a:lnTo>
                  <a:lnTo>
                    <a:pt x="2196" y="2176"/>
                  </a:lnTo>
                  <a:lnTo>
                    <a:pt x="2171" y="2173"/>
                  </a:lnTo>
                  <a:lnTo>
                    <a:pt x="2156" y="2186"/>
                  </a:lnTo>
                  <a:lnTo>
                    <a:pt x="2144" y="2188"/>
                  </a:lnTo>
                  <a:lnTo>
                    <a:pt x="2132" y="2180"/>
                  </a:lnTo>
                  <a:lnTo>
                    <a:pt x="2117" y="2180"/>
                  </a:lnTo>
                  <a:lnTo>
                    <a:pt x="2108" y="2172"/>
                  </a:lnTo>
                  <a:lnTo>
                    <a:pt x="2100" y="2173"/>
                  </a:lnTo>
                  <a:lnTo>
                    <a:pt x="2094" y="2180"/>
                  </a:lnTo>
                  <a:lnTo>
                    <a:pt x="2082" y="2178"/>
                  </a:lnTo>
                  <a:lnTo>
                    <a:pt x="2049" y="2180"/>
                  </a:lnTo>
                  <a:lnTo>
                    <a:pt x="2041" y="2176"/>
                  </a:lnTo>
                  <a:lnTo>
                    <a:pt x="2035" y="2173"/>
                  </a:lnTo>
                  <a:lnTo>
                    <a:pt x="2002" y="2161"/>
                  </a:lnTo>
                  <a:lnTo>
                    <a:pt x="1996" y="2151"/>
                  </a:lnTo>
                  <a:lnTo>
                    <a:pt x="1999" y="2138"/>
                  </a:lnTo>
                  <a:lnTo>
                    <a:pt x="2003" y="2101"/>
                  </a:lnTo>
                  <a:lnTo>
                    <a:pt x="2004" y="2094"/>
                  </a:lnTo>
                  <a:lnTo>
                    <a:pt x="1994" y="2091"/>
                  </a:lnTo>
                  <a:lnTo>
                    <a:pt x="1909" y="2049"/>
                  </a:lnTo>
                  <a:lnTo>
                    <a:pt x="1897" y="2042"/>
                  </a:lnTo>
                  <a:lnTo>
                    <a:pt x="1807" y="2005"/>
                  </a:lnTo>
                  <a:lnTo>
                    <a:pt x="1790" y="1997"/>
                  </a:lnTo>
                  <a:lnTo>
                    <a:pt x="1762" y="1986"/>
                  </a:lnTo>
                  <a:lnTo>
                    <a:pt x="1687" y="1968"/>
                  </a:lnTo>
                  <a:lnTo>
                    <a:pt x="1663" y="1960"/>
                  </a:lnTo>
                  <a:lnTo>
                    <a:pt x="1659" y="1960"/>
                  </a:lnTo>
                  <a:lnTo>
                    <a:pt x="1623" y="1960"/>
                  </a:lnTo>
                  <a:lnTo>
                    <a:pt x="1495" y="1964"/>
                  </a:lnTo>
                  <a:lnTo>
                    <a:pt x="1482" y="1964"/>
                  </a:lnTo>
                  <a:lnTo>
                    <a:pt x="1462" y="1967"/>
                  </a:lnTo>
                  <a:lnTo>
                    <a:pt x="1459" y="1964"/>
                  </a:lnTo>
                  <a:lnTo>
                    <a:pt x="1449" y="1962"/>
                  </a:lnTo>
                  <a:lnTo>
                    <a:pt x="1447" y="1962"/>
                  </a:lnTo>
                  <a:lnTo>
                    <a:pt x="1437" y="1960"/>
                  </a:lnTo>
                  <a:lnTo>
                    <a:pt x="1435" y="1960"/>
                  </a:lnTo>
                  <a:lnTo>
                    <a:pt x="1422" y="1956"/>
                  </a:lnTo>
                  <a:lnTo>
                    <a:pt x="1397" y="1951"/>
                  </a:lnTo>
                  <a:lnTo>
                    <a:pt x="1362" y="1942"/>
                  </a:lnTo>
                  <a:lnTo>
                    <a:pt x="1358" y="1930"/>
                  </a:lnTo>
                  <a:lnTo>
                    <a:pt x="1360" y="1910"/>
                  </a:lnTo>
                  <a:lnTo>
                    <a:pt x="1356" y="1906"/>
                  </a:lnTo>
                  <a:lnTo>
                    <a:pt x="1353" y="1889"/>
                  </a:lnTo>
                  <a:lnTo>
                    <a:pt x="1347" y="1881"/>
                  </a:lnTo>
                  <a:lnTo>
                    <a:pt x="1313" y="1866"/>
                  </a:lnTo>
                  <a:lnTo>
                    <a:pt x="1310" y="1858"/>
                  </a:lnTo>
                  <a:lnTo>
                    <a:pt x="1303" y="1857"/>
                  </a:lnTo>
                  <a:lnTo>
                    <a:pt x="1299" y="1861"/>
                  </a:lnTo>
                  <a:lnTo>
                    <a:pt x="1291" y="1847"/>
                  </a:lnTo>
                  <a:lnTo>
                    <a:pt x="1283" y="1848"/>
                  </a:lnTo>
                  <a:lnTo>
                    <a:pt x="1284" y="1835"/>
                  </a:lnTo>
                  <a:lnTo>
                    <a:pt x="1278" y="1828"/>
                  </a:lnTo>
                  <a:lnTo>
                    <a:pt x="1273" y="1828"/>
                  </a:lnTo>
                  <a:lnTo>
                    <a:pt x="1269" y="1818"/>
                  </a:lnTo>
                  <a:lnTo>
                    <a:pt x="1259" y="1816"/>
                  </a:lnTo>
                  <a:lnTo>
                    <a:pt x="1248" y="1799"/>
                  </a:lnTo>
                  <a:lnTo>
                    <a:pt x="1237" y="1799"/>
                  </a:lnTo>
                  <a:lnTo>
                    <a:pt x="1217" y="1794"/>
                  </a:lnTo>
                  <a:lnTo>
                    <a:pt x="1192" y="1777"/>
                  </a:lnTo>
                  <a:lnTo>
                    <a:pt x="1178" y="1771"/>
                  </a:lnTo>
                  <a:lnTo>
                    <a:pt x="1138" y="1769"/>
                  </a:lnTo>
                  <a:lnTo>
                    <a:pt x="1125" y="1764"/>
                  </a:lnTo>
                  <a:lnTo>
                    <a:pt x="1100" y="1764"/>
                  </a:lnTo>
                  <a:lnTo>
                    <a:pt x="1065" y="1757"/>
                  </a:lnTo>
                  <a:lnTo>
                    <a:pt x="1029" y="1746"/>
                  </a:lnTo>
                  <a:lnTo>
                    <a:pt x="1015" y="1737"/>
                  </a:lnTo>
                  <a:lnTo>
                    <a:pt x="1003" y="1739"/>
                  </a:lnTo>
                  <a:lnTo>
                    <a:pt x="986" y="1733"/>
                  </a:lnTo>
                  <a:lnTo>
                    <a:pt x="981" y="1734"/>
                  </a:lnTo>
                  <a:lnTo>
                    <a:pt x="974" y="1734"/>
                  </a:lnTo>
                  <a:lnTo>
                    <a:pt x="973" y="1732"/>
                  </a:lnTo>
                  <a:lnTo>
                    <a:pt x="974" y="1724"/>
                  </a:lnTo>
                  <a:lnTo>
                    <a:pt x="971" y="1719"/>
                  </a:lnTo>
                  <a:lnTo>
                    <a:pt x="965" y="1716"/>
                  </a:lnTo>
                  <a:lnTo>
                    <a:pt x="953" y="1720"/>
                  </a:lnTo>
                  <a:lnTo>
                    <a:pt x="921" y="1683"/>
                  </a:lnTo>
                  <a:lnTo>
                    <a:pt x="909" y="1675"/>
                  </a:lnTo>
                  <a:lnTo>
                    <a:pt x="903" y="1666"/>
                  </a:lnTo>
                  <a:lnTo>
                    <a:pt x="900" y="1653"/>
                  </a:lnTo>
                  <a:lnTo>
                    <a:pt x="872" y="1631"/>
                  </a:lnTo>
                  <a:lnTo>
                    <a:pt x="864" y="1629"/>
                  </a:lnTo>
                  <a:lnTo>
                    <a:pt x="843" y="1619"/>
                  </a:lnTo>
                  <a:lnTo>
                    <a:pt x="826" y="1617"/>
                  </a:lnTo>
                  <a:lnTo>
                    <a:pt x="826" y="1612"/>
                  </a:lnTo>
                  <a:lnTo>
                    <a:pt x="822" y="1611"/>
                  </a:lnTo>
                  <a:lnTo>
                    <a:pt x="807" y="1615"/>
                  </a:lnTo>
                  <a:lnTo>
                    <a:pt x="780" y="1612"/>
                  </a:lnTo>
                  <a:lnTo>
                    <a:pt x="776" y="1611"/>
                  </a:lnTo>
                  <a:lnTo>
                    <a:pt x="771" y="1603"/>
                  </a:lnTo>
                  <a:lnTo>
                    <a:pt x="750" y="1602"/>
                  </a:lnTo>
                  <a:lnTo>
                    <a:pt x="741" y="1596"/>
                  </a:lnTo>
                  <a:lnTo>
                    <a:pt x="710" y="1607"/>
                  </a:lnTo>
                  <a:lnTo>
                    <a:pt x="711" y="1611"/>
                  </a:lnTo>
                  <a:lnTo>
                    <a:pt x="686" y="1622"/>
                  </a:lnTo>
                  <a:lnTo>
                    <a:pt x="680" y="1611"/>
                  </a:lnTo>
                  <a:lnTo>
                    <a:pt x="671" y="1621"/>
                  </a:lnTo>
                  <a:lnTo>
                    <a:pt x="652" y="1625"/>
                  </a:lnTo>
                  <a:lnTo>
                    <a:pt x="643" y="1647"/>
                  </a:lnTo>
                  <a:lnTo>
                    <a:pt x="629" y="1656"/>
                  </a:lnTo>
                  <a:lnTo>
                    <a:pt x="614" y="1657"/>
                  </a:lnTo>
                  <a:lnTo>
                    <a:pt x="602" y="1652"/>
                  </a:lnTo>
                  <a:lnTo>
                    <a:pt x="594" y="1641"/>
                  </a:lnTo>
                  <a:lnTo>
                    <a:pt x="587" y="1622"/>
                  </a:lnTo>
                  <a:lnTo>
                    <a:pt x="566" y="1611"/>
                  </a:lnTo>
                  <a:lnTo>
                    <a:pt x="237" y="1611"/>
                  </a:lnTo>
                  <a:lnTo>
                    <a:pt x="166" y="1611"/>
                  </a:lnTo>
                  <a:lnTo>
                    <a:pt x="166" y="1331"/>
                  </a:lnTo>
                  <a:lnTo>
                    <a:pt x="166" y="1312"/>
                  </a:lnTo>
                  <a:lnTo>
                    <a:pt x="160" y="1304"/>
                  </a:lnTo>
                  <a:lnTo>
                    <a:pt x="156" y="1308"/>
                  </a:lnTo>
                  <a:lnTo>
                    <a:pt x="160" y="1302"/>
                  </a:lnTo>
                  <a:lnTo>
                    <a:pt x="157" y="1300"/>
                  </a:lnTo>
                  <a:lnTo>
                    <a:pt x="156" y="1298"/>
                  </a:lnTo>
                  <a:lnTo>
                    <a:pt x="155" y="1296"/>
                  </a:lnTo>
                  <a:lnTo>
                    <a:pt x="153" y="1296"/>
                  </a:lnTo>
                  <a:lnTo>
                    <a:pt x="152" y="1292"/>
                  </a:lnTo>
                  <a:lnTo>
                    <a:pt x="151" y="1289"/>
                  </a:lnTo>
                  <a:lnTo>
                    <a:pt x="149" y="1287"/>
                  </a:lnTo>
                  <a:lnTo>
                    <a:pt x="149" y="1285"/>
                  </a:lnTo>
                  <a:lnTo>
                    <a:pt x="148" y="1283"/>
                  </a:lnTo>
                  <a:lnTo>
                    <a:pt x="146" y="1283"/>
                  </a:lnTo>
                  <a:lnTo>
                    <a:pt x="146" y="1281"/>
                  </a:lnTo>
                  <a:lnTo>
                    <a:pt x="145" y="1280"/>
                  </a:lnTo>
                  <a:lnTo>
                    <a:pt x="144" y="1277"/>
                  </a:lnTo>
                  <a:lnTo>
                    <a:pt x="142" y="1276"/>
                  </a:lnTo>
                  <a:lnTo>
                    <a:pt x="141" y="1273"/>
                  </a:lnTo>
                  <a:lnTo>
                    <a:pt x="140" y="1269"/>
                  </a:lnTo>
                  <a:lnTo>
                    <a:pt x="138" y="1269"/>
                  </a:lnTo>
                  <a:lnTo>
                    <a:pt x="135" y="1267"/>
                  </a:lnTo>
                  <a:lnTo>
                    <a:pt x="132" y="1264"/>
                  </a:lnTo>
                  <a:lnTo>
                    <a:pt x="131" y="1263"/>
                  </a:lnTo>
                  <a:lnTo>
                    <a:pt x="130" y="1260"/>
                  </a:lnTo>
                  <a:lnTo>
                    <a:pt x="128" y="1260"/>
                  </a:lnTo>
                  <a:lnTo>
                    <a:pt x="127" y="1259"/>
                  </a:lnTo>
                  <a:lnTo>
                    <a:pt x="124" y="1256"/>
                  </a:lnTo>
                  <a:lnTo>
                    <a:pt x="123" y="1256"/>
                  </a:lnTo>
                  <a:lnTo>
                    <a:pt x="121" y="1255"/>
                  </a:lnTo>
                  <a:lnTo>
                    <a:pt x="120" y="1252"/>
                  </a:lnTo>
                  <a:lnTo>
                    <a:pt x="119" y="1250"/>
                  </a:lnTo>
                  <a:lnTo>
                    <a:pt x="119" y="1247"/>
                  </a:lnTo>
                  <a:lnTo>
                    <a:pt x="119" y="1244"/>
                  </a:lnTo>
                  <a:lnTo>
                    <a:pt x="120" y="1242"/>
                  </a:lnTo>
                  <a:lnTo>
                    <a:pt x="120" y="1240"/>
                  </a:lnTo>
                  <a:lnTo>
                    <a:pt x="121" y="1238"/>
                  </a:lnTo>
                  <a:lnTo>
                    <a:pt x="121" y="1237"/>
                  </a:lnTo>
                  <a:lnTo>
                    <a:pt x="123" y="1234"/>
                  </a:lnTo>
                  <a:lnTo>
                    <a:pt x="124" y="1232"/>
                  </a:lnTo>
                  <a:lnTo>
                    <a:pt x="124" y="1230"/>
                  </a:lnTo>
                  <a:lnTo>
                    <a:pt x="126" y="1227"/>
                  </a:lnTo>
                  <a:lnTo>
                    <a:pt x="127" y="1227"/>
                  </a:lnTo>
                  <a:lnTo>
                    <a:pt x="128" y="1225"/>
                  </a:lnTo>
                  <a:lnTo>
                    <a:pt x="128" y="1223"/>
                  </a:lnTo>
                  <a:lnTo>
                    <a:pt x="130" y="1221"/>
                  </a:lnTo>
                  <a:lnTo>
                    <a:pt x="131" y="1219"/>
                  </a:lnTo>
                  <a:lnTo>
                    <a:pt x="132" y="1215"/>
                  </a:lnTo>
                  <a:lnTo>
                    <a:pt x="134" y="1214"/>
                  </a:lnTo>
                  <a:lnTo>
                    <a:pt x="134" y="1212"/>
                  </a:lnTo>
                  <a:lnTo>
                    <a:pt x="135" y="1210"/>
                  </a:lnTo>
                  <a:lnTo>
                    <a:pt x="137" y="1207"/>
                  </a:lnTo>
                  <a:lnTo>
                    <a:pt x="138" y="1205"/>
                  </a:lnTo>
                  <a:lnTo>
                    <a:pt x="140" y="1202"/>
                  </a:lnTo>
                  <a:lnTo>
                    <a:pt x="141" y="1201"/>
                  </a:lnTo>
                  <a:lnTo>
                    <a:pt x="142" y="1198"/>
                  </a:lnTo>
                  <a:lnTo>
                    <a:pt x="144" y="1197"/>
                  </a:lnTo>
                  <a:lnTo>
                    <a:pt x="145" y="1194"/>
                  </a:lnTo>
                  <a:lnTo>
                    <a:pt x="146" y="1193"/>
                  </a:lnTo>
                  <a:lnTo>
                    <a:pt x="146" y="1192"/>
                  </a:lnTo>
                  <a:lnTo>
                    <a:pt x="146" y="1189"/>
                  </a:lnTo>
                  <a:lnTo>
                    <a:pt x="148" y="1187"/>
                  </a:lnTo>
                  <a:lnTo>
                    <a:pt x="146" y="1185"/>
                  </a:lnTo>
                  <a:lnTo>
                    <a:pt x="145" y="1182"/>
                  </a:lnTo>
                  <a:lnTo>
                    <a:pt x="145" y="1180"/>
                  </a:lnTo>
                  <a:lnTo>
                    <a:pt x="144" y="1179"/>
                  </a:lnTo>
                  <a:lnTo>
                    <a:pt x="142" y="1176"/>
                  </a:lnTo>
                  <a:lnTo>
                    <a:pt x="142" y="1175"/>
                  </a:lnTo>
                  <a:lnTo>
                    <a:pt x="141" y="1172"/>
                  </a:lnTo>
                  <a:lnTo>
                    <a:pt x="140" y="1170"/>
                  </a:lnTo>
                  <a:lnTo>
                    <a:pt x="140" y="1169"/>
                  </a:lnTo>
                  <a:lnTo>
                    <a:pt x="138" y="1167"/>
                  </a:lnTo>
                  <a:lnTo>
                    <a:pt x="138" y="1165"/>
                  </a:lnTo>
                  <a:lnTo>
                    <a:pt x="137" y="1163"/>
                  </a:lnTo>
                  <a:lnTo>
                    <a:pt x="137" y="1162"/>
                  </a:lnTo>
                  <a:lnTo>
                    <a:pt x="135" y="1159"/>
                  </a:lnTo>
                  <a:lnTo>
                    <a:pt x="135" y="1156"/>
                  </a:lnTo>
                  <a:lnTo>
                    <a:pt x="134" y="1154"/>
                  </a:lnTo>
                  <a:lnTo>
                    <a:pt x="132" y="1151"/>
                  </a:lnTo>
                  <a:lnTo>
                    <a:pt x="132" y="1150"/>
                  </a:lnTo>
                  <a:lnTo>
                    <a:pt x="132" y="1147"/>
                  </a:lnTo>
                  <a:lnTo>
                    <a:pt x="131" y="1144"/>
                  </a:lnTo>
                  <a:lnTo>
                    <a:pt x="131" y="1143"/>
                  </a:lnTo>
                  <a:lnTo>
                    <a:pt x="132" y="1140"/>
                  </a:lnTo>
                  <a:lnTo>
                    <a:pt x="132" y="1138"/>
                  </a:lnTo>
                  <a:lnTo>
                    <a:pt x="132" y="1135"/>
                  </a:lnTo>
                  <a:lnTo>
                    <a:pt x="132" y="1134"/>
                  </a:lnTo>
                  <a:lnTo>
                    <a:pt x="132" y="1131"/>
                  </a:lnTo>
                  <a:lnTo>
                    <a:pt x="132" y="1130"/>
                  </a:lnTo>
                  <a:lnTo>
                    <a:pt x="132" y="1127"/>
                  </a:lnTo>
                  <a:lnTo>
                    <a:pt x="134" y="1126"/>
                  </a:lnTo>
                  <a:lnTo>
                    <a:pt x="134" y="1123"/>
                  </a:lnTo>
                  <a:lnTo>
                    <a:pt x="134" y="1122"/>
                  </a:lnTo>
                  <a:lnTo>
                    <a:pt x="134" y="1118"/>
                  </a:lnTo>
                  <a:lnTo>
                    <a:pt x="134" y="1117"/>
                  </a:lnTo>
                  <a:lnTo>
                    <a:pt x="134" y="1115"/>
                  </a:lnTo>
                  <a:lnTo>
                    <a:pt x="134" y="1113"/>
                  </a:lnTo>
                  <a:lnTo>
                    <a:pt x="134" y="1111"/>
                  </a:lnTo>
                  <a:lnTo>
                    <a:pt x="132" y="1109"/>
                  </a:lnTo>
                  <a:lnTo>
                    <a:pt x="132" y="1107"/>
                  </a:lnTo>
                  <a:lnTo>
                    <a:pt x="131" y="1105"/>
                  </a:lnTo>
                  <a:lnTo>
                    <a:pt x="131" y="1103"/>
                  </a:lnTo>
                  <a:lnTo>
                    <a:pt x="130" y="1102"/>
                  </a:lnTo>
                  <a:lnTo>
                    <a:pt x="130" y="1100"/>
                  </a:lnTo>
                  <a:lnTo>
                    <a:pt x="128" y="1095"/>
                  </a:lnTo>
                  <a:lnTo>
                    <a:pt x="128" y="1092"/>
                  </a:lnTo>
                  <a:lnTo>
                    <a:pt x="127" y="1089"/>
                  </a:lnTo>
                  <a:lnTo>
                    <a:pt x="127" y="1086"/>
                  </a:lnTo>
                  <a:lnTo>
                    <a:pt x="127" y="1082"/>
                  </a:lnTo>
                  <a:lnTo>
                    <a:pt x="126" y="1080"/>
                  </a:lnTo>
                  <a:lnTo>
                    <a:pt x="124" y="1078"/>
                  </a:lnTo>
                  <a:lnTo>
                    <a:pt x="124" y="1077"/>
                  </a:lnTo>
                  <a:lnTo>
                    <a:pt x="123" y="1073"/>
                  </a:lnTo>
                  <a:lnTo>
                    <a:pt x="121" y="1073"/>
                  </a:lnTo>
                  <a:lnTo>
                    <a:pt x="120" y="1072"/>
                  </a:lnTo>
                  <a:lnTo>
                    <a:pt x="119" y="1069"/>
                  </a:lnTo>
                  <a:lnTo>
                    <a:pt x="117" y="1069"/>
                  </a:lnTo>
                  <a:lnTo>
                    <a:pt x="116" y="1067"/>
                  </a:lnTo>
                  <a:lnTo>
                    <a:pt x="115" y="1065"/>
                  </a:lnTo>
                  <a:lnTo>
                    <a:pt x="113" y="1063"/>
                  </a:lnTo>
                  <a:lnTo>
                    <a:pt x="112" y="1060"/>
                  </a:lnTo>
                  <a:lnTo>
                    <a:pt x="109" y="1060"/>
                  </a:lnTo>
                  <a:lnTo>
                    <a:pt x="107" y="1058"/>
                  </a:lnTo>
                  <a:lnTo>
                    <a:pt x="106" y="1056"/>
                  </a:lnTo>
                  <a:lnTo>
                    <a:pt x="103" y="1056"/>
                  </a:lnTo>
                  <a:lnTo>
                    <a:pt x="102" y="1055"/>
                  </a:lnTo>
                  <a:lnTo>
                    <a:pt x="101" y="1053"/>
                  </a:lnTo>
                  <a:lnTo>
                    <a:pt x="98" y="1051"/>
                  </a:lnTo>
                  <a:lnTo>
                    <a:pt x="96" y="1051"/>
                  </a:lnTo>
                  <a:lnTo>
                    <a:pt x="95" y="1050"/>
                  </a:lnTo>
                  <a:lnTo>
                    <a:pt x="94" y="1047"/>
                  </a:lnTo>
                  <a:lnTo>
                    <a:pt x="92" y="1047"/>
                  </a:lnTo>
                  <a:lnTo>
                    <a:pt x="91" y="1044"/>
                  </a:lnTo>
                  <a:lnTo>
                    <a:pt x="90" y="1044"/>
                  </a:lnTo>
                  <a:lnTo>
                    <a:pt x="88" y="1043"/>
                  </a:lnTo>
                  <a:lnTo>
                    <a:pt x="87" y="1040"/>
                  </a:lnTo>
                  <a:lnTo>
                    <a:pt x="85" y="1038"/>
                  </a:lnTo>
                  <a:lnTo>
                    <a:pt x="84" y="1036"/>
                  </a:lnTo>
                  <a:lnTo>
                    <a:pt x="84" y="1033"/>
                  </a:lnTo>
                  <a:lnTo>
                    <a:pt x="82" y="1033"/>
                  </a:lnTo>
                  <a:lnTo>
                    <a:pt x="81" y="1032"/>
                  </a:lnTo>
                  <a:lnTo>
                    <a:pt x="80" y="1031"/>
                  </a:lnTo>
                  <a:lnTo>
                    <a:pt x="78" y="1030"/>
                  </a:lnTo>
                  <a:lnTo>
                    <a:pt x="77" y="1028"/>
                  </a:lnTo>
                  <a:lnTo>
                    <a:pt x="74" y="1027"/>
                  </a:lnTo>
                  <a:lnTo>
                    <a:pt x="74" y="1024"/>
                  </a:lnTo>
                  <a:lnTo>
                    <a:pt x="73" y="1024"/>
                  </a:lnTo>
                  <a:lnTo>
                    <a:pt x="71" y="1024"/>
                  </a:lnTo>
                  <a:lnTo>
                    <a:pt x="70" y="1022"/>
                  </a:lnTo>
                  <a:lnTo>
                    <a:pt x="68" y="1022"/>
                  </a:lnTo>
                  <a:lnTo>
                    <a:pt x="66" y="1020"/>
                  </a:lnTo>
                  <a:lnTo>
                    <a:pt x="64" y="1019"/>
                  </a:lnTo>
                  <a:lnTo>
                    <a:pt x="63" y="1018"/>
                  </a:lnTo>
                  <a:lnTo>
                    <a:pt x="62" y="1018"/>
                  </a:lnTo>
                  <a:lnTo>
                    <a:pt x="59" y="1015"/>
                  </a:lnTo>
                  <a:lnTo>
                    <a:pt x="57" y="1015"/>
                  </a:lnTo>
                  <a:lnTo>
                    <a:pt x="56" y="1014"/>
                  </a:lnTo>
                  <a:lnTo>
                    <a:pt x="55" y="1011"/>
                  </a:lnTo>
                  <a:lnTo>
                    <a:pt x="53" y="1011"/>
                  </a:lnTo>
                  <a:lnTo>
                    <a:pt x="52" y="1010"/>
                  </a:lnTo>
                  <a:lnTo>
                    <a:pt x="49" y="1008"/>
                  </a:lnTo>
                  <a:lnTo>
                    <a:pt x="49" y="1007"/>
                  </a:lnTo>
                  <a:lnTo>
                    <a:pt x="48" y="1005"/>
                  </a:lnTo>
                  <a:lnTo>
                    <a:pt x="46" y="1002"/>
                  </a:lnTo>
                  <a:lnTo>
                    <a:pt x="45" y="1002"/>
                  </a:lnTo>
                  <a:lnTo>
                    <a:pt x="45" y="998"/>
                  </a:lnTo>
                  <a:lnTo>
                    <a:pt x="43" y="996"/>
                  </a:lnTo>
                  <a:lnTo>
                    <a:pt x="42" y="995"/>
                  </a:lnTo>
                  <a:lnTo>
                    <a:pt x="41" y="993"/>
                  </a:lnTo>
                  <a:lnTo>
                    <a:pt x="41" y="991"/>
                  </a:lnTo>
                  <a:lnTo>
                    <a:pt x="39" y="989"/>
                  </a:lnTo>
                  <a:lnTo>
                    <a:pt x="38" y="988"/>
                  </a:lnTo>
                  <a:lnTo>
                    <a:pt x="37" y="986"/>
                  </a:lnTo>
                  <a:lnTo>
                    <a:pt x="37" y="985"/>
                  </a:lnTo>
                  <a:lnTo>
                    <a:pt x="35" y="983"/>
                  </a:lnTo>
                  <a:lnTo>
                    <a:pt x="34" y="982"/>
                  </a:lnTo>
                  <a:lnTo>
                    <a:pt x="32" y="980"/>
                  </a:lnTo>
                  <a:lnTo>
                    <a:pt x="31" y="980"/>
                  </a:lnTo>
                  <a:lnTo>
                    <a:pt x="30" y="980"/>
                  </a:lnTo>
                  <a:lnTo>
                    <a:pt x="31" y="976"/>
                  </a:lnTo>
                  <a:lnTo>
                    <a:pt x="31" y="973"/>
                  </a:lnTo>
                  <a:lnTo>
                    <a:pt x="31" y="971"/>
                  </a:lnTo>
                  <a:lnTo>
                    <a:pt x="31" y="970"/>
                  </a:lnTo>
                  <a:lnTo>
                    <a:pt x="32" y="966"/>
                  </a:lnTo>
                  <a:lnTo>
                    <a:pt x="32" y="965"/>
                  </a:lnTo>
                  <a:lnTo>
                    <a:pt x="34" y="963"/>
                  </a:lnTo>
                  <a:lnTo>
                    <a:pt x="32" y="961"/>
                  </a:lnTo>
                  <a:lnTo>
                    <a:pt x="32" y="957"/>
                  </a:lnTo>
                  <a:lnTo>
                    <a:pt x="32" y="956"/>
                  </a:lnTo>
                  <a:lnTo>
                    <a:pt x="32" y="953"/>
                  </a:lnTo>
                  <a:lnTo>
                    <a:pt x="31" y="952"/>
                  </a:lnTo>
                  <a:lnTo>
                    <a:pt x="30" y="951"/>
                  </a:lnTo>
                  <a:lnTo>
                    <a:pt x="30" y="948"/>
                  </a:lnTo>
                  <a:lnTo>
                    <a:pt x="28" y="946"/>
                  </a:lnTo>
                  <a:lnTo>
                    <a:pt x="27" y="944"/>
                  </a:lnTo>
                  <a:lnTo>
                    <a:pt x="25" y="944"/>
                  </a:lnTo>
                  <a:lnTo>
                    <a:pt x="25" y="943"/>
                  </a:lnTo>
                  <a:lnTo>
                    <a:pt x="24" y="940"/>
                  </a:lnTo>
                  <a:lnTo>
                    <a:pt x="24" y="939"/>
                  </a:lnTo>
                  <a:lnTo>
                    <a:pt x="23" y="937"/>
                  </a:lnTo>
                  <a:lnTo>
                    <a:pt x="23" y="936"/>
                  </a:lnTo>
                  <a:lnTo>
                    <a:pt x="23" y="933"/>
                  </a:lnTo>
                  <a:lnTo>
                    <a:pt x="21" y="931"/>
                  </a:lnTo>
                  <a:lnTo>
                    <a:pt x="20" y="929"/>
                  </a:lnTo>
                  <a:lnTo>
                    <a:pt x="20" y="927"/>
                  </a:lnTo>
                  <a:lnTo>
                    <a:pt x="18" y="927"/>
                  </a:lnTo>
                  <a:lnTo>
                    <a:pt x="16" y="924"/>
                  </a:lnTo>
                  <a:lnTo>
                    <a:pt x="14" y="921"/>
                  </a:lnTo>
                  <a:lnTo>
                    <a:pt x="13" y="921"/>
                  </a:lnTo>
                  <a:lnTo>
                    <a:pt x="10" y="920"/>
                  </a:lnTo>
                  <a:lnTo>
                    <a:pt x="10" y="918"/>
                  </a:lnTo>
                  <a:lnTo>
                    <a:pt x="9" y="918"/>
                  </a:lnTo>
                  <a:lnTo>
                    <a:pt x="9" y="915"/>
                  </a:lnTo>
                  <a:lnTo>
                    <a:pt x="10" y="912"/>
                  </a:lnTo>
                  <a:lnTo>
                    <a:pt x="10" y="911"/>
                  </a:lnTo>
                  <a:lnTo>
                    <a:pt x="10" y="908"/>
                  </a:lnTo>
                  <a:lnTo>
                    <a:pt x="11" y="904"/>
                  </a:lnTo>
                  <a:lnTo>
                    <a:pt x="11" y="903"/>
                  </a:lnTo>
                  <a:lnTo>
                    <a:pt x="11" y="901"/>
                  </a:lnTo>
                  <a:lnTo>
                    <a:pt x="11" y="899"/>
                  </a:lnTo>
                  <a:lnTo>
                    <a:pt x="11" y="895"/>
                  </a:lnTo>
                  <a:lnTo>
                    <a:pt x="10" y="895"/>
                  </a:lnTo>
                  <a:lnTo>
                    <a:pt x="9" y="894"/>
                  </a:lnTo>
                  <a:lnTo>
                    <a:pt x="7" y="891"/>
                  </a:lnTo>
                  <a:lnTo>
                    <a:pt x="6" y="889"/>
                  </a:lnTo>
                  <a:lnTo>
                    <a:pt x="5" y="886"/>
                  </a:lnTo>
                  <a:lnTo>
                    <a:pt x="3" y="882"/>
                  </a:lnTo>
                  <a:lnTo>
                    <a:pt x="2" y="882"/>
                  </a:lnTo>
                  <a:lnTo>
                    <a:pt x="2" y="881"/>
                  </a:lnTo>
                  <a:lnTo>
                    <a:pt x="2" y="878"/>
                  </a:lnTo>
                  <a:lnTo>
                    <a:pt x="3" y="876"/>
                  </a:lnTo>
                  <a:lnTo>
                    <a:pt x="3" y="873"/>
                  </a:lnTo>
                  <a:lnTo>
                    <a:pt x="3" y="871"/>
                  </a:lnTo>
                  <a:lnTo>
                    <a:pt x="5" y="869"/>
                  </a:lnTo>
                  <a:lnTo>
                    <a:pt x="5" y="867"/>
                  </a:lnTo>
                  <a:lnTo>
                    <a:pt x="5" y="866"/>
                  </a:lnTo>
                  <a:lnTo>
                    <a:pt x="5" y="864"/>
                  </a:lnTo>
                  <a:lnTo>
                    <a:pt x="3" y="859"/>
                  </a:lnTo>
                  <a:lnTo>
                    <a:pt x="2" y="858"/>
                  </a:lnTo>
                  <a:lnTo>
                    <a:pt x="2" y="856"/>
                  </a:lnTo>
                  <a:lnTo>
                    <a:pt x="3" y="854"/>
                  </a:lnTo>
                  <a:lnTo>
                    <a:pt x="3" y="853"/>
                  </a:lnTo>
                  <a:lnTo>
                    <a:pt x="5" y="850"/>
                  </a:lnTo>
                  <a:lnTo>
                    <a:pt x="5" y="849"/>
                  </a:lnTo>
                  <a:lnTo>
                    <a:pt x="6" y="846"/>
                  </a:lnTo>
                  <a:lnTo>
                    <a:pt x="7" y="845"/>
                  </a:lnTo>
                  <a:lnTo>
                    <a:pt x="10" y="844"/>
                  </a:lnTo>
                  <a:lnTo>
                    <a:pt x="11" y="842"/>
                  </a:lnTo>
                  <a:lnTo>
                    <a:pt x="11" y="841"/>
                  </a:lnTo>
                  <a:lnTo>
                    <a:pt x="13" y="837"/>
                  </a:lnTo>
                  <a:lnTo>
                    <a:pt x="13" y="836"/>
                  </a:lnTo>
                  <a:lnTo>
                    <a:pt x="11" y="833"/>
                  </a:lnTo>
                  <a:lnTo>
                    <a:pt x="10" y="831"/>
                  </a:lnTo>
                  <a:lnTo>
                    <a:pt x="10" y="828"/>
                  </a:lnTo>
                  <a:lnTo>
                    <a:pt x="9" y="827"/>
                  </a:lnTo>
                  <a:lnTo>
                    <a:pt x="9" y="824"/>
                  </a:lnTo>
                  <a:lnTo>
                    <a:pt x="7" y="821"/>
                  </a:lnTo>
                  <a:lnTo>
                    <a:pt x="6" y="820"/>
                  </a:lnTo>
                  <a:lnTo>
                    <a:pt x="5" y="817"/>
                  </a:lnTo>
                  <a:lnTo>
                    <a:pt x="3" y="815"/>
                  </a:lnTo>
                  <a:lnTo>
                    <a:pt x="2" y="814"/>
                  </a:lnTo>
                  <a:lnTo>
                    <a:pt x="2" y="811"/>
                  </a:lnTo>
                  <a:lnTo>
                    <a:pt x="0" y="808"/>
                  </a:lnTo>
                  <a:lnTo>
                    <a:pt x="0" y="807"/>
                  </a:lnTo>
                  <a:lnTo>
                    <a:pt x="0" y="804"/>
                  </a:lnTo>
                  <a:lnTo>
                    <a:pt x="2" y="804"/>
                  </a:lnTo>
                  <a:lnTo>
                    <a:pt x="5" y="802"/>
                  </a:lnTo>
                  <a:lnTo>
                    <a:pt x="6" y="802"/>
                  </a:lnTo>
                  <a:lnTo>
                    <a:pt x="7" y="802"/>
                  </a:lnTo>
                  <a:lnTo>
                    <a:pt x="9" y="802"/>
                  </a:lnTo>
                  <a:lnTo>
                    <a:pt x="11" y="800"/>
                  </a:lnTo>
                  <a:lnTo>
                    <a:pt x="13" y="800"/>
                  </a:lnTo>
                  <a:lnTo>
                    <a:pt x="14" y="798"/>
                  </a:lnTo>
                  <a:lnTo>
                    <a:pt x="16" y="798"/>
                  </a:lnTo>
                  <a:lnTo>
                    <a:pt x="18" y="798"/>
                  </a:lnTo>
                  <a:lnTo>
                    <a:pt x="20" y="798"/>
                  </a:lnTo>
                  <a:lnTo>
                    <a:pt x="21" y="798"/>
                  </a:lnTo>
                  <a:lnTo>
                    <a:pt x="24" y="798"/>
                  </a:lnTo>
                  <a:lnTo>
                    <a:pt x="25" y="796"/>
                  </a:lnTo>
                  <a:lnTo>
                    <a:pt x="27" y="796"/>
                  </a:lnTo>
                  <a:lnTo>
                    <a:pt x="30" y="796"/>
                  </a:lnTo>
                  <a:lnTo>
                    <a:pt x="31" y="795"/>
                  </a:lnTo>
                  <a:lnTo>
                    <a:pt x="32" y="795"/>
                  </a:lnTo>
                  <a:lnTo>
                    <a:pt x="35" y="795"/>
                  </a:lnTo>
                  <a:lnTo>
                    <a:pt x="37" y="792"/>
                  </a:lnTo>
                  <a:lnTo>
                    <a:pt x="39" y="792"/>
                  </a:lnTo>
                  <a:lnTo>
                    <a:pt x="41" y="792"/>
                  </a:lnTo>
                  <a:lnTo>
                    <a:pt x="42" y="792"/>
                  </a:lnTo>
                  <a:lnTo>
                    <a:pt x="45" y="792"/>
                  </a:lnTo>
                  <a:lnTo>
                    <a:pt x="46" y="791"/>
                  </a:lnTo>
                  <a:lnTo>
                    <a:pt x="48" y="791"/>
                  </a:lnTo>
                  <a:lnTo>
                    <a:pt x="51" y="791"/>
                  </a:lnTo>
                  <a:lnTo>
                    <a:pt x="52" y="789"/>
                  </a:lnTo>
                  <a:lnTo>
                    <a:pt x="53" y="789"/>
                  </a:lnTo>
                  <a:lnTo>
                    <a:pt x="55" y="789"/>
                  </a:lnTo>
                  <a:lnTo>
                    <a:pt x="57" y="789"/>
                  </a:lnTo>
                  <a:lnTo>
                    <a:pt x="59" y="789"/>
                  </a:lnTo>
                  <a:lnTo>
                    <a:pt x="60" y="789"/>
                  </a:lnTo>
                  <a:lnTo>
                    <a:pt x="63" y="787"/>
                  </a:lnTo>
                  <a:lnTo>
                    <a:pt x="66" y="787"/>
                  </a:lnTo>
                  <a:lnTo>
                    <a:pt x="67" y="786"/>
                  </a:lnTo>
                  <a:lnTo>
                    <a:pt x="68" y="786"/>
                  </a:lnTo>
                  <a:lnTo>
                    <a:pt x="71" y="784"/>
                  </a:lnTo>
                  <a:lnTo>
                    <a:pt x="73" y="784"/>
                  </a:lnTo>
                  <a:lnTo>
                    <a:pt x="76" y="784"/>
                  </a:lnTo>
                  <a:lnTo>
                    <a:pt x="77" y="784"/>
                  </a:lnTo>
                  <a:lnTo>
                    <a:pt x="80" y="783"/>
                  </a:lnTo>
                  <a:lnTo>
                    <a:pt x="81" y="783"/>
                  </a:lnTo>
                  <a:lnTo>
                    <a:pt x="84" y="783"/>
                  </a:lnTo>
                  <a:lnTo>
                    <a:pt x="85" y="782"/>
                  </a:lnTo>
                  <a:lnTo>
                    <a:pt x="87" y="782"/>
                  </a:lnTo>
                  <a:lnTo>
                    <a:pt x="90" y="779"/>
                  </a:lnTo>
                  <a:lnTo>
                    <a:pt x="92" y="779"/>
                  </a:lnTo>
                  <a:lnTo>
                    <a:pt x="94" y="779"/>
                  </a:lnTo>
                  <a:lnTo>
                    <a:pt x="96" y="778"/>
                  </a:lnTo>
                  <a:lnTo>
                    <a:pt x="98" y="778"/>
                  </a:lnTo>
                  <a:lnTo>
                    <a:pt x="99" y="778"/>
                  </a:lnTo>
                  <a:lnTo>
                    <a:pt x="102" y="778"/>
                  </a:lnTo>
                  <a:lnTo>
                    <a:pt x="105" y="778"/>
                  </a:lnTo>
                  <a:lnTo>
                    <a:pt x="106" y="778"/>
                  </a:lnTo>
                  <a:lnTo>
                    <a:pt x="107" y="775"/>
                  </a:lnTo>
                  <a:lnTo>
                    <a:pt x="110" y="775"/>
                  </a:lnTo>
                  <a:lnTo>
                    <a:pt x="112" y="775"/>
                  </a:lnTo>
                  <a:lnTo>
                    <a:pt x="113" y="775"/>
                  </a:lnTo>
                  <a:lnTo>
                    <a:pt x="116" y="775"/>
                  </a:lnTo>
                  <a:lnTo>
                    <a:pt x="119" y="774"/>
                  </a:lnTo>
                  <a:lnTo>
                    <a:pt x="120" y="774"/>
                  </a:lnTo>
                  <a:lnTo>
                    <a:pt x="123" y="773"/>
                  </a:lnTo>
                  <a:lnTo>
                    <a:pt x="124" y="771"/>
                  </a:lnTo>
                  <a:lnTo>
                    <a:pt x="127" y="771"/>
                  </a:lnTo>
                  <a:lnTo>
                    <a:pt x="130" y="770"/>
                  </a:lnTo>
                  <a:lnTo>
                    <a:pt x="131" y="769"/>
                  </a:lnTo>
                  <a:lnTo>
                    <a:pt x="134" y="766"/>
                  </a:lnTo>
                  <a:lnTo>
                    <a:pt x="135" y="766"/>
                  </a:lnTo>
                  <a:lnTo>
                    <a:pt x="138" y="766"/>
                  </a:lnTo>
                  <a:lnTo>
                    <a:pt x="140" y="766"/>
                  </a:lnTo>
                  <a:lnTo>
                    <a:pt x="142" y="765"/>
                  </a:lnTo>
                  <a:lnTo>
                    <a:pt x="144" y="762"/>
                  </a:lnTo>
                  <a:lnTo>
                    <a:pt x="146" y="762"/>
                  </a:lnTo>
                  <a:lnTo>
                    <a:pt x="148" y="762"/>
                  </a:lnTo>
                  <a:lnTo>
                    <a:pt x="149" y="761"/>
                  </a:lnTo>
                  <a:lnTo>
                    <a:pt x="152" y="759"/>
                  </a:lnTo>
                  <a:lnTo>
                    <a:pt x="155" y="759"/>
                  </a:lnTo>
                  <a:lnTo>
                    <a:pt x="156" y="757"/>
                  </a:lnTo>
                  <a:lnTo>
                    <a:pt x="157" y="757"/>
                  </a:lnTo>
                  <a:lnTo>
                    <a:pt x="160" y="755"/>
                  </a:lnTo>
                  <a:lnTo>
                    <a:pt x="162" y="755"/>
                  </a:lnTo>
                  <a:lnTo>
                    <a:pt x="163" y="753"/>
                  </a:lnTo>
                  <a:lnTo>
                    <a:pt x="166" y="753"/>
                  </a:lnTo>
                  <a:lnTo>
                    <a:pt x="167" y="753"/>
                  </a:lnTo>
                  <a:lnTo>
                    <a:pt x="170" y="752"/>
                  </a:lnTo>
                  <a:lnTo>
                    <a:pt x="171" y="750"/>
                  </a:lnTo>
                  <a:lnTo>
                    <a:pt x="173" y="750"/>
                  </a:lnTo>
                  <a:lnTo>
                    <a:pt x="176" y="749"/>
                  </a:lnTo>
                  <a:lnTo>
                    <a:pt x="177" y="748"/>
                  </a:lnTo>
                  <a:lnTo>
                    <a:pt x="179" y="748"/>
                  </a:lnTo>
                  <a:lnTo>
                    <a:pt x="181" y="746"/>
                  </a:lnTo>
                  <a:lnTo>
                    <a:pt x="182" y="746"/>
                  </a:lnTo>
                  <a:lnTo>
                    <a:pt x="184" y="744"/>
                  </a:lnTo>
                  <a:lnTo>
                    <a:pt x="185" y="744"/>
                  </a:lnTo>
                  <a:lnTo>
                    <a:pt x="187" y="744"/>
                  </a:lnTo>
                  <a:lnTo>
                    <a:pt x="188" y="742"/>
                  </a:lnTo>
                  <a:lnTo>
                    <a:pt x="191" y="740"/>
                  </a:lnTo>
                  <a:lnTo>
                    <a:pt x="192" y="740"/>
                  </a:lnTo>
                  <a:lnTo>
                    <a:pt x="194" y="738"/>
                  </a:lnTo>
                  <a:lnTo>
                    <a:pt x="195" y="738"/>
                  </a:lnTo>
                  <a:lnTo>
                    <a:pt x="198" y="737"/>
                  </a:lnTo>
                  <a:lnTo>
                    <a:pt x="199" y="734"/>
                  </a:lnTo>
                  <a:lnTo>
                    <a:pt x="202" y="734"/>
                  </a:lnTo>
                  <a:lnTo>
                    <a:pt x="204" y="734"/>
                  </a:lnTo>
                  <a:lnTo>
                    <a:pt x="205" y="734"/>
                  </a:lnTo>
                  <a:lnTo>
                    <a:pt x="206" y="733"/>
                  </a:lnTo>
                  <a:lnTo>
                    <a:pt x="209" y="730"/>
                  </a:lnTo>
                  <a:lnTo>
                    <a:pt x="210" y="730"/>
                  </a:lnTo>
                  <a:lnTo>
                    <a:pt x="212" y="730"/>
                  </a:lnTo>
                  <a:lnTo>
                    <a:pt x="213" y="730"/>
                  </a:lnTo>
                  <a:lnTo>
                    <a:pt x="215" y="729"/>
                  </a:lnTo>
                  <a:lnTo>
                    <a:pt x="217" y="729"/>
                  </a:lnTo>
                  <a:lnTo>
                    <a:pt x="219" y="727"/>
                  </a:lnTo>
                  <a:lnTo>
                    <a:pt x="220" y="727"/>
                  </a:lnTo>
                  <a:lnTo>
                    <a:pt x="223" y="727"/>
                  </a:lnTo>
                  <a:lnTo>
                    <a:pt x="224" y="725"/>
                  </a:lnTo>
                  <a:lnTo>
                    <a:pt x="226" y="725"/>
                  </a:lnTo>
                  <a:lnTo>
                    <a:pt x="227" y="721"/>
                  </a:lnTo>
                  <a:lnTo>
                    <a:pt x="229" y="721"/>
                  </a:lnTo>
                  <a:lnTo>
                    <a:pt x="231" y="721"/>
                  </a:lnTo>
                  <a:lnTo>
                    <a:pt x="232" y="721"/>
                  </a:lnTo>
                  <a:lnTo>
                    <a:pt x="235" y="720"/>
                  </a:lnTo>
                  <a:lnTo>
                    <a:pt x="237" y="717"/>
                  </a:lnTo>
                  <a:lnTo>
                    <a:pt x="238" y="717"/>
                  </a:lnTo>
                  <a:lnTo>
                    <a:pt x="241" y="717"/>
                  </a:lnTo>
                  <a:lnTo>
                    <a:pt x="242" y="716"/>
                  </a:lnTo>
                  <a:lnTo>
                    <a:pt x="245" y="716"/>
                  </a:lnTo>
                  <a:lnTo>
                    <a:pt x="246" y="715"/>
                  </a:lnTo>
                  <a:lnTo>
                    <a:pt x="248" y="715"/>
                  </a:lnTo>
                  <a:lnTo>
                    <a:pt x="251" y="713"/>
                  </a:lnTo>
                  <a:lnTo>
                    <a:pt x="254" y="713"/>
                  </a:lnTo>
                  <a:lnTo>
                    <a:pt x="255" y="713"/>
                  </a:lnTo>
                  <a:lnTo>
                    <a:pt x="256" y="712"/>
                  </a:lnTo>
                  <a:lnTo>
                    <a:pt x="259" y="712"/>
                  </a:lnTo>
                  <a:lnTo>
                    <a:pt x="260" y="711"/>
                  </a:lnTo>
                  <a:lnTo>
                    <a:pt x="263" y="711"/>
                  </a:lnTo>
                  <a:lnTo>
                    <a:pt x="266" y="708"/>
                  </a:lnTo>
                  <a:lnTo>
                    <a:pt x="267" y="708"/>
                  </a:lnTo>
                  <a:lnTo>
                    <a:pt x="269" y="708"/>
                  </a:lnTo>
                  <a:lnTo>
                    <a:pt x="271" y="708"/>
                  </a:lnTo>
                  <a:lnTo>
                    <a:pt x="273" y="707"/>
                  </a:lnTo>
                  <a:lnTo>
                    <a:pt x="276" y="704"/>
                  </a:lnTo>
                  <a:lnTo>
                    <a:pt x="279" y="704"/>
                  </a:lnTo>
                  <a:lnTo>
                    <a:pt x="280" y="704"/>
                  </a:lnTo>
                  <a:lnTo>
                    <a:pt x="283" y="703"/>
                  </a:lnTo>
                  <a:lnTo>
                    <a:pt x="285" y="703"/>
                  </a:lnTo>
                  <a:lnTo>
                    <a:pt x="287" y="699"/>
                  </a:lnTo>
                  <a:lnTo>
                    <a:pt x="288" y="699"/>
                  </a:lnTo>
                  <a:lnTo>
                    <a:pt x="290" y="699"/>
                  </a:lnTo>
                  <a:lnTo>
                    <a:pt x="292" y="699"/>
                  </a:lnTo>
                  <a:lnTo>
                    <a:pt x="294" y="699"/>
                  </a:lnTo>
                  <a:lnTo>
                    <a:pt x="296" y="698"/>
                  </a:lnTo>
                  <a:lnTo>
                    <a:pt x="298" y="695"/>
                  </a:lnTo>
                  <a:lnTo>
                    <a:pt x="301" y="695"/>
                  </a:lnTo>
                  <a:lnTo>
                    <a:pt x="302" y="695"/>
                  </a:lnTo>
                  <a:lnTo>
                    <a:pt x="304" y="693"/>
                  </a:lnTo>
                  <a:lnTo>
                    <a:pt x="305" y="693"/>
                  </a:lnTo>
                  <a:lnTo>
                    <a:pt x="306" y="693"/>
                  </a:lnTo>
                  <a:lnTo>
                    <a:pt x="309" y="692"/>
                  </a:lnTo>
                  <a:lnTo>
                    <a:pt x="310" y="692"/>
                  </a:lnTo>
                  <a:lnTo>
                    <a:pt x="313" y="691"/>
                  </a:lnTo>
                  <a:lnTo>
                    <a:pt x="316" y="691"/>
                  </a:lnTo>
                  <a:lnTo>
                    <a:pt x="317" y="690"/>
                  </a:lnTo>
                  <a:lnTo>
                    <a:pt x="319" y="688"/>
                  </a:lnTo>
                  <a:lnTo>
                    <a:pt x="322" y="688"/>
                  </a:lnTo>
                  <a:lnTo>
                    <a:pt x="323" y="686"/>
                  </a:lnTo>
                  <a:lnTo>
                    <a:pt x="324" y="686"/>
                  </a:lnTo>
                  <a:lnTo>
                    <a:pt x="327" y="686"/>
                  </a:lnTo>
                  <a:lnTo>
                    <a:pt x="330" y="684"/>
                  </a:lnTo>
                  <a:lnTo>
                    <a:pt x="331" y="682"/>
                  </a:lnTo>
                  <a:lnTo>
                    <a:pt x="333" y="682"/>
                  </a:lnTo>
                  <a:lnTo>
                    <a:pt x="336" y="682"/>
                  </a:lnTo>
                  <a:lnTo>
                    <a:pt x="338" y="682"/>
                  </a:lnTo>
                  <a:lnTo>
                    <a:pt x="340" y="682"/>
                  </a:lnTo>
                  <a:lnTo>
                    <a:pt x="341" y="680"/>
                  </a:lnTo>
                  <a:lnTo>
                    <a:pt x="344" y="680"/>
                  </a:lnTo>
                  <a:lnTo>
                    <a:pt x="345" y="678"/>
                  </a:lnTo>
                  <a:lnTo>
                    <a:pt x="348" y="678"/>
                  </a:lnTo>
                  <a:lnTo>
                    <a:pt x="350" y="678"/>
                  </a:lnTo>
                  <a:lnTo>
                    <a:pt x="352" y="678"/>
                  </a:lnTo>
                  <a:lnTo>
                    <a:pt x="354" y="676"/>
                  </a:lnTo>
                  <a:lnTo>
                    <a:pt x="356" y="676"/>
                  </a:lnTo>
                  <a:lnTo>
                    <a:pt x="358" y="675"/>
                  </a:lnTo>
                  <a:lnTo>
                    <a:pt x="361" y="675"/>
                  </a:lnTo>
                  <a:lnTo>
                    <a:pt x="361" y="673"/>
                  </a:lnTo>
                  <a:lnTo>
                    <a:pt x="364" y="673"/>
                  </a:lnTo>
                  <a:lnTo>
                    <a:pt x="365" y="671"/>
                  </a:lnTo>
                  <a:lnTo>
                    <a:pt x="367" y="671"/>
                  </a:lnTo>
                  <a:lnTo>
                    <a:pt x="369" y="668"/>
                  </a:lnTo>
                  <a:lnTo>
                    <a:pt x="372" y="668"/>
                  </a:lnTo>
                  <a:lnTo>
                    <a:pt x="373" y="668"/>
                  </a:lnTo>
                  <a:lnTo>
                    <a:pt x="376" y="667"/>
                  </a:lnTo>
                  <a:lnTo>
                    <a:pt x="377" y="667"/>
                  </a:lnTo>
                  <a:lnTo>
                    <a:pt x="379" y="666"/>
                  </a:lnTo>
                  <a:lnTo>
                    <a:pt x="381" y="666"/>
                  </a:lnTo>
                  <a:lnTo>
                    <a:pt x="384" y="663"/>
                  </a:lnTo>
                  <a:lnTo>
                    <a:pt x="386" y="663"/>
                  </a:lnTo>
                  <a:lnTo>
                    <a:pt x="387" y="663"/>
                  </a:lnTo>
                  <a:lnTo>
                    <a:pt x="390" y="663"/>
                  </a:lnTo>
                  <a:lnTo>
                    <a:pt x="391" y="662"/>
                  </a:lnTo>
                  <a:lnTo>
                    <a:pt x="394" y="662"/>
                  </a:lnTo>
                  <a:lnTo>
                    <a:pt x="395" y="659"/>
                  </a:lnTo>
                  <a:lnTo>
                    <a:pt x="397" y="659"/>
                  </a:lnTo>
                  <a:lnTo>
                    <a:pt x="400" y="659"/>
                  </a:lnTo>
                  <a:lnTo>
                    <a:pt x="402" y="658"/>
                  </a:lnTo>
                  <a:lnTo>
                    <a:pt x="404" y="658"/>
                  </a:lnTo>
                  <a:lnTo>
                    <a:pt x="405" y="657"/>
                  </a:lnTo>
                  <a:lnTo>
                    <a:pt x="408" y="657"/>
                  </a:lnTo>
                  <a:lnTo>
                    <a:pt x="409" y="655"/>
                  </a:lnTo>
                  <a:lnTo>
                    <a:pt x="411" y="655"/>
                  </a:lnTo>
                  <a:lnTo>
                    <a:pt x="412" y="654"/>
                  </a:lnTo>
                  <a:lnTo>
                    <a:pt x="415" y="654"/>
                  </a:lnTo>
                  <a:lnTo>
                    <a:pt x="416" y="653"/>
                  </a:lnTo>
                  <a:lnTo>
                    <a:pt x="419" y="653"/>
                  </a:lnTo>
                  <a:lnTo>
                    <a:pt x="420" y="650"/>
                  </a:lnTo>
                  <a:lnTo>
                    <a:pt x="422" y="650"/>
                  </a:lnTo>
                  <a:lnTo>
                    <a:pt x="423" y="650"/>
                  </a:lnTo>
                  <a:lnTo>
                    <a:pt x="426" y="649"/>
                  </a:lnTo>
                  <a:lnTo>
                    <a:pt x="427" y="649"/>
                  </a:lnTo>
                  <a:lnTo>
                    <a:pt x="430" y="646"/>
                  </a:lnTo>
                  <a:lnTo>
                    <a:pt x="431" y="646"/>
                  </a:lnTo>
                  <a:lnTo>
                    <a:pt x="433" y="646"/>
                  </a:lnTo>
                  <a:lnTo>
                    <a:pt x="434" y="646"/>
                  </a:lnTo>
                  <a:lnTo>
                    <a:pt x="436" y="645"/>
                  </a:lnTo>
                  <a:lnTo>
                    <a:pt x="439" y="645"/>
                  </a:lnTo>
                  <a:lnTo>
                    <a:pt x="440" y="643"/>
                  </a:lnTo>
                  <a:lnTo>
                    <a:pt x="442" y="642"/>
                  </a:lnTo>
                  <a:lnTo>
                    <a:pt x="444" y="642"/>
                  </a:lnTo>
                  <a:lnTo>
                    <a:pt x="445" y="641"/>
                  </a:lnTo>
                  <a:lnTo>
                    <a:pt x="447" y="641"/>
                  </a:lnTo>
                  <a:lnTo>
                    <a:pt x="450" y="640"/>
                  </a:lnTo>
                  <a:lnTo>
                    <a:pt x="451" y="640"/>
                  </a:lnTo>
                  <a:lnTo>
                    <a:pt x="454" y="637"/>
                  </a:lnTo>
                  <a:lnTo>
                    <a:pt x="455" y="637"/>
                  </a:lnTo>
                  <a:lnTo>
                    <a:pt x="456" y="637"/>
                  </a:lnTo>
                  <a:lnTo>
                    <a:pt x="458" y="636"/>
                  </a:lnTo>
                  <a:lnTo>
                    <a:pt x="461" y="636"/>
                  </a:lnTo>
                  <a:lnTo>
                    <a:pt x="462" y="633"/>
                  </a:lnTo>
                  <a:lnTo>
                    <a:pt x="465" y="633"/>
                  </a:lnTo>
                  <a:lnTo>
                    <a:pt x="466" y="633"/>
                  </a:lnTo>
                  <a:lnTo>
                    <a:pt x="469" y="633"/>
                  </a:lnTo>
                  <a:lnTo>
                    <a:pt x="472" y="632"/>
                  </a:lnTo>
                  <a:lnTo>
                    <a:pt x="473" y="632"/>
                  </a:lnTo>
                  <a:lnTo>
                    <a:pt x="476" y="630"/>
                  </a:lnTo>
                  <a:lnTo>
                    <a:pt x="477" y="630"/>
                  </a:lnTo>
                  <a:lnTo>
                    <a:pt x="479" y="630"/>
                  </a:lnTo>
                  <a:lnTo>
                    <a:pt x="481" y="628"/>
                  </a:lnTo>
                  <a:lnTo>
                    <a:pt x="484" y="628"/>
                  </a:lnTo>
                  <a:lnTo>
                    <a:pt x="486" y="628"/>
                  </a:lnTo>
                  <a:lnTo>
                    <a:pt x="489" y="628"/>
                  </a:lnTo>
                  <a:lnTo>
                    <a:pt x="490" y="628"/>
                  </a:lnTo>
                  <a:lnTo>
                    <a:pt x="491" y="628"/>
                  </a:lnTo>
                  <a:lnTo>
                    <a:pt x="494" y="626"/>
                  </a:lnTo>
                  <a:lnTo>
                    <a:pt x="497" y="626"/>
                  </a:lnTo>
                  <a:lnTo>
                    <a:pt x="498" y="624"/>
                  </a:lnTo>
                  <a:lnTo>
                    <a:pt x="501" y="624"/>
                  </a:lnTo>
                  <a:lnTo>
                    <a:pt x="502" y="624"/>
                  </a:lnTo>
                  <a:lnTo>
                    <a:pt x="505" y="624"/>
                  </a:lnTo>
                  <a:lnTo>
                    <a:pt x="506" y="624"/>
                  </a:lnTo>
                  <a:lnTo>
                    <a:pt x="509" y="623"/>
                  </a:lnTo>
                  <a:lnTo>
                    <a:pt x="511" y="623"/>
                  </a:lnTo>
                  <a:lnTo>
                    <a:pt x="514" y="623"/>
                  </a:lnTo>
                  <a:lnTo>
                    <a:pt x="515" y="621"/>
                  </a:lnTo>
                  <a:lnTo>
                    <a:pt x="517" y="621"/>
                  </a:lnTo>
                  <a:lnTo>
                    <a:pt x="520" y="620"/>
                  </a:lnTo>
                  <a:lnTo>
                    <a:pt x="522" y="620"/>
                  </a:lnTo>
                  <a:lnTo>
                    <a:pt x="525" y="620"/>
                  </a:lnTo>
                  <a:lnTo>
                    <a:pt x="527" y="618"/>
                  </a:lnTo>
                  <a:lnTo>
                    <a:pt x="529" y="618"/>
                  </a:lnTo>
                  <a:lnTo>
                    <a:pt x="531" y="617"/>
                  </a:lnTo>
                  <a:lnTo>
                    <a:pt x="534" y="617"/>
                  </a:lnTo>
                  <a:lnTo>
                    <a:pt x="536" y="617"/>
                  </a:lnTo>
                  <a:lnTo>
                    <a:pt x="539" y="615"/>
                  </a:lnTo>
                  <a:lnTo>
                    <a:pt x="541" y="615"/>
                  </a:lnTo>
                  <a:lnTo>
                    <a:pt x="544" y="615"/>
                  </a:lnTo>
                  <a:lnTo>
                    <a:pt x="545" y="615"/>
                  </a:lnTo>
                  <a:lnTo>
                    <a:pt x="548" y="613"/>
                  </a:lnTo>
                  <a:lnTo>
                    <a:pt x="551" y="613"/>
                  </a:lnTo>
                  <a:lnTo>
                    <a:pt x="552" y="613"/>
                  </a:lnTo>
                  <a:lnTo>
                    <a:pt x="555" y="611"/>
                  </a:lnTo>
                  <a:lnTo>
                    <a:pt x="556" y="611"/>
                  </a:lnTo>
                  <a:lnTo>
                    <a:pt x="559" y="611"/>
                  </a:lnTo>
                  <a:lnTo>
                    <a:pt x="561" y="611"/>
                  </a:lnTo>
                  <a:lnTo>
                    <a:pt x="564" y="611"/>
                  </a:lnTo>
                  <a:lnTo>
                    <a:pt x="566" y="609"/>
                  </a:lnTo>
                  <a:lnTo>
                    <a:pt x="569" y="609"/>
                  </a:lnTo>
                  <a:lnTo>
                    <a:pt x="570" y="608"/>
                  </a:lnTo>
                  <a:lnTo>
                    <a:pt x="573" y="608"/>
                  </a:lnTo>
                  <a:lnTo>
                    <a:pt x="576" y="608"/>
                  </a:lnTo>
                  <a:lnTo>
                    <a:pt x="576" y="605"/>
                  </a:lnTo>
                  <a:lnTo>
                    <a:pt x="577" y="605"/>
                  </a:lnTo>
                  <a:lnTo>
                    <a:pt x="580" y="605"/>
                  </a:lnTo>
                  <a:lnTo>
                    <a:pt x="583" y="605"/>
                  </a:lnTo>
                  <a:lnTo>
                    <a:pt x="584" y="605"/>
                  </a:lnTo>
                  <a:lnTo>
                    <a:pt x="586" y="605"/>
                  </a:lnTo>
                  <a:lnTo>
                    <a:pt x="589" y="604"/>
                  </a:lnTo>
                  <a:lnTo>
                    <a:pt x="591" y="604"/>
                  </a:lnTo>
                  <a:lnTo>
                    <a:pt x="593" y="601"/>
                  </a:lnTo>
                  <a:lnTo>
                    <a:pt x="596" y="601"/>
                  </a:lnTo>
                  <a:lnTo>
                    <a:pt x="597" y="601"/>
                  </a:lnTo>
                  <a:lnTo>
                    <a:pt x="600" y="601"/>
                  </a:lnTo>
                  <a:lnTo>
                    <a:pt x="602" y="600"/>
                  </a:lnTo>
                  <a:lnTo>
                    <a:pt x="604" y="600"/>
                  </a:lnTo>
                  <a:lnTo>
                    <a:pt x="605" y="600"/>
                  </a:lnTo>
                  <a:lnTo>
                    <a:pt x="608" y="598"/>
                  </a:lnTo>
                  <a:lnTo>
                    <a:pt x="611" y="598"/>
                  </a:lnTo>
                  <a:lnTo>
                    <a:pt x="612" y="598"/>
                  </a:lnTo>
                  <a:lnTo>
                    <a:pt x="615" y="598"/>
                  </a:lnTo>
                  <a:lnTo>
                    <a:pt x="616" y="596"/>
                  </a:lnTo>
                  <a:lnTo>
                    <a:pt x="619" y="596"/>
                  </a:lnTo>
                  <a:lnTo>
                    <a:pt x="622" y="596"/>
                  </a:lnTo>
                  <a:lnTo>
                    <a:pt x="624" y="595"/>
                  </a:lnTo>
                  <a:lnTo>
                    <a:pt x="626" y="595"/>
                  </a:lnTo>
                  <a:lnTo>
                    <a:pt x="629" y="592"/>
                  </a:lnTo>
                  <a:lnTo>
                    <a:pt x="630" y="592"/>
                  </a:lnTo>
                  <a:lnTo>
                    <a:pt x="632" y="592"/>
                  </a:lnTo>
                  <a:lnTo>
                    <a:pt x="635" y="592"/>
                  </a:lnTo>
                  <a:lnTo>
                    <a:pt x="637" y="591"/>
                  </a:lnTo>
                  <a:lnTo>
                    <a:pt x="639" y="591"/>
                  </a:lnTo>
                  <a:lnTo>
                    <a:pt x="641" y="588"/>
                  </a:lnTo>
                  <a:lnTo>
                    <a:pt x="644" y="588"/>
                  </a:lnTo>
                  <a:lnTo>
                    <a:pt x="646" y="588"/>
                  </a:lnTo>
                  <a:lnTo>
                    <a:pt x="649" y="588"/>
                  </a:lnTo>
                  <a:lnTo>
                    <a:pt x="650" y="588"/>
                  </a:lnTo>
                  <a:lnTo>
                    <a:pt x="651" y="588"/>
                  </a:lnTo>
                  <a:lnTo>
                    <a:pt x="654" y="588"/>
                  </a:lnTo>
                  <a:lnTo>
                    <a:pt x="655" y="588"/>
                  </a:lnTo>
                  <a:lnTo>
                    <a:pt x="657" y="588"/>
                  </a:lnTo>
                  <a:lnTo>
                    <a:pt x="660" y="587"/>
                  </a:lnTo>
                  <a:lnTo>
                    <a:pt x="662" y="587"/>
                  </a:lnTo>
                  <a:lnTo>
                    <a:pt x="664" y="586"/>
                  </a:lnTo>
                  <a:lnTo>
                    <a:pt x="665" y="586"/>
                  </a:lnTo>
                  <a:lnTo>
                    <a:pt x="666" y="584"/>
                  </a:lnTo>
                  <a:lnTo>
                    <a:pt x="669" y="584"/>
                  </a:lnTo>
                  <a:lnTo>
                    <a:pt x="672" y="584"/>
                  </a:lnTo>
                  <a:lnTo>
                    <a:pt x="674" y="584"/>
                  </a:lnTo>
                  <a:lnTo>
                    <a:pt x="676" y="583"/>
                  </a:lnTo>
                  <a:lnTo>
                    <a:pt x="678" y="583"/>
                  </a:lnTo>
                  <a:lnTo>
                    <a:pt x="679" y="581"/>
                  </a:lnTo>
                  <a:lnTo>
                    <a:pt x="680" y="581"/>
                  </a:lnTo>
                  <a:lnTo>
                    <a:pt x="682" y="579"/>
                  </a:lnTo>
                  <a:lnTo>
                    <a:pt x="683" y="579"/>
                  </a:lnTo>
                  <a:lnTo>
                    <a:pt x="685" y="579"/>
                  </a:lnTo>
                  <a:lnTo>
                    <a:pt x="687" y="579"/>
                  </a:lnTo>
                  <a:lnTo>
                    <a:pt x="689" y="579"/>
                  </a:lnTo>
                  <a:lnTo>
                    <a:pt x="691" y="579"/>
                  </a:lnTo>
                  <a:lnTo>
                    <a:pt x="694" y="579"/>
                  </a:lnTo>
                  <a:lnTo>
                    <a:pt x="696" y="579"/>
                  </a:lnTo>
                  <a:lnTo>
                    <a:pt x="697" y="578"/>
                  </a:lnTo>
                  <a:lnTo>
                    <a:pt x="700" y="578"/>
                  </a:lnTo>
                  <a:lnTo>
                    <a:pt x="701" y="575"/>
                  </a:lnTo>
                  <a:lnTo>
                    <a:pt x="703" y="575"/>
                  </a:lnTo>
                  <a:lnTo>
                    <a:pt x="704" y="575"/>
                  </a:lnTo>
                  <a:lnTo>
                    <a:pt x="707" y="575"/>
                  </a:lnTo>
                  <a:lnTo>
                    <a:pt x="710" y="574"/>
                  </a:lnTo>
                  <a:lnTo>
                    <a:pt x="711" y="574"/>
                  </a:lnTo>
                  <a:lnTo>
                    <a:pt x="714" y="573"/>
                  </a:lnTo>
                  <a:lnTo>
                    <a:pt x="715" y="573"/>
                  </a:lnTo>
                  <a:lnTo>
                    <a:pt x="718" y="570"/>
                  </a:lnTo>
                  <a:lnTo>
                    <a:pt x="719" y="570"/>
                  </a:lnTo>
                  <a:lnTo>
                    <a:pt x="722" y="570"/>
                  </a:lnTo>
                  <a:lnTo>
                    <a:pt x="724" y="568"/>
                  </a:lnTo>
                  <a:lnTo>
                    <a:pt x="726" y="568"/>
                  </a:lnTo>
                  <a:lnTo>
                    <a:pt x="728" y="566"/>
                  </a:lnTo>
                  <a:lnTo>
                    <a:pt x="729" y="566"/>
                  </a:lnTo>
                  <a:lnTo>
                    <a:pt x="732" y="566"/>
                  </a:lnTo>
                  <a:lnTo>
                    <a:pt x="733" y="566"/>
                  </a:lnTo>
                  <a:lnTo>
                    <a:pt x="735" y="566"/>
                  </a:lnTo>
                  <a:lnTo>
                    <a:pt x="737" y="564"/>
                  </a:lnTo>
                  <a:lnTo>
                    <a:pt x="740" y="562"/>
                  </a:lnTo>
                  <a:lnTo>
                    <a:pt x="741" y="562"/>
                  </a:lnTo>
                  <a:lnTo>
                    <a:pt x="743" y="562"/>
                  </a:lnTo>
                  <a:lnTo>
                    <a:pt x="746" y="562"/>
                  </a:lnTo>
                  <a:lnTo>
                    <a:pt x="749" y="561"/>
                  </a:lnTo>
                  <a:lnTo>
                    <a:pt x="750" y="561"/>
                  </a:lnTo>
                  <a:lnTo>
                    <a:pt x="751" y="559"/>
                  </a:lnTo>
                  <a:lnTo>
                    <a:pt x="755" y="556"/>
                  </a:lnTo>
                  <a:lnTo>
                    <a:pt x="757" y="556"/>
                  </a:lnTo>
                  <a:lnTo>
                    <a:pt x="760" y="556"/>
                  </a:lnTo>
                  <a:lnTo>
                    <a:pt x="761" y="556"/>
                  </a:lnTo>
                  <a:lnTo>
                    <a:pt x="764" y="555"/>
                  </a:lnTo>
                  <a:lnTo>
                    <a:pt x="765" y="555"/>
                  </a:lnTo>
                  <a:lnTo>
                    <a:pt x="768" y="555"/>
                  </a:lnTo>
                  <a:lnTo>
                    <a:pt x="771" y="553"/>
                  </a:lnTo>
                  <a:lnTo>
                    <a:pt x="772" y="553"/>
                  </a:lnTo>
                  <a:lnTo>
                    <a:pt x="775" y="553"/>
                  </a:lnTo>
                  <a:lnTo>
                    <a:pt x="776" y="551"/>
                  </a:lnTo>
                  <a:lnTo>
                    <a:pt x="779" y="550"/>
                  </a:lnTo>
                  <a:lnTo>
                    <a:pt x="780" y="550"/>
                  </a:lnTo>
                  <a:lnTo>
                    <a:pt x="783" y="549"/>
                  </a:lnTo>
                  <a:lnTo>
                    <a:pt x="786" y="549"/>
                  </a:lnTo>
                  <a:lnTo>
                    <a:pt x="788" y="547"/>
                  </a:lnTo>
                  <a:lnTo>
                    <a:pt x="789" y="547"/>
                  </a:lnTo>
                  <a:lnTo>
                    <a:pt x="791" y="546"/>
                  </a:lnTo>
                  <a:lnTo>
                    <a:pt x="794" y="546"/>
                  </a:lnTo>
                  <a:lnTo>
                    <a:pt x="796" y="543"/>
                  </a:lnTo>
                  <a:lnTo>
                    <a:pt x="799" y="543"/>
                  </a:lnTo>
                  <a:lnTo>
                    <a:pt x="801" y="543"/>
                  </a:lnTo>
                  <a:lnTo>
                    <a:pt x="803" y="543"/>
                  </a:lnTo>
                  <a:lnTo>
                    <a:pt x="805" y="542"/>
                  </a:lnTo>
                  <a:lnTo>
                    <a:pt x="808" y="542"/>
                  </a:lnTo>
                  <a:lnTo>
                    <a:pt x="810" y="539"/>
                  </a:lnTo>
                  <a:lnTo>
                    <a:pt x="813" y="539"/>
                  </a:lnTo>
                  <a:lnTo>
                    <a:pt x="814" y="539"/>
                  </a:lnTo>
                  <a:lnTo>
                    <a:pt x="816" y="539"/>
                  </a:lnTo>
                  <a:lnTo>
                    <a:pt x="819" y="539"/>
                  </a:lnTo>
                  <a:lnTo>
                    <a:pt x="821" y="538"/>
                  </a:lnTo>
                  <a:lnTo>
                    <a:pt x="824" y="538"/>
                  </a:lnTo>
                  <a:lnTo>
                    <a:pt x="826" y="537"/>
                  </a:lnTo>
                  <a:lnTo>
                    <a:pt x="828" y="537"/>
                  </a:lnTo>
                  <a:lnTo>
                    <a:pt x="830" y="534"/>
                  </a:lnTo>
                  <a:lnTo>
                    <a:pt x="833" y="534"/>
                  </a:lnTo>
                  <a:lnTo>
                    <a:pt x="835" y="534"/>
                  </a:lnTo>
                  <a:lnTo>
                    <a:pt x="836" y="534"/>
                  </a:lnTo>
                  <a:lnTo>
                    <a:pt x="839" y="534"/>
                  </a:lnTo>
                  <a:lnTo>
                    <a:pt x="842" y="533"/>
                  </a:lnTo>
                  <a:lnTo>
                    <a:pt x="843" y="533"/>
                  </a:lnTo>
                  <a:lnTo>
                    <a:pt x="846" y="533"/>
                  </a:lnTo>
                  <a:lnTo>
                    <a:pt x="847" y="530"/>
                  </a:lnTo>
                  <a:lnTo>
                    <a:pt x="849" y="530"/>
                  </a:lnTo>
                  <a:lnTo>
                    <a:pt x="851" y="530"/>
                  </a:lnTo>
                  <a:lnTo>
                    <a:pt x="854" y="530"/>
                  </a:lnTo>
                  <a:lnTo>
                    <a:pt x="856" y="530"/>
                  </a:lnTo>
                  <a:lnTo>
                    <a:pt x="858" y="530"/>
                  </a:lnTo>
                  <a:lnTo>
                    <a:pt x="860" y="530"/>
                  </a:lnTo>
                  <a:lnTo>
                    <a:pt x="863" y="530"/>
                  </a:lnTo>
                  <a:lnTo>
                    <a:pt x="864" y="529"/>
                  </a:lnTo>
                  <a:lnTo>
                    <a:pt x="865" y="529"/>
                  </a:lnTo>
                  <a:lnTo>
                    <a:pt x="868" y="529"/>
                  </a:lnTo>
                  <a:lnTo>
                    <a:pt x="870" y="529"/>
                  </a:lnTo>
                  <a:lnTo>
                    <a:pt x="872" y="528"/>
                  </a:lnTo>
                  <a:lnTo>
                    <a:pt x="875" y="528"/>
                  </a:lnTo>
                  <a:lnTo>
                    <a:pt x="876" y="528"/>
                  </a:lnTo>
                  <a:lnTo>
                    <a:pt x="879" y="528"/>
                  </a:lnTo>
                  <a:lnTo>
                    <a:pt x="881" y="526"/>
                  </a:lnTo>
                  <a:lnTo>
                    <a:pt x="882" y="526"/>
                  </a:lnTo>
                  <a:lnTo>
                    <a:pt x="885" y="526"/>
                  </a:lnTo>
                  <a:lnTo>
                    <a:pt x="886" y="526"/>
                  </a:lnTo>
                  <a:lnTo>
                    <a:pt x="888" y="526"/>
                  </a:lnTo>
                  <a:lnTo>
                    <a:pt x="890" y="525"/>
                  </a:lnTo>
                  <a:lnTo>
                    <a:pt x="892" y="525"/>
                  </a:lnTo>
                  <a:lnTo>
                    <a:pt x="893" y="525"/>
                  </a:lnTo>
                  <a:lnTo>
                    <a:pt x="896" y="524"/>
                  </a:lnTo>
                  <a:lnTo>
                    <a:pt x="897" y="524"/>
                  </a:lnTo>
                  <a:lnTo>
                    <a:pt x="899" y="524"/>
                  </a:lnTo>
                  <a:lnTo>
                    <a:pt x="901" y="524"/>
                  </a:lnTo>
                  <a:lnTo>
                    <a:pt x="903" y="521"/>
                  </a:lnTo>
                  <a:lnTo>
                    <a:pt x="904" y="521"/>
                  </a:lnTo>
                  <a:lnTo>
                    <a:pt x="906" y="521"/>
                  </a:lnTo>
                  <a:lnTo>
                    <a:pt x="909" y="521"/>
                  </a:lnTo>
                  <a:lnTo>
                    <a:pt x="910" y="521"/>
                  </a:lnTo>
                  <a:lnTo>
                    <a:pt x="911" y="521"/>
                  </a:lnTo>
                  <a:lnTo>
                    <a:pt x="913" y="521"/>
                  </a:lnTo>
                  <a:lnTo>
                    <a:pt x="915" y="519"/>
                  </a:lnTo>
                  <a:lnTo>
                    <a:pt x="917" y="519"/>
                  </a:lnTo>
                  <a:lnTo>
                    <a:pt x="918" y="519"/>
                  </a:lnTo>
                  <a:lnTo>
                    <a:pt x="921" y="517"/>
                  </a:lnTo>
                  <a:lnTo>
                    <a:pt x="923" y="517"/>
                  </a:lnTo>
                  <a:lnTo>
                    <a:pt x="924" y="517"/>
                  </a:lnTo>
                  <a:lnTo>
                    <a:pt x="925" y="517"/>
                  </a:lnTo>
                  <a:lnTo>
                    <a:pt x="926" y="517"/>
                  </a:lnTo>
                  <a:lnTo>
                    <a:pt x="928" y="517"/>
                  </a:lnTo>
                  <a:lnTo>
                    <a:pt x="929" y="517"/>
                  </a:lnTo>
                  <a:lnTo>
                    <a:pt x="931" y="517"/>
                  </a:lnTo>
                  <a:lnTo>
                    <a:pt x="932" y="516"/>
                  </a:lnTo>
                  <a:lnTo>
                    <a:pt x="935" y="516"/>
                  </a:lnTo>
                  <a:lnTo>
                    <a:pt x="936" y="516"/>
                  </a:lnTo>
                  <a:lnTo>
                    <a:pt x="938" y="514"/>
                  </a:lnTo>
                  <a:lnTo>
                    <a:pt x="940" y="514"/>
                  </a:lnTo>
                  <a:lnTo>
                    <a:pt x="942" y="514"/>
                  </a:lnTo>
                  <a:lnTo>
                    <a:pt x="943" y="513"/>
                  </a:lnTo>
                  <a:lnTo>
                    <a:pt x="945" y="513"/>
                  </a:lnTo>
                  <a:lnTo>
                    <a:pt x="948" y="513"/>
                  </a:lnTo>
                  <a:lnTo>
                    <a:pt x="949" y="513"/>
                  </a:lnTo>
                  <a:lnTo>
                    <a:pt x="950" y="512"/>
                  </a:lnTo>
                  <a:lnTo>
                    <a:pt x="951" y="512"/>
                  </a:lnTo>
                  <a:lnTo>
                    <a:pt x="954" y="512"/>
                  </a:lnTo>
                  <a:lnTo>
                    <a:pt x="956" y="511"/>
                  </a:lnTo>
                  <a:lnTo>
                    <a:pt x="957" y="511"/>
                  </a:lnTo>
                  <a:lnTo>
                    <a:pt x="960" y="511"/>
                  </a:lnTo>
                  <a:lnTo>
                    <a:pt x="961" y="508"/>
                  </a:lnTo>
                  <a:lnTo>
                    <a:pt x="963" y="508"/>
                  </a:lnTo>
                  <a:lnTo>
                    <a:pt x="964" y="508"/>
                  </a:lnTo>
                  <a:lnTo>
                    <a:pt x="967" y="508"/>
                  </a:lnTo>
                  <a:lnTo>
                    <a:pt x="968" y="508"/>
                  </a:lnTo>
                  <a:lnTo>
                    <a:pt x="970" y="508"/>
                  </a:lnTo>
                  <a:lnTo>
                    <a:pt x="971" y="508"/>
                  </a:lnTo>
                  <a:lnTo>
                    <a:pt x="973" y="506"/>
                  </a:lnTo>
                  <a:lnTo>
                    <a:pt x="975" y="506"/>
                  </a:lnTo>
                  <a:lnTo>
                    <a:pt x="976" y="506"/>
                  </a:lnTo>
                  <a:lnTo>
                    <a:pt x="978" y="506"/>
                  </a:lnTo>
                  <a:lnTo>
                    <a:pt x="981" y="504"/>
                  </a:lnTo>
                  <a:lnTo>
                    <a:pt x="982" y="504"/>
                  </a:lnTo>
                  <a:lnTo>
                    <a:pt x="984" y="504"/>
                  </a:lnTo>
                  <a:lnTo>
                    <a:pt x="985" y="504"/>
                  </a:lnTo>
                  <a:lnTo>
                    <a:pt x="986" y="504"/>
                  </a:lnTo>
                  <a:lnTo>
                    <a:pt x="988" y="504"/>
                  </a:lnTo>
                  <a:lnTo>
                    <a:pt x="989" y="504"/>
                  </a:lnTo>
                  <a:lnTo>
                    <a:pt x="990" y="504"/>
                  </a:lnTo>
                  <a:lnTo>
                    <a:pt x="993" y="504"/>
                  </a:lnTo>
                  <a:lnTo>
                    <a:pt x="995" y="503"/>
                  </a:lnTo>
                  <a:lnTo>
                    <a:pt x="996" y="503"/>
                  </a:lnTo>
                  <a:lnTo>
                    <a:pt x="999" y="503"/>
                  </a:lnTo>
                  <a:lnTo>
                    <a:pt x="1000" y="503"/>
                  </a:lnTo>
                  <a:lnTo>
                    <a:pt x="1001" y="501"/>
                  </a:lnTo>
                  <a:lnTo>
                    <a:pt x="1004" y="501"/>
                  </a:lnTo>
                  <a:lnTo>
                    <a:pt x="1006" y="501"/>
                  </a:lnTo>
                  <a:lnTo>
                    <a:pt x="1007" y="501"/>
                  </a:lnTo>
                  <a:lnTo>
                    <a:pt x="1010" y="501"/>
                  </a:lnTo>
                  <a:lnTo>
                    <a:pt x="1011" y="499"/>
                  </a:lnTo>
                  <a:lnTo>
                    <a:pt x="1014" y="499"/>
                  </a:lnTo>
                  <a:lnTo>
                    <a:pt x="1015" y="497"/>
                  </a:lnTo>
                  <a:lnTo>
                    <a:pt x="1018" y="497"/>
                  </a:lnTo>
                  <a:lnTo>
                    <a:pt x="1020" y="494"/>
                  </a:lnTo>
                  <a:lnTo>
                    <a:pt x="1023" y="494"/>
                  </a:lnTo>
                  <a:lnTo>
                    <a:pt x="1024" y="493"/>
                  </a:lnTo>
                  <a:lnTo>
                    <a:pt x="1026" y="492"/>
                  </a:lnTo>
                  <a:lnTo>
                    <a:pt x="1029" y="492"/>
                  </a:lnTo>
                  <a:lnTo>
                    <a:pt x="1031" y="491"/>
                  </a:lnTo>
                  <a:lnTo>
                    <a:pt x="1032" y="489"/>
                  </a:lnTo>
                  <a:lnTo>
                    <a:pt x="1034" y="488"/>
                  </a:lnTo>
                  <a:lnTo>
                    <a:pt x="1036" y="488"/>
                  </a:lnTo>
                  <a:lnTo>
                    <a:pt x="1038" y="486"/>
                  </a:lnTo>
                  <a:lnTo>
                    <a:pt x="1039" y="486"/>
                  </a:lnTo>
                  <a:lnTo>
                    <a:pt x="1040" y="486"/>
                  </a:lnTo>
                  <a:lnTo>
                    <a:pt x="1042" y="484"/>
                  </a:lnTo>
                  <a:lnTo>
                    <a:pt x="1043" y="481"/>
                  </a:lnTo>
                  <a:lnTo>
                    <a:pt x="1045" y="481"/>
                  </a:lnTo>
                  <a:lnTo>
                    <a:pt x="1048" y="481"/>
                  </a:lnTo>
                  <a:lnTo>
                    <a:pt x="1049" y="480"/>
                  </a:lnTo>
                  <a:lnTo>
                    <a:pt x="1050" y="479"/>
                  </a:lnTo>
                  <a:lnTo>
                    <a:pt x="1051" y="479"/>
                  </a:lnTo>
                  <a:lnTo>
                    <a:pt x="1054" y="476"/>
                  </a:lnTo>
                  <a:lnTo>
                    <a:pt x="1056" y="476"/>
                  </a:lnTo>
                  <a:lnTo>
                    <a:pt x="1059" y="476"/>
                  </a:lnTo>
                  <a:lnTo>
                    <a:pt x="1060" y="475"/>
                  </a:lnTo>
                  <a:lnTo>
                    <a:pt x="1061" y="472"/>
                  </a:lnTo>
                  <a:lnTo>
                    <a:pt x="1064" y="472"/>
                  </a:lnTo>
                  <a:lnTo>
                    <a:pt x="1065" y="471"/>
                  </a:lnTo>
                  <a:lnTo>
                    <a:pt x="1067" y="471"/>
                  </a:lnTo>
                  <a:lnTo>
                    <a:pt x="1068" y="469"/>
                  </a:lnTo>
                  <a:lnTo>
                    <a:pt x="1071" y="468"/>
                  </a:lnTo>
                  <a:lnTo>
                    <a:pt x="1073" y="467"/>
                  </a:lnTo>
                  <a:lnTo>
                    <a:pt x="1075" y="466"/>
                  </a:lnTo>
                  <a:lnTo>
                    <a:pt x="1076" y="463"/>
                  </a:lnTo>
                  <a:lnTo>
                    <a:pt x="1079" y="463"/>
                  </a:lnTo>
                  <a:lnTo>
                    <a:pt x="1081" y="463"/>
                  </a:lnTo>
                  <a:lnTo>
                    <a:pt x="1084" y="462"/>
                  </a:lnTo>
                  <a:lnTo>
                    <a:pt x="1085" y="459"/>
                  </a:lnTo>
                  <a:lnTo>
                    <a:pt x="1088" y="459"/>
                  </a:lnTo>
                  <a:lnTo>
                    <a:pt x="1089" y="458"/>
                  </a:lnTo>
                  <a:lnTo>
                    <a:pt x="1092" y="456"/>
                  </a:lnTo>
                  <a:lnTo>
                    <a:pt x="1093" y="455"/>
                  </a:lnTo>
                  <a:lnTo>
                    <a:pt x="1096" y="454"/>
                  </a:lnTo>
                  <a:lnTo>
                    <a:pt x="1098" y="454"/>
                  </a:lnTo>
                  <a:lnTo>
                    <a:pt x="1100" y="452"/>
                  </a:lnTo>
                  <a:lnTo>
                    <a:pt x="1103" y="450"/>
                  </a:lnTo>
                  <a:lnTo>
                    <a:pt x="1104" y="450"/>
                  </a:lnTo>
                  <a:lnTo>
                    <a:pt x="1107" y="449"/>
                  </a:lnTo>
                  <a:lnTo>
                    <a:pt x="1109" y="447"/>
                  </a:lnTo>
                  <a:lnTo>
                    <a:pt x="1110" y="447"/>
                  </a:lnTo>
                  <a:lnTo>
                    <a:pt x="1111" y="446"/>
                  </a:lnTo>
                  <a:lnTo>
                    <a:pt x="1113" y="446"/>
                  </a:lnTo>
                  <a:lnTo>
                    <a:pt x="1115" y="444"/>
                  </a:lnTo>
                  <a:lnTo>
                    <a:pt x="1117" y="443"/>
                  </a:lnTo>
                  <a:lnTo>
                    <a:pt x="1120" y="441"/>
                  </a:lnTo>
                  <a:lnTo>
                    <a:pt x="1121" y="441"/>
                  </a:lnTo>
                  <a:lnTo>
                    <a:pt x="1124" y="439"/>
                  </a:lnTo>
                  <a:lnTo>
                    <a:pt x="1125" y="437"/>
                  </a:lnTo>
                  <a:lnTo>
                    <a:pt x="1128" y="437"/>
                  </a:lnTo>
                  <a:lnTo>
                    <a:pt x="1129" y="435"/>
                  </a:lnTo>
                  <a:lnTo>
                    <a:pt x="1132" y="432"/>
                  </a:lnTo>
                  <a:lnTo>
                    <a:pt x="1134" y="432"/>
                  </a:lnTo>
                  <a:lnTo>
                    <a:pt x="1136" y="431"/>
                  </a:lnTo>
                  <a:lnTo>
                    <a:pt x="1138" y="430"/>
                  </a:lnTo>
                  <a:lnTo>
                    <a:pt x="1139" y="427"/>
                  </a:lnTo>
                  <a:lnTo>
                    <a:pt x="1142" y="427"/>
                  </a:lnTo>
                  <a:lnTo>
                    <a:pt x="1145" y="427"/>
                  </a:lnTo>
                  <a:lnTo>
                    <a:pt x="1146" y="426"/>
                  </a:lnTo>
                  <a:lnTo>
                    <a:pt x="1149" y="425"/>
                  </a:lnTo>
                  <a:lnTo>
                    <a:pt x="1150" y="424"/>
                  </a:lnTo>
                  <a:lnTo>
                    <a:pt x="1153" y="422"/>
                  </a:lnTo>
                  <a:lnTo>
                    <a:pt x="1155" y="422"/>
                  </a:lnTo>
                  <a:lnTo>
                    <a:pt x="1156" y="421"/>
                  </a:lnTo>
                  <a:lnTo>
                    <a:pt x="1159" y="419"/>
                  </a:lnTo>
                  <a:lnTo>
                    <a:pt x="1160" y="418"/>
                  </a:lnTo>
                  <a:lnTo>
                    <a:pt x="1163" y="417"/>
                  </a:lnTo>
                  <a:lnTo>
                    <a:pt x="1164" y="417"/>
                  </a:lnTo>
                  <a:lnTo>
                    <a:pt x="1167" y="414"/>
                  </a:lnTo>
                  <a:lnTo>
                    <a:pt x="1170" y="414"/>
                  </a:lnTo>
                  <a:lnTo>
                    <a:pt x="1171" y="413"/>
                  </a:lnTo>
                  <a:lnTo>
                    <a:pt x="1174" y="410"/>
                  </a:lnTo>
                  <a:lnTo>
                    <a:pt x="1175" y="410"/>
                  </a:lnTo>
                  <a:lnTo>
                    <a:pt x="1177" y="410"/>
                  </a:lnTo>
                  <a:lnTo>
                    <a:pt x="1180" y="410"/>
                  </a:lnTo>
                  <a:lnTo>
                    <a:pt x="1183" y="409"/>
                  </a:lnTo>
                  <a:lnTo>
                    <a:pt x="1184" y="409"/>
                  </a:lnTo>
                  <a:lnTo>
                    <a:pt x="1186" y="407"/>
                  </a:lnTo>
                  <a:lnTo>
                    <a:pt x="1189" y="407"/>
                  </a:lnTo>
                  <a:lnTo>
                    <a:pt x="1191" y="405"/>
                  </a:lnTo>
                  <a:lnTo>
                    <a:pt x="1194" y="405"/>
                  </a:lnTo>
                  <a:lnTo>
                    <a:pt x="1196" y="405"/>
                  </a:lnTo>
                  <a:lnTo>
                    <a:pt x="1198" y="405"/>
                  </a:lnTo>
                  <a:lnTo>
                    <a:pt x="1200" y="405"/>
                  </a:lnTo>
                  <a:lnTo>
                    <a:pt x="1203" y="404"/>
                  </a:lnTo>
                  <a:lnTo>
                    <a:pt x="1205" y="404"/>
                  </a:lnTo>
                  <a:lnTo>
                    <a:pt x="1208" y="404"/>
                  </a:lnTo>
                  <a:lnTo>
                    <a:pt x="1210" y="401"/>
                  </a:lnTo>
                  <a:lnTo>
                    <a:pt x="1213" y="401"/>
                  </a:lnTo>
                  <a:lnTo>
                    <a:pt x="1214" y="401"/>
                  </a:lnTo>
                  <a:lnTo>
                    <a:pt x="1216" y="401"/>
                  </a:lnTo>
                  <a:lnTo>
                    <a:pt x="1219" y="401"/>
                  </a:lnTo>
                  <a:lnTo>
                    <a:pt x="1221" y="400"/>
                  </a:lnTo>
                  <a:lnTo>
                    <a:pt x="1223" y="401"/>
                  </a:lnTo>
                  <a:lnTo>
                    <a:pt x="1225" y="401"/>
                  </a:lnTo>
                  <a:lnTo>
                    <a:pt x="1227" y="401"/>
                  </a:lnTo>
                  <a:lnTo>
                    <a:pt x="1230" y="401"/>
                  </a:lnTo>
                  <a:lnTo>
                    <a:pt x="1231" y="400"/>
                  </a:lnTo>
                  <a:lnTo>
                    <a:pt x="1233" y="397"/>
                  </a:lnTo>
                  <a:lnTo>
                    <a:pt x="1234" y="397"/>
                  </a:lnTo>
                  <a:lnTo>
                    <a:pt x="1237" y="397"/>
                  </a:lnTo>
                  <a:lnTo>
                    <a:pt x="1238" y="397"/>
                  </a:lnTo>
                  <a:lnTo>
                    <a:pt x="1241" y="396"/>
                  </a:lnTo>
                  <a:lnTo>
                    <a:pt x="1242" y="396"/>
                  </a:lnTo>
                  <a:lnTo>
                    <a:pt x="1245" y="396"/>
                  </a:lnTo>
                  <a:lnTo>
                    <a:pt x="1246" y="394"/>
                  </a:lnTo>
                  <a:lnTo>
                    <a:pt x="1249" y="394"/>
                  </a:lnTo>
                  <a:lnTo>
                    <a:pt x="1250" y="394"/>
                  </a:lnTo>
                  <a:lnTo>
                    <a:pt x="1252" y="392"/>
                  </a:lnTo>
                  <a:lnTo>
                    <a:pt x="1255" y="392"/>
                  </a:lnTo>
                  <a:lnTo>
                    <a:pt x="1256" y="392"/>
                  </a:lnTo>
                  <a:lnTo>
                    <a:pt x="1259" y="392"/>
                  </a:lnTo>
                  <a:lnTo>
                    <a:pt x="1260" y="392"/>
                  </a:lnTo>
                  <a:lnTo>
                    <a:pt x="1263" y="392"/>
                  </a:lnTo>
                  <a:lnTo>
                    <a:pt x="1264" y="390"/>
                  </a:lnTo>
                  <a:lnTo>
                    <a:pt x="1267" y="390"/>
                  </a:lnTo>
                  <a:lnTo>
                    <a:pt x="1269" y="390"/>
                  </a:lnTo>
                  <a:lnTo>
                    <a:pt x="1270" y="388"/>
                  </a:lnTo>
                  <a:lnTo>
                    <a:pt x="1271" y="388"/>
                  </a:lnTo>
                  <a:lnTo>
                    <a:pt x="1274" y="388"/>
                  </a:lnTo>
                  <a:lnTo>
                    <a:pt x="1275" y="388"/>
                  </a:lnTo>
                  <a:lnTo>
                    <a:pt x="1278" y="388"/>
                  </a:lnTo>
                  <a:lnTo>
                    <a:pt x="1281" y="388"/>
                  </a:lnTo>
                  <a:lnTo>
                    <a:pt x="1283" y="387"/>
                  </a:lnTo>
                  <a:lnTo>
                    <a:pt x="1284" y="387"/>
                  </a:lnTo>
                  <a:lnTo>
                    <a:pt x="1285" y="385"/>
                  </a:lnTo>
                  <a:lnTo>
                    <a:pt x="1288" y="384"/>
                  </a:lnTo>
                  <a:lnTo>
                    <a:pt x="1291" y="384"/>
                  </a:lnTo>
                  <a:lnTo>
                    <a:pt x="1292" y="382"/>
                  </a:lnTo>
                  <a:lnTo>
                    <a:pt x="1294" y="382"/>
                  </a:lnTo>
                  <a:lnTo>
                    <a:pt x="1295" y="381"/>
                  </a:lnTo>
                  <a:lnTo>
                    <a:pt x="1298" y="379"/>
                  </a:lnTo>
                  <a:lnTo>
                    <a:pt x="1299" y="379"/>
                  </a:lnTo>
                  <a:lnTo>
                    <a:pt x="1302" y="379"/>
                  </a:lnTo>
                  <a:lnTo>
                    <a:pt x="1303" y="377"/>
                  </a:lnTo>
                  <a:lnTo>
                    <a:pt x="1305" y="375"/>
                  </a:lnTo>
                  <a:lnTo>
                    <a:pt x="1308" y="375"/>
                  </a:lnTo>
                  <a:lnTo>
                    <a:pt x="1309" y="375"/>
                  </a:lnTo>
                  <a:lnTo>
                    <a:pt x="1310" y="373"/>
                  </a:lnTo>
                  <a:lnTo>
                    <a:pt x="1313" y="372"/>
                  </a:lnTo>
                  <a:lnTo>
                    <a:pt x="1314" y="372"/>
                  </a:lnTo>
                  <a:lnTo>
                    <a:pt x="1316" y="369"/>
                  </a:lnTo>
                  <a:lnTo>
                    <a:pt x="1319" y="369"/>
                  </a:lnTo>
                  <a:lnTo>
                    <a:pt x="1320" y="369"/>
                  </a:lnTo>
                  <a:lnTo>
                    <a:pt x="1321" y="368"/>
                  </a:lnTo>
                  <a:lnTo>
                    <a:pt x="1324" y="365"/>
                  </a:lnTo>
                  <a:lnTo>
                    <a:pt x="1325" y="365"/>
                  </a:lnTo>
                  <a:lnTo>
                    <a:pt x="1328" y="365"/>
                  </a:lnTo>
                  <a:lnTo>
                    <a:pt x="1330" y="364"/>
                  </a:lnTo>
                  <a:lnTo>
                    <a:pt x="1331" y="363"/>
                  </a:lnTo>
                  <a:lnTo>
                    <a:pt x="1335" y="362"/>
                  </a:lnTo>
                  <a:lnTo>
                    <a:pt x="1337" y="360"/>
                  </a:lnTo>
                  <a:lnTo>
                    <a:pt x="1339" y="359"/>
                  </a:lnTo>
                  <a:lnTo>
                    <a:pt x="1341" y="356"/>
                  </a:lnTo>
                  <a:lnTo>
                    <a:pt x="1342" y="356"/>
                  </a:lnTo>
                  <a:lnTo>
                    <a:pt x="1345" y="356"/>
                  </a:lnTo>
                  <a:lnTo>
                    <a:pt x="1347" y="355"/>
                  </a:lnTo>
                  <a:lnTo>
                    <a:pt x="1348" y="355"/>
                  </a:lnTo>
                  <a:lnTo>
                    <a:pt x="1350" y="352"/>
                  </a:lnTo>
                  <a:lnTo>
                    <a:pt x="1353" y="352"/>
                  </a:lnTo>
                  <a:lnTo>
                    <a:pt x="1355" y="351"/>
                  </a:lnTo>
                  <a:lnTo>
                    <a:pt x="1356" y="350"/>
                  </a:lnTo>
                  <a:lnTo>
                    <a:pt x="1359" y="350"/>
                  </a:lnTo>
                  <a:lnTo>
                    <a:pt x="1360" y="347"/>
                  </a:lnTo>
                  <a:lnTo>
                    <a:pt x="1362" y="347"/>
                  </a:lnTo>
                  <a:lnTo>
                    <a:pt x="1363" y="347"/>
                  </a:lnTo>
                  <a:lnTo>
                    <a:pt x="1366" y="345"/>
                  </a:lnTo>
                  <a:lnTo>
                    <a:pt x="1367" y="343"/>
                  </a:lnTo>
                  <a:lnTo>
                    <a:pt x="1369" y="343"/>
                  </a:lnTo>
                  <a:lnTo>
                    <a:pt x="1372" y="343"/>
                  </a:lnTo>
                  <a:lnTo>
                    <a:pt x="1373" y="342"/>
                  </a:lnTo>
                  <a:lnTo>
                    <a:pt x="1374" y="339"/>
                  </a:lnTo>
                  <a:lnTo>
                    <a:pt x="1377" y="339"/>
                  </a:lnTo>
                  <a:lnTo>
                    <a:pt x="1378" y="339"/>
                  </a:lnTo>
                  <a:lnTo>
                    <a:pt x="1381" y="338"/>
                  </a:lnTo>
                  <a:lnTo>
                    <a:pt x="1383" y="338"/>
                  </a:lnTo>
                  <a:lnTo>
                    <a:pt x="1384" y="337"/>
                  </a:lnTo>
                  <a:lnTo>
                    <a:pt x="1387" y="337"/>
                  </a:lnTo>
                  <a:lnTo>
                    <a:pt x="1388" y="334"/>
                  </a:lnTo>
                  <a:lnTo>
                    <a:pt x="1391" y="334"/>
                  </a:lnTo>
                  <a:lnTo>
                    <a:pt x="1392" y="334"/>
                  </a:lnTo>
                  <a:lnTo>
                    <a:pt x="1395" y="334"/>
                  </a:lnTo>
                  <a:lnTo>
                    <a:pt x="1397" y="332"/>
                  </a:lnTo>
                  <a:lnTo>
                    <a:pt x="1398" y="332"/>
                  </a:lnTo>
                  <a:lnTo>
                    <a:pt x="1399" y="332"/>
                  </a:lnTo>
                  <a:lnTo>
                    <a:pt x="1401" y="330"/>
                  </a:lnTo>
                  <a:lnTo>
                    <a:pt x="1403" y="330"/>
                  </a:lnTo>
                  <a:lnTo>
                    <a:pt x="1405" y="330"/>
                  </a:lnTo>
                  <a:lnTo>
                    <a:pt x="1406" y="330"/>
                  </a:lnTo>
                  <a:lnTo>
                    <a:pt x="1408" y="330"/>
                  </a:lnTo>
                  <a:lnTo>
                    <a:pt x="1409" y="329"/>
                  </a:lnTo>
                  <a:lnTo>
                    <a:pt x="1410" y="329"/>
                  </a:lnTo>
                  <a:lnTo>
                    <a:pt x="1413" y="329"/>
                  </a:lnTo>
                  <a:lnTo>
                    <a:pt x="1416" y="327"/>
                  </a:lnTo>
                  <a:lnTo>
                    <a:pt x="1417" y="327"/>
                  </a:lnTo>
                  <a:lnTo>
                    <a:pt x="1420" y="326"/>
                  </a:lnTo>
                  <a:lnTo>
                    <a:pt x="1423" y="326"/>
                  </a:lnTo>
                  <a:lnTo>
                    <a:pt x="1424" y="326"/>
                  </a:lnTo>
                  <a:lnTo>
                    <a:pt x="1426" y="325"/>
                  </a:lnTo>
                  <a:lnTo>
                    <a:pt x="1429" y="325"/>
                  </a:lnTo>
                  <a:lnTo>
                    <a:pt x="1431" y="325"/>
                  </a:lnTo>
                  <a:lnTo>
                    <a:pt x="1433" y="323"/>
                  </a:lnTo>
                  <a:lnTo>
                    <a:pt x="1434" y="323"/>
                  </a:lnTo>
                  <a:lnTo>
                    <a:pt x="1437" y="323"/>
                  </a:lnTo>
                  <a:lnTo>
                    <a:pt x="1438" y="320"/>
                  </a:lnTo>
                  <a:lnTo>
                    <a:pt x="1441" y="320"/>
                  </a:lnTo>
                  <a:lnTo>
                    <a:pt x="1444" y="320"/>
                  </a:lnTo>
                  <a:lnTo>
                    <a:pt x="1447" y="320"/>
                  </a:lnTo>
                  <a:lnTo>
                    <a:pt x="1448" y="320"/>
                  </a:lnTo>
                  <a:lnTo>
                    <a:pt x="1451" y="319"/>
                  </a:lnTo>
                  <a:lnTo>
                    <a:pt x="1454" y="319"/>
                  </a:lnTo>
                  <a:lnTo>
                    <a:pt x="1455" y="319"/>
                  </a:lnTo>
                  <a:lnTo>
                    <a:pt x="1456" y="319"/>
                  </a:lnTo>
                  <a:lnTo>
                    <a:pt x="1459" y="317"/>
                  </a:lnTo>
                  <a:lnTo>
                    <a:pt x="1460" y="317"/>
                  </a:lnTo>
                  <a:lnTo>
                    <a:pt x="1463" y="317"/>
                  </a:lnTo>
                  <a:lnTo>
                    <a:pt x="1466" y="317"/>
                  </a:lnTo>
                  <a:lnTo>
                    <a:pt x="1468" y="317"/>
                  </a:lnTo>
                  <a:lnTo>
                    <a:pt x="1470" y="317"/>
                  </a:lnTo>
                  <a:lnTo>
                    <a:pt x="1473" y="317"/>
                  </a:lnTo>
                  <a:lnTo>
                    <a:pt x="1474" y="315"/>
                  </a:lnTo>
                  <a:lnTo>
                    <a:pt x="1477" y="315"/>
                  </a:lnTo>
                  <a:lnTo>
                    <a:pt x="1479" y="314"/>
                  </a:lnTo>
                  <a:lnTo>
                    <a:pt x="1480" y="314"/>
                  </a:lnTo>
                  <a:lnTo>
                    <a:pt x="1482" y="312"/>
                  </a:lnTo>
                  <a:lnTo>
                    <a:pt x="1484" y="312"/>
                  </a:lnTo>
                  <a:lnTo>
                    <a:pt x="1485" y="312"/>
                  </a:lnTo>
                  <a:lnTo>
                    <a:pt x="1487" y="312"/>
                  </a:lnTo>
                  <a:lnTo>
                    <a:pt x="1488" y="310"/>
                  </a:lnTo>
                  <a:lnTo>
                    <a:pt x="1490" y="310"/>
                  </a:lnTo>
                  <a:lnTo>
                    <a:pt x="1491" y="309"/>
                  </a:lnTo>
                  <a:lnTo>
                    <a:pt x="1493" y="309"/>
                  </a:lnTo>
                  <a:lnTo>
                    <a:pt x="1494" y="307"/>
                  </a:lnTo>
                  <a:lnTo>
                    <a:pt x="1495" y="307"/>
                  </a:lnTo>
                  <a:lnTo>
                    <a:pt x="1498" y="306"/>
                  </a:lnTo>
                  <a:lnTo>
                    <a:pt x="1499" y="306"/>
                  </a:lnTo>
                  <a:lnTo>
                    <a:pt x="1501" y="303"/>
                  </a:lnTo>
                  <a:lnTo>
                    <a:pt x="1502" y="303"/>
                  </a:lnTo>
                  <a:lnTo>
                    <a:pt x="1504" y="303"/>
                  </a:lnTo>
                  <a:lnTo>
                    <a:pt x="1505" y="302"/>
                  </a:lnTo>
                  <a:lnTo>
                    <a:pt x="1507" y="302"/>
                  </a:lnTo>
                  <a:lnTo>
                    <a:pt x="1508" y="301"/>
                  </a:lnTo>
                  <a:lnTo>
                    <a:pt x="1510" y="301"/>
                  </a:lnTo>
                  <a:lnTo>
                    <a:pt x="1512" y="298"/>
                  </a:lnTo>
                  <a:lnTo>
                    <a:pt x="1515" y="298"/>
                  </a:lnTo>
                  <a:lnTo>
                    <a:pt x="1516" y="298"/>
                  </a:lnTo>
                  <a:lnTo>
                    <a:pt x="1519" y="298"/>
                  </a:lnTo>
                  <a:lnTo>
                    <a:pt x="1522" y="297"/>
                  </a:lnTo>
                  <a:lnTo>
                    <a:pt x="1523" y="294"/>
                  </a:lnTo>
                  <a:lnTo>
                    <a:pt x="1526" y="294"/>
                  </a:lnTo>
                  <a:lnTo>
                    <a:pt x="1529" y="294"/>
                  </a:lnTo>
                  <a:lnTo>
                    <a:pt x="1530" y="294"/>
                  </a:lnTo>
                  <a:lnTo>
                    <a:pt x="1532" y="293"/>
                  </a:lnTo>
                  <a:lnTo>
                    <a:pt x="1533" y="293"/>
                  </a:lnTo>
                  <a:lnTo>
                    <a:pt x="1535" y="292"/>
                  </a:lnTo>
                  <a:lnTo>
                    <a:pt x="1538" y="292"/>
                  </a:lnTo>
                  <a:lnTo>
                    <a:pt x="1540" y="290"/>
                  </a:lnTo>
                  <a:lnTo>
                    <a:pt x="1543" y="290"/>
                  </a:lnTo>
                  <a:lnTo>
                    <a:pt x="1545" y="289"/>
                  </a:lnTo>
                  <a:lnTo>
                    <a:pt x="1547" y="288"/>
                  </a:lnTo>
                  <a:lnTo>
                    <a:pt x="1548" y="288"/>
                  </a:lnTo>
                  <a:lnTo>
                    <a:pt x="1551" y="286"/>
                  </a:lnTo>
                  <a:lnTo>
                    <a:pt x="1554" y="286"/>
                  </a:lnTo>
                  <a:lnTo>
                    <a:pt x="1555" y="285"/>
                  </a:lnTo>
                  <a:lnTo>
                    <a:pt x="1558" y="285"/>
                  </a:lnTo>
                  <a:lnTo>
                    <a:pt x="1559" y="284"/>
                  </a:lnTo>
                  <a:lnTo>
                    <a:pt x="1560" y="284"/>
                  </a:lnTo>
                  <a:lnTo>
                    <a:pt x="1562" y="284"/>
                  </a:lnTo>
                  <a:lnTo>
                    <a:pt x="1563" y="284"/>
                  </a:lnTo>
                  <a:lnTo>
                    <a:pt x="1566" y="284"/>
                  </a:lnTo>
                  <a:lnTo>
                    <a:pt x="1568" y="281"/>
                  </a:lnTo>
                  <a:lnTo>
                    <a:pt x="1570" y="281"/>
                  </a:lnTo>
                  <a:lnTo>
                    <a:pt x="1572" y="281"/>
                  </a:lnTo>
                  <a:lnTo>
                    <a:pt x="1574" y="280"/>
                  </a:lnTo>
                  <a:lnTo>
                    <a:pt x="1576" y="278"/>
                  </a:lnTo>
                  <a:lnTo>
                    <a:pt x="1579" y="276"/>
                  </a:lnTo>
                  <a:lnTo>
                    <a:pt x="1582" y="276"/>
                  </a:lnTo>
                  <a:lnTo>
                    <a:pt x="1583" y="276"/>
                  </a:lnTo>
                  <a:lnTo>
                    <a:pt x="1585" y="276"/>
                  </a:lnTo>
                  <a:lnTo>
                    <a:pt x="1588" y="276"/>
                  </a:lnTo>
                  <a:lnTo>
                    <a:pt x="1590" y="275"/>
                  </a:lnTo>
                  <a:lnTo>
                    <a:pt x="1593" y="275"/>
                  </a:lnTo>
                  <a:lnTo>
                    <a:pt x="1595" y="272"/>
                  </a:lnTo>
                  <a:lnTo>
                    <a:pt x="1597" y="272"/>
                  </a:lnTo>
                  <a:lnTo>
                    <a:pt x="1599" y="272"/>
                  </a:lnTo>
                  <a:lnTo>
                    <a:pt x="1602" y="272"/>
                  </a:lnTo>
                  <a:lnTo>
                    <a:pt x="1604" y="270"/>
                  </a:lnTo>
                  <a:lnTo>
                    <a:pt x="1605" y="270"/>
                  </a:lnTo>
                  <a:lnTo>
                    <a:pt x="1608" y="268"/>
                  </a:lnTo>
                  <a:lnTo>
                    <a:pt x="1609" y="268"/>
                  </a:lnTo>
                  <a:lnTo>
                    <a:pt x="1610" y="268"/>
                  </a:lnTo>
                  <a:lnTo>
                    <a:pt x="1613" y="267"/>
                  </a:lnTo>
                  <a:lnTo>
                    <a:pt x="1616" y="267"/>
                  </a:lnTo>
                  <a:lnTo>
                    <a:pt x="1618" y="265"/>
                  </a:lnTo>
                  <a:lnTo>
                    <a:pt x="1619" y="265"/>
                  </a:lnTo>
                  <a:lnTo>
                    <a:pt x="1620" y="264"/>
                  </a:lnTo>
                  <a:lnTo>
                    <a:pt x="1622" y="264"/>
                  </a:lnTo>
                  <a:lnTo>
                    <a:pt x="1624" y="264"/>
                  </a:lnTo>
                  <a:lnTo>
                    <a:pt x="1626" y="263"/>
                  </a:lnTo>
                  <a:lnTo>
                    <a:pt x="1627" y="263"/>
                  </a:lnTo>
                  <a:lnTo>
                    <a:pt x="1630" y="261"/>
                  </a:lnTo>
                  <a:lnTo>
                    <a:pt x="1633" y="261"/>
                  </a:lnTo>
                  <a:lnTo>
                    <a:pt x="1634" y="261"/>
                  </a:lnTo>
                  <a:lnTo>
                    <a:pt x="1637" y="259"/>
                  </a:lnTo>
                  <a:lnTo>
                    <a:pt x="1638" y="259"/>
                  </a:lnTo>
                  <a:lnTo>
                    <a:pt x="1641" y="259"/>
                  </a:lnTo>
                  <a:lnTo>
                    <a:pt x="1644" y="259"/>
                  </a:lnTo>
                  <a:lnTo>
                    <a:pt x="1647" y="259"/>
                  </a:lnTo>
                  <a:lnTo>
                    <a:pt x="1648" y="259"/>
                  </a:lnTo>
                  <a:lnTo>
                    <a:pt x="1649" y="257"/>
                  </a:lnTo>
                  <a:lnTo>
                    <a:pt x="1649" y="259"/>
                  </a:lnTo>
                  <a:lnTo>
                    <a:pt x="1654" y="259"/>
                  </a:lnTo>
                  <a:lnTo>
                    <a:pt x="1793" y="232"/>
                  </a:lnTo>
                  <a:lnTo>
                    <a:pt x="1947" y="165"/>
                  </a:lnTo>
                  <a:lnTo>
                    <a:pt x="1961" y="161"/>
                  </a:lnTo>
                  <a:lnTo>
                    <a:pt x="2235" y="66"/>
                  </a:lnTo>
                  <a:lnTo>
                    <a:pt x="2407" y="9"/>
                  </a:lnTo>
                  <a:lnTo>
                    <a:pt x="2432" y="0"/>
                  </a:lnTo>
                  <a:lnTo>
                    <a:pt x="2441" y="9"/>
                  </a:lnTo>
                  <a:lnTo>
                    <a:pt x="2446" y="22"/>
                  </a:lnTo>
                  <a:lnTo>
                    <a:pt x="2463" y="22"/>
                  </a:lnTo>
                  <a:lnTo>
                    <a:pt x="2468" y="27"/>
                  </a:lnTo>
                  <a:lnTo>
                    <a:pt x="2476" y="29"/>
                  </a:lnTo>
                  <a:lnTo>
                    <a:pt x="2480" y="40"/>
                  </a:lnTo>
                  <a:lnTo>
                    <a:pt x="2478" y="45"/>
                  </a:lnTo>
                  <a:lnTo>
                    <a:pt x="2491" y="65"/>
                  </a:lnTo>
                  <a:lnTo>
                    <a:pt x="2491" y="72"/>
                  </a:lnTo>
                  <a:lnTo>
                    <a:pt x="2481" y="89"/>
                  </a:lnTo>
                  <a:lnTo>
                    <a:pt x="2485" y="98"/>
                  </a:lnTo>
                  <a:lnTo>
                    <a:pt x="2476" y="110"/>
                  </a:lnTo>
                  <a:lnTo>
                    <a:pt x="2473" y="114"/>
                  </a:lnTo>
                  <a:lnTo>
                    <a:pt x="2477" y="120"/>
                  </a:lnTo>
                  <a:lnTo>
                    <a:pt x="2484" y="126"/>
                  </a:lnTo>
                  <a:lnTo>
                    <a:pt x="2484" y="132"/>
                  </a:lnTo>
                  <a:lnTo>
                    <a:pt x="2491" y="134"/>
                  </a:lnTo>
                  <a:lnTo>
                    <a:pt x="2503" y="147"/>
                  </a:lnTo>
                  <a:lnTo>
                    <a:pt x="2509" y="174"/>
                  </a:lnTo>
                  <a:lnTo>
                    <a:pt x="2521" y="178"/>
                  </a:lnTo>
                  <a:lnTo>
                    <a:pt x="2533" y="169"/>
                  </a:lnTo>
                  <a:lnTo>
                    <a:pt x="2542" y="174"/>
                  </a:lnTo>
                  <a:lnTo>
                    <a:pt x="2545" y="194"/>
                  </a:lnTo>
                  <a:lnTo>
                    <a:pt x="2556" y="205"/>
                  </a:lnTo>
                  <a:lnTo>
                    <a:pt x="2562" y="222"/>
                  </a:lnTo>
                  <a:lnTo>
                    <a:pt x="2573" y="235"/>
                  </a:lnTo>
                  <a:lnTo>
                    <a:pt x="2581" y="255"/>
                  </a:lnTo>
                  <a:lnTo>
                    <a:pt x="2592" y="265"/>
                  </a:lnTo>
                  <a:lnTo>
                    <a:pt x="2598" y="281"/>
                  </a:lnTo>
                  <a:lnTo>
                    <a:pt x="2595" y="293"/>
                  </a:lnTo>
                  <a:lnTo>
                    <a:pt x="2613" y="312"/>
                  </a:lnTo>
                  <a:lnTo>
                    <a:pt x="2617" y="326"/>
                  </a:lnTo>
                  <a:lnTo>
                    <a:pt x="2633" y="330"/>
                  </a:lnTo>
                  <a:lnTo>
                    <a:pt x="2644" y="342"/>
                  </a:lnTo>
                  <a:lnTo>
                    <a:pt x="2659" y="339"/>
                  </a:lnTo>
                  <a:lnTo>
                    <a:pt x="2667" y="347"/>
                  </a:lnTo>
                  <a:lnTo>
                    <a:pt x="2686" y="375"/>
                  </a:lnTo>
                  <a:lnTo>
                    <a:pt x="2688" y="388"/>
                  </a:lnTo>
                  <a:lnTo>
                    <a:pt x="2702" y="388"/>
                  </a:lnTo>
                  <a:lnTo>
                    <a:pt x="2716" y="392"/>
                  </a:lnTo>
                  <a:lnTo>
                    <a:pt x="2740" y="427"/>
                  </a:lnTo>
                  <a:lnTo>
                    <a:pt x="2734" y="446"/>
                  </a:lnTo>
                  <a:lnTo>
                    <a:pt x="2750" y="481"/>
                  </a:lnTo>
                  <a:lnTo>
                    <a:pt x="2759" y="481"/>
                  </a:lnTo>
                  <a:lnTo>
                    <a:pt x="2761" y="486"/>
                  </a:lnTo>
                  <a:lnTo>
                    <a:pt x="2767" y="486"/>
                  </a:lnTo>
                  <a:lnTo>
                    <a:pt x="2773" y="497"/>
                  </a:lnTo>
                  <a:lnTo>
                    <a:pt x="2786" y="494"/>
                  </a:lnTo>
                  <a:lnTo>
                    <a:pt x="2790" y="486"/>
                  </a:lnTo>
                  <a:lnTo>
                    <a:pt x="2791" y="479"/>
                  </a:lnTo>
                  <a:lnTo>
                    <a:pt x="2812" y="463"/>
                  </a:lnTo>
                  <a:lnTo>
                    <a:pt x="2800" y="435"/>
                  </a:lnTo>
                  <a:lnTo>
                    <a:pt x="2807" y="422"/>
                  </a:lnTo>
                  <a:lnTo>
                    <a:pt x="2807" y="410"/>
                  </a:lnTo>
                  <a:lnTo>
                    <a:pt x="2811" y="405"/>
                  </a:lnTo>
                  <a:lnTo>
                    <a:pt x="2815" y="404"/>
                  </a:lnTo>
                  <a:lnTo>
                    <a:pt x="2826" y="404"/>
                  </a:lnTo>
                  <a:lnTo>
                    <a:pt x="2829" y="404"/>
                  </a:lnTo>
                  <a:lnTo>
                    <a:pt x="2843" y="419"/>
                  </a:lnTo>
                  <a:lnTo>
                    <a:pt x="2848" y="419"/>
                  </a:lnTo>
                  <a:lnTo>
                    <a:pt x="2855" y="430"/>
                  </a:lnTo>
                  <a:lnTo>
                    <a:pt x="2862" y="427"/>
                  </a:lnTo>
                  <a:lnTo>
                    <a:pt x="2873" y="435"/>
                  </a:lnTo>
                  <a:lnTo>
                    <a:pt x="2877" y="446"/>
                  </a:lnTo>
                  <a:lnTo>
                    <a:pt x="2898" y="439"/>
                  </a:lnTo>
                  <a:lnTo>
                    <a:pt x="2911" y="424"/>
                  </a:lnTo>
                  <a:lnTo>
                    <a:pt x="2925" y="413"/>
                  </a:lnTo>
                  <a:lnTo>
                    <a:pt x="2932" y="414"/>
                  </a:lnTo>
                  <a:lnTo>
                    <a:pt x="2938" y="421"/>
                  </a:lnTo>
                  <a:lnTo>
                    <a:pt x="2946" y="417"/>
                  </a:lnTo>
                  <a:lnTo>
                    <a:pt x="2944" y="404"/>
                  </a:lnTo>
                  <a:lnTo>
                    <a:pt x="2960" y="392"/>
                  </a:lnTo>
                  <a:lnTo>
                    <a:pt x="2963" y="392"/>
                  </a:lnTo>
                  <a:lnTo>
                    <a:pt x="2969" y="382"/>
                  </a:lnTo>
                  <a:lnTo>
                    <a:pt x="2976" y="388"/>
                  </a:lnTo>
                  <a:lnTo>
                    <a:pt x="2987" y="379"/>
                  </a:lnTo>
                  <a:lnTo>
                    <a:pt x="2991" y="388"/>
                  </a:lnTo>
                  <a:lnTo>
                    <a:pt x="3108" y="396"/>
                  </a:lnTo>
                  <a:lnTo>
                    <a:pt x="3107" y="369"/>
                  </a:lnTo>
                  <a:lnTo>
                    <a:pt x="3189" y="352"/>
                  </a:lnTo>
                  <a:lnTo>
                    <a:pt x="3210" y="356"/>
                  </a:lnTo>
                  <a:lnTo>
                    <a:pt x="3217" y="352"/>
                  </a:lnTo>
                  <a:lnTo>
                    <a:pt x="3218" y="347"/>
                  </a:lnTo>
                  <a:lnTo>
                    <a:pt x="3222" y="347"/>
                  </a:lnTo>
                  <a:lnTo>
                    <a:pt x="3226" y="343"/>
                  </a:lnTo>
                  <a:lnTo>
                    <a:pt x="3250" y="347"/>
                  </a:lnTo>
                  <a:lnTo>
                    <a:pt x="3257" y="343"/>
                  </a:lnTo>
                  <a:lnTo>
                    <a:pt x="3262" y="332"/>
                  </a:lnTo>
                  <a:lnTo>
                    <a:pt x="3279" y="320"/>
                  </a:lnTo>
                  <a:lnTo>
                    <a:pt x="3290" y="327"/>
                  </a:lnTo>
                  <a:lnTo>
                    <a:pt x="3300" y="320"/>
                  </a:lnTo>
                  <a:lnTo>
                    <a:pt x="3311" y="320"/>
                  </a:lnTo>
                  <a:lnTo>
                    <a:pt x="3317" y="320"/>
                  </a:lnTo>
                  <a:lnTo>
                    <a:pt x="3321" y="317"/>
                  </a:lnTo>
                  <a:lnTo>
                    <a:pt x="3324" y="312"/>
                  </a:lnTo>
                  <a:lnTo>
                    <a:pt x="3334" y="312"/>
                  </a:lnTo>
                  <a:lnTo>
                    <a:pt x="3342" y="320"/>
                  </a:lnTo>
                  <a:lnTo>
                    <a:pt x="3354" y="319"/>
                  </a:lnTo>
                  <a:lnTo>
                    <a:pt x="3354" y="327"/>
                  </a:lnTo>
                  <a:lnTo>
                    <a:pt x="3361" y="338"/>
                  </a:lnTo>
                  <a:lnTo>
                    <a:pt x="3377" y="347"/>
                  </a:lnTo>
                  <a:lnTo>
                    <a:pt x="3375" y="356"/>
                  </a:lnTo>
                  <a:lnTo>
                    <a:pt x="3384" y="372"/>
                  </a:lnTo>
                  <a:lnTo>
                    <a:pt x="3397" y="385"/>
                  </a:lnTo>
                  <a:lnTo>
                    <a:pt x="3402" y="404"/>
                  </a:lnTo>
                  <a:lnTo>
                    <a:pt x="3411" y="418"/>
                  </a:lnTo>
                  <a:lnTo>
                    <a:pt x="3421" y="431"/>
                  </a:lnTo>
                  <a:lnTo>
                    <a:pt x="3435" y="435"/>
                  </a:lnTo>
                  <a:lnTo>
                    <a:pt x="3438" y="446"/>
                  </a:lnTo>
                  <a:lnTo>
                    <a:pt x="3453" y="447"/>
                  </a:lnTo>
                  <a:lnTo>
                    <a:pt x="3460" y="458"/>
                  </a:lnTo>
                  <a:lnTo>
                    <a:pt x="3464" y="471"/>
                  </a:lnTo>
                  <a:lnTo>
                    <a:pt x="3471" y="476"/>
                  </a:lnTo>
                  <a:lnTo>
                    <a:pt x="3475" y="486"/>
                  </a:lnTo>
                  <a:lnTo>
                    <a:pt x="3474" y="511"/>
                  </a:lnTo>
                  <a:lnTo>
                    <a:pt x="3481" y="519"/>
                  </a:lnTo>
                  <a:lnTo>
                    <a:pt x="3472" y="530"/>
                  </a:lnTo>
                  <a:lnTo>
                    <a:pt x="3471" y="542"/>
                  </a:lnTo>
                  <a:lnTo>
                    <a:pt x="3463" y="547"/>
                  </a:lnTo>
                  <a:lnTo>
                    <a:pt x="3456" y="553"/>
                  </a:lnTo>
                  <a:lnTo>
                    <a:pt x="3464" y="566"/>
                  </a:lnTo>
                  <a:lnTo>
                    <a:pt x="3464" y="573"/>
                  </a:lnTo>
                  <a:lnTo>
                    <a:pt x="3475" y="588"/>
                  </a:lnTo>
                  <a:lnTo>
                    <a:pt x="3478" y="605"/>
                  </a:lnTo>
                  <a:lnTo>
                    <a:pt x="3495" y="624"/>
                  </a:lnTo>
                  <a:lnTo>
                    <a:pt x="3494" y="630"/>
                  </a:lnTo>
                  <a:lnTo>
                    <a:pt x="3500" y="637"/>
                  </a:lnTo>
                  <a:lnTo>
                    <a:pt x="3509" y="653"/>
                  </a:lnTo>
                  <a:lnTo>
                    <a:pt x="3507" y="657"/>
                  </a:lnTo>
                  <a:lnTo>
                    <a:pt x="3499" y="663"/>
                  </a:lnTo>
                  <a:lnTo>
                    <a:pt x="3502" y="707"/>
                  </a:lnTo>
                  <a:lnTo>
                    <a:pt x="3495" y="715"/>
                  </a:lnTo>
                  <a:lnTo>
                    <a:pt x="3494" y="725"/>
                  </a:lnTo>
                  <a:lnTo>
                    <a:pt x="3503" y="733"/>
                  </a:lnTo>
                  <a:lnTo>
                    <a:pt x="3513" y="755"/>
                  </a:lnTo>
                  <a:lnTo>
                    <a:pt x="3514" y="774"/>
                  </a:lnTo>
                  <a:lnTo>
                    <a:pt x="3520" y="778"/>
                  </a:lnTo>
                  <a:lnTo>
                    <a:pt x="3520" y="784"/>
                  </a:lnTo>
                  <a:lnTo>
                    <a:pt x="3534" y="789"/>
                  </a:lnTo>
                  <a:lnTo>
                    <a:pt x="3531" y="798"/>
                  </a:lnTo>
                  <a:lnTo>
                    <a:pt x="3539" y="808"/>
                  </a:lnTo>
                  <a:lnTo>
                    <a:pt x="3536" y="815"/>
                  </a:lnTo>
                  <a:lnTo>
                    <a:pt x="3525" y="824"/>
                  </a:lnTo>
                  <a:lnTo>
                    <a:pt x="3524" y="837"/>
                  </a:lnTo>
                  <a:lnTo>
                    <a:pt x="3514" y="844"/>
                  </a:lnTo>
                  <a:lnTo>
                    <a:pt x="3500" y="859"/>
                  </a:lnTo>
                  <a:lnTo>
                    <a:pt x="3499" y="871"/>
                  </a:lnTo>
                  <a:lnTo>
                    <a:pt x="3500" y="876"/>
                  </a:lnTo>
                  <a:lnTo>
                    <a:pt x="3509" y="877"/>
                  </a:lnTo>
                  <a:lnTo>
                    <a:pt x="3511" y="879"/>
                  </a:lnTo>
                  <a:lnTo>
                    <a:pt x="3513" y="882"/>
                  </a:lnTo>
                  <a:lnTo>
                    <a:pt x="3509" y="895"/>
                  </a:lnTo>
                  <a:lnTo>
                    <a:pt x="3497" y="901"/>
                  </a:lnTo>
                  <a:lnTo>
                    <a:pt x="3496" y="911"/>
                  </a:lnTo>
                  <a:lnTo>
                    <a:pt x="3507" y="937"/>
                  </a:lnTo>
                  <a:lnTo>
                    <a:pt x="3503" y="940"/>
                  </a:lnTo>
                  <a:lnTo>
                    <a:pt x="3505" y="944"/>
                  </a:lnTo>
                  <a:lnTo>
                    <a:pt x="3509" y="952"/>
                  </a:lnTo>
                  <a:lnTo>
                    <a:pt x="3505" y="966"/>
                  </a:lnTo>
                  <a:lnTo>
                    <a:pt x="3507" y="976"/>
                  </a:lnTo>
                  <a:lnTo>
                    <a:pt x="3514" y="976"/>
                  </a:lnTo>
                  <a:lnTo>
                    <a:pt x="3514" y="986"/>
                  </a:lnTo>
                  <a:lnTo>
                    <a:pt x="3524" y="998"/>
                  </a:lnTo>
                  <a:lnTo>
                    <a:pt x="3520" y="1010"/>
                  </a:lnTo>
                  <a:lnTo>
                    <a:pt x="3522" y="1028"/>
                  </a:lnTo>
                  <a:lnTo>
                    <a:pt x="3519" y="1038"/>
                  </a:lnTo>
                  <a:lnTo>
                    <a:pt x="3500" y="1056"/>
                  </a:lnTo>
                  <a:lnTo>
                    <a:pt x="3502" y="1067"/>
                  </a:lnTo>
                  <a:lnTo>
                    <a:pt x="3492" y="1072"/>
                  </a:lnTo>
                  <a:lnTo>
                    <a:pt x="3486" y="1080"/>
                  </a:lnTo>
                  <a:lnTo>
                    <a:pt x="3482" y="1080"/>
                  </a:lnTo>
                  <a:lnTo>
                    <a:pt x="3477" y="1073"/>
                  </a:lnTo>
                  <a:lnTo>
                    <a:pt x="3471" y="1073"/>
                  </a:lnTo>
                  <a:lnTo>
                    <a:pt x="3467" y="1082"/>
                  </a:lnTo>
                  <a:lnTo>
                    <a:pt x="3459" y="1090"/>
                  </a:lnTo>
                  <a:lnTo>
                    <a:pt x="3455" y="1107"/>
                  </a:lnTo>
                  <a:lnTo>
                    <a:pt x="3457" y="1117"/>
                  </a:lnTo>
                  <a:lnTo>
                    <a:pt x="3455" y="1137"/>
                  </a:lnTo>
                  <a:lnTo>
                    <a:pt x="3436" y="1139"/>
                  </a:lnTo>
                  <a:lnTo>
                    <a:pt x="3416" y="1154"/>
                  </a:lnTo>
                  <a:lnTo>
                    <a:pt x="3402" y="1151"/>
                  </a:lnTo>
                  <a:lnTo>
                    <a:pt x="3394" y="1148"/>
                  </a:lnTo>
                  <a:lnTo>
                    <a:pt x="3396" y="1172"/>
                  </a:lnTo>
                  <a:lnTo>
                    <a:pt x="3394" y="1176"/>
                  </a:lnTo>
                  <a:lnTo>
                    <a:pt x="3382" y="1192"/>
                  </a:lnTo>
                  <a:lnTo>
                    <a:pt x="3382" y="1207"/>
                  </a:lnTo>
                  <a:lnTo>
                    <a:pt x="3391" y="1223"/>
                  </a:lnTo>
                  <a:lnTo>
                    <a:pt x="3395" y="1240"/>
                  </a:lnTo>
                  <a:lnTo>
                    <a:pt x="3394" y="1256"/>
                  </a:lnTo>
                  <a:lnTo>
                    <a:pt x="3397" y="1266"/>
                  </a:lnTo>
                  <a:lnTo>
                    <a:pt x="3394" y="1273"/>
                  </a:lnTo>
                  <a:lnTo>
                    <a:pt x="3409" y="1298"/>
                  </a:lnTo>
                  <a:lnTo>
                    <a:pt x="3391" y="1301"/>
                  </a:lnTo>
                  <a:lnTo>
                    <a:pt x="3384" y="1337"/>
                  </a:lnTo>
                  <a:lnTo>
                    <a:pt x="3378" y="1344"/>
                  </a:lnTo>
                  <a:lnTo>
                    <a:pt x="3366" y="1351"/>
                  </a:lnTo>
                  <a:lnTo>
                    <a:pt x="3363" y="1358"/>
                  </a:lnTo>
                  <a:lnTo>
                    <a:pt x="3353" y="1362"/>
                  </a:lnTo>
                  <a:lnTo>
                    <a:pt x="3350" y="1379"/>
                  </a:lnTo>
                  <a:lnTo>
                    <a:pt x="3332" y="1403"/>
                  </a:lnTo>
                  <a:lnTo>
                    <a:pt x="3324" y="1408"/>
                  </a:lnTo>
                  <a:lnTo>
                    <a:pt x="3314" y="1403"/>
                  </a:lnTo>
                  <a:lnTo>
                    <a:pt x="3301" y="1405"/>
                  </a:lnTo>
                  <a:lnTo>
                    <a:pt x="3289" y="1414"/>
                  </a:lnTo>
                  <a:lnTo>
                    <a:pt x="3281" y="1417"/>
                  </a:lnTo>
                  <a:lnTo>
                    <a:pt x="3278" y="1425"/>
                  </a:lnTo>
                  <a:lnTo>
                    <a:pt x="3270" y="1438"/>
                  </a:lnTo>
                  <a:lnTo>
                    <a:pt x="3264" y="1438"/>
                  </a:lnTo>
                  <a:lnTo>
                    <a:pt x="3257" y="1446"/>
                  </a:lnTo>
                  <a:lnTo>
                    <a:pt x="3257" y="1460"/>
                  </a:lnTo>
                  <a:lnTo>
                    <a:pt x="3246" y="1467"/>
                  </a:lnTo>
                  <a:lnTo>
                    <a:pt x="3243" y="1472"/>
                  </a:lnTo>
                  <a:lnTo>
                    <a:pt x="3242" y="1483"/>
                  </a:lnTo>
                  <a:lnTo>
                    <a:pt x="3240" y="1491"/>
                  </a:lnTo>
                  <a:lnTo>
                    <a:pt x="3245" y="1500"/>
                  </a:lnTo>
                  <a:lnTo>
                    <a:pt x="3239" y="1513"/>
                  </a:lnTo>
                  <a:lnTo>
                    <a:pt x="3247" y="1518"/>
                  </a:lnTo>
                  <a:lnTo>
                    <a:pt x="3240" y="1527"/>
                  </a:lnTo>
                  <a:lnTo>
                    <a:pt x="3245" y="1544"/>
                  </a:lnTo>
                  <a:lnTo>
                    <a:pt x="3265" y="1554"/>
                  </a:lnTo>
                  <a:lnTo>
                    <a:pt x="3281" y="1554"/>
                  </a:lnTo>
                  <a:lnTo>
                    <a:pt x="3287" y="1554"/>
                  </a:lnTo>
                  <a:lnTo>
                    <a:pt x="3300" y="1574"/>
                  </a:lnTo>
                  <a:lnTo>
                    <a:pt x="3320" y="1584"/>
                  </a:lnTo>
                  <a:lnTo>
                    <a:pt x="3320" y="1596"/>
                  </a:lnTo>
                  <a:lnTo>
                    <a:pt x="3339" y="1609"/>
                  </a:lnTo>
                  <a:lnTo>
                    <a:pt x="3343" y="1621"/>
                  </a:lnTo>
                  <a:lnTo>
                    <a:pt x="3349" y="1627"/>
                  </a:lnTo>
                  <a:lnTo>
                    <a:pt x="3349" y="1634"/>
                  </a:lnTo>
                  <a:lnTo>
                    <a:pt x="3367" y="1634"/>
                  </a:lnTo>
                  <a:lnTo>
                    <a:pt x="3380" y="1644"/>
                  </a:lnTo>
                  <a:lnTo>
                    <a:pt x="3388" y="1664"/>
                  </a:lnTo>
                  <a:lnTo>
                    <a:pt x="3380" y="1671"/>
                  </a:lnTo>
                  <a:lnTo>
                    <a:pt x="3367" y="1704"/>
                  </a:lnTo>
                  <a:lnTo>
                    <a:pt x="3361" y="1712"/>
                  </a:lnTo>
                  <a:lnTo>
                    <a:pt x="3360" y="1724"/>
                  </a:lnTo>
                  <a:lnTo>
                    <a:pt x="3363" y="1741"/>
                  </a:lnTo>
                  <a:lnTo>
                    <a:pt x="3359" y="1764"/>
                  </a:lnTo>
                  <a:lnTo>
                    <a:pt x="3361" y="1773"/>
                  </a:lnTo>
                  <a:lnTo>
                    <a:pt x="3366" y="1777"/>
                  </a:lnTo>
                  <a:lnTo>
                    <a:pt x="3371" y="1779"/>
                  </a:lnTo>
                  <a:lnTo>
                    <a:pt x="3374" y="1802"/>
                  </a:lnTo>
                  <a:lnTo>
                    <a:pt x="3381" y="1818"/>
                  </a:lnTo>
                  <a:lnTo>
                    <a:pt x="3389" y="1826"/>
                  </a:lnTo>
                  <a:lnTo>
                    <a:pt x="3407" y="1832"/>
                  </a:lnTo>
                  <a:lnTo>
                    <a:pt x="3425" y="1836"/>
                  </a:lnTo>
                  <a:lnTo>
                    <a:pt x="3431" y="1847"/>
                  </a:lnTo>
                  <a:lnTo>
                    <a:pt x="3441" y="1844"/>
                  </a:lnTo>
                  <a:lnTo>
                    <a:pt x="3460" y="1835"/>
                  </a:lnTo>
                  <a:lnTo>
                    <a:pt x="3474" y="1848"/>
                  </a:lnTo>
                  <a:lnTo>
                    <a:pt x="3477" y="1855"/>
                  </a:lnTo>
                  <a:lnTo>
                    <a:pt x="3496" y="1862"/>
                  </a:lnTo>
                  <a:lnTo>
                    <a:pt x="3500" y="1870"/>
                  </a:lnTo>
                  <a:lnTo>
                    <a:pt x="3497" y="1885"/>
                  </a:lnTo>
                  <a:lnTo>
                    <a:pt x="3511" y="1903"/>
                  </a:lnTo>
                  <a:lnTo>
                    <a:pt x="3509" y="1924"/>
                  </a:lnTo>
                  <a:lnTo>
                    <a:pt x="3514" y="1942"/>
                  </a:lnTo>
                  <a:lnTo>
                    <a:pt x="3522" y="1948"/>
                  </a:lnTo>
                  <a:lnTo>
                    <a:pt x="3539" y="1951"/>
                  </a:lnTo>
                  <a:lnTo>
                    <a:pt x="3559" y="1970"/>
                  </a:lnTo>
                  <a:lnTo>
                    <a:pt x="3566" y="1970"/>
                  </a:lnTo>
                  <a:lnTo>
                    <a:pt x="3577" y="1962"/>
                  </a:lnTo>
                  <a:lnTo>
                    <a:pt x="3581" y="1964"/>
                  </a:lnTo>
                  <a:lnTo>
                    <a:pt x="3586" y="1977"/>
                  </a:lnTo>
                  <a:lnTo>
                    <a:pt x="3585" y="1997"/>
                  </a:lnTo>
                  <a:lnTo>
                    <a:pt x="3589" y="2012"/>
                  </a:lnTo>
                  <a:lnTo>
                    <a:pt x="3599" y="2015"/>
                  </a:lnTo>
                  <a:lnTo>
                    <a:pt x="3613" y="2007"/>
                  </a:lnTo>
                  <a:lnTo>
                    <a:pt x="3644" y="2026"/>
                  </a:lnTo>
                  <a:lnTo>
                    <a:pt x="3665" y="2057"/>
                  </a:lnTo>
                  <a:lnTo>
                    <a:pt x="3660" y="2072"/>
                  </a:lnTo>
                  <a:lnTo>
                    <a:pt x="3663" y="2080"/>
                  </a:lnTo>
                  <a:lnTo>
                    <a:pt x="3670" y="2084"/>
                  </a:lnTo>
                  <a:lnTo>
                    <a:pt x="3685" y="2086"/>
                  </a:lnTo>
                  <a:lnTo>
                    <a:pt x="3695" y="2094"/>
                  </a:lnTo>
                  <a:lnTo>
                    <a:pt x="3713" y="2097"/>
                  </a:lnTo>
                  <a:lnTo>
                    <a:pt x="3720" y="2106"/>
                  </a:lnTo>
                  <a:lnTo>
                    <a:pt x="3729" y="2151"/>
                  </a:lnTo>
                  <a:lnTo>
                    <a:pt x="3742" y="2161"/>
                  </a:lnTo>
                  <a:lnTo>
                    <a:pt x="3770" y="2168"/>
                  </a:lnTo>
                  <a:lnTo>
                    <a:pt x="3773" y="2200"/>
                  </a:lnTo>
                  <a:lnTo>
                    <a:pt x="3777" y="2210"/>
                  </a:lnTo>
                  <a:lnTo>
                    <a:pt x="3788" y="2210"/>
                  </a:lnTo>
                  <a:lnTo>
                    <a:pt x="3816" y="2203"/>
                  </a:lnTo>
                  <a:lnTo>
                    <a:pt x="3819" y="2210"/>
                  </a:lnTo>
                  <a:lnTo>
                    <a:pt x="3826" y="2213"/>
                  </a:lnTo>
                  <a:lnTo>
                    <a:pt x="3829" y="2217"/>
                  </a:lnTo>
                  <a:lnTo>
                    <a:pt x="3831" y="2218"/>
                  </a:lnTo>
                  <a:lnTo>
                    <a:pt x="3835" y="2245"/>
                  </a:lnTo>
                  <a:lnTo>
                    <a:pt x="3840" y="2254"/>
                  </a:lnTo>
                  <a:lnTo>
                    <a:pt x="3862" y="2259"/>
                  </a:lnTo>
                  <a:lnTo>
                    <a:pt x="3870" y="2271"/>
                  </a:lnTo>
                  <a:lnTo>
                    <a:pt x="3877" y="2276"/>
                  </a:lnTo>
                  <a:lnTo>
                    <a:pt x="3897" y="2280"/>
                  </a:lnTo>
                  <a:lnTo>
                    <a:pt x="3902" y="2267"/>
                  </a:lnTo>
                  <a:lnTo>
                    <a:pt x="3919" y="2271"/>
                  </a:lnTo>
                  <a:lnTo>
                    <a:pt x="3948" y="2267"/>
                  </a:lnTo>
                  <a:lnTo>
                    <a:pt x="3966" y="2282"/>
                  </a:lnTo>
                  <a:lnTo>
                    <a:pt x="3972" y="2300"/>
                  </a:lnTo>
                  <a:lnTo>
                    <a:pt x="3962" y="2308"/>
                  </a:lnTo>
                  <a:lnTo>
                    <a:pt x="3961" y="2315"/>
                  </a:lnTo>
                  <a:lnTo>
                    <a:pt x="3976" y="2349"/>
                  </a:lnTo>
                  <a:lnTo>
                    <a:pt x="3976" y="2365"/>
                  </a:lnTo>
                  <a:lnTo>
                    <a:pt x="3973" y="2365"/>
                  </a:lnTo>
                  <a:lnTo>
                    <a:pt x="3966" y="2363"/>
                  </a:lnTo>
                  <a:lnTo>
                    <a:pt x="3962" y="2365"/>
                  </a:lnTo>
                  <a:lnTo>
                    <a:pt x="3954" y="2378"/>
                  </a:lnTo>
                  <a:lnTo>
                    <a:pt x="3955" y="2383"/>
                  </a:lnTo>
                  <a:lnTo>
                    <a:pt x="3953" y="2390"/>
                  </a:lnTo>
                  <a:lnTo>
                    <a:pt x="3933" y="2394"/>
                  </a:lnTo>
                  <a:lnTo>
                    <a:pt x="3915" y="2401"/>
                  </a:lnTo>
                  <a:lnTo>
                    <a:pt x="3908" y="2401"/>
                  </a:lnTo>
                  <a:lnTo>
                    <a:pt x="3891" y="2409"/>
                  </a:lnTo>
                  <a:lnTo>
                    <a:pt x="3885" y="2420"/>
                  </a:lnTo>
                  <a:lnTo>
                    <a:pt x="3890" y="2424"/>
                  </a:lnTo>
                  <a:lnTo>
                    <a:pt x="3888" y="2428"/>
                  </a:lnTo>
                  <a:lnTo>
                    <a:pt x="3894" y="2432"/>
                  </a:lnTo>
                  <a:lnTo>
                    <a:pt x="3887" y="2450"/>
                  </a:lnTo>
                  <a:lnTo>
                    <a:pt x="3902" y="2465"/>
                  </a:lnTo>
                  <a:lnTo>
                    <a:pt x="3905" y="2465"/>
                  </a:lnTo>
                  <a:lnTo>
                    <a:pt x="3909" y="2471"/>
                  </a:lnTo>
                  <a:lnTo>
                    <a:pt x="3929" y="2481"/>
                  </a:lnTo>
                  <a:lnTo>
                    <a:pt x="3926" y="2484"/>
                  </a:lnTo>
                  <a:lnTo>
                    <a:pt x="3915" y="2487"/>
                  </a:lnTo>
                  <a:lnTo>
                    <a:pt x="3906" y="2499"/>
                  </a:lnTo>
                  <a:lnTo>
                    <a:pt x="3908" y="2503"/>
                  </a:lnTo>
                  <a:lnTo>
                    <a:pt x="3913" y="2506"/>
                  </a:lnTo>
                  <a:lnTo>
                    <a:pt x="3916" y="2516"/>
                  </a:lnTo>
                  <a:lnTo>
                    <a:pt x="3922" y="2517"/>
                  </a:lnTo>
                  <a:lnTo>
                    <a:pt x="4073" y="2517"/>
                  </a:lnTo>
                  <a:lnTo>
                    <a:pt x="4080" y="2517"/>
                  </a:lnTo>
                  <a:lnTo>
                    <a:pt x="4080" y="2520"/>
                  </a:lnTo>
                  <a:lnTo>
                    <a:pt x="4075" y="2525"/>
                  </a:lnTo>
                  <a:lnTo>
                    <a:pt x="4078" y="2528"/>
                  </a:lnTo>
                  <a:lnTo>
                    <a:pt x="4080" y="2528"/>
                  </a:lnTo>
                  <a:lnTo>
                    <a:pt x="4086" y="2525"/>
                  </a:lnTo>
                  <a:lnTo>
                    <a:pt x="4087" y="2525"/>
                  </a:lnTo>
                  <a:lnTo>
                    <a:pt x="4089" y="2529"/>
                  </a:lnTo>
                  <a:lnTo>
                    <a:pt x="4084" y="2536"/>
                  </a:lnTo>
                  <a:lnTo>
                    <a:pt x="4087" y="2544"/>
                  </a:lnTo>
                  <a:lnTo>
                    <a:pt x="4084" y="2548"/>
                  </a:lnTo>
                  <a:lnTo>
                    <a:pt x="4076" y="2550"/>
                  </a:lnTo>
                  <a:lnTo>
                    <a:pt x="4076" y="2551"/>
                  </a:lnTo>
                  <a:lnTo>
                    <a:pt x="4078" y="2554"/>
                  </a:lnTo>
                  <a:lnTo>
                    <a:pt x="4081" y="2554"/>
                  </a:lnTo>
                  <a:lnTo>
                    <a:pt x="4083" y="2556"/>
                  </a:lnTo>
                  <a:lnTo>
                    <a:pt x="4084" y="2566"/>
                  </a:lnTo>
                  <a:lnTo>
                    <a:pt x="4091" y="2570"/>
                  </a:lnTo>
                  <a:lnTo>
                    <a:pt x="4091" y="2573"/>
                  </a:lnTo>
                  <a:lnTo>
                    <a:pt x="4087" y="2576"/>
                  </a:lnTo>
                  <a:lnTo>
                    <a:pt x="4087" y="2578"/>
                  </a:lnTo>
                  <a:lnTo>
                    <a:pt x="4089" y="2579"/>
                  </a:lnTo>
                  <a:lnTo>
                    <a:pt x="4093" y="2579"/>
                  </a:lnTo>
                  <a:lnTo>
                    <a:pt x="4094" y="2581"/>
                  </a:lnTo>
                  <a:lnTo>
                    <a:pt x="4093" y="2583"/>
                  </a:lnTo>
                  <a:lnTo>
                    <a:pt x="4087" y="2587"/>
                  </a:lnTo>
                  <a:lnTo>
                    <a:pt x="4087" y="2593"/>
                  </a:lnTo>
                  <a:lnTo>
                    <a:pt x="4083" y="2595"/>
                  </a:lnTo>
                  <a:lnTo>
                    <a:pt x="4084" y="2599"/>
                  </a:lnTo>
                  <a:lnTo>
                    <a:pt x="4079" y="2600"/>
                  </a:lnTo>
                  <a:lnTo>
                    <a:pt x="4080" y="2603"/>
                  </a:lnTo>
                  <a:lnTo>
                    <a:pt x="4086" y="2603"/>
                  </a:lnTo>
                  <a:lnTo>
                    <a:pt x="4087" y="2606"/>
                  </a:lnTo>
                  <a:lnTo>
                    <a:pt x="4087" y="2607"/>
                  </a:lnTo>
                  <a:lnTo>
                    <a:pt x="4080" y="2607"/>
                  </a:lnTo>
                  <a:lnTo>
                    <a:pt x="4084" y="2615"/>
                  </a:lnTo>
                  <a:lnTo>
                    <a:pt x="4078" y="2618"/>
                  </a:lnTo>
                  <a:lnTo>
                    <a:pt x="4081" y="2623"/>
                  </a:lnTo>
                  <a:lnTo>
                    <a:pt x="4079" y="2632"/>
                  </a:lnTo>
                  <a:lnTo>
                    <a:pt x="4079" y="2633"/>
                  </a:lnTo>
                  <a:lnTo>
                    <a:pt x="4086" y="2632"/>
                  </a:lnTo>
                  <a:lnTo>
                    <a:pt x="4095" y="2637"/>
                  </a:lnTo>
                  <a:lnTo>
                    <a:pt x="4095" y="2648"/>
                  </a:lnTo>
                  <a:lnTo>
                    <a:pt x="4101" y="2655"/>
                  </a:lnTo>
                  <a:lnTo>
                    <a:pt x="4101" y="2660"/>
                  </a:lnTo>
                  <a:lnTo>
                    <a:pt x="4105" y="2663"/>
                  </a:lnTo>
                  <a:lnTo>
                    <a:pt x="4104" y="2670"/>
                  </a:lnTo>
                  <a:lnTo>
                    <a:pt x="4104" y="2673"/>
                  </a:lnTo>
                  <a:lnTo>
                    <a:pt x="4108" y="2678"/>
                  </a:lnTo>
                  <a:lnTo>
                    <a:pt x="4112" y="2678"/>
                  </a:lnTo>
                  <a:lnTo>
                    <a:pt x="4114" y="2682"/>
                  </a:lnTo>
                  <a:lnTo>
                    <a:pt x="4115" y="2686"/>
                  </a:lnTo>
                  <a:lnTo>
                    <a:pt x="4116" y="2690"/>
                  </a:lnTo>
                  <a:lnTo>
                    <a:pt x="4119" y="2700"/>
                  </a:lnTo>
                  <a:lnTo>
                    <a:pt x="4119" y="2705"/>
                  </a:lnTo>
                  <a:lnTo>
                    <a:pt x="4115" y="2711"/>
                  </a:lnTo>
                  <a:close/>
                </a:path>
              </a:pathLst>
            </a:custGeom>
            <a:solidFill>
              <a:srgbClr val="BD81B9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79" name="Freeform 378"/>
            <p:cNvSpPr>
              <a:spLocks/>
            </p:cNvSpPr>
            <p:nvPr/>
          </p:nvSpPr>
          <p:spPr bwMode="auto">
            <a:xfrm>
              <a:off x="4790027" y="1788126"/>
              <a:ext cx="661491" cy="914614"/>
            </a:xfrm>
            <a:custGeom>
              <a:avLst/>
              <a:gdLst>
                <a:gd name="T0" fmla="*/ 3256 w 3320"/>
                <a:gd name="T1" fmla="*/ 378 h 3392"/>
                <a:gd name="T2" fmla="*/ 3215 w 3320"/>
                <a:gd name="T3" fmla="*/ 686 h 3392"/>
                <a:gd name="T4" fmla="*/ 3094 w 3320"/>
                <a:gd name="T5" fmla="*/ 846 h 3392"/>
                <a:gd name="T6" fmla="*/ 2989 w 3320"/>
                <a:gd name="T7" fmla="*/ 966 h 3392"/>
                <a:gd name="T8" fmla="*/ 2957 w 3320"/>
                <a:gd name="T9" fmla="*/ 1091 h 3392"/>
                <a:gd name="T10" fmla="*/ 2970 w 3320"/>
                <a:gd name="T11" fmla="*/ 1212 h 3392"/>
                <a:gd name="T12" fmla="*/ 2930 w 3320"/>
                <a:gd name="T13" fmla="*/ 1364 h 3392"/>
                <a:gd name="T14" fmla="*/ 2995 w 3320"/>
                <a:gd name="T15" fmla="*/ 1501 h 3392"/>
                <a:gd name="T16" fmla="*/ 3107 w 3320"/>
                <a:gd name="T17" fmla="*/ 1535 h 3392"/>
                <a:gd name="T18" fmla="*/ 3076 w 3320"/>
                <a:gd name="T19" fmla="*/ 1608 h 3392"/>
                <a:gd name="T20" fmla="*/ 3006 w 3320"/>
                <a:gd name="T21" fmla="*/ 1692 h 3392"/>
                <a:gd name="T22" fmla="*/ 3057 w 3320"/>
                <a:gd name="T23" fmla="*/ 1933 h 3392"/>
                <a:gd name="T24" fmla="*/ 3099 w 3320"/>
                <a:gd name="T25" fmla="*/ 2068 h 3392"/>
                <a:gd name="T26" fmla="*/ 3163 w 3320"/>
                <a:gd name="T27" fmla="*/ 2181 h 3392"/>
                <a:gd name="T28" fmla="*/ 3240 w 3320"/>
                <a:gd name="T29" fmla="*/ 2289 h 3392"/>
                <a:gd name="T30" fmla="*/ 3096 w 3320"/>
                <a:gd name="T31" fmla="*/ 2374 h 3392"/>
                <a:gd name="T32" fmla="*/ 2878 w 3320"/>
                <a:gd name="T33" fmla="*/ 2459 h 3392"/>
                <a:gd name="T34" fmla="*/ 2686 w 3320"/>
                <a:gd name="T35" fmla="*/ 2423 h 3392"/>
                <a:gd name="T36" fmla="*/ 2575 w 3320"/>
                <a:gd name="T37" fmla="*/ 2526 h 3392"/>
                <a:gd name="T38" fmla="*/ 2423 w 3320"/>
                <a:gd name="T39" fmla="*/ 2619 h 3392"/>
                <a:gd name="T40" fmla="*/ 2254 w 3320"/>
                <a:gd name="T41" fmla="*/ 2679 h 3392"/>
                <a:gd name="T42" fmla="*/ 2066 w 3320"/>
                <a:gd name="T43" fmla="*/ 2805 h 3392"/>
                <a:gd name="T44" fmla="*/ 1969 w 3320"/>
                <a:gd name="T45" fmla="*/ 2912 h 3392"/>
                <a:gd name="T46" fmla="*/ 1888 w 3320"/>
                <a:gd name="T47" fmla="*/ 3041 h 3392"/>
                <a:gd name="T48" fmla="*/ 1821 w 3320"/>
                <a:gd name="T49" fmla="*/ 3133 h 3392"/>
                <a:gd name="T50" fmla="*/ 1710 w 3320"/>
                <a:gd name="T51" fmla="*/ 3207 h 3392"/>
                <a:gd name="T52" fmla="*/ 1652 w 3320"/>
                <a:gd name="T53" fmla="*/ 3230 h 3392"/>
                <a:gd name="T54" fmla="*/ 1616 w 3320"/>
                <a:gd name="T55" fmla="*/ 3238 h 3392"/>
                <a:gd name="T56" fmla="*/ 1606 w 3320"/>
                <a:gd name="T57" fmla="*/ 3256 h 3392"/>
                <a:gd name="T58" fmla="*/ 1588 w 3320"/>
                <a:gd name="T59" fmla="*/ 3277 h 3392"/>
                <a:gd name="T60" fmla="*/ 1577 w 3320"/>
                <a:gd name="T61" fmla="*/ 3295 h 3392"/>
                <a:gd name="T62" fmla="*/ 1558 w 3320"/>
                <a:gd name="T63" fmla="*/ 3314 h 3392"/>
                <a:gd name="T64" fmla="*/ 1540 w 3320"/>
                <a:gd name="T65" fmla="*/ 3339 h 3392"/>
                <a:gd name="T66" fmla="*/ 1557 w 3320"/>
                <a:gd name="T67" fmla="*/ 3370 h 3392"/>
                <a:gd name="T68" fmla="*/ 1458 w 3320"/>
                <a:gd name="T69" fmla="*/ 3367 h 3392"/>
                <a:gd name="T70" fmla="*/ 1429 w 3320"/>
                <a:gd name="T71" fmla="*/ 3356 h 3392"/>
                <a:gd name="T72" fmla="*/ 1141 w 3320"/>
                <a:gd name="T73" fmla="*/ 2647 h 3392"/>
                <a:gd name="T74" fmla="*/ 100 w 3320"/>
                <a:gd name="T75" fmla="*/ 1107 h 3392"/>
                <a:gd name="T76" fmla="*/ 859 w 3320"/>
                <a:gd name="T77" fmla="*/ 244 h 3392"/>
                <a:gd name="T78" fmla="*/ 926 w 3320"/>
                <a:gd name="T79" fmla="*/ 250 h 3392"/>
                <a:gd name="T80" fmla="*/ 984 w 3320"/>
                <a:gd name="T81" fmla="*/ 232 h 3392"/>
                <a:gd name="T82" fmla="*/ 1093 w 3320"/>
                <a:gd name="T83" fmla="*/ 174 h 3392"/>
                <a:gd name="T84" fmla="*/ 1168 w 3320"/>
                <a:gd name="T85" fmla="*/ 143 h 3392"/>
                <a:gd name="T86" fmla="*/ 1278 w 3320"/>
                <a:gd name="T87" fmla="*/ 133 h 3392"/>
                <a:gd name="T88" fmla="*/ 1359 w 3320"/>
                <a:gd name="T89" fmla="*/ 196 h 3392"/>
                <a:gd name="T90" fmla="*/ 1472 w 3320"/>
                <a:gd name="T91" fmla="*/ 230 h 3392"/>
                <a:gd name="T92" fmla="*/ 1489 w 3320"/>
                <a:gd name="T93" fmla="*/ 351 h 3392"/>
                <a:gd name="T94" fmla="*/ 1590 w 3320"/>
                <a:gd name="T95" fmla="*/ 360 h 3392"/>
                <a:gd name="T96" fmla="*/ 1729 w 3320"/>
                <a:gd name="T97" fmla="*/ 374 h 3392"/>
                <a:gd name="T98" fmla="*/ 1837 w 3320"/>
                <a:gd name="T99" fmla="*/ 378 h 3392"/>
                <a:gd name="T100" fmla="*/ 1985 w 3320"/>
                <a:gd name="T101" fmla="*/ 237 h 3392"/>
                <a:gd name="T102" fmla="*/ 2084 w 3320"/>
                <a:gd name="T103" fmla="*/ 267 h 3392"/>
                <a:gd name="T104" fmla="*/ 2215 w 3320"/>
                <a:gd name="T105" fmla="*/ 294 h 3392"/>
                <a:gd name="T106" fmla="*/ 2347 w 3320"/>
                <a:gd name="T107" fmla="*/ 301 h 3392"/>
                <a:gd name="T108" fmla="*/ 2465 w 3320"/>
                <a:gd name="T109" fmla="*/ 338 h 3392"/>
                <a:gd name="T110" fmla="*/ 2604 w 3320"/>
                <a:gd name="T111" fmla="*/ 289 h 3392"/>
                <a:gd name="T112" fmla="*/ 2754 w 3320"/>
                <a:gd name="T113" fmla="*/ 205 h 3392"/>
                <a:gd name="T114" fmla="*/ 2796 w 3320"/>
                <a:gd name="T115" fmla="*/ 41 h 3392"/>
                <a:gd name="T116" fmla="*/ 2909 w 3320"/>
                <a:gd name="T117" fmla="*/ 9 h 3392"/>
                <a:gd name="T118" fmla="*/ 3052 w 3320"/>
                <a:gd name="T119" fmla="*/ 22 h 3392"/>
                <a:gd name="T120" fmla="*/ 3152 w 3320"/>
                <a:gd name="T121" fmla="*/ 41 h 3392"/>
                <a:gd name="T122" fmla="*/ 3276 w 3320"/>
                <a:gd name="T123" fmla="*/ 112 h 339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20"/>
                <a:gd name="T187" fmla="*/ 0 h 3392"/>
                <a:gd name="T188" fmla="*/ 3320 w 3320"/>
                <a:gd name="T189" fmla="*/ 3392 h 339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20" h="3392">
                  <a:moveTo>
                    <a:pt x="3312" y="147"/>
                  </a:moveTo>
                  <a:lnTo>
                    <a:pt x="3309" y="150"/>
                  </a:lnTo>
                  <a:lnTo>
                    <a:pt x="3299" y="163"/>
                  </a:lnTo>
                  <a:lnTo>
                    <a:pt x="3291" y="182"/>
                  </a:lnTo>
                  <a:lnTo>
                    <a:pt x="3285" y="200"/>
                  </a:lnTo>
                  <a:lnTo>
                    <a:pt x="3280" y="217"/>
                  </a:lnTo>
                  <a:lnTo>
                    <a:pt x="3274" y="228"/>
                  </a:lnTo>
                  <a:lnTo>
                    <a:pt x="3276" y="228"/>
                  </a:lnTo>
                  <a:lnTo>
                    <a:pt x="3274" y="228"/>
                  </a:lnTo>
                  <a:lnTo>
                    <a:pt x="3274" y="230"/>
                  </a:lnTo>
                  <a:lnTo>
                    <a:pt x="3273" y="232"/>
                  </a:lnTo>
                  <a:lnTo>
                    <a:pt x="3271" y="232"/>
                  </a:lnTo>
                  <a:lnTo>
                    <a:pt x="3271" y="236"/>
                  </a:lnTo>
                  <a:lnTo>
                    <a:pt x="3271" y="237"/>
                  </a:lnTo>
                  <a:lnTo>
                    <a:pt x="3269" y="241"/>
                  </a:lnTo>
                  <a:lnTo>
                    <a:pt x="3269" y="245"/>
                  </a:lnTo>
                  <a:lnTo>
                    <a:pt x="3267" y="258"/>
                  </a:lnTo>
                  <a:lnTo>
                    <a:pt x="3265" y="273"/>
                  </a:lnTo>
                  <a:lnTo>
                    <a:pt x="3260" y="281"/>
                  </a:lnTo>
                  <a:lnTo>
                    <a:pt x="3260" y="289"/>
                  </a:lnTo>
                  <a:lnTo>
                    <a:pt x="3265" y="301"/>
                  </a:lnTo>
                  <a:lnTo>
                    <a:pt x="3265" y="308"/>
                  </a:lnTo>
                  <a:lnTo>
                    <a:pt x="3265" y="312"/>
                  </a:lnTo>
                  <a:lnTo>
                    <a:pt x="3260" y="324"/>
                  </a:lnTo>
                  <a:lnTo>
                    <a:pt x="3259" y="333"/>
                  </a:lnTo>
                  <a:lnTo>
                    <a:pt x="3260" y="346"/>
                  </a:lnTo>
                  <a:lnTo>
                    <a:pt x="3260" y="361"/>
                  </a:lnTo>
                  <a:lnTo>
                    <a:pt x="3259" y="366"/>
                  </a:lnTo>
                  <a:lnTo>
                    <a:pt x="3258" y="370"/>
                  </a:lnTo>
                  <a:lnTo>
                    <a:pt x="3256" y="374"/>
                  </a:lnTo>
                  <a:lnTo>
                    <a:pt x="3256" y="378"/>
                  </a:lnTo>
                  <a:lnTo>
                    <a:pt x="3256" y="382"/>
                  </a:lnTo>
                  <a:lnTo>
                    <a:pt x="3262" y="387"/>
                  </a:lnTo>
                  <a:lnTo>
                    <a:pt x="3263" y="395"/>
                  </a:lnTo>
                  <a:lnTo>
                    <a:pt x="3263" y="396"/>
                  </a:lnTo>
                  <a:lnTo>
                    <a:pt x="3265" y="396"/>
                  </a:lnTo>
                  <a:lnTo>
                    <a:pt x="3262" y="413"/>
                  </a:lnTo>
                  <a:lnTo>
                    <a:pt x="3263" y="421"/>
                  </a:lnTo>
                  <a:lnTo>
                    <a:pt x="3263" y="423"/>
                  </a:lnTo>
                  <a:lnTo>
                    <a:pt x="3265" y="428"/>
                  </a:lnTo>
                  <a:lnTo>
                    <a:pt x="3267" y="441"/>
                  </a:lnTo>
                  <a:lnTo>
                    <a:pt x="3273" y="453"/>
                  </a:lnTo>
                  <a:lnTo>
                    <a:pt x="3273" y="462"/>
                  </a:lnTo>
                  <a:lnTo>
                    <a:pt x="3266" y="477"/>
                  </a:lnTo>
                  <a:lnTo>
                    <a:pt x="3267" y="485"/>
                  </a:lnTo>
                  <a:lnTo>
                    <a:pt x="3273" y="507"/>
                  </a:lnTo>
                  <a:lnTo>
                    <a:pt x="3267" y="535"/>
                  </a:lnTo>
                  <a:lnTo>
                    <a:pt x="3260" y="552"/>
                  </a:lnTo>
                  <a:lnTo>
                    <a:pt x="3256" y="573"/>
                  </a:lnTo>
                  <a:lnTo>
                    <a:pt x="3254" y="587"/>
                  </a:lnTo>
                  <a:lnTo>
                    <a:pt x="3255" y="597"/>
                  </a:lnTo>
                  <a:lnTo>
                    <a:pt x="3249" y="610"/>
                  </a:lnTo>
                  <a:lnTo>
                    <a:pt x="3246" y="619"/>
                  </a:lnTo>
                  <a:lnTo>
                    <a:pt x="3248" y="632"/>
                  </a:lnTo>
                  <a:lnTo>
                    <a:pt x="3241" y="640"/>
                  </a:lnTo>
                  <a:lnTo>
                    <a:pt x="3235" y="651"/>
                  </a:lnTo>
                  <a:lnTo>
                    <a:pt x="3235" y="655"/>
                  </a:lnTo>
                  <a:lnTo>
                    <a:pt x="3238" y="659"/>
                  </a:lnTo>
                  <a:lnTo>
                    <a:pt x="3238" y="672"/>
                  </a:lnTo>
                  <a:lnTo>
                    <a:pt x="3229" y="681"/>
                  </a:lnTo>
                  <a:lnTo>
                    <a:pt x="3217" y="685"/>
                  </a:lnTo>
                  <a:lnTo>
                    <a:pt x="3215" y="686"/>
                  </a:lnTo>
                  <a:lnTo>
                    <a:pt x="3212" y="690"/>
                  </a:lnTo>
                  <a:lnTo>
                    <a:pt x="3205" y="690"/>
                  </a:lnTo>
                  <a:lnTo>
                    <a:pt x="3196" y="690"/>
                  </a:lnTo>
                  <a:lnTo>
                    <a:pt x="3180" y="702"/>
                  </a:lnTo>
                  <a:lnTo>
                    <a:pt x="3167" y="703"/>
                  </a:lnTo>
                  <a:lnTo>
                    <a:pt x="3159" y="713"/>
                  </a:lnTo>
                  <a:lnTo>
                    <a:pt x="3142" y="721"/>
                  </a:lnTo>
                  <a:lnTo>
                    <a:pt x="3119" y="740"/>
                  </a:lnTo>
                  <a:lnTo>
                    <a:pt x="3110" y="744"/>
                  </a:lnTo>
                  <a:lnTo>
                    <a:pt x="3113" y="751"/>
                  </a:lnTo>
                  <a:lnTo>
                    <a:pt x="3115" y="753"/>
                  </a:lnTo>
                  <a:lnTo>
                    <a:pt x="3115" y="756"/>
                  </a:lnTo>
                  <a:lnTo>
                    <a:pt x="3117" y="758"/>
                  </a:lnTo>
                  <a:lnTo>
                    <a:pt x="3116" y="763"/>
                  </a:lnTo>
                  <a:lnTo>
                    <a:pt x="3120" y="766"/>
                  </a:lnTo>
                  <a:lnTo>
                    <a:pt x="3120" y="771"/>
                  </a:lnTo>
                  <a:lnTo>
                    <a:pt x="3117" y="780"/>
                  </a:lnTo>
                  <a:lnTo>
                    <a:pt x="3110" y="789"/>
                  </a:lnTo>
                  <a:lnTo>
                    <a:pt x="3110" y="797"/>
                  </a:lnTo>
                  <a:lnTo>
                    <a:pt x="3113" y="797"/>
                  </a:lnTo>
                  <a:lnTo>
                    <a:pt x="3113" y="801"/>
                  </a:lnTo>
                  <a:lnTo>
                    <a:pt x="3109" y="802"/>
                  </a:lnTo>
                  <a:lnTo>
                    <a:pt x="3104" y="805"/>
                  </a:lnTo>
                  <a:lnTo>
                    <a:pt x="3102" y="814"/>
                  </a:lnTo>
                  <a:lnTo>
                    <a:pt x="3098" y="815"/>
                  </a:lnTo>
                  <a:lnTo>
                    <a:pt x="3095" y="823"/>
                  </a:lnTo>
                  <a:lnTo>
                    <a:pt x="3096" y="827"/>
                  </a:lnTo>
                  <a:lnTo>
                    <a:pt x="3094" y="831"/>
                  </a:lnTo>
                  <a:lnTo>
                    <a:pt x="3092" y="833"/>
                  </a:lnTo>
                  <a:lnTo>
                    <a:pt x="3094" y="838"/>
                  </a:lnTo>
                  <a:lnTo>
                    <a:pt x="3094" y="846"/>
                  </a:lnTo>
                  <a:lnTo>
                    <a:pt x="3095" y="847"/>
                  </a:lnTo>
                  <a:lnTo>
                    <a:pt x="3098" y="847"/>
                  </a:lnTo>
                  <a:lnTo>
                    <a:pt x="3098" y="850"/>
                  </a:lnTo>
                  <a:lnTo>
                    <a:pt x="3091" y="855"/>
                  </a:lnTo>
                  <a:lnTo>
                    <a:pt x="3088" y="864"/>
                  </a:lnTo>
                  <a:lnTo>
                    <a:pt x="3084" y="868"/>
                  </a:lnTo>
                  <a:lnTo>
                    <a:pt x="3076" y="873"/>
                  </a:lnTo>
                  <a:lnTo>
                    <a:pt x="3073" y="881"/>
                  </a:lnTo>
                  <a:lnTo>
                    <a:pt x="3070" y="883"/>
                  </a:lnTo>
                  <a:lnTo>
                    <a:pt x="3070" y="887"/>
                  </a:lnTo>
                  <a:lnTo>
                    <a:pt x="3064" y="890"/>
                  </a:lnTo>
                  <a:lnTo>
                    <a:pt x="3062" y="890"/>
                  </a:lnTo>
                  <a:lnTo>
                    <a:pt x="3057" y="898"/>
                  </a:lnTo>
                  <a:lnTo>
                    <a:pt x="3055" y="898"/>
                  </a:lnTo>
                  <a:lnTo>
                    <a:pt x="3049" y="902"/>
                  </a:lnTo>
                  <a:lnTo>
                    <a:pt x="3041" y="904"/>
                  </a:lnTo>
                  <a:lnTo>
                    <a:pt x="3038" y="912"/>
                  </a:lnTo>
                  <a:lnTo>
                    <a:pt x="3034" y="915"/>
                  </a:lnTo>
                  <a:lnTo>
                    <a:pt x="3031" y="918"/>
                  </a:lnTo>
                  <a:lnTo>
                    <a:pt x="3032" y="921"/>
                  </a:lnTo>
                  <a:lnTo>
                    <a:pt x="3024" y="926"/>
                  </a:lnTo>
                  <a:lnTo>
                    <a:pt x="3019" y="934"/>
                  </a:lnTo>
                  <a:lnTo>
                    <a:pt x="3011" y="935"/>
                  </a:lnTo>
                  <a:lnTo>
                    <a:pt x="3009" y="938"/>
                  </a:lnTo>
                  <a:lnTo>
                    <a:pt x="3000" y="939"/>
                  </a:lnTo>
                  <a:lnTo>
                    <a:pt x="2999" y="945"/>
                  </a:lnTo>
                  <a:lnTo>
                    <a:pt x="3000" y="949"/>
                  </a:lnTo>
                  <a:lnTo>
                    <a:pt x="2997" y="954"/>
                  </a:lnTo>
                  <a:lnTo>
                    <a:pt x="2997" y="957"/>
                  </a:lnTo>
                  <a:lnTo>
                    <a:pt x="2995" y="962"/>
                  </a:lnTo>
                  <a:lnTo>
                    <a:pt x="2989" y="966"/>
                  </a:lnTo>
                  <a:lnTo>
                    <a:pt x="2989" y="970"/>
                  </a:lnTo>
                  <a:lnTo>
                    <a:pt x="2992" y="970"/>
                  </a:lnTo>
                  <a:lnTo>
                    <a:pt x="2991" y="976"/>
                  </a:lnTo>
                  <a:lnTo>
                    <a:pt x="2994" y="976"/>
                  </a:lnTo>
                  <a:lnTo>
                    <a:pt x="2994" y="980"/>
                  </a:lnTo>
                  <a:lnTo>
                    <a:pt x="2996" y="979"/>
                  </a:lnTo>
                  <a:lnTo>
                    <a:pt x="2997" y="983"/>
                  </a:lnTo>
                  <a:lnTo>
                    <a:pt x="2997" y="992"/>
                  </a:lnTo>
                  <a:lnTo>
                    <a:pt x="2995" y="996"/>
                  </a:lnTo>
                  <a:lnTo>
                    <a:pt x="2996" y="997"/>
                  </a:lnTo>
                  <a:lnTo>
                    <a:pt x="2992" y="1001"/>
                  </a:lnTo>
                  <a:lnTo>
                    <a:pt x="2991" y="1011"/>
                  </a:lnTo>
                  <a:lnTo>
                    <a:pt x="2984" y="1016"/>
                  </a:lnTo>
                  <a:lnTo>
                    <a:pt x="2986" y="1020"/>
                  </a:lnTo>
                  <a:lnTo>
                    <a:pt x="2982" y="1025"/>
                  </a:lnTo>
                  <a:lnTo>
                    <a:pt x="2978" y="1032"/>
                  </a:lnTo>
                  <a:lnTo>
                    <a:pt x="2975" y="1033"/>
                  </a:lnTo>
                  <a:lnTo>
                    <a:pt x="2972" y="1033"/>
                  </a:lnTo>
                  <a:lnTo>
                    <a:pt x="2970" y="1037"/>
                  </a:lnTo>
                  <a:lnTo>
                    <a:pt x="2970" y="1045"/>
                  </a:lnTo>
                  <a:lnTo>
                    <a:pt x="2967" y="1051"/>
                  </a:lnTo>
                  <a:lnTo>
                    <a:pt x="2971" y="1059"/>
                  </a:lnTo>
                  <a:lnTo>
                    <a:pt x="2974" y="1061"/>
                  </a:lnTo>
                  <a:lnTo>
                    <a:pt x="2972" y="1064"/>
                  </a:lnTo>
                  <a:lnTo>
                    <a:pt x="2971" y="1067"/>
                  </a:lnTo>
                  <a:lnTo>
                    <a:pt x="2969" y="1069"/>
                  </a:lnTo>
                  <a:lnTo>
                    <a:pt x="2966" y="1074"/>
                  </a:lnTo>
                  <a:lnTo>
                    <a:pt x="2960" y="1078"/>
                  </a:lnTo>
                  <a:lnTo>
                    <a:pt x="2961" y="1083"/>
                  </a:lnTo>
                  <a:lnTo>
                    <a:pt x="2959" y="1084"/>
                  </a:lnTo>
                  <a:lnTo>
                    <a:pt x="2957" y="1091"/>
                  </a:lnTo>
                  <a:lnTo>
                    <a:pt x="2955" y="1096"/>
                  </a:lnTo>
                  <a:lnTo>
                    <a:pt x="2955" y="1099"/>
                  </a:lnTo>
                  <a:lnTo>
                    <a:pt x="2953" y="1100"/>
                  </a:lnTo>
                  <a:lnTo>
                    <a:pt x="2955" y="1103"/>
                  </a:lnTo>
                  <a:lnTo>
                    <a:pt x="2952" y="1113"/>
                  </a:lnTo>
                  <a:lnTo>
                    <a:pt x="2953" y="1117"/>
                  </a:lnTo>
                  <a:lnTo>
                    <a:pt x="2952" y="1119"/>
                  </a:lnTo>
                  <a:lnTo>
                    <a:pt x="2952" y="1121"/>
                  </a:lnTo>
                  <a:lnTo>
                    <a:pt x="2950" y="1125"/>
                  </a:lnTo>
                  <a:lnTo>
                    <a:pt x="2955" y="1126"/>
                  </a:lnTo>
                  <a:lnTo>
                    <a:pt x="2956" y="1125"/>
                  </a:lnTo>
                  <a:lnTo>
                    <a:pt x="2957" y="1126"/>
                  </a:lnTo>
                  <a:lnTo>
                    <a:pt x="2959" y="1129"/>
                  </a:lnTo>
                  <a:lnTo>
                    <a:pt x="2959" y="1132"/>
                  </a:lnTo>
                  <a:lnTo>
                    <a:pt x="2963" y="1136"/>
                  </a:lnTo>
                  <a:lnTo>
                    <a:pt x="2964" y="1145"/>
                  </a:lnTo>
                  <a:lnTo>
                    <a:pt x="2966" y="1148"/>
                  </a:lnTo>
                  <a:lnTo>
                    <a:pt x="2963" y="1154"/>
                  </a:lnTo>
                  <a:lnTo>
                    <a:pt x="2964" y="1158"/>
                  </a:lnTo>
                  <a:lnTo>
                    <a:pt x="2961" y="1162"/>
                  </a:lnTo>
                  <a:lnTo>
                    <a:pt x="2963" y="1166"/>
                  </a:lnTo>
                  <a:lnTo>
                    <a:pt x="2961" y="1167"/>
                  </a:lnTo>
                  <a:lnTo>
                    <a:pt x="2960" y="1171"/>
                  </a:lnTo>
                  <a:lnTo>
                    <a:pt x="2963" y="1181"/>
                  </a:lnTo>
                  <a:lnTo>
                    <a:pt x="2960" y="1184"/>
                  </a:lnTo>
                  <a:lnTo>
                    <a:pt x="2959" y="1184"/>
                  </a:lnTo>
                  <a:lnTo>
                    <a:pt x="2964" y="1194"/>
                  </a:lnTo>
                  <a:lnTo>
                    <a:pt x="2964" y="1198"/>
                  </a:lnTo>
                  <a:lnTo>
                    <a:pt x="2966" y="1203"/>
                  </a:lnTo>
                  <a:lnTo>
                    <a:pt x="2970" y="1207"/>
                  </a:lnTo>
                  <a:lnTo>
                    <a:pt x="2970" y="1212"/>
                  </a:lnTo>
                  <a:lnTo>
                    <a:pt x="2970" y="1216"/>
                  </a:lnTo>
                  <a:lnTo>
                    <a:pt x="2964" y="1225"/>
                  </a:lnTo>
                  <a:lnTo>
                    <a:pt x="2961" y="1232"/>
                  </a:lnTo>
                  <a:lnTo>
                    <a:pt x="2959" y="1235"/>
                  </a:lnTo>
                  <a:lnTo>
                    <a:pt x="2960" y="1242"/>
                  </a:lnTo>
                  <a:lnTo>
                    <a:pt x="2956" y="1246"/>
                  </a:lnTo>
                  <a:lnTo>
                    <a:pt x="2953" y="1250"/>
                  </a:lnTo>
                  <a:lnTo>
                    <a:pt x="2953" y="1252"/>
                  </a:lnTo>
                  <a:lnTo>
                    <a:pt x="2956" y="1261"/>
                  </a:lnTo>
                  <a:lnTo>
                    <a:pt x="2963" y="1260"/>
                  </a:lnTo>
                  <a:lnTo>
                    <a:pt x="2964" y="1265"/>
                  </a:lnTo>
                  <a:lnTo>
                    <a:pt x="2969" y="1267"/>
                  </a:lnTo>
                  <a:lnTo>
                    <a:pt x="2969" y="1273"/>
                  </a:lnTo>
                  <a:lnTo>
                    <a:pt x="2963" y="1278"/>
                  </a:lnTo>
                  <a:lnTo>
                    <a:pt x="2959" y="1287"/>
                  </a:lnTo>
                  <a:lnTo>
                    <a:pt x="2955" y="1291"/>
                  </a:lnTo>
                  <a:lnTo>
                    <a:pt x="2953" y="1297"/>
                  </a:lnTo>
                  <a:lnTo>
                    <a:pt x="2949" y="1299"/>
                  </a:lnTo>
                  <a:lnTo>
                    <a:pt x="2949" y="1304"/>
                  </a:lnTo>
                  <a:lnTo>
                    <a:pt x="2953" y="1306"/>
                  </a:lnTo>
                  <a:lnTo>
                    <a:pt x="2955" y="1310"/>
                  </a:lnTo>
                  <a:lnTo>
                    <a:pt x="2955" y="1314"/>
                  </a:lnTo>
                  <a:lnTo>
                    <a:pt x="2942" y="1327"/>
                  </a:lnTo>
                  <a:lnTo>
                    <a:pt x="2941" y="1335"/>
                  </a:lnTo>
                  <a:lnTo>
                    <a:pt x="2938" y="1336"/>
                  </a:lnTo>
                  <a:lnTo>
                    <a:pt x="2936" y="1341"/>
                  </a:lnTo>
                  <a:lnTo>
                    <a:pt x="2934" y="1345"/>
                  </a:lnTo>
                  <a:lnTo>
                    <a:pt x="2932" y="1349"/>
                  </a:lnTo>
                  <a:lnTo>
                    <a:pt x="2928" y="1357"/>
                  </a:lnTo>
                  <a:lnTo>
                    <a:pt x="2930" y="1358"/>
                  </a:lnTo>
                  <a:lnTo>
                    <a:pt x="2930" y="1364"/>
                  </a:lnTo>
                  <a:lnTo>
                    <a:pt x="2931" y="1367"/>
                  </a:lnTo>
                  <a:lnTo>
                    <a:pt x="2930" y="1370"/>
                  </a:lnTo>
                  <a:lnTo>
                    <a:pt x="2931" y="1375"/>
                  </a:lnTo>
                  <a:lnTo>
                    <a:pt x="2931" y="1379"/>
                  </a:lnTo>
                  <a:lnTo>
                    <a:pt x="2927" y="1381"/>
                  </a:lnTo>
                  <a:lnTo>
                    <a:pt x="2922" y="1390"/>
                  </a:lnTo>
                  <a:lnTo>
                    <a:pt x="2919" y="1394"/>
                  </a:lnTo>
                  <a:lnTo>
                    <a:pt x="2910" y="1399"/>
                  </a:lnTo>
                  <a:lnTo>
                    <a:pt x="2905" y="1406"/>
                  </a:lnTo>
                  <a:lnTo>
                    <a:pt x="2899" y="1406"/>
                  </a:lnTo>
                  <a:lnTo>
                    <a:pt x="2888" y="1419"/>
                  </a:lnTo>
                  <a:lnTo>
                    <a:pt x="2885" y="1420"/>
                  </a:lnTo>
                  <a:lnTo>
                    <a:pt x="2882" y="1429"/>
                  </a:lnTo>
                  <a:lnTo>
                    <a:pt x="2884" y="1435"/>
                  </a:lnTo>
                  <a:lnTo>
                    <a:pt x="2896" y="1443"/>
                  </a:lnTo>
                  <a:lnTo>
                    <a:pt x="2919" y="1468"/>
                  </a:lnTo>
                  <a:lnTo>
                    <a:pt x="2927" y="1471"/>
                  </a:lnTo>
                  <a:lnTo>
                    <a:pt x="2932" y="1469"/>
                  </a:lnTo>
                  <a:lnTo>
                    <a:pt x="2935" y="1471"/>
                  </a:lnTo>
                  <a:lnTo>
                    <a:pt x="2945" y="1474"/>
                  </a:lnTo>
                  <a:lnTo>
                    <a:pt x="2947" y="1477"/>
                  </a:lnTo>
                  <a:lnTo>
                    <a:pt x="2953" y="1474"/>
                  </a:lnTo>
                  <a:lnTo>
                    <a:pt x="2960" y="1477"/>
                  </a:lnTo>
                  <a:lnTo>
                    <a:pt x="2963" y="1478"/>
                  </a:lnTo>
                  <a:lnTo>
                    <a:pt x="2967" y="1482"/>
                  </a:lnTo>
                  <a:lnTo>
                    <a:pt x="2981" y="1484"/>
                  </a:lnTo>
                  <a:lnTo>
                    <a:pt x="2985" y="1488"/>
                  </a:lnTo>
                  <a:lnTo>
                    <a:pt x="2985" y="1493"/>
                  </a:lnTo>
                  <a:lnTo>
                    <a:pt x="2991" y="1493"/>
                  </a:lnTo>
                  <a:lnTo>
                    <a:pt x="2992" y="1497"/>
                  </a:lnTo>
                  <a:lnTo>
                    <a:pt x="2995" y="1501"/>
                  </a:lnTo>
                  <a:lnTo>
                    <a:pt x="3002" y="1501"/>
                  </a:lnTo>
                  <a:lnTo>
                    <a:pt x="3003" y="1501"/>
                  </a:lnTo>
                  <a:lnTo>
                    <a:pt x="3009" y="1503"/>
                  </a:lnTo>
                  <a:lnTo>
                    <a:pt x="3024" y="1510"/>
                  </a:lnTo>
                  <a:lnTo>
                    <a:pt x="3030" y="1509"/>
                  </a:lnTo>
                  <a:lnTo>
                    <a:pt x="3031" y="1510"/>
                  </a:lnTo>
                  <a:lnTo>
                    <a:pt x="3041" y="1510"/>
                  </a:lnTo>
                  <a:lnTo>
                    <a:pt x="3052" y="1506"/>
                  </a:lnTo>
                  <a:lnTo>
                    <a:pt x="3057" y="1497"/>
                  </a:lnTo>
                  <a:lnTo>
                    <a:pt x="3064" y="1493"/>
                  </a:lnTo>
                  <a:lnTo>
                    <a:pt x="3071" y="1491"/>
                  </a:lnTo>
                  <a:lnTo>
                    <a:pt x="3077" y="1493"/>
                  </a:lnTo>
                  <a:lnTo>
                    <a:pt x="3080" y="1491"/>
                  </a:lnTo>
                  <a:lnTo>
                    <a:pt x="3082" y="1488"/>
                  </a:lnTo>
                  <a:lnTo>
                    <a:pt x="3084" y="1488"/>
                  </a:lnTo>
                  <a:lnTo>
                    <a:pt x="3091" y="1490"/>
                  </a:lnTo>
                  <a:lnTo>
                    <a:pt x="3102" y="1493"/>
                  </a:lnTo>
                  <a:lnTo>
                    <a:pt x="3102" y="1496"/>
                  </a:lnTo>
                  <a:lnTo>
                    <a:pt x="3104" y="1496"/>
                  </a:lnTo>
                  <a:lnTo>
                    <a:pt x="3104" y="1497"/>
                  </a:lnTo>
                  <a:lnTo>
                    <a:pt x="3106" y="1501"/>
                  </a:lnTo>
                  <a:lnTo>
                    <a:pt x="3106" y="1503"/>
                  </a:lnTo>
                  <a:lnTo>
                    <a:pt x="3104" y="1503"/>
                  </a:lnTo>
                  <a:lnTo>
                    <a:pt x="3104" y="1504"/>
                  </a:lnTo>
                  <a:lnTo>
                    <a:pt x="3106" y="1510"/>
                  </a:lnTo>
                  <a:lnTo>
                    <a:pt x="3106" y="1514"/>
                  </a:lnTo>
                  <a:lnTo>
                    <a:pt x="3107" y="1514"/>
                  </a:lnTo>
                  <a:lnTo>
                    <a:pt x="3109" y="1514"/>
                  </a:lnTo>
                  <a:lnTo>
                    <a:pt x="3107" y="1523"/>
                  </a:lnTo>
                  <a:lnTo>
                    <a:pt x="3110" y="1528"/>
                  </a:lnTo>
                  <a:lnTo>
                    <a:pt x="3107" y="1535"/>
                  </a:lnTo>
                  <a:lnTo>
                    <a:pt x="3107" y="1536"/>
                  </a:lnTo>
                  <a:lnTo>
                    <a:pt x="3105" y="1540"/>
                  </a:lnTo>
                  <a:lnTo>
                    <a:pt x="3104" y="1541"/>
                  </a:lnTo>
                  <a:lnTo>
                    <a:pt x="3099" y="1541"/>
                  </a:lnTo>
                  <a:lnTo>
                    <a:pt x="3101" y="1546"/>
                  </a:lnTo>
                  <a:lnTo>
                    <a:pt x="3101" y="1549"/>
                  </a:lnTo>
                  <a:lnTo>
                    <a:pt x="3099" y="1549"/>
                  </a:lnTo>
                  <a:lnTo>
                    <a:pt x="3099" y="1553"/>
                  </a:lnTo>
                  <a:lnTo>
                    <a:pt x="3096" y="1555"/>
                  </a:lnTo>
                  <a:lnTo>
                    <a:pt x="3096" y="1558"/>
                  </a:lnTo>
                  <a:lnTo>
                    <a:pt x="3094" y="1559"/>
                  </a:lnTo>
                  <a:lnTo>
                    <a:pt x="3095" y="1563"/>
                  </a:lnTo>
                  <a:lnTo>
                    <a:pt x="3092" y="1564"/>
                  </a:lnTo>
                  <a:lnTo>
                    <a:pt x="3092" y="1572"/>
                  </a:lnTo>
                  <a:lnTo>
                    <a:pt x="3094" y="1576"/>
                  </a:lnTo>
                  <a:lnTo>
                    <a:pt x="3094" y="1577"/>
                  </a:lnTo>
                  <a:lnTo>
                    <a:pt x="3091" y="1581"/>
                  </a:lnTo>
                  <a:lnTo>
                    <a:pt x="3090" y="1584"/>
                  </a:lnTo>
                  <a:lnTo>
                    <a:pt x="3090" y="1585"/>
                  </a:lnTo>
                  <a:lnTo>
                    <a:pt x="3090" y="1586"/>
                  </a:lnTo>
                  <a:lnTo>
                    <a:pt x="3087" y="1586"/>
                  </a:lnTo>
                  <a:lnTo>
                    <a:pt x="3087" y="1590"/>
                  </a:lnTo>
                  <a:lnTo>
                    <a:pt x="3084" y="1590"/>
                  </a:lnTo>
                  <a:lnTo>
                    <a:pt x="3085" y="1594"/>
                  </a:lnTo>
                  <a:lnTo>
                    <a:pt x="3084" y="1600"/>
                  </a:lnTo>
                  <a:lnTo>
                    <a:pt x="3082" y="1600"/>
                  </a:lnTo>
                  <a:lnTo>
                    <a:pt x="3078" y="1600"/>
                  </a:lnTo>
                  <a:lnTo>
                    <a:pt x="3078" y="1603"/>
                  </a:lnTo>
                  <a:lnTo>
                    <a:pt x="3077" y="1603"/>
                  </a:lnTo>
                  <a:lnTo>
                    <a:pt x="3078" y="1608"/>
                  </a:lnTo>
                  <a:lnTo>
                    <a:pt x="3076" y="1608"/>
                  </a:lnTo>
                  <a:lnTo>
                    <a:pt x="3074" y="1613"/>
                  </a:lnTo>
                  <a:lnTo>
                    <a:pt x="3074" y="1617"/>
                  </a:lnTo>
                  <a:lnTo>
                    <a:pt x="3071" y="1621"/>
                  </a:lnTo>
                  <a:lnTo>
                    <a:pt x="3073" y="1622"/>
                  </a:lnTo>
                  <a:lnTo>
                    <a:pt x="3077" y="1621"/>
                  </a:lnTo>
                  <a:lnTo>
                    <a:pt x="3078" y="1622"/>
                  </a:lnTo>
                  <a:lnTo>
                    <a:pt x="3074" y="1625"/>
                  </a:lnTo>
                  <a:lnTo>
                    <a:pt x="3076" y="1630"/>
                  </a:lnTo>
                  <a:lnTo>
                    <a:pt x="3073" y="1634"/>
                  </a:lnTo>
                  <a:lnTo>
                    <a:pt x="3074" y="1635"/>
                  </a:lnTo>
                  <a:lnTo>
                    <a:pt x="3078" y="1635"/>
                  </a:lnTo>
                  <a:lnTo>
                    <a:pt x="3078" y="1639"/>
                  </a:lnTo>
                  <a:lnTo>
                    <a:pt x="3081" y="1639"/>
                  </a:lnTo>
                  <a:lnTo>
                    <a:pt x="3078" y="1642"/>
                  </a:lnTo>
                  <a:lnTo>
                    <a:pt x="3077" y="1642"/>
                  </a:lnTo>
                  <a:lnTo>
                    <a:pt x="3076" y="1643"/>
                  </a:lnTo>
                  <a:lnTo>
                    <a:pt x="3071" y="1648"/>
                  </a:lnTo>
                  <a:lnTo>
                    <a:pt x="3069" y="1652"/>
                  </a:lnTo>
                  <a:lnTo>
                    <a:pt x="3064" y="1655"/>
                  </a:lnTo>
                  <a:lnTo>
                    <a:pt x="3063" y="1658"/>
                  </a:lnTo>
                  <a:lnTo>
                    <a:pt x="3060" y="1660"/>
                  </a:lnTo>
                  <a:lnTo>
                    <a:pt x="3052" y="1670"/>
                  </a:lnTo>
                  <a:lnTo>
                    <a:pt x="3050" y="1671"/>
                  </a:lnTo>
                  <a:lnTo>
                    <a:pt x="3052" y="1677"/>
                  </a:lnTo>
                  <a:lnTo>
                    <a:pt x="3049" y="1678"/>
                  </a:lnTo>
                  <a:lnTo>
                    <a:pt x="3042" y="1684"/>
                  </a:lnTo>
                  <a:lnTo>
                    <a:pt x="3031" y="1684"/>
                  </a:lnTo>
                  <a:lnTo>
                    <a:pt x="3019" y="1687"/>
                  </a:lnTo>
                  <a:lnTo>
                    <a:pt x="3013" y="1684"/>
                  </a:lnTo>
                  <a:lnTo>
                    <a:pt x="3009" y="1684"/>
                  </a:lnTo>
                  <a:lnTo>
                    <a:pt x="3006" y="1692"/>
                  </a:lnTo>
                  <a:lnTo>
                    <a:pt x="3006" y="1696"/>
                  </a:lnTo>
                  <a:lnTo>
                    <a:pt x="3002" y="1696"/>
                  </a:lnTo>
                  <a:lnTo>
                    <a:pt x="2997" y="1701"/>
                  </a:lnTo>
                  <a:lnTo>
                    <a:pt x="2981" y="1710"/>
                  </a:lnTo>
                  <a:lnTo>
                    <a:pt x="2972" y="1720"/>
                  </a:lnTo>
                  <a:lnTo>
                    <a:pt x="2967" y="1723"/>
                  </a:lnTo>
                  <a:lnTo>
                    <a:pt x="2966" y="1729"/>
                  </a:lnTo>
                  <a:lnTo>
                    <a:pt x="2961" y="1733"/>
                  </a:lnTo>
                  <a:lnTo>
                    <a:pt x="2982" y="1806"/>
                  </a:lnTo>
                  <a:lnTo>
                    <a:pt x="2995" y="1800"/>
                  </a:lnTo>
                  <a:lnTo>
                    <a:pt x="3016" y="1795"/>
                  </a:lnTo>
                  <a:lnTo>
                    <a:pt x="3017" y="1799"/>
                  </a:lnTo>
                  <a:lnTo>
                    <a:pt x="3020" y="1806"/>
                  </a:lnTo>
                  <a:lnTo>
                    <a:pt x="3021" y="1812"/>
                  </a:lnTo>
                  <a:lnTo>
                    <a:pt x="3024" y="1812"/>
                  </a:lnTo>
                  <a:lnTo>
                    <a:pt x="3035" y="1817"/>
                  </a:lnTo>
                  <a:lnTo>
                    <a:pt x="3039" y="1821"/>
                  </a:lnTo>
                  <a:lnTo>
                    <a:pt x="3041" y="1826"/>
                  </a:lnTo>
                  <a:lnTo>
                    <a:pt x="3041" y="1830"/>
                  </a:lnTo>
                  <a:lnTo>
                    <a:pt x="3048" y="1839"/>
                  </a:lnTo>
                  <a:lnTo>
                    <a:pt x="3046" y="1856"/>
                  </a:lnTo>
                  <a:lnTo>
                    <a:pt x="3049" y="1874"/>
                  </a:lnTo>
                  <a:lnTo>
                    <a:pt x="3052" y="1875"/>
                  </a:lnTo>
                  <a:lnTo>
                    <a:pt x="3053" y="1878"/>
                  </a:lnTo>
                  <a:lnTo>
                    <a:pt x="3049" y="1905"/>
                  </a:lnTo>
                  <a:lnTo>
                    <a:pt x="3050" y="1911"/>
                  </a:lnTo>
                  <a:lnTo>
                    <a:pt x="3049" y="1918"/>
                  </a:lnTo>
                  <a:lnTo>
                    <a:pt x="3053" y="1920"/>
                  </a:lnTo>
                  <a:lnTo>
                    <a:pt x="3055" y="1924"/>
                  </a:lnTo>
                  <a:lnTo>
                    <a:pt x="3057" y="1929"/>
                  </a:lnTo>
                  <a:lnTo>
                    <a:pt x="3057" y="1933"/>
                  </a:lnTo>
                  <a:lnTo>
                    <a:pt x="3059" y="1937"/>
                  </a:lnTo>
                  <a:lnTo>
                    <a:pt x="3063" y="1937"/>
                  </a:lnTo>
                  <a:lnTo>
                    <a:pt x="3070" y="1941"/>
                  </a:lnTo>
                  <a:lnTo>
                    <a:pt x="3071" y="1945"/>
                  </a:lnTo>
                  <a:lnTo>
                    <a:pt x="3069" y="1950"/>
                  </a:lnTo>
                  <a:lnTo>
                    <a:pt x="3067" y="1951"/>
                  </a:lnTo>
                  <a:lnTo>
                    <a:pt x="3069" y="1962"/>
                  </a:lnTo>
                  <a:lnTo>
                    <a:pt x="3066" y="1968"/>
                  </a:lnTo>
                  <a:lnTo>
                    <a:pt x="3066" y="1978"/>
                  </a:lnTo>
                  <a:lnTo>
                    <a:pt x="3063" y="1981"/>
                  </a:lnTo>
                  <a:lnTo>
                    <a:pt x="3063" y="1991"/>
                  </a:lnTo>
                  <a:lnTo>
                    <a:pt x="3062" y="1998"/>
                  </a:lnTo>
                  <a:lnTo>
                    <a:pt x="3062" y="2003"/>
                  </a:lnTo>
                  <a:lnTo>
                    <a:pt x="3067" y="2004"/>
                  </a:lnTo>
                  <a:lnTo>
                    <a:pt x="3069" y="2008"/>
                  </a:lnTo>
                  <a:lnTo>
                    <a:pt x="3067" y="2020"/>
                  </a:lnTo>
                  <a:lnTo>
                    <a:pt x="3071" y="2017"/>
                  </a:lnTo>
                  <a:lnTo>
                    <a:pt x="3078" y="2023"/>
                  </a:lnTo>
                  <a:lnTo>
                    <a:pt x="3078" y="2025"/>
                  </a:lnTo>
                  <a:lnTo>
                    <a:pt x="3078" y="2030"/>
                  </a:lnTo>
                  <a:lnTo>
                    <a:pt x="3085" y="2036"/>
                  </a:lnTo>
                  <a:lnTo>
                    <a:pt x="3085" y="2038"/>
                  </a:lnTo>
                  <a:lnTo>
                    <a:pt x="3088" y="2040"/>
                  </a:lnTo>
                  <a:lnTo>
                    <a:pt x="3090" y="2042"/>
                  </a:lnTo>
                  <a:lnTo>
                    <a:pt x="3095" y="2045"/>
                  </a:lnTo>
                  <a:lnTo>
                    <a:pt x="3094" y="2055"/>
                  </a:lnTo>
                  <a:lnTo>
                    <a:pt x="3094" y="2058"/>
                  </a:lnTo>
                  <a:lnTo>
                    <a:pt x="3092" y="2062"/>
                  </a:lnTo>
                  <a:lnTo>
                    <a:pt x="3094" y="2065"/>
                  </a:lnTo>
                  <a:lnTo>
                    <a:pt x="3098" y="2066"/>
                  </a:lnTo>
                  <a:lnTo>
                    <a:pt x="3099" y="2068"/>
                  </a:lnTo>
                  <a:lnTo>
                    <a:pt x="3105" y="2070"/>
                  </a:lnTo>
                  <a:lnTo>
                    <a:pt x="3104" y="2070"/>
                  </a:lnTo>
                  <a:lnTo>
                    <a:pt x="3102" y="2074"/>
                  </a:lnTo>
                  <a:lnTo>
                    <a:pt x="3102" y="2075"/>
                  </a:lnTo>
                  <a:lnTo>
                    <a:pt x="3105" y="2078"/>
                  </a:lnTo>
                  <a:lnTo>
                    <a:pt x="3104" y="2080"/>
                  </a:lnTo>
                  <a:lnTo>
                    <a:pt x="3107" y="2085"/>
                  </a:lnTo>
                  <a:lnTo>
                    <a:pt x="3115" y="2092"/>
                  </a:lnTo>
                  <a:lnTo>
                    <a:pt x="3117" y="2092"/>
                  </a:lnTo>
                  <a:lnTo>
                    <a:pt x="3119" y="2098"/>
                  </a:lnTo>
                  <a:lnTo>
                    <a:pt x="3126" y="2103"/>
                  </a:lnTo>
                  <a:lnTo>
                    <a:pt x="3127" y="2111"/>
                  </a:lnTo>
                  <a:lnTo>
                    <a:pt x="3134" y="2116"/>
                  </a:lnTo>
                  <a:lnTo>
                    <a:pt x="3134" y="2120"/>
                  </a:lnTo>
                  <a:lnTo>
                    <a:pt x="3135" y="2127"/>
                  </a:lnTo>
                  <a:lnTo>
                    <a:pt x="3140" y="2128"/>
                  </a:lnTo>
                  <a:lnTo>
                    <a:pt x="3141" y="2133"/>
                  </a:lnTo>
                  <a:lnTo>
                    <a:pt x="3142" y="2136"/>
                  </a:lnTo>
                  <a:lnTo>
                    <a:pt x="3141" y="2141"/>
                  </a:lnTo>
                  <a:lnTo>
                    <a:pt x="3140" y="2142"/>
                  </a:lnTo>
                  <a:lnTo>
                    <a:pt x="3141" y="2149"/>
                  </a:lnTo>
                  <a:lnTo>
                    <a:pt x="3141" y="2152"/>
                  </a:lnTo>
                  <a:lnTo>
                    <a:pt x="3146" y="2155"/>
                  </a:lnTo>
                  <a:lnTo>
                    <a:pt x="3149" y="2154"/>
                  </a:lnTo>
                  <a:lnTo>
                    <a:pt x="3156" y="2160"/>
                  </a:lnTo>
                  <a:lnTo>
                    <a:pt x="3157" y="2169"/>
                  </a:lnTo>
                  <a:lnTo>
                    <a:pt x="3155" y="2169"/>
                  </a:lnTo>
                  <a:lnTo>
                    <a:pt x="3155" y="2173"/>
                  </a:lnTo>
                  <a:lnTo>
                    <a:pt x="3159" y="2173"/>
                  </a:lnTo>
                  <a:lnTo>
                    <a:pt x="3162" y="2178"/>
                  </a:lnTo>
                  <a:lnTo>
                    <a:pt x="3163" y="2181"/>
                  </a:lnTo>
                  <a:lnTo>
                    <a:pt x="3163" y="2182"/>
                  </a:lnTo>
                  <a:lnTo>
                    <a:pt x="3166" y="2185"/>
                  </a:lnTo>
                  <a:lnTo>
                    <a:pt x="3163" y="2186"/>
                  </a:lnTo>
                  <a:lnTo>
                    <a:pt x="3157" y="2199"/>
                  </a:lnTo>
                  <a:lnTo>
                    <a:pt x="3157" y="2200"/>
                  </a:lnTo>
                  <a:lnTo>
                    <a:pt x="3162" y="2207"/>
                  </a:lnTo>
                  <a:lnTo>
                    <a:pt x="3167" y="2209"/>
                  </a:lnTo>
                  <a:lnTo>
                    <a:pt x="3169" y="2214"/>
                  </a:lnTo>
                  <a:lnTo>
                    <a:pt x="3179" y="2222"/>
                  </a:lnTo>
                  <a:lnTo>
                    <a:pt x="3179" y="2223"/>
                  </a:lnTo>
                  <a:lnTo>
                    <a:pt x="3180" y="2227"/>
                  </a:lnTo>
                  <a:lnTo>
                    <a:pt x="3185" y="2234"/>
                  </a:lnTo>
                  <a:lnTo>
                    <a:pt x="3190" y="2234"/>
                  </a:lnTo>
                  <a:lnTo>
                    <a:pt x="3190" y="2236"/>
                  </a:lnTo>
                  <a:lnTo>
                    <a:pt x="3192" y="2240"/>
                  </a:lnTo>
                  <a:lnTo>
                    <a:pt x="3195" y="2244"/>
                  </a:lnTo>
                  <a:lnTo>
                    <a:pt x="3199" y="2242"/>
                  </a:lnTo>
                  <a:lnTo>
                    <a:pt x="3201" y="2244"/>
                  </a:lnTo>
                  <a:lnTo>
                    <a:pt x="3198" y="2245"/>
                  </a:lnTo>
                  <a:lnTo>
                    <a:pt x="3202" y="2249"/>
                  </a:lnTo>
                  <a:lnTo>
                    <a:pt x="3202" y="2253"/>
                  </a:lnTo>
                  <a:lnTo>
                    <a:pt x="3205" y="2253"/>
                  </a:lnTo>
                  <a:lnTo>
                    <a:pt x="3210" y="2249"/>
                  </a:lnTo>
                  <a:lnTo>
                    <a:pt x="3212" y="2252"/>
                  </a:lnTo>
                  <a:lnTo>
                    <a:pt x="3210" y="2259"/>
                  </a:lnTo>
                  <a:lnTo>
                    <a:pt x="3223" y="2276"/>
                  </a:lnTo>
                  <a:lnTo>
                    <a:pt x="3223" y="2285"/>
                  </a:lnTo>
                  <a:lnTo>
                    <a:pt x="3224" y="2289"/>
                  </a:lnTo>
                  <a:lnTo>
                    <a:pt x="3230" y="2291"/>
                  </a:lnTo>
                  <a:lnTo>
                    <a:pt x="3238" y="2289"/>
                  </a:lnTo>
                  <a:lnTo>
                    <a:pt x="3240" y="2289"/>
                  </a:lnTo>
                  <a:lnTo>
                    <a:pt x="3245" y="2294"/>
                  </a:lnTo>
                  <a:lnTo>
                    <a:pt x="3248" y="2301"/>
                  </a:lnTo>
                  <a:lnTo>
                    <a:pt x="3249" y="2303"/>
                  </a:lnTo>
                  <a:lnTo>
                    <a:pt x="3252" y="2306"/>
                  </a:lnTo>
                  <a:lnTo>
                    <a:pt x="3256" y="2306"/>
                  </a:lnTo>
                  <a:lnTo>
                    <a:pt x="3240" y="2315"/>
                  </a:lnTo>
                  <a:lnTo>
                    <a:pt x="3231" y="2316"/>
                  </a:lnTo>
                  <a:lnTo>
                    <a:pt x="3226" y="2316"/>
                  </a:lnTo>
                  <a:lnTo>
                    <a:pt x="3223" y="2319"/>
                  </a:lnTo>
                  <a:lnTo>
                    <a:pt x="3217" y="2320"/>
                  </a:lnTo>
                  <a:lnTo>
                    <a:pt x="3213" y="2324"/>
                  </a:lnTo>
                  <a:lnTo>
                    <a:pt x="3212" y="2329"/>
                  </a:lnTo>
                  <a:lnTo>
                    <a:pt x="3207" y="2334"/>
                  </a:lnTo>
                  <a:lnTo>
                    <a:pt x="3202" y="2334"/>
                  </a:lnTo>
                  <a:lnTo>
                    <a:pt x="3184" y="2323"/>
                  </a:lnTo>
                  <a:lnTo>
                    <a:pt x="3180" y="2323"/>
                  </a:lnTo>
                  <a:lnTo>
                    <a:pt x="3171" y="2329"/>
                  </a:lnTo>
                  <a:lnTo>
                    <a:pt x="3162" y="2329"/>
                  </a:lnTo>
                  <a:lnTo>
                    <a:pt x="3159" y="2329"/>
                  </a:lnTo>
                  <a:lnTo>
                    <a:pt x="3156" y="2334"/>
                  </a:lnTo>
                  <a:lnTo>
                    <a:pt x="3152" y="2338"/>
                  </a:lnTo>
                  <a:lnTo>
                    <a:pt x="3146" y="2336"/>
                  </a:lnTo>
                  <a:lnTo>
                    <a:pt x="3144" y="2338"/>
                  </a:lnTo>
                  <a:lnTo>
                    <a:pt x="3135" y="2339"/>
                  </a:lnTo>
                  <a:lnTo>
                    <a:pt x="3129" y="2343"/>
                  </a:lnTo>
                  <a:lnTo>
                    <a:pt x="3120" y="2355"/>
                  </a:lnTo>
                  <a:lnTo>
                    <a:pt x="3115" y="2355"/>
                  </a:lnTo>
                  <a:lnTo>
                    <a:pt x="3113" y="2356"/>
                  </a:lnTo>
                  <a:lnTo>
                    <a:pt x="3107" y="2361"/>
                  </a:lnTo>
                  <a:lnTo>
                    <a:pt x="3106" y="2365"/>
                  </a:lnTo>
                  <a:lnTo>
                    <a:pt x="3096" y="2374"/>
                  </a:lnTo>
                  <a:lnTo>
                    <a:pt x="3090" y="2385"/>
                  </a:lnTo>
                  <a:lnTo>
                    <a:pt x="3084" y="2388"/>
                  </a:lnTo>
                  <a:lnTo>
                    <a:pt x="3080" y="2390"/>
                  </a:lnTo>
                  <a:lnTo>
                    <a:pt x="3060" y="2391"/>
                  </a:lnTo>
                  <a:lnTo>
                    <a:pt x="3052" y="2395"/>
                  </a:lnTo>
                  <a:lnTo>
                    <a:pt x="3041" y="2403"/>
                  </a:lnTo>
                  <a:lnTo>
                    <a:pt x="3032" y="2414"/>
                  </a:lnTo>
                  <a:lnTo>
                    <a:pt x="3024" y="2413"/>
                  </a:lnTo>
                  <a:lnTo>
                    <a:pt x="3020" y="2409"/>
                  </a:lnTo>
                  <a:lnTo>
                    <a:pt x="3013" y="2405"/>
                  </a:lnTo>
                  <a:lnTo>
                    <a:pt x="3011" y="2409"/>
                  </a:lnTo>
                  <a:lnTo>
                    <a:pt x="3003" y="2414"/>
                  </a:lnTo>
                  <a:lnTo>
                    <a:pt x="2995" y="2416"/>
                  </a:lnTo>
                  <a:lnTo>
                    <a:pt x="2988" y="2414"/>
                  </a:lnTo>
                  <a:lnTo>
                    <a:pt x="2984" y="2409"/>
                  </a:lnTo>
                  <a:lnTo>
                    <a:pt x="2974" y="2409"/>
                  </a:lnTo>
                  <a:lnTo>
                    <a:pt x="2966" y="2407"/>
                  </a:lnTo>
                  <a:lnTo>
                    <a:pt x="2961" y="2405"/>
                  </a:lnTo>
                  <a:lnTo>
                    <a:pt x="2959" y="2405"/>
                  </a:lnTo>
                  <a:lnTo>
                    <a:pt x="2950" y="2405"/>
                  </a:lnTo>
                  <a:lnTo>
                    <a:pt x="2947" y="2405"/>
                  </a:lnTo>
                  <a:lnTo>
                    <a:pt x="2939" y="2410"/>
                  </a:lnTo>
                  <a:lnTo>
                    <a:pt x="2927" y="2418"/>
                  </a:lnTo>
                  <a:lnTo>
                    <a:pt x="2910" y="2427"/>
                  </a:lnTo>
                  <a:lnTo>
                    <a:pt x="2906" y="2432"/>
                  </a:lnTo>
                  <a:lnTo>
                    <a:pt x="2906" y="2436"/>
                  </a:lnTo>
                  <a:lnTo>
                    <a:pt x="2899" y="2442"/>
                  </a:lnTo>
                  <a:lnTo>
                    <a:pt x="2894" y="2448"/>
                  </a:lnTo>
                  <a:lnTo>
                    <a:pt x="2888" y="2453"/>
                  </a:lnTo>
                  <a:lnTo>
                    <a:pt x="2881" y="2456"/>
                  </a:lnTo>
                  <a:lnTo>
                    <a:pt x="2878" y="2459"/>
                  </a:lnTo>
                  <a:lnTo>
                    <a:pt x="2874" y="2459"/>
                  </a:lnTo>
                  <a:lnTo>
                    <a:pt x="2866" y="2455"/>
                  </a:lnTo>
                  <a:lnTo>
                    <a:pt x="2853" y="2443"/>
                  </a:lnTo>
                  <a:lnTo>
                    <a:pt x="2846" y="2432"/>
                  </a:lnTo>
                  <a:lnTo>
                    <a:pt x="2834" y="2427"/>
                  </a:lnTo>
                  <a:lnTo>
                    <a:pt x="2835" y="2422"/>
                  </a:lnTo>
                  <a:lnTo>
                    <a:pt x="2831" y="2416"/>
                  </a:lnTo>
                  <a:lnTo>
                    <a:pt x="2817" y="2403"/>
                  </a:lnTo>
                  <a:lnTo>
                    <a:pt x="2810" y="2405"/>
                  </a:lnTo>
                  <a:lnTo>
                    <a:pt x="2800" y="2409"/>
                  </a:lnTo>
                  <a:lnTo>
                    <a:pt x="2788" y="2405"/>
                  </a:lnTo>
                  <a:lnTo>
                    <a:pt x="2781" y="2405"/>
                  </a:lnTo>
                  <a:lnTo>
                    <a:pt x="2774" y="2403"/>
                  </a:lnTo>
                  <a:lnTo>
                    <a:pt x="2771" y="2401"/>
                  </a:lnTo>
                  <a:lnTo>
                    <a:pt x="2764" y="2401"/>
                  </a:lnTo>
                  <a:lnTo>
                    <a:pt x="2760" y="2405"/>
                  </a:lnTo>
                  <a:lnTo>
                    <a:pt x="2758" y="2410"/>
                  </a:lnTo>
                  <a:lnTo>
                    <a:pt x="2754" y="2416"/>
                  </a:lnTo>
                  <a:lnTo>
                    <a:pt x="2754" y="2418"/>
                  </a:lnTo>
                  <a:lnTo>
                    <a:pt x="2749" y="2423"/>
                  </a:lnTo>
                  <a:lnTo>
                    <a:pt x="2742" y="2423"/>
                  </a:lnTo>
                  <a:lnTo>
                    <a:pt x="2737" y="2430"/>
                  </a:lnTo>
                  <a:lnTo>
                    <a:pt x="2731" y="2430"/>
                  </a:lnTo>
                  <a:lnTo>
                    <a:pt x="2726" y="2432"/>
                  </a:lnTo>
                  <a:lnTo>
                    <a:pt x="2725" y="2436"/>
                  </a:lnTo>
                  <a:lnTo>
                    <a:pt x="2717" y="2444"/>
                  </a:lnTo>
                  <a:lnTo>
                    <a:pt x="2708" y="2444"/>
                  </a:lnTo>
                  <a:lnTo>
                    <a:pt x="2703" y="2445"/>
                  </a:lnTo>
                  <a:lnTo>
                    <a:pt x="2701" y="2444"/>
                  </a:lnTo>
                  <a:lnTo>
                    <a:pt x="2690" y="2427"/>
                  </a:lnTo>
                  <a:lnTo>
                    <a:pt x="2686" y="2423"/>
                  </a:lnTo>
                  <a:lnTo>
                    <a:pt x="2683" y="2423"/>
                  </a:lnTo>
                  <a:lnTo>
                    <a:pt x="2671" y="2423"/>
                  </a:lnTo>
                  <a:lnTo>
                    <a:pt x="2661" y="2427"/>
                  </a:lnTo>
                  <a:lnTo>
                    <a:pt x="2658" y="2427"/>
                  </a:lnTo>
                  <a:lnTo>
                    <a:pt x="2654" y="2427"/>
                  </a:lnTo>
                  <a:lnTo>
                    <a:pt x="2653" y="2431"/>
                  </a:lnTo>
                  <a:lnTo>
                    <a:pt x="2645" y="2436"/>
                  </a:lnTo>
                  <a:lnTo>
                    <a:pt x="2639" y="2436"/>
                  </a:lnTo>
                  <a:lnTo>
                    <a:pt x="2633" y="2435"/>
                  </a:lnTo>
                  <a:lnTo>
                    <a:pt x="2625" y="2432"/>
                  </a:lnTo>
                  <a:lnTo>
                    <a:pt x="2617" y="2436"/>
                  </a:lnTo>
                  <a:lnTo>
                    <a:pt x="2614" y="2440"/>
                  </a:lnTo>
                  <a:lnTo>
                    <a:pt x="2615" y="2445"/>
                  </a:lnTo>
                  <a:lnTo>
                    <a:pt x="2614" y="2450"/>
                  </a:lnTo>
                  <a:lnTo>
                    <a:pt x="2615" y="2453"/>
                  </a:lnTo>
                  <a:lnTo>
                    <a:pt x="2620" y="2461"/>
                  </a:lnTo>
                  <a:lnTo>
                    <a:pt x="2620" y="2468"/>
                  </a:lnTo>
                  <a:lnTo>
                    <a:pt x="2625" y="2478"/>
                  </a:lnTo>
                  <a:lnTo>
                    <a:pt x="2625" y="2481"/>
                  </a:lnTo>
                  <a:lnTo>
                    <a:pt x="2623" y="2485"/>
                  </a:lnTo>
                  <a:lnTo>
                    <a:pt x="2617" y="2488"/>
                  </a:lnTo>
                  <a:lnTo>
                    <a:pt x="2606" y="2497"/>
                  </a:lnTo>
                  <a:lnTo>
                    <a:pt x="2598" y="2503"/>
                  </a:lnTo>
                  <a:lnTo>
                    <a:pt x="2595" y="2503"/>
                  </a:lnTo>
                  <a:lnTo>
                    <a:pt x="2592" y="2506"/>
                  </a:lnTo>
                  <a:lnTo>
                    <a:pt x="2592" y="2509"/>
                  </a:lnTo>
                  <a:lnTo>
                    <a:pt x="2585" y="2515"/>
                  </a:lnTo>
                  <a:lnTo>
                    <a:pt x="2585" y="2519"/>
                  </a:lnTo>
                  <a:lnTo>
                    <a:pt x="2585" y="2520"/>
                  </a:lnTo>
                  <a:lnTo>
                    <a:pt x="2579" y="2520"/>
                  </a:lnTo>
                  <a:lnTo>
                    <a:pt x="2575" y="2526"/>
                  </a:lnTo>
                  <a:lnTo>
                    <a:pt x="2571" y="2527"/>
                  </a:lnTo>
                  <a:lnTo>
                    <a:pt x="2562" y="2526"/>
                  </a:lnTo>
                  <a:lnTo>
                    <a:pt x="2558" y="2525"/>
                  </a:lnTo>
                  <a:lnTo>
                    <a:pt x="2554" y="2519"/>
                  </a:lnTo>
                  <a:lnTo>
                    <a:pt x="2548" y="2515"/>
                  </a:lnTo>
                  <a:lnTo>
                    <a:pt x="2539" y="2512"/>
                  </a:lnTo>
                  <a:lnTo>
                    <a:pt x="2529" y="2512"/>
                  </a:lnTo>
                  <a:lnTo>
                    <a:pt x="2525" y="2510"/>
                  </a:lnTo>
                  <a:lnTo>
                    <a:pt x="2519" y="2512"/>
                  </a:lnTo>
                  <a:lnTo>
                    <a:pt x="2517" y="2517"/>
                  </a:lnTo>
                  <a:lnTo>
                    <a:pt x="2512" y="2517"/>
                  </a:lnTo>
                  <a:lnTo>
                    <a:pt x="2511" y="2520"/>
                  </a:lnTo>
                  <a:lnTo>
                    <a:pt x="2510" y="2527"/>
                  </a:lnTo>
                  <a:lnTo>
                    <a:pt x="2507" y="2530"/>
                  </a:lnTo>
                  <a:lnTo>
                    <a:pt x="2507" y="2537"/>
                  </a:lnTo>
                  <a:lnTo>
                    <a:pt x="2497" y="2542"/>
                  </a:lnTo>
                  <a:lnTo>
                    <a:pt x="2485" y="2547"/>
                  </a:lnTo>
                  <a:lnTo>
                    <a:pt x="2477" y="2552"/>
                  </a:lnTo>
                  <a:lnTo>
                    <a:pt x="2466" y="2563"/>
                  </a:lnTo>
                  <a:lnTo>
                    <a:pt x="2466" y="2565"/>
                  </a:lnTo>
                  <a:lnTo>
                    <a:pt x="2468" y="2569"/>
                  </a:lnTo>
                  <a:lnTo>
                    <a:pt x="2465" y="2579"/>
                  </a:lnTo>
                  <a:lnTo>
                    <a:pt x="2465" y="2587"/>
                  </a:lnTo>
                  <a:lnTo>
                    <a:pt x="2461" y="2587"/>
                  </a:lnTo>
                  <a:lnTo>
                    <a:pt x="2454" y="2592"/>
                  </a:lnTo>
                  <a:lnTo>
                    <a:pt x="2447" y="2592"/>
                  </a:lnTo>
                  <a:lnTo>
                    <a:pt x="2446" y="2596"/>
                  </a:lnTo>
                  <a:lnTo>
                    <a:pt x="2440" y="2600"/>
                  </a:lnTo>
                  <a:lnTo>
                    <a:pt x="2436" y="2605"/>
                  </a:lnTo>
                  <a:lnTo>
                    <a:pt x="2427" y="2610"/>
                  </a:lnTo>
                  <a:lnTo>
                    <a:pt x="2423" y="2619"/>
                  </a:lnTo>
                  <a:lnTo>
                    <a:pt x="2421" y="2622"/>
                  </a:lnTo>
                  <a:lnTo>
                    <a:pt x="2412" y="2625"/>
                  </a:lnTo>
                  <a:lnTo>
                    <a:pt x="2407" y="2630"/>
                  </a:lnTo>
                  <a:lnTo>
                    <a:pt x="2401" y="2632"/>
                  </a:lnTo>
                  <a:lnTo>
                    <a:pt x="2400" y="2635"/>
                  </a:lnTo>
                  <a:lnTo>
                    <a:pt x="2402" y="2637"/>
                  </a:lnTo>
                  <a:lnTo>
                    <a:pt x="2404" y="2641"/>
                  </a:lnTo>
                  <a:lnTo>
                    <a:pt x="2400" y="2646"/>
                  </a:lnTo>
                  <a:lnTo>
                    <a:pt x="2387" y="2654"/>
                  </a:lnTo>
                  <a:lnTo>
                    <a:pt x="2382" y="2655"/>
                  </a:lnTo>
                  <a:lnTo>
                    <a:pt x="2377" y="2658"/>
                  </a:lnTo>
                  <a:lnTo>
                    <a:pt x="2363" y="2663"/>
                  </a:lnTo>
                  <a:lnTo>
                    <a:pt x="2352" y="2668"/>
                  </a:lnTo>
                  <a:lnTo>
                    <a:pt x="2344" y="2669"/>
                  </a:lnTo>
                  <a:lnTo>
                    <a:pt x="2336" y="2675"/>
                  </a:lnTo>
                  <a:lnTo>
                    <a:pt x="2332" y="2680"/>
                  </a:lnTo>
                  <a:lnTo>
                    <a:pt x="2329" y="2680"/>
                  </a:lnTo>
                  <a:lnTo>
                    <a:pt x="2326" y="2681"/>
                  </a:lnTo>
                  <a:lnTo>
                    <a:pt x="2319" y="2681"/>
                  </a:lnTo>
                  <a:lnTo>
                    <a:pt x="2318" y="2689"/>
                  </a:lnTo>
                  <a:lnTo>
                    <a:pt x="2315" y="2692"/>
                  </a:lnTo>
                  <a:lnTo>
                    <a:pt x="2307" y="2689"/>
                  </a:lnTo>
                  <a:lnTo>
                    <a:pt x="2304" y="2691"/>
                  </a:lnTo>
                  <a:lnTo>
                    <a:pt x="2300" y="2694"/>
                  </a:lnTo>
                  <a:lnTo>
                    <a:pt x="2297" y="2694"/>
                  </a:lnTo>
                  <a:lnTo>
                    <a:pt x="2294" y="2694"/>
                  </a:lnTo>
                  <a:lnTo>
                    <a:pt x="2285" y="2688"/>
                  </a:lnTo>
                  <a:lnTo>
                    <a:pt x="2276" y="2676"/>
                  </a:lnTo>
                  <a:lnTo>
                    <a:pt x="2266" y="2681"/>
                  </a:lnTo>
                  <a:lnTo>
                    <a:pt x="2259" y="2681"/>
                  </a:lnTo>
                  <a:lnTo>
                    <a:pt x="2254" y="2679"/>
                  </a:lnTo>
                  <a:lnTo>
                    <a:pt x="2251" y="2679"/>
                  </a:lnTo>
                  <a:lnTo>
                    <a:pt x="2247" y="2681"/>
                  </a:lnTo>
                  <a:lnTo>
                    <a:pt x="2240" y="2691"/>
                  </a:lnTo>
                  <a:lnTo>
                    <a:pt x="2226" y="2697"/>
                  </a:lnTo>
                  <a:lnTo>
                    <a:pt x="2219" y="2704"/>
                  </a:lnTo>
                  <a:lnTo>
                    <a:pt x="2215" y="2708"/>
                  </a:lnTo>
                  <a:lnTo>
                    <a:pt x="2203" y="2717"/>
                  </a:lnTo>
                  <a:lnTo>
                    <a:pt x="2201" y="2719"/>
                  </a:lnTo>
                  <a:lnTo>
                    <a:pt x="2198" y="2719"/>
                  </a:lnTo>
                  <a:lnTo>
                    <a:pt x="2195" y="2719"/>
                  </a:lnTo>
                  <a:lnTo>
                    <a:pt x="2190" y="2721"/>
                  </a:lnTo>
                  <a:lnTo>
                    <a:pt x="2184" y="2729"/>
                  </a:lnTo>
                  <a:lnTo>
                    <a:pt x="2174" y="2734"/>
                  </a:lnTo>
                  <a:lnTo>
                    <a:pt x="2166" y="2739"/>
                  </a:lnTo>
                  <a:lnTo>
                    <a:pt x="2159" y="2739"/>
                  </a:lnTo>
                  <a:lnTo>
                    <a:pt x="2155" y="2739"/>
                  </a:lnTo>
                  <a:lnTo>
                    <a:pt x="2140" y="2746"/>
                  </a:lnTo>
                  <a:lnTo>
                    <a:pt x="2131" y="2747"/>
                  </a:lnTo>
                  <a:lnTo>
                    <a:pt x="2117" y="2762"/>
                  </a:lnTo>
                  <a:lnTo>
                    <a:pt x="2108" y="2768"/>
                  </a:lnTo>
                  <a:lnTo>
                    <a:pt x="2101" y="2770"/>
                  </a:lnTo>
                  <a:lnTo>
                    <a:pt x="2098" y="2775"/>
                  </a:lnTo>
                  <a:lnTo>
                    <a:pt x="2094" y="2774"/>
                  </a:lnTo>
                  <a:lnTo>
                    <a:pt x="2087" y="2778"/>
                  </a:lnTo>
                  <a:lnTo>
                    <a:pt x="2083" y="2784"/>
                  </a:lnTo>
                  <a:lnTo>
                    <a:pt x="2084" y="2791"/>
                  </a:lnTo>
                  <a:lnTo>
                    <a:pt x="2083" y="2792"/>
                  </a:lnTo>
                  <a:lnTo>
                    <a:pt x="2080" y="2800"/>
                  </a:lnTo>
                  <a:lnTo>
                    <a:pt x="2076" y="2801"/>
                  </a:lnTo>
                  <a:lnTo>
                    <a:pt x="2072" y="2805"/>
                  </a:lnTo>
                  <a:lnTo>
                    <a:pt x="2066" y="2805"/>
                  </a:lnTo>
                  <a:lnTo>
                    <a:pt x="2058" y="2808"/>
                  </a:lnTo>
                  <a:lnTo>
                    <a:pt x="2051" y="2815"/>
                  </a:lnTo>
                  <a:lnTo>
                    <a:pt x="2036" y="2820"/>
                  </a:lnTo>
                  <a:lnTo>
                    <a:pt x="2034" y="2824"/>
                  </a:lnTo>
                  <a:lnTo>
                    <a:pt x="2036" y="2828"/>
                  </a:lnTo>
                  <a:lnTo>
                    <a:pt x="2033" y="2830"/>
                  </a:lnTo>
                  <a:lnTo>
                    <a:pt x="2026" y="2836"/>
                  </a:lnTo>
                  <a:lnTo>
                    <a:pt x="2020" y="2837"/>
                  </a:lnTo>
                  <a:lnTo>
                    <a:pt x="2014" y="2841"/>
                  </a:lnTo>
                  <a:lnTo>
                    <a:pt x="2011" y="2843"/>
                  </a:lnTo>
                  <a:lnTo>
                    <a:pt x="2008" y="2849"/>
                  </a:lnTo>
                  <a:lnTo>
                    <a:pt x="1999" y="2858"/>
                  </a:lnTo>
                  <a:lnTo>
                    <a:pt x="1997" y="2863"/>
                  </a:lnTo>
                  <a:lnTo>
                    <a:pt x="1997" y="2868"/>
                  </a:lnTo>
                  <a:lnTo>
                    <a:pt x="2001" y="2873"/>
                  </a:lnTo>
                  <a:lnTo>
                    <a:pt x="2003" y="2871"/>
                  </a:lnTo>
                  <a:lnTo>
                    <a:pt x="2005" y="2873"/>
                  </a:lnTo>
                  <a:lnTo>
                    <a:pt x="2003" y="2876"/>
                  </a:lnTo>
                  <a:lnTo>
                    <a:pt x="2001" y="2878"/>
                  </a:lnTo>
                  <a:lnTo>
                    <a:pt x="1998" y="2878"/>
                  </a:lnTo>
                  <a:lnTo>
                    <a:pt x="1995" y="2875"/>
                  </a:lnTo>
                  <a:lnTo>
                    <a:pt x="1992" y="2876"/>
                  </a:lnTo>
                  <a:lnTo>
                    <a:pt x="1991" y="2888"/>
                  </a:lnTo>
                  <a:lnTo>
                    <a:pt x="1991" y="2891"/>
                  </a:lnTo>
                  <a:lnTo>
                    <a:pt x="1997" y="2892"/>
                  </a:lnTo>
                  <a:lnTo>
                    <a:pt x="1997" y="2895"/>
                  </a:lnTo>
                  <a:lnTo>
                    <a:pt x="1989" y="2899"/>
                  </a:lnTo>
                  <a:lnTo>
                    <a:pt x="1984" y="2899"/>
                  </a:lnTo>
                  <a:lnTo>
                    <a:pt x="1978" y="2899"/>
                  </a:lnTo>
                  <a:lnTo>
                    <a:pt x="1976" y="2904"/>
                  </a:lnTo>
                  <a:lnTo>
                    <a:pt x="1969" y="2912"/>
                  </a:lnTo>
                  <a:lnTo>
                    <a:pt x="1967" y="2917"/>
                  </a:lnTo>
                  <a:lnTo>
                    <a:pt x="1960" y="2920"/>
                  </a:lnTo>
                  <a:lnTo>
                    <a:pt x="1960" y="2921"/>
                  </a:lnTo>
                  <a:lnTo>
                    <a:pt x="1955" y="2929"/>
                  </a:lnTo>
                  <a:lnTo>
                    <a:pt x="1953" y="2929"/>
                  </a:lnTo>
                  <a:lnTo>
                    <a:pt x="1944" y="2930"/>
                  </a:lnTo>
                  <a:lnTo>
                    <a:pt x="1939" y="2933"/>
                  </a:lnTo>
                  <a:lnTo>
                    <a:pt x="1941" y="2934"/>
                  </a:lnTo>
                  <a:lnTo>
                    <a:pt x="1944" y="2938"/>
                  </a:lnTo>
                  <a:lnTo>
                    <a:pt x="1939" y="2946"/>
                  </a:lnTo>
                  <a:lnTo>
                    <a:pt x="1941" y="2952"/>
                  </a:lnTo>
                  <a:lnTo>
                    <a:pt x="1934" y="2957"/>
                  </a:lnTo>
                  <a:lnTo>
                    <a:pt x="1926" y="2962"/>
                  </a:lnTo>
                  <a:lnTo>
                    <a:pt x="1921" y="2974"/>
                  </a:lnTo>
                  <a:lnTo>
                    <a:pt x="1918" y="2978"/>
                  </a:lnTo>
                  <a:lnTo>
                    <a:pt x="1913" y="2979"/>
                  </a:lnTo>
                  <a:lnTo>
                    <a:pt x="1906" y="2989"/>
                  </a:lnTo>
                  <a:lnTo>
                    <a:pt x="1903" y="2992"/>
                  </a:lnTo>
                  <a:lnTo>
                    <a:pt x="1896" y="2998"/>
                  </a:lnTo>
                  <a:lnTo>
                    <a:pt x="1893" y="3000"/>
                  </a:lnTo>
                  <a:lnTo>
                    <a:pt x="1892" y="3002"/>
                  </a:lnTo>
                  <a:lnTo>
                    <a:pt x="1887" y="3002"/>
                  </a:lnTo>
                  <a:lnTo>
                    <a:pt x="1884" y="3007"/>
                  </a:lnTo>
                  <a:lnTo>
                    <a:pt x="1887" y="3009"/>
                  </a:lnTo>
                  <a:lnTo>
                    <a:pt x="1889" y="3011"/>
                  </a:lnTo>
                  <a:lnTo>
                    <a:pt x="1891" y="3011"/>
                  </a:lnTo>
                  <a:lnTo>
                    <a:pt x="1891" y="3015"/>
                  </a:lnTo>
                  <a:lnTo>
                    <a:pt x="1887" y="3021"/>
                  </a:lnTo>
                  <a:lnTo>
                    <a:pt x="1889" y="3024"/>
                  </a:lnTo>
                  <a:lnTo>
                    <a:pt x="1885" y="3027"/>
                  </a:lnTo>
                  <a:lnTo>
                    <a:pt x="1888" y="3041"/>
                  </a:lnTo>
                  <a:lnTo>
                    <a:pt x="1887" y="3044"/>
                  </a:lnTo>
                  <a:lnTo>
                    <a:pt x="1879" y="3046"/>
                  </a:lnTo>
                  <a:lnTo>
                    <a:pt x="1878" y="3053"/>
                  </a:lnTo>
                  <a:lnTo>
                    <a:pt x="1879" y="3056"/>
                  </a:lnTo>
                  <a:lnTo>
                    <a:pt x="1871" y="3059"/>
                  </a:lnTo>
                  <a:lnTo>
                    <a:pt x="1871" y="3066"/>
                  </a:lnTo>
                  <a:lnTo>
                    <a:pt x="1866" y="3069"/>
                  </a:lnTo>
                  <a:lnTo>
                    <a:pt x="1864" y="3067"/>
                  </a:lnTo>
                  <a:lnTo>
                    <a:pt x="1860" y="3069"/>
                  </a:lnTo>
                  <a:lnTo>
                    <a:pt x="1859" y="3077"/>
                  </a:lnTo>
                  <a:lnTo>
                    <a:pt x="1860" y="3078"/>
                  </a:lnTo>
                  <a:lnTo>
                    <a:pt x="1860" y="3081"/>
                  </a:lnTo>
                  <a:lnTo>
                    <a:pt x="1859" y="3081"/>
                  </a:lnTo>
                  <a:lnTo>
                    <a:pt x="1860" y="3082"/>
                  </a:lnTo>
                  <a:lnTo>
                    <a:pt x="1857" y="3082"/>
                  </a:lnTo>
                  <a:lnTo>
                    <a:pt x="1856" y="3094"/>
                  </a:lnTo>
                  <a:lnTo>
                    <a:pt x="1851" y="3095"/>
                  </a:lnTo>
                  <a:lnTo>
                    <a:pt x="1845" y="3091"/>
                  </a:lnTo>
                  <a:lnTo>
                    <a:pt x="1841" y="3091"/>
                  </a:lnTo>
                  <a:lnTo>
                    <a:pt x="1839" y="3091"/>
                  </a:lnTo>
                  <a:lnTo>
                    <a:pt x="1838" y="3091"/>
                  </a:lnTo>
                  <a:lnTo>
                    <a:pt x="1832" y="3101"/>
                  </a:lnTo>
                  <a:lnTo>
                    <a:pt x="1829" y="3103"/>
                  </a:lnTo>
                  <a:lnTo>
                    <a:pt x="1827" y="3112"/>
                  </a:lnTo>
                  <a:lnTo>
                    <a:pt x="1827" y="3120"/>
                  </a:lnTo>
                  <a:lnTo>
                    <a:pt x="1826" y="3124"/>
                  </a:lnTo>
                  <a:lnTo>
                    <a:pt x="1823" y="3126"/>
                  </a:lnTo>
                  <a:lnTo>
                    <a:pt x="1824" y="3129"/>
                  </a:lnTo>
                  <a:lnTo>
                    <a:pt x="1821" y="3129"/>
                  </a:lnTo>
                  <a:lnTo>
                    <a:pt x="1820" y="3131"/>
                  </a:lnTo>
                  <a:lnTo>
                    <a:pt x="1821" y="3133"/>
                  </a:lnTo>
                  <a:lnTo>
                    <a:pt x="1818" y="3135"/>
                  </a:lnTo>
                  <a:lnTo>
                    <a:pt x="1812" y="3136"/>
                  </a:lnTo>
                  <a:lnTo>
                    <a:pt x="1807" y="3144"/>
                  </a:lnTo>
                  <a:lnTo>
                    <a:pt x="1806" y="3144"/>
                  </a:lnTo>
                  <a:lnTo>
                    <a:pt x="1802" y="3144"/>
                  </a:lnTo>
                  <a:lnTo>
                    <a:pt x="1795" y="3144"/>
                  </a:lnTo>
                  <a:lnTo>
                    <a:pt x="1796" y="3148"/>
                  </a:lnTo>
                  <a:lnTo>
                    <a:pt x="1791" y="3149"/>
                  </a:lnTo>
                  <a:lnTo>
                    <a:pt x="1787" y="3157"/>
                  </a:lnTo>
                  <a:lnTo>
                    <a:pt x="1784" y="3160"/>
                  </a:lnTo>
                  <a:lnTo>
                    <a:pt x="1782" y="3169"/>
                  </a:lnTo>
                  <a:lnTo>
                    <a:pt x="1774" y="3173"/>
                  </a:lnTo>
                  <a:lnTo>
                    <a:pt x="1771" y="3178"/>
                  </a:lnTo>
                  <a:lnTo>
                    <a:pt x="1767" y="3178"/>
                  </a:lnTo>
                  <a:lnTo>
                    <a:pt x="1766" y="3178"/>
                  </a:lnTo>
                  <a:lnTo>
                    <a:pt x="1763" y="3180"/>
                  </a:lnTo>
                  <a:lnTo>
                    <a:pt x="1763" y="3176"/>
                  </a:lnTo>
                  <a:lnTo>
                    <a:pt x="1759" y="3180"/>
                  </a:lnTo>
                  <a:lnTo>
                    <a:pt x="1759" y="3186"/>
                  </a:lnTo>
                  <a:lnTo>
                    <a:pt x="1756" y="3189"/>
                  </a:lnTo>
                  <a:lnTo>
                    <a:pt x="1751" y="3189"/>
                  </a:lnTo>
                  <a:lnTo>
                    <a:pt x="1746" y="3189"/>
                  </a:lnTo>
                  <a:lnTo>
                    <a:pt x="1739" y="3191"/>
                  </a:lnTo>
                  <a:lnTo>
                    <a:pt x="1739" y="3196"/>
                  </a:lnTo>
                  <a:lnTo>
                    <a:pt x="1735" y="3198"/>
                  </a:lnTo>
                  <a:lnTo>
                    <a:pt x="1737" y="3202"/>
                  </a:lnTo>
                  <a:lnTo>
                    <a:pt x="1735" y="3205"/>
                  </a:lnTo>
                  <a:lnTo>
                    <a:pt x="1727" y="3206"/>
                  </a:lnTo>
                  <a:lnTo>
                    <a:pt x="1725" y="3205"/>
                  </a:lnTo>
                  <a:lnTo>
                    <a:pt x="1717" y="3210"/>
                  </a:lnTo>
                  <a:lnTo>
                    <a:pt x="1710" y="3207"/>
                  </a:lnTo>
                  <a:lnTo>
                    <a:pt x="1704" y="3208"/>
                  </a:lnTo>
                  <a:lnTo>
                    <a:pt x="1702" y="3210"/>
                  </a:lnTo>
                  <a:lnTo>
                    <a:pt x="1700" y="3215"/>
                  </a:lnTo>
                  <a:lnTo>
                    <a:pt x="1699" y="3220"/>
                  </a:lnTo>
                  <a:lnTo>
                    <a:pt x="1693" y="3222"/>
                  </a:lnTo>
                  <a:lnTo>
                    <a:pt x="1688" y="3224"/>
                  </a:lnTo>
                  <a:lnTo>
                    <a:pt x="1681" y="3222"/>
                  </a:lnTo>
                  <a:lnTo>
                    <a:pt x="1675" y="3224"/>
                  </a:lnTo>
                  <a:lnTo>
                    <a:pt x="1674" y="3222"/>
                  </a:lnTo>
                  <a:lnTo>
                    <a:pt x="1674" y="3224"/>
                  </a:lnTo>
                  <a:lnTo>
                    <a:pt x="1672" y="3224"/>
                  </a:lnTo>
                  <a:lnTo>
                    <a:pt x="1674" y="3224"/>
                  </a:lnTo>
                  <a:lnTo>
                    <a:pt x="1672" y="3224"/>
                  </a:lnTo>
                  <a:lnTo>
                    <a:pt x="1671" y="3224"/>
                  </a:lnTo>
                  <a:lnTo>
                    <a:pt x="1670" y="3224"/>
                  </a:lnTo>
                  <a:lnTo>
                    <a:pt x="1670" y="3227"/>
                  </a:lnTo>
                  <a:lnTo>
                    <a:pt x="1668" y="3227"/>
                  </a:lnTo>
                  <a:lnTo>
                    <a:pt x="1667" y="3227"/>
                  </a:lnTo>
                  <a:lnTo>
                    <a:pt x="1666" y="3227"/>
                  </a:lnTo>
                  <a:lnTo>
                    <a:pt x="1666" y="3228"/>
                  </a:lnTo>
                  <a:lnTo>
                    <a:pt x="1664" y="3230"/>
                  </a:lnTo>
                  <a:lnTo>
                    <a:pt x="1663" y="3230"/>
                  </a:lnTo>
                  <a:lnTo>
                    <a:pt x="1661" y="3228"/>
                  </a:lnTo>
                  <a:lnTo>
                    <a:pt x="1660" y="3228"/>
                  </a:lnTo>
                  <a:lnTo>
                    <a:pt x="1658" y="3228"/>
                  </a:lnTo>
                  <a:lnTo>
                    <a:pt x="1657" y="3228"/>
                  </a:lnTo>
                  <a:lnTo>
                    <a:pt x="1657" y="3230"/>
                  </a:lnTo>
                  <a:lnTo>
                    <a:pt x="1656" y="3230"/>
                  </a:lnTo>
                  <a:lnTo>
                    <a:pt x="1654" y="3230"/>
                  </a:lnTo>
                  <a:lnTo>
                    <a:pt x="1653" y="3230"/>
                  </a:lnTo>
                  <a:lnTo>
                    <a:pt x="1652" y="3230"/>
                  </a:lnTo>
                  <a:lnTo>
                    <a:pt x="1650" y="3230"/>
                  </a:lnTo>
                  <a:lnTo>
                    <a:pt x="1649" y="3230"/>
                  </a:lnTo>
                  <a:lnTo>
                    <a:pt x="1649" y="3231"/>
                  </a:lnTo>
                  <a:lnTo>
                    <a:pt x="1649" y="3232"/>
                  </a:lnTo>
                  <a:lnTo>
                    <a:pt x="1647" y="3232"/>
                  </a:lnTo>
                  <a:lnTo>
                    <a:pt x="1647" y="3231"/>
                  </a:lnTo>
                  <a:lnTo>
                    <a:pt x="1644" y="3231"/>
                  </a:lnTo>
                  <a:lnTo>
                    <a:pt x="1643" y="3231"/>
                  </a:lnTo>
                  <a:lnTo>
                    <a:pt x="1642" y="3232"/>
                  </a:lnTo>
                  <a:lnTo>
                    <a:pt x="1641" y="3232"/>
                  </a:lnTo>
                  <a:lnTo>
                    <a:pt x="1639" y="3232"/>
                  </a:lnTo>
                  <a:lnTo>
                    <a:pt x="1638" y="3232"/>
                  </a:lnTo>
                  <a:lnTo>
                    <a:pt x="1638" y="3233"/>
                  </a:lnTo>
                  <a:lnTo>
                    <a:pt x="1636" y="3233"/>
                  </a:lnTo>
                  <a:lnTo>
                    <a:pt x="1635" y="3233"/>
                  </a:lnTo>
                  <a:lnTo>
                    <a:pt x="1633" y="3233"/>
                  </a:lnTo>
                  <a:lnTo>
                    <a:pt x="1632" y="3233"/>
                  </a:lnTo>
                  <a:lnTo>
                    <a:pt x="1631" y="3233"/>
                  </a:lnTo>
                  <a:lnTo>
                    <a:pt x="1631" y="3236"/>
                  </a:lnTo>
                  <a:lnTo>
                    <a:pt x="1629" y="3233"/>
                  </a:lnTo>
                  <a:lnTo>
                    <a:pt x="1629" y="3236"/>
                  </a:lnTo>
                  <a:lnTo>
                    <a:pt x="1628" y="3236"/>
                  </a:lnTo>
                  <a:lnTo>
                    <a:pt x="1627" y="3236"/>
                  </a:lnTo>
                  <a:lnTo>
                    <a:pt x="1625" y="3236"/>
                  </a:lnTo>
                  <a:lnTo>
                    <a:pt x="1624" y="3236"/>
                  </a:lnTo>
                  <a:lnTo>
                    <a:pt x="1624" y="3238"/>
                  </a:lnTo>
                  <a:lnTo>
                    <a:pt x="1622" y="3238"/>
                  </a:lnTo>
                  <a:lnTo>
                    <a:pt x="1621" y="3238"/>
                  </a:lnTo>
                  <a:lnTo>
                    <a:pt x="1619" y="3238"/>
                  </a:lnTo>
                  <a:lnTo>
                    <a:pt x="1617" y="3238"/>
                  </a:lnTo>
                  <a:lnTo>
                    <a:pt x="1616" y="3238"/>
                  </a:lnTo>
                  <a:lnTo>
                    <a:pt x="1614" y="3238"/>
                  </a:lnTo>
                  <a:lnTo>
                    <a:pt x="1613" y="3238"/>
                  </a:lnTo>
                  <a:lnTo>
                    <a:pt x="1611" y="3238"/>
                  </a:lnTo>
                  <a:lnTo>
                    <a:pt x="1611" y="3240"/>
                  </a:lnTo>
                  <a:lnTo>
                    <a:pt x="1613" y="3240"/>
                  </a:lnTo>
                  <a:lnTo>
                    <a:pt x="1613" y="3241"/>
                  </a:lnTo>
                  <a:lnTo>
                    <a:pt x="1611" y="3241"/>
                  </a:lnTo>
                  <a:lnTo>
                    <a:pt x="1613" y="3241"/>
                  </a:lnTo>
                  <a:lnTo>
                    <a:pt x="1613" y="3243"/>
                  </a:lnTo>
                  <a:lnTo>
                    <a:pt x="1611" y="3243"/>
                  </a:lnTo>
                  <a:lnTo>
                    <a:pt x="1611" y="3241"/>
                  </a:lnTo>
                  <a:lnTo>
                    <a:pt x="1610" y="3241"/>
                  </a:lnTo>
                  <a:lnTo>
                    <a:pt x="1610" y="3243"/>
                  </a:lnTo>
                  <a:lnTo>
                    <a:pt x="1610" y="3244"/>
                  </a:lnTo>
                  <a:lnTo>
                    <a:pt x="1608" y="3244"/>
                  </a:lnTo>
                  <a:lnTo>
                    <a:pt x="1608" y="3243"/>
                  </a:lnTo>
                  <a:lnTo>
                    <a:pt x="1608" y="3244"/>
                  </a:lnTo>
                  <a:lnTo>
                    <a:pt x="1607" y="3244"/>
                  </a:lnTo>
                  <a:lnTo>
                    <a:pt x="1608" y="3244"/>
                  </a:lnTo>
                  <a:lnTo>
                    <a:pt x="1610" y="3244"/>
                  </a:lnTo>
                  <a:lnTo>
                    <a:pt x="1608" y="3244"/>
                  </a:lnTo>
                  <a:lnTo>
                    <a:pt x="1607" y="3244"/>
                  </a:lnTo>
                  <a:lnTo>
                    <a:pt x="1607" y="3247"/>
                  </a:lnTo>
                  <a:lnTo>
                    <a:pt x="1607" y="3250"/>
                  </a:lnTo>
                  <a:lnTo>
                    <a:pt x="1607" y="3251"/>
                  </a:lnTo>
                  <a:lnTo>
                    <a:pt x="1607" y="3253"/>
                  </a:lnTo>
                  <a:lnTo>
                    <a:pt x="1606" y="3253"/>
                  </a:lnTo>
                  <a:lnTo>
                    <a:pt x="1607" y="3253"/>
                  </a:lnTo>
                  <a:lnTo>
                    <a:pt x="1607" y="3255"/>
                  </a:lnTo>
                  <a:lnTo>
                    <a:pt x="1607" y="3256"/>
                  </a:lnTo>
                  <a:lnTo>
                    <a:pt x="1606" y="3256"/>
                  </a:lnTo>
                  <a:lnTo>
                    <a:pt x="1604" y="3256"/>
                  </a:lnTo>
                  <a:lnTo>
                    <a:pt x="1604" y="3258"/>
                  </a:lnTo>
                  <a:lnTo>
                    <a:pt x="1604" y="3256"/>
                  </a:lnTo>
                  <a:lnTo>
                    <a:pt x="1603" y="3256"/>
                  </a:lnTo>
                  <a:lnTo>
                    <a:pt x="1603" y="3258"/>
                  </a:lnTo>
                  <a:lnTo>
                    <a:pt x="1603" y="3260"/>
                  </a:lnTo>
                  <a:lnTo>
                    <a:pt x="1602" y="3258"/>
                  </a:lnTo>
                  <a:lnTo>
                    <a:pt x="1600" y="3258"/>
                  </a:lnTo>
                  <a:lnTo>
                    <a:pt x="1600" y="3260"/>
                  </a:lnTo>
                  <a:lnTo>
                    <a:pt x="1602" y="3260"/>
                  </a:lnTo>
                  <a:lnTo>
                    <a:pt x="1599" y="3260"/>
                  </a:lnTo>
                  <a:lnTo>
                    <a:pt x="1599" y="3263"/>
                  </a:lnTo>
                  <a:lnTo>
                    <a:pt x="1597" y="3263"/>
                  </a:lnTo>
                  <a:lnTo>
                    <a:pt x="1597" y="3264"/>
                  </a:lnTo>
                  <a:lnTo>
                    <a:pt x="1596" y="3265"/>
                  </a:lnTo>
                  <a:lnTo>
                    <a:pt x="1594" y="3267"/>
                  </a:lnTo>
                  <a:lnTo>
                    <a:pt x="1593" y="3267"/>
                  </a:lnTo>
                  <a:lnTo>
                    <a:pt x="1594" y="3267"/>
                  </a:lnTo>
                  <a:lnTo>
                    <a:pt x="1594" y="3269"/>
                  </a:lnTo>
                  <a:lnTo>
                    <a:pt x="1593" y="3269"/>
                  </a:lnTo>
                  <a:lnTo>
                    <a:pt x="1592" y="3269"/>
                  </a:lnTo>
                  <a:lnTo>
                    <a:pt x="1592" y="3272"/>
                  </a:lnTo>
                  <a:lnTo>
                    <a:pt x="1593" y="3272"/>
                  </a:lnTo>
                  <a:lnTo>
                    <a:pt x="1592" y="3272"/>
                  </a:lnTo>
                  <a:lnTo>
                    <a:pt x="1592" y="3273"/>
                  </a:lnTo>
                  <a:lnTo>
                    <a:pt x="1590" y="3273"/>
                  </a:lnTo>
                  <a:lnTo>
                    <a:pt x="1590" y="3276"/>
                  </a:lnTo>
                  <a:lnTo>
                    <a:pt x="1589" y="3276"/>
                  </a:lnTo>
                  <a:lnTo>
                    <a:pt x="1588" y="3276"/>
                  </a:lnTo>
                  <a:lnTo>
                    <a:pt x="1589" y="3277"/>
                  </a:lnTo>
                  <a:lnTo>
                    <a:pt x="1588" y="3277"/>
                  </a:lnTo>
                  <a:lnTo>
                    <a:pt x="1588" y="3278"/>
                  </a:lnTo>
                  <a:lnTo>
                    <a:pt x="1589" y="3278"/>
                  </a:lnTo>
                  <a:lnTo>
                    <a:pt x="1588" y="3280"/>
                  </a:lnTo>
                  <a:lnTo>
                    <a:pt x="1588" y="3281"/>
                  </a:lnTo>
                  <a:lnTo>
                    <a:pt x="1589" y="3281"/>
                  </a:lnTo>
                  <a:lnTo>
                    <a:pt x="1588" y="3281"/>
                  </a:lnTo>
                  <a:lnTo>
                    <a:pt x="1588" y="3282"/>
                  </a:lnTo>
                  <a:lnTo>
                    <a:pt x="1586" y="3282"/>
                  </a:lnTo>
                  <a:lnTo>
                    <a:pt x="1585" y="3282"/>
                  </a:lnTo>
                  <a:lnTo>
                    <a:pt x="1583" y="3282"/>
                  </a:lnTo>
                  <a:lnTo>
                    <a:pt x="1582" y="3282"/>
                  </a:lnTo>
                  <a:lnTo>
                    <a:pt x="1581" y="3282"/>
                  </a:lnTo>
                  <a:lnTo>
                    <a:pt x="1581" y="3285"/>
                  </a:lnTo>
                  <a:lnTo>
                    <a:pt x="1579" y="3285"/>
                  </a:lnTo>
                  <a:lnTo>
                    <a:pt x="1581" y="3286"/>
                  </a:lnTo>
                  <a:lnTo>
                    <a:pt x="1582" y="3286"/>
                  </a:lnTo>
                  <a:lnTo>
                    <a:pt x="1581" y="3286"/>
                  </a:lnTo>
                  <a:lnTo>
                    <a:pt x="1579" y="3286"/>
                  </a:lnTo>
                  <a:lnTo>
                    <a:pt x="1579" y="3289"/>
                  </a:lnTo>
                  <a:lnTo>
                    <a:pt x="1581" y="3289"/>
                  </a:lnTo>
                  <a:lnTo>
                    <a:pt x="1581" y="3290"/>
                  </a:lnTo>
                  <a:lnTo>
                    <a:pt x="1579" y="3290"/>
                  </a:lnTo>
                  <a:lnTo>
                    <a:pt x="1579" y="3292"/>
                  </a:lnTo>
                  <a:lnTo>
                    <a:pt x="1578" y="3292"/>
                  </a:lnTo>
                  <a:lnTo>
                    <a:pt x="1577" y="3292"/>
                  </a:lnTo>
                  <a:lnTo>
                    <a:pt x="1577" y="3294"/>
                  </a:lnTo>
                  <a:lnTo>
                    <a:pt x="1575" y="3294"/>
                  </a:lnTo>
                  <a:lnTo>
                    <a:pt x="1577" y="3294"/>
                  </a:lnTo>
                  <a:lnTo>
                    <a:pt x="1577" y="3295"/>
                  </a:lnTo>
                  <a:lnTo>
                    <a:pt x="1575" y="3295"/>
                  </a:lnTo>
                  <a:lnTo>
                    <a:pt x="1574" y="3295"/>
                  </a:lnTo>
                  <a:lnTo>
                    <a:pt x="1575" y="3295"/>
                  </a:lnTo>
                  <a:lnTo>
                    <a:pt x="1575" y="3298"/>
                  </a:lnTo>
                  <a:lnTo>
                    <a:pt x="1574" y="3298"/>
                  </a:lnTo>
                  <a:lnTo>
                    <a:pt x="1574" y="3300"/>
                  </a:lnTo>
                  <a:lnTo>
                    <a:pt x="1572" y="3300"/>
                  </a:lnTo>
                  <a:lnTo>
                    <a:pt x="1571" y="3300"/>
                  </a:lnTo>
                  <a:lnTo>
                    <a:pt x="1569" y="3300"/>
                  </a:lnTo>
                  <a:lnTo>
                    <a:pt x="1568" y="3300"/>
                  </a:lnTo>
                  <a:lnTo>
                    <a:pt x="1568" y="3301"/>
                  </a:lnTo>
                  <a:lnTo>
                    <a:pt x="1568" y="3302"/>
                  </a:lnTo>
                  <a:lnTo>
                    <a:pt x="1567" y="3302"/>
                  </a:lnTo>
                  <a:lnTo>
                    <a:pt x="1567" y="3301"/>
                  </a:lnTo>
                  <a:lnTo>
                    <a:pt x="1567" y="3302"/>
                  </a:lnTo>
                  <a:lnTo>
                    <a:pt x="1568" y="3302"/>
                  </a:lnTo>
                  <a:lnTo>
                    <a:pt x="1568" y="3303"/>
                  </a:lnTo>
                  <a:lnTo>
                    <a:pt x="1567" y="3303"/>
                  </a:lnTo>
                  <a:lnTo>
                    <a:pt x="1567" y="3302"/>
                  </a:lnTo>
                  <a:lnTo>
                    <a:pt x="1567" y="3303"/>
                  </a:lnTo>
                  <a:lnTo>
                    <a:pt x="1567" y="3305"/>
                  </a:lnTo>
                  <a:lnTo>
                    <a:pt x="1565" y="3305"/>
                  </a:lnTo>
                  <a:lnTo>
                    <a:pt x="1564" y="3305"/>
                  </a:lnTo>
                  <a:lnTo>
                    <a:pt x="1564" y="3307"/>
                  </a:lnTo>
                  <a:lnTo>
                    <a:pt x="1564" y="3309"/>
                  </a:lnTo>
                  <a:lnTo>
                    <a:pt x="1563" y="3309"/>
                  </a:lnTo>
                  <a:lnTo>
                    <a:pt x="1561" y="3309"/>
                  </a:lnTo>
                  <a:lnTo>
                    <a:pt x="1560" y="3311"/>
                  </a:lnTo>
                  <a:lnTo>
                    <a:pt x="1558" y="3313"/>
                  </a:lnTo>
                  <a:lnTo>
                    <a:pt x="1558" y="3314"/>
                  </a:lnTo>
                  <a:lnTo>
                    <a:pt x="1557" y="3315"/>
                  </a:lnTo>
                  <a:lnTo>
                    <a:pt x="1557" y="3317"/>
                  </a:lnTo>
                  <a:lnTo>
                    <a:pt x="1556" y="3317"/>
                  </a:lnTo>
                  <a:lnTo>
                    <a:pt x="1556" y="3318"/>
                  </a:lnTo>
                  <a:lnTo>
                    <a:pt x="1556" y="3320"/>
                  </a:lnTo>
                  <a:lnTo>
                    <a:pt x="1554" y="3320"/>
                  </a:lnTo>
                  <a:lnTo>
                    <a:pt x="1554" y="3322"/>
                  </a:lnTo>
                  <a:lnTo>
                    <a:pt x="1553" y="3322"/>
                  </a:lnTo>
                  <a:lnTo>
                    <a:pt x="1552" y="3322"/>
                  </a:lnTo>
                  <a:lnTo>
                    <a:pt x="1550" y="3322"/>
                  </a:lnTo>
                  <a:lnTo>
                    <a:pt x="1549" y="3322"/>
                  </a:lnTo>
                  <a:lnTo>
                    <a:pt x="1549" y="3323"/>
                  </a:lnTo>
                  <a:lnTo>
                    <a:pt x="1547" y="3323"/>
                  </a:lnTo>
                  <a:lnTo>
                    <a:pt x="1546" y="3323"/>
                  </a:lnTo>
                  <a:lnTo>
                    <a:pt x="1546" y="3322"/>
                  </a:lnTo>
                  <a:lnTo>
                    <a:pt x="1544" y="3322"/>
                  </a:lnTo>
                  <a:lnTo>
                    <a:pt x="1543" y="3322"/>
                  </a:lnTo>
                  <a:lnTo>
                    <a:pt x="1542" y="3322"/>
                  </a:lnTo>
                  <a:lnTo>
                    <a:pt x="1542" y="3323"/>
                  </a:lnTo>
                  <a:lnTo>
                    <a:pt x="1540" y="3323"/>
                  </a:lnTo>
                  <a:lnTo>
                    <a:pt x="1540" y="3322"/>
                  </a:lnTo>
                  <a:lnTo>
                    <a:pt x="1540" y="3323"/>
                  </a:lnTo>
                  <a:lnTo>
                    <a:pt x="1540" y="3326"/>
                  </a:lnTo>
                  <a:lnTo>
                    <a:pt x="1540" y="3327"/>
                  </a:lnTo>
                  <a:lnTo>
                    <a:pt x="1540" y="3330"/>
                  </a:lnTo>
                  <a:lnTo>
                    <a:pt x="1540" y="3331"/>
                  </a:lnTo>
                  <a:lnTo>
                    <a:pt x="1540" y="3334"/>
                  </a:lnTo>
                  <a:lnTo>
                    <a:pt x="1540" y="3335"/>
                  </a:lnTo>
                  <a:lnTo>
                    <a:pt x="1540" y="3337"/>
                  </a:lnTo>
                  <a:lnTo>
                    <a:pt x="1540" y="3338"/>
                  </a:lnTo>
                  <a:lnTo>
                    <a:pt x="1540" y="3339"/>
                  </a:lnTo>
                  <a:lnTo>
                    <a:pt x="1542" y="3339"/>
                  </a:lnTo>
                  <a:lnTo>
                    <a:pt x="1542" y="3340"/>
                  </a:lnTo>
                  <a:lnTo>
                    <a:pt x="1540" y="3340"/>
                  </a:lnTo>
                  <a:lnTo>
                    <a:pt x="1540" y="3343"/>
                  </a:lnTo>
                  <a:lnTo>
                    <a:pt x="1540" y="3344"/>
                  </a:lnTo>
                  <a:lnTo>
                    <a:pt x="1542" y="3344"/>
                  </a:lnTo>
                  <a:lnTo>
                    <a:pt x="1542" y="3347"/>
                  </a:lnTo>
                  <a:lnTo>
                    <a:pt x="1543" y="3347"/>
                  </a:lnTo>
                  <a:lnTo>
                    <a:pt x="1543" y="3348"/>
                  </a:lnTo>
                  <a:lnTo>
                    <a:pt x="1543" y="3350"/>
                  </a:lnTo>
                  <a:lnTo>
                    <a:pt x="1542" y="3350"/>
                  </a:lnTo>
                  <a:lnTo>
                    <a:pt x="1542" y="3351"/>
                  </a:lnTo>
                  <a:lnTo>
                    <a:pt x="1542" y="3352"/>
                  </a:lnTo>
                  <a:lnTo>
                    <a:pt x="1540" y="3352"/>
                  </a:lnTo>
                  <a:lnTo>
                    <a:pt x="1542" y="3354"/>
                  </a:lnTo>
                  <a:lnTo>
                    <a:pt x="1543" y="3357"/>
                  </a:lnTo>
                  <a:lnTo>
                    <a:pt x="1544" y="3359"/>
                  </a:lnTo>
                  <a:lnTo>
                    <a:pt x="1546" y="3359"/>
                  </a:lnTo>
                  <a:lnTo>
                    <a:pt x="1547" y="3360"/>
                  </a:lnTo>
                  <a:lnTo>
                    <a:pt x="1549" y="3360"/>
                  </a:lnTo>
                  <a:lnTo>
                    <a:pt x="1549" y="3363"/>
                  </a:lnTo>
                  <a:lnTo>
                    <a:pt x="1550" y="3363"/>
                  </a:lnTo>
                  <a:lnTo>
                    <a:pt x="1552" y="3363"/>
                  </a:lnTo>
                  <a:lnTo>
                    <a:pt x="1552" y="3365"/>
                  </a:lnTo>
                  <a:lnTo>
                    <a:pt x="1553" y="3365"/>
                  </a:lnTo>
                  <a:lnTo>
                    <a:pt x="1553" y="3367"/>
                  </a:lnTo>
                  <a:lnTo>
                    <a:pt x="1554" y="3367"/>
                  </a:lnTo>
                  <a:lnTo>
                    <a:pt x="1556" y="3367"/>
                  </a:lnTo>
                  <a:lnTo>
                    <a:pt x="1557" y="3367"/>
                  </a:lnTo>
                  <a:lnTo>
                    <a:pt x="1558" y="3369"/>
                  </a:lnTo>
                  <a:lnTo>
                    <a:pt x="1557" y="3370"/>
                  </a:lnTo>
                  <a:lnTo>
                    <a:pt x="1557" y="3372"/>
                  </a:lnTo>
                  <a:lnTo>
                    <a:pt x="1558" y="3372"/>
                  </a:lnTo>
                  <a:lnTo>
                    <a:pt x="1558" y="3373"/>
                  </a:lnTo>
                  <a:lnTo>
                    <a:pt x="1557" y="3375"/>
                  </a:lnTo>
                  <a:lnTo>
                    <a:pt x="1557" y="3376"/>
                  </a:lnTo>
                  <a:lnTo>
                    <a:pt x="1556" y="3376"/>
                  </a:lnTo>
                  <a:lnTo>
                    <a:pt x="1554" y="3376"/>
                  </a:lnTo>
                  <a:lnTo>
                    <a:pt x="1554" y="3379"/>
                  </a:lnTo>
                  <a:lnTo>
                    <a:pt x="1554" y="3380"/>
                  </a:lnTo>
                  <a:lnTo>
                    <a:pt x="1550" y="3388"/>
                  </a:lnTo>
                  <a:lnTo>
                    <a:pt x="1547" y="3392"/>
                  </a:lnTo>
                  <a:lnTo>
                    <a:pt x="1525" y="3388"/>
                  </a:lnTo>
                  <a:lnTo>
                    <a:pt x="1477" y="3370"/>
                  </a:lnTo>
                  <a:lnTo>
                    <a:pt x="1475" y="3370"/>
                  </a:lnTo>
                  <a:lnTo>
                    <a:pt x="1474" y="3372"/>
                  </a:lnTo>
                  <a:lnTo>
                    <a:pt x="1472" y="3372"/>
                  </a:lnTo>
                  <a:lnTo>
                    <a:pt x="1471" y="3372"/>
                  </a:lnTo>
                  <a:lnTo>
                    <a:pt x="1471" y="3373"/>
                  </a:lnTo>
                  <a:lnTo>
                    <a:pt x="1469" y="3373"/>
                  </a:lnTo>
                  <a:lnTo>
                    <a:pt x="1468" y="3373"/>
                  </a:lnTo>
                  <a:lnTo>
                    <a:pt x="1468" y="3372"/>
                  </a:lnTo>
                  <a:lnTo>
                    <a:pt x="1467" y="3372"/>
                  </a:lnTo>
                  <a:lnTo>
                    <a:pt x="1465" y="3372"/>
                  </a:lnTo>
                  <a:lnTo>
                    <a:pt x="1464" y="3372"/>
                  </a:lnTo>
                  <a:lnTo>
                    <a:pt x="1464" y="3370"/>
                  </a:lnTo>
                  <a:lnTo>
                    <a:pt x="1463" y="3370"/>
                  </a:lnTo>
                  <a:lnTo>
                    <a:pt x="1463" y="3369"/>
                  </a:lnTo>
                  <a:lnTo>
                    <a:pt x="1461" y="3369"/>
                  </a:lnTo>
                  <a:lnTo>
                    <a:pt x="1461" y="3367"/>
                  </a:lnTo>
                  <a:lnTo>
                    <a:pt x="1460" y="3367"/>
                  </a:lnTo>
                  <a:lnTo>
                    <a:pt x="1458" y="3367"/>
                  </a:lnTo>
                  <a:lnTo>
                    <a:pt x="1457" y="3367"/>
                  </a:lnTo>
                  <a:lnTo>
                    <a:pt x="1458" y="3365"/>
                  </a:lnTo>
                  <a:lnTo>
                    <a:pt x="1457" y="3365"/>
                  </a:lnTo>
                  <a:lnTo>
                    <a:pt x="1455" y="3365"/>
                  </a:lnTo>
                  <a:lnTo>
                    <a:pt x="1455" y="3363"/>
                  </a:lnTo>
                  <a:lnTo>
                    <a:pt x="1454" y="3363"/>
                  </a:lnTo>
                  <a:lnTo>
                    <a:pt x="1453" y="3363"/>
                  </a:lnTo>
                  <a:lnTo>
                    <a:pt x="1453" y="3362"/>
                  </a:lnTo>
                  <a:lnTo>
                    <a:pt x="1452" y="3362"/>
                  </a:lnTo>
                  <a:lnTo>
                    <a:pt x="1450" y="3362"/>
                  </a:lnTo>
                  <a:lnTo>
                    <a:pt x="1449" y="3362"/>
                  </a:lnTo>
                  <a:lnTo>
                    <a:pt x="1447" y="3362"/>
                  </a:lnTo>
                  <a:lnTo>
                    <a:pt x="1446" y="3362"/>
                  </a:lnTo>
                  <a:lnTo>
                    <a:pt x="1444" y="3362"/>
                  </a:lnTo>
                  <a:lnTo>
                    <a:pt x="1443" y="3362"/>
                  </a:lnTo>
                  <a:lnTo>
                    <a:pt x="1442" y="3362"/>
                  </a:lnTo>
                  <a:lnTo>
                    <a:pt x="1440" y="3362"/>
                  </a:lnTo>
                  <a:lnTo>
                    <a:pt x="1440" y="3363"/>
                  </a:lnTo>
                  <a:lnTo>
                    <a:pt x="1439" y="3363"/>
                  </a:lnTo>
                  <a:lnTo>
                    <a:pt x="1438" y="3363"/>
                  </a:lnTo>
                  <a:lnTo>
                    <a:pt x="1438" y="3362"/>
                  </a:lnTo>
                  <a:lnTo>
                    <a:pt x="1436" y="3362"/>
                  </a:lnTo>
                  <a:lnTo>
                    <a:pt x="1436" y="3360"/>
                  </a:lnTo>
                  <a:lnTo>
                    <a:pt x="1435" y="3360"/>
                  </a:lnTo>
                  <a:lnTo>
                    <a:pt x="1435" y="3359"/>
                  </a:lnTo>
                  <a:lnTo>
                    <a:pt x="1433" y="3359"/>
                  </a:lnTo>
                  <a:lnTo>
                    <a:pt x="1432" y="3359"/>
                  </a:lnTo>
                  <a:lnTo>
                    <a:pt x="1430" y="3359"/>
                  </a:lnTo>
                  <a:lnTo>
                    <a:pt x="1430" y="3357"/>
                  </a:lnTo>
                  <a:lnTo>
                    <a:pt x="1430" y="3356"/>
                  </a:lnTo>
                  <a:lnTo>
                    <a:pt x="1429" y="3356"/>
                  </a:lnTo>
                  <a:lnTo>
                    <a:pt x="1428" y="3356"/>
                  </a:lnTo>
                  <a:lnTo>
                    <a:pt x="1428" y="3354"/>
                  </a:lnTo>
                  <a:lnTo>
                    <a:pt x="1426" y="3356"/>
                  </a:lnTo>
                  <a:lnTo>
                    <a:pt x="1425" y="3356"/>
                  </a:lnTo>
                  <a:lnTo>
                    <a:pt x="1425" y="3354"/>
                  </a:lnTo>
                  <a:lnTo>
                    <a:pt x="1426" y="3354"/>
                  </a:lnTo>
                  <a:lnTo>
                    <a:pt x="1425" y="3354"/>
                  </a:lnTo>
                  <a:lnTo>
                    <a:pt x="1425" y="3352"/>
                  </a:lnTo>
                  <a:lnTo>
                    <a:pt x="1424" y="3352"/>
                  </a:lnTo>
                  <a:lnTo>
                    <a:pt x="1422" y="3352"/>
                  </a:lnTo>
                  <a:lnTo>
                    <a:pt x="1421" y="3352"/>
                  </a:lnTo>
                  <a:lnTo>
                    <a:pt x="1419" y="3352"/>
                  </a:lnTo>
                  <a:lnTo>
                    <a:pt x="1418" y="3352"/>
                  </a:lnTo>
                  <a:lnTo>
                    <a:pt x="1417" y="3354"/>
                  </a:lnTo>
                  <a:lnTo>
                    <a:pt x="1415" y="3354"/>
                  </a:lnTo>
                  <a:lnTo>
                    <a:pt x="1414" y="3354"/>
                  </a:lnTo>
                  <a:lnTo>
                    <a:pt x="1412" y="3354"/>
                  </a:lnTo>
                  <a:lnTo>
                    <a:pt x="1396" y="3367"/>
                  </a:lnTo>
                  <a:lnTo>
                    <a:pt x="1365" y="3367"/>
                  </a:lnTo>
                  <a:lnTo>
                    <a:pt x="1351" y="3367"/>
                  </a:lnTo>
                  <a:lnTo>
                    <a:pt x="1325" y="3365"/>
                  </a:lnTo>
                  <a:lnTo>
                    <a:pt x="1207" y="3362"/>
                  </a:lnTo>
                  <a:lnTo>
                    <a:pt x="1207" y="3339"/>
                  </a:lnTo>
                  <a:lnTo>
                    <a:pt x="1157" y="3144"/>
                  </a:lnTo>
                  <a:lnTo>
                    <a:pt x="1158" y="3143"/>
                  </a:lnTo>
                  <a:lnTo>
                    <a:pt x="1259" y="2921"/>
                  </a:lnTo>
                  <a:lnTo>
                    <a:pt x="1223" y="2921"/>
                  </a:lnTo>
                  <a:lnTo>
                    <a:pt x="1223" y="2743"/>
                  </a:lnTo>
                  <a:lnTo>
                    <a:pt x="1222" y="2742"/>
                  </a:lnTo>
                  <a:lnTo>
                    <a:pt x="1219" y="2739"/>
                  </a:lnTo>
                  <a:lnTo>
                    <a:pt x="1141" y="2647"/>
                  </a:lnTo>
                  <a:lnTo>
                    <a:pt x="940" y="2410"/>
                  </a:lnTo>
                  <a:lnTo>
                    <a:pt x="912" y="2339"/>
                  </a:lnTo>
                  <a:lnTo>
                    <a:pt x="848" y="2268"/>
                  </a:lnTo>
                  <a:lnTo>
                    <a:pt x="833" y="2249"/>
                  </a:lnTo>
                  <a:lnTo>
                    <a:pt x="705" y="2107"/>
                  </a:lnTo>
                  <a:lnTo>
                    <a:pt x="652" y="2036"/>
                  </a:lnTo>
                  <a:lnTo>
                    <a:pt x="642" y="2023"/>
                  </a:lnTo>
                  <a:lnTo>
                    <a:pt x="598" y="1965"/>
                  </a:lnTo>
                  <a:lnTo>
                    <a:pt x="417" y="1791"/>
                  </a:lnTo>
                  <a:lnTo>
                    <a:pt x="414" y="1789"/>
                  </a:lnTo>
                  <a:lnTo>
                    <a:pt x="411" y="1789"/>
                  </a:lnTo>
                  <a:lnTo>
                    <a:pt x="204" y="1787"/>
                  </a:lnTo>
                  <a:lnTo>
                    <a:pt x="183" y="1729"/>
                  </a:lnTo>
                  <a:lnTo>
                    <a:pt x="143" y="1680"/>
                  </a:lnTo>
                  <a:lnTo>
                    <a:pt x="149" y="1642"/>
                  </a:lnTo>
                  <a:lnTo>
                    <a:pt x="154" y="1626"/>
                  </a:lnTo>
                  <a:lnTo>
                    <a:pt x="157" y="1589"/>
                  </a:lnTo>
                  <a:lnTo>
                    <a:pt x="155" y="1532"/>
                  </a:lnTo>
                  <a:lnTo>
                    <a:pt x="157" y="1514"/>
                  </a:lnTo>
                  <a:lnTo>
                    <a:pt x="161" y="1468"/>
                  </a:lnTo>
                  <a:lnTo>
                    <a:pt x="165" y="1452"/>
                  </a:lnTo>
                  <a:lnTo>
                    <a:pt x="161" y="1424"/>
                  </a:lnTo>
                  <a:lnTo>
                    <a:pt x="154" y="1399"/>
                  </a:lnTo>
                  <a:lnTo>
                    <a:pt x="146" y="1330"/>
                  </a:lnTo>
                  <a:lnTo>
                    <a:pt x="129" y="1291"/>
                  </a:lnTo>
                  <a:lnTo>
                    <a:pt x="125" y="1273"/>
                  </a:lnTo>
                  <a:lnTo>
                    <a:pt x="130" y="1245"/>
                  </a:lnTo>
                  <a:lnTo>
                    <a:pt x="136" y="1229"/>
                  </a:lnTo>
                  <a:lnTo>
                    <a:pt x="139" y="1198"/>
                  </a:lnTo>
                  <a:lnTo>
                    <a:pt x="129" y="1166"/>
                  </a:lnTo>
                  <a:lnTo>
                    <a:pt x="100" y="1107"/>
                  </a:lnTo>
                  <a:lnTo>
                    <a:pt x="100" y="1041"/>
                  </a:lnTo>
                  <a:lnTo>
                    <a:pt x="60" y="980"/>
                  </a:lnTo>
                  <a:lnTo>
                    <a:pt x="51" y="958"/>
                  </a:lnTo>
                  <a:lnTo>
                    <a:pt x="52" y="926"/>
                  </a:lnTo>
                  <a:lnTo>
                    <a:pt x="50" y="915"/>
                  </a:lnTo>
                  <a:lnTo>
                    <a:pt x="19" y="883"/>
                  </a:lnTo>
                  <a:lnTo>
                    <a:pt x="15" y="873"/>
                  </a:lnTo>
                  <a:lnTo>
                    <a:pt x="9" y="823"/>
                  </a:lnTo>
                  <a:lnTo>
                    <a:pt x="11" y="820"/>
                  </a:lnTo>
                  <a:lnTo>
                    <a:pt x="9" y="784"/>
                  </a:lnTo>
                  <a:lnTo>
                    <a:pt x="0" y="748"/>
                  </a:lnTo>
                  <a:lnTo>
                    <a:pt x="4" y="740"/>
                  </a:lnTo>
                  <a:lnTo>
                    <a:pt x="57" y="660"/>
                  </a:lnTo>
                  <a:lnTo>
                    <a:pt x="86" y="637"/>
                  </a:lnTo>
                  <a:lnTo>
                    <a:pt x="116" y="593"/>
                  </a:lnTo>
                  <a:lnTo>
                    <a:pt x="135" y="580"/>
                  </a:lnTo>
                  <a:lnTo>
                    <a:pt x="146" y="565"/>
                  </a:lnTo>
                  <a:lnTo>
                    <a:pt x="164" y="512"/>
                  </a:lnTo>
                  <a:lnTo>
                    <a:pt x="176" y="490"/>
                  </a:lnTo>
                  <a:lnTo>
                    <a:pt x="210" y="450"/>
                  </a:lnTo>
                  <a:lnTo>
                    <a:pt x="227" y="415"/>
                  </a:lnTo>
                  <a:lnTo>
                    <a:pt x="237" y="346"/>
                  </a:lnTo>
                  <a:lnTo>
                    <a:pt x="232" y="312"/>
                  </a:lnTo>
                  <a:lnTo>
                    <a:pt x="218" y="254"/>
                  </a:lnTo>
                  <a:lnTo>
                    <a:pt x="489" y="253"/>
                  </a:lnTo>
                  <a:lnTo>
                    <a:pt x="493" y="253"/>
                  </a:lnTo>
                  <a:lnTo>
                    <a:pt x="853" y="250"/>
                  </a:lnTo>
                  <a:lnTo>
                    <a:pt x="855" y="245"/>
                  </a:lnTo>
                  <a:lnTo>
                    <a:pt x="853" y="244"/>
                  </a:lnTo>
                  <a:lnTo>
                    <a:pt x="855" y="241"/>
                  </a:lnTo>
                  <a:lnTo>
                    <a:pt x="859" y="244"/>
                  </a:lnTo>
                  <a:lnTo>
                    <a:pt x="860" y="245"/>
                  </a:lnTo>
                  <a:lnTo>
                    <a:pt x="863" y="249"/>
                  </a:lnTo>
                  <a:lnTo>
                    <a:pt x="863" y="250"/>
                  </a:lnTo>
                  <a:lnTo>
                    <a:pt x="859" y="254"/>
                  </a:lnTo>
                  <a:lnTo>
                    <a:pt x="860" y="258"/>
                  </a:lnTo>
                  <a:lnTo>
                    <a:pt x="867" y="254"/>
                  </a:lnTo>
                  <a:lnTo>
                    <a:pt x="871" y="257"/>
                  </a:lnTo>
                  <a:lnTo>
                    <a:pt x="874" y="258"/>
                  </a:lnTo>
                  <a:lnTo>
                    <a:pt x="877" y="258"/>
                  </a:lnTo>
                  <a:lnTo>
                    <a:pt x="879" y="258"/>
                  </a:lnTo>
                  <a:lnTo>
                    <a:pt x="879" y="254"/>
                  </a:lnTo>
                  <a:lnTo>
                    <a:pt x="881" y="250"/>
                  </a:lnTo>
                  <a:lnTo>
                    <a:pt x="883" y="254"/>
                  </a:lnTo>
                  <a:lnTo>
                    <a:pt x="884" y="254"/>
                  </a:lnTo>
                  <a:lnTo>
                    <a:pt x="888" y="254"/>
                  </a:lnTo>
                  <a:lnTo>
                    <a:pt x="893" y="257"/>
                  </a:lnTo>
                  <a:lnTo>
                    <a:pt x="896" y="257"/>
                  </a:lnTo>
                  <a:lnTo>
                    <a:pt x="905" y="254"/>
                  </a:lnTo>
                  <a:lnTo>
                    <a:pt x="908" y="253"/>
                  </a:lnTo>
                  <a:lnTo>
                    <a:pt x="908" y="250"/>
                  </a:lnTo>
                  <a:lnTo>
                    <a:pt x="905" y="245"/>
                  </a:lnTo>
                  <a:lnTo>
                    <a:pt x="902" y="244"/>
                  </a:lnTo>
                  <a:lnTo>
                    <a:pt x="902" y="241"/>
                  </a:lnTo>
                  <a:lnTo>
                    <a:pt x="904" y="241"/>
                  </a:lnTo>
                  <a:lnTo>
                    <a:pt x="905" y="241"/>
                  </a:lnTo>
                  <a:lnTo>
                    <a:pt x="913" y="241"/>
                  </a:lnTo>
                  <a:lnTo>
                    <a:pt x="918" y="241"/>
                  </a:lnTo>
                  <a:lnTo>
                    <a:pt x="924" y="241"/>
                  </a:lnTo>
                  <a:lnTo>
                    <a:pt x="926" y="241"/>
                  </a:lnTo>
                  <a:lnTo>
                    <a:pt x="926" y="244"/>
                  </a:lnTo>
                  <a:lnTo>
                    <a:pt x="926" y="250"/>
                  </a:lnTo>
                  <a:lnTo>
                    <a:pt x="927" y="254"/>
                  </a:lnTo>
                  <a:lnTo>
                    <a:pt x="930" y="258"/>
                  </a:lnTo>
                  <a:lnTo>
                    <a:pt x="935" y="258"/>
                  </a:lnTo>
                  <a:lnTo>
                    <a:pt x="937" y="258"/>
                  </a:lnTo>
                  <a:lnTo>
                    <a:pt x="943" y="254"/>
                  </a:lnTo>
                  <a:lnTo>
                    <a:pt x="945" y="254"/>
                  </a:lnTo>
                  <a:lnTo>
                    <a:pt x="945" y="253"/>
                  </a:lnTo>
                  <a:lnTo>
                    <a:pt x="941" y="250"/>
                  </a:lnTo>
                  <a:lnTo>
                    <a:pt x="941" y="245"/>
                  </a:lnTo>
                  <a:lnTo>
                    <a:pt x="944" y="241"/>
                  </a:lnTo>
                  <a:lnTo>
                    <a:pt x="945" y="239"/>
                  </a:lnTo>
                  <a:lnTo>
                    <a:pt x="948" y="237"/>
                  </a:lnTo>
                  <a:lnTo>
                    <a:pt x="949" y="239"/>
                  </a:lnTo>
                  <a:lnTo>
                    <a:pt x="952" y="244"/>
                  </a:lnTo>
                  <a:lnTo>
                    <a:pt x="954" y="245"/>
                  </a:lnTo>
                  <a:lnTo>
                    <a:pt x="956" y="245"/>
                  </a:lnTo>
                  <a:lnTo>
                    <a:pt x="956" y="244"/>
                  </a:lnTo>
                  <a:lnTo>
                    <a:pt x="954" y="241"/>
                  </a:lnTo>
                  <a:lnTo>
                    <a:pt x="955" y="239"/>
                  </a:lnTo>
                  <a:lnTo>
                    <a:pt x="959" y="241"/>
                  </a:lnTo>
                  <a:lnTo>
                    <a:pt x="963" y="245"/>
                  </a:lnTo>
                  <a:lnTo>
                    <a:pt x="965" y="249"/>
                  </a:lnTo>
                  <a:lnTo>
                    <a:pt x="965" y="245"/>
                  </a:lnTo>
                  <a:lnTo>
                    <a:pt x="968" y="244"/>
                  </a:lnTo>
                  <a:lnTo>
                    <a:pt x="969" y="244"/>
                  </a:lnTo>
                  <a:lnTo>
                    <a:pt x="972" y="245"/>
                  </a:lnTo>
                  <a:lnTo>
                    <a:pt x="977" y="244"/>
                  </a:lnTo>
                  <a:lnTo>
                    <a:pt x="979" y="241"/>
                  </a:lnTo>
                  <a:lnTo>
                    <a:pt x="979" y="237"/>
                  </a:lnTo>
                  <a:lnTo>
                    <a:pt x="983" y="232"/>
                  </a:lnTo>
                  <a:lnTo>
                    <a:pt x="984" y="232"/>
                  </a:lnTo>
                  <a:lnTo>
                    <a:pt x="987" y="232"/>
                  </a:lnTo>
                  <a:lnTo>
                    <a:pt x="990" y="237"/>
                  </a:lnTo>
                  <a:lnTo>
                    <a:pt x="994" y="237"/>
                  </a:lnTo>
                  <a:lnTo>
                    <a:pt x="1001" y="241"/>
                  </a:lnTo>
                  <a:lnTo>
                    <a:pt x="1004" y="241"/>
                  </a:lnTo>
                  <a:lnTo>
                    <a:pt x="1013" y="237"/>
                  </a:lnTo>
                  <a:lnTo>
                    <a:pt x="1024" y="237"/>
                  </a:lnTo>
                  <a:lnTo>
                    <a:pt x="1030" y="236"/>
                  </a:lnTo>
                  <a:lnTo>
                    <a:pt x="1033" y="236"/>
                  </a:lnTo>
                  <a:lnTo>
                    <a:pt x="1038" y="241"/>
                  </a:lnTo>
                  <a:lnTo>
                    <a:pt x="1041" y="241"/>
                  </a:lnTo>
                  <a:lnTo>
                    <a:pt x="1043" y="239"/>
                  </a:lnTo>
                  <a:lnTo>
                    <a:pt x="1044" y="232"/>
                  </a:lnTo>
                  <a:lnTo>
                    <a:pt x="1051" y="228"/>
                  </a:lnTo>
                  <a:lnTo>
                    <a:pt x="1059" y="221"/>
                  </a:lnTo>
                  <a:lnTo>
                    <a:pt x="1063" y="219"/>
                  </a:lnTo>
                  <a:lnTo>
                    <a:pt x="1069" y="219"/>
                  </a:lnTo>
                  <a:lnTo>
                    <a:pt x="1077" y="213"/>
                  </a:lnTo>
                  <a:lnTo>
                    <a:pt x="1083" y="205"/>
                  </a:lnTo>
                  <a:lnTo>
                    <a:pt x="1082" y="200"/>
                  </a:lnTo>
                  <a:lnTo>
                    <a:pt x="1083" y="196"/>
                  </a:lnTo>
                  <a:lnTo>
                    <a:pt x="1090" y="196"/>
                  </a:lnTo>
                  <a:lnTo>
                    <a:pt x="1094" y="196"/>
                  </a:lnTo>
                  <a:lnTo>
                    <a:pt x="1095" y="195"/>
                  </a:lnTo>
                  <a:lnTo>
                    <a:pt x="1094" y="192"/>
                  </a:lnTo>
                  <a:lnTo>
                    <a:pt x="1088" y="191"/>
                  </a:lnTo>
                  <a:lnTo>
                    <a:pt x="1087" y="187"/>
                  </a:lnTo>
                  <a:lnTo>
                    <a:pt x="1090" y="186"/>
                  </a:lnTo>
                  <a:lnTo>
                    <a:pt x="1095" y="183"/>
                  </a:lnTo>
                  <a:lnTo>
                    <a:pt x="1097" y="183"/>
                  </a:lnTo>
                  <a:lnTo>
                    <a:pt x="1093" y="174"/>
                  </a:lnTo>
                  <a:lnTo>
                    <a:pt x="1101" y="172"/>
                  </a:lnTo>
                  <a:lnTo>
                    <a:pt x="1111" y="174"/>
                  </a:lnTo>
                  <a:lnTo>
                    <a:pt x="1112" y="174"/>
                  </a:lnTo>
                  <a:lnTo>
                    <a:pt x="1113" y="164"/>
                  </a:lnTo>
                  <a:lnTo>
                    <a:pt x="1122" y="172"/>
                  </a:lnTo>
                  <a:lnTo>
                    <a:pt x="1123" y="172"/>
                  </a:lnTo>
                  <a:lnTo>
                    <a:pt x="1126" y="170"/>
                  </a:lnTo>
                  <a:lnTo>
                    <a:pt x="1132" y="169"/>
                  </a:lnTo>
                  <a:lnTo>
                    <a:pt x="1137" y="169"/>
                  </a:lnTo>
                  <a:lnTo>
                    <a:pt x="1139" y="170"/>
                  </a:lnTo>
                  <a:lnTo>
                    <a:pt x="1140" y="169"/>
                  </a:lnTo>
                  <a:lnTo>
                    <a:pt x="1139" y="164"/>
                  </a:lnTo>
                  <a:lnTo>
                    <a:pt x="1137" y="160"/>
                  </a:lnTo>
                  <a:lnTo>
                    <a:pt x="1139" y="160"/>
                  </a:lnTo>
                  <a:lnTo>
                    <a:pt x="1143" y="160"/>
                  </a:lnTo>
                  <a:lnTo>
                    <a:pt x="1143" y="169"/>
                  </a:lnTo>
                  <a:lnTo>
                    <a:pt x="1144" y="169"/>
                  </a:lnTo>
                  <a:lnTo>
                    <a:pt x="1145" y="163"/>
                  </a:lnTo>
                  <a:lnTo>
                    <a:pt x="1150" y="160"/>
                  </a:lnTo>
                  <a:lnTo>
                    <a:pt x="1151" y="159"/>
                  </a:lnTo>
                  <a:lnTo>
                    <a:pt x="1152" y="157"/>
                  </a:lnTo>
                  <a:lnTo>
                    <a:pt x="1152" y="151"/>
                  </a:lnTo>
                  <a:lnTo>
                    <a:pt x="1154" y="151"/>
                  </a:lnTo>
                  <a:lnTo>
                    <a:pt x="1155" y="151"/>
                  </a:lnTo>
                  <a:lnTo>
                    <a:pt x="1158" y="151"/>
                  </a:lnTo>
                  <a:lnTo>
                    <a:pt x="1159" y="151"/>
                  </a:lnTo>
                  <a:lnTo>
                    <a:pt x="1158" y="146"/>
                  </a:lnTo>
                  <a:lnTo>
                    <a:pt x="1159" y="143"/>
                  </a:lnTo>
                  <a:lnTo>
                    <a:pt x="1162" y="146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66" y="138"/>
                  </a:lnTo>
                  <a:lnTo>
                    <a:pt x="1169" y="137"/>
                  </a:lnTo>
                  <a:lnTo>
                    <a:pt x="1172" y="137"/>
                  </a:lnTo>
                  <a:lnTo>
                    <a:pt x="1176" y="134"/>
                  </a:lnTo>
                  <a:lnTo>
                    <a:pt x="1175" y="134"/>
                  </a:lnTo>
                  <a:lnTo>
                    <a:pt x="1172" y="133"/>
                  </a:lnTo>
                  <a:lnTo>
                    <a:pt x="1172" y="129"/>
                  </a:lnTo>
                  <a:lnTo>
                    <a:pt x="1173" y="125"/>
                  </a:lnTo>
                  <a:lnTo>
                    <a:pt x="1183" y="125"/>
                  </a:lnTo>
                  <a:lnTo>
                    <a:pt x="1184" y="125"/>
                  </a:lnTo>
                  <a:lnTo>
                    <a:pt x="1184" y="124"/>
                  </a:lnTo>
                  <a:lnTo>
                    <a:pt x="1186" y="121"/>
                  </a:lnTo>
                  <a:lnTo>
                    <a:pt x="1192" y="121"/>
                  </a:lnTo>
                  <a:lnTo>
                    <a:pt x="1200" y="121"/>
                  </a:lnTo>
                  <a:lnTo>
                    <a:pt x="1204" y="124"/>
                  </a:lnTo>
                  <a:lnTo>
                    <a:pt x="1207" y="125"/>
                  </a:lnTo>
                  <a:lnTo>
                    <a:pt x="1205" y="129"/>
                  </a:lnTo>
                  <a:lnTo>
                    <a:pt x="1205" y="133"/>
                  </a:lnTo>
                  <a:lnTo>
                    <a:pt x="1214" y="137"/>
                  </a:lnTo>
                  <a:lnTo>
                    <a:pt x="1223" y="137"/>
                  </a:lnTo>
                  <a:lnTo>
                    <a:pt x="1230" y="133"/>
                  </a:lnTo>
                  <a:lnTo>
                    <a:pt x="1232" y="133"/>
                  </a:lnTo>
                  <a:lnTo>
                    <a:pt x="1236" y="137"/>
                  </a:lnTo>
                  <a:lnTo>
                    <a:pt x="1248" y="138"/>
                  </a:lnTo>
                  <a:lnTo>
                    <a:pt x="1253" y="143"/>
                  </a:lnTo>
                  <a:lnTo>
                    <a:pt x="1257" y="139"/>
                  </a:lnTo>
                  <a:lnTo>
                    <a:pt x="1262" y="138"/>
                  </a:lnTo>
                  <a:lnTo>
                    <a:pt x="1268" y="143"/>
                  </a:lnTo>
                  <a:lnTo>
                    <a:pt x="1272" y="138"/>
                  </a:lnTo>
                  <a:lnTo>
                    <a:pt x="1272" y="137"/>
                  </a:lnTo>
                  <a:lnTo>
                    <a:pt x="1278" y="133"/>
                  </a:lnTo>
                  <a:lnTo>
                    <a:pt x="1280" y="134"/>
                  </a:lnTo>
                  <a:lnTo>
                    <a:pt x="1283" y="138"/>
                  </a:lnTo>
                  <a:lnTo>
                    <a:pt x="1286" y="151"/>
                  </a:lnTo>
                  <a:lnTo>
                    <a:pt x="1289" y="155"/>
                  </a:lnTo>
                  <a:lnTo>
                    <a:pt x="1289" y="160"/>
                  </a:lnTo>
                  <a:lnTo>
                    <a:pt x="1292" y="163"/>
                  </a:lnTo>
                  <a:lnTo>
                    <a:pt x="1294" y="169"/>
                  </a:lnTo>
                  <a:lnTo>
                    <a:pt x="1298" y="164"/>
                  </a:lnTo>
                  <a:lnTo>
                    <a:pt x="1298" y="160"/>
                  </a:lnTo>
                  <a:lnTo>
                    <a:pt x="1297" y="160"/>
                  </a:lnTo>
                  <a:lnTo>
                    <a:pt x="1297" y="157"/>
                  </a:lnTo>
                  <a:lnTo>
                    <a:pt x="1298" y="157"/>
                  </a:lnTo>
                  <a:lnTo>
                    <a:pt x="1303" y="160"/>
                  </a:lnTo>
                  <a:lnTo>
                    <a:pt x="1304" y="160"/>
                  </a:lnTo>
                  <a:lnTo>
                    <a:pt x="1307" y="160"/>
                  </a:lnTo>
                  <a:lnTo>
                    <a:pt x="1311" y="160"/>
                  </a:lnTo>
                  <a:lnTo>
                    <a:pt x="1312" y="160"/>
                  </a:lnTo>
                  <a:lnTo>
                    <a:pt x="1314" y="162"/>
                  </a:lnTo>
                  <a:lnTo>
                    <a:pt x="1314" y="164"/>
                  </a:lnTo>
                  <a:lnTo>
                    <a:pt x="1312" y="164"/>
                  </a:lnTo>
                  <a:lnTo>
                    <a:pt x="1315" y="170"/>
                  </a:lnTo>
                  <a:lnTo>
                    <a:pt x="1315" y="172"/>
                  </a:lnTo>
                  <a:lnTo>
                    <a:pt x="1312" y="177"/>
                  </a:lnTo>
                  <a:lnTo>
                    <a:pt x="1312" y="179"/>
                  </a:lnTo>
                  <a:lnTo>
                    <a:pt x="1326" y="179"/>
                  </a:lnTo>
                  <a:lnTo>
                    <a:pt x="1330" y="183"/>
                  </a:lnTo>
                  <a:lnTo>
                    <a:pt x="1340" y="183"/>
                  </a:lnTo>
                  <a:lnTo>
                    <a:pt x="1351" y="186"/>
                  </a:lnTo>
                  <a:lnTo>
                    <a:pt x="1357" y="187"/>
                  </a:lnTo>
                  <a:lnTo>
                    <a:pt x="1358" y="192"/>
                  </a:lnTo>
                  <a:lnTo>
                    <a:pt x="1359" y="196"/>
                  </a:lnTo>
                  <a:lnTo>
                    <a:pt x="1365" y="200"/>
                  </a:lnTo>
                  <a:lnTo>
                    <a:pt x="1371" y="214"/>
                  </a:lnTo>
                  <a:lnTo>
                    <a:pt x="1373" y="214"/>
                  </a:lnTo>
                  <a:lnTo>
                    <a:pt x="1375" y="222"/>
                  </a:lnTo>
                  <a:lnTo>
                    <a:pt x="1378" y="222"/>
                  </a:lnTo>
                  <a:lnTo>
                    <a:pt x="1384" y="226"/>
                  </a:lnTo>
                  <a:lnTo>
                    <a:pt x="1390" y="222"/>
                  </a:lnTo>
                  <a:lnTo>
                    <a:pt x="1397" y="219"/>
                  </a:lnTo>
                  <a:lnTo>
                    <a:pt x="1405" y="219"/>
                  </a:lnTo>
                  <a:lnTo>
                    <a:pt x="1408" y="214"/>
                  </a:lnTo>
                  <a:lnTo>
                    <a:pt x="1411" y="214"/>
                  </a:lnTo>
                  <a:lnTo>
                    <a:pt x="1414" y="213"/>
                  </a:lnTo>
                  <a:lnTo>
                    <a:pt x="1414" y="205"/>
                  </a:lnTo>
                  <a:lnTo>
                    <a:pt x="1417" y="204"/>
                  </a:lnTo>
                  <a:lnTo>
                    <a:pt x="1421" y="200"/>
                  </a:lnTo>
                  <a:lnTo>
                    <a:pt x="1425" y="205"/>
                  </a:lnTo>
                  <a:lnTo>
                    <a:pt x="1426" y="209"/>
                  </a:lnTo>
                  <a:lnTo>
                    <a:pt x="1428" y="217"/>
                  </a:lnTo>
                  <a:lnTo>
                    <a:pt x="1428" y="221"/>
                  </a:lnTo>
                  <a:lnTo>
                    <a:pt x="1425" y="222"/>
                  </a:lnTo>
                  <a:lnTo>
                    <a:pt x="1426" y="230"/>
                  </a:lnTo>
                  <a:lnTo>
                    <a:pt x="1432" y="237"/>
                  </a:lnTo>
                  <a:lnTo>
                    <a:pt x="1436" y="241"/>
                  </a:lnTo>
                  <a:lnTo>
                    <a:pt x="1443" y="245"/>
                  </a:lnTo>
                  <a:lnTo>
                    <a:pt x="1452" y="250"/>
                  </a:lnTo>
                  <a:lnTo>
                    <a:pt x="1454" y="250"/>
                  </a:lnTo>
                  <a:lnTo>
                    <a:pt x="1457" y="250"/>
                  </a:lnTo>
                  <a:lnTo>
                    <a:pt x="1463" y="244"/>
                  </a:lnTo>
                  <a:lnTo>
                    <a:pt x="1468" y="230"/>
                  </a:lnTo>
                  <a:lnTo>
                    <a:pt x="1471" y="228"/>
                  </a:lnTo>
                  <a:lnTo>
                    <a:pt x="1472" y="230"/>
                  </a:lnTo>
                  <a:lnTo>
                    <a:pt x="1474" y="232"/>
                  </a:lnTo>
                  <a:lnTo>
                    <a:pt x="1474" y="236"/>
                  </a:lnTo>
                  <a:lnTo>
                    <a:pt x="1474" y="241"/>
                  </a:lnTo>
                  <a:lnTo>
                    <a:pt x="1472" y="244"/>
                  </a:lnTo>
                  <a:lnTo>
                    <a:pt x="1468" y="244"/>
                  </a:lnTo>
                  <a:lnTo>
                    <a:pt x="1467" y="245"/>
                  </a:lnTo>
                  <a:lnTo>
                    <a:pt x="1472" y="249"/>
                  </a:lnTo>
                  <a:lnTo>
                    <a:pt x="1475" y="253"/>
                  </a:lnTo>
                  <a:lnTo>
                    <a:pt x="1479" y="253"/>
                  </a:lnTo>
                  <a:lnTo>
                    <a:pt x="1482" y="254"/>
                  </a:lnTo>
                  <a:lnTo>
                    <a:pt x="1483" y="254"/>
                  </a:lnTo>
                  <a:lnTo>
                    <a:pt x="1485" y="258"/>
                  </a:lnTo>
                  <a:lnTo>
                    <a:pt x="1483" y="263"/>
                  </a:lnTo>
                  <a:lnTo>
                    <a:pt x="1479" y="266"/>
                  </a:lnTo>
                  <a:lnTo>
                    <a:pt x="1479" y="267"/>
                  </a:lnTo>
                  <a:lnTo>
                    <a:pt x="1475" y="273"/>
                  </a:lnTo>
                  <a:lnTo>
                    <a:pt x="1475" y="279"/>
                  </a:lnTo>
                  <a:lnTo>
                    <a:pt x="1477" y="286"/>
                  </a:lnTo>
                  <a:lnTo>
                    <a:pt x="1471" y="299"/>
                  </a:lnTo>
                  <a:lnTo>
                    <a:pt x="1472" y="316"/>
                  </a:lnTo>
                  <a:lnTo>
                    <a:pt x="1471" y="320"/>
                  </a:lnTo>
                  <a:lnTo>
                    <a:pt x="1468" y="320"/>
                  </a:lnTo>
                  <a:lnTo>
                    <a:pt x="1468" y="321"/>
                  </a:lnTo>
                  <a:lnTo>
                    <a:pt x="1471" y="321"/>
                  </a:lnTo>
                  <a:lnTo>
                    <a:pt x="1472" y="324"/>
                  </a:lnTo>
                  <a:lnTo>
                    <a:pt x="1474" y="325"/>
                  </a:lnTo>
                  <a:lnTo>
                    <a:pt x="1477" y="334"/>
                  </a:lnTo>
                  <a:lnTo>
                    <a:pt x="1482" y="343"/>
                  </a:lnTo>
                  <a:lnTo>
                    <a:pt x="1485" y="344"/>
                  </a:lnTo>
                  <a:lnTo>
                    <a:pt x="1486" y="346"/>
                  </a:lnTo>
                  <a:lnTo>
                    <a:pt x="1489" y="351"/>
                  </a:lnTo>
                  <a:lnTo>
                    <a:pt x="1493" y="351"/>
                  </a:lnTo>
                  <a:lnTo>
                    <a:pt x="1494" y="357"/>
                  </a:lnTo>
                  <a:lnTo>
                    <a:pt x="1497" y="360"/>
                  </a:lnTo>
                  <a:lnTo>
                    <a:pt x="1502" y="361"/>
                  </a:lnTo>
                  <a:lnTo>
                    <a:pt x="1503" y="360"/>
                  </a:lnTo>
                  <a:lnTo>
                    <a:pt x="1510" y="357"/>
                  </a:lnTo>
                  <a:lnTo>
                    <a:pt x="1515" y="350"/>
                  </a:lnTo>
                  <a:lnTo>
                    <a:pt x="1518" y="350"/>
                  </a:lnTo>
                  <a:lnTo>
                    <a:pt x="1524" y="351"/>
                  </a:lnTo>
                  <a:lnTo>
                    <a:pt x="1528" y="350"/>
                  </a:lnTo>
                  <a:lnTo>
                    <a:pt x="1532" y="346"/>
                  </a:lnTo>
                  <a:lnTo>
                    <a:pt x="1542" y="346"/>
                  </a:lnTo>
                  <a:lnTo>
                    <a:pt x="1544" y="346"/>
                  </a:lnTo>
                  <a:lnTo>
                    <a:pt x="1546" y="346"/>
                  </a:lnTo>
                  <a:lnTo>
                    <a:pt x="1547" y="346"/>
                  </a:lnTo>
                  <a:lnTo>
                    <a:pt x="1549" y="351"/>
                  </a:lnTo>
                  <a:lnTo>
                    <a:pt x="1550" y="361"/>
                  </a:lnTo>
                  <a:lnTo>
                    <a:pt x="1553" y="366"/>
                  </a:lnTo>
                  <a:lnTo>
                    <a:pt x="1556" y="369"/>
                  </a:lnTo>
                  <a:lnTo>
                    <a:pt x="1549" y="370"/>
                  </a:lnTo>
                  <a:lnTo>
                    <a:pt x="1546" y="370"/>
                  </a:lnTo>
                  <a:lnTo>
                    <a:pt x="1544" y="373"/>
                  </a:lnTo>
                  <a:lnTo>
                    <a:pt x="1549" y="370"/>
                  </a:lnTo>
                  <a:lnTo>
                    <a:pt x="1554" y="370"/>
                  </a:lnTo>
                  <a:lnTo>
                    <a:pt x="1563" y="369"/>
                  </a:lnTo>
                  <a:lnTo>
                    <a:pt x="1572" y="370"/>
                  </a:lnTo>
                  <a:lnTo>
                    <a:pt x="1582" y="366"/>
                  </a:lnTo>
                  <a:lnTo>
                    <a:pt x="1583" y="365"/>
                  </a:lnTo>
                  <a:lnTo>
                    <a:pt x="1586" y="361"/>
                  </a:lnTo>
                  <a:lnTo>
                    <a:pt x="1588" y="360"/>
                  </a:lnTo>
                  <a:lnTo>
                    <a:pt x="1590" y="360"/>
                  </a:lnTo>
                  <a:lnTo>
                    <a:pt x="1599" y="361"/>
                  </a:lnTo>
                  <a:lnTo>
                    <a:pt x="1604" y="366"/>
                  </a:lnTo>
                  <a:lnTo>
                    <a:pt x="1617" y="360"/>
                  </a:lnTo>
                  <a:lnTo>
                    <a:pt x="1625" y="344"/>
                  </a:lnTo>
                  <a:lnTo>
                    <a:pt x="1629" y="343"/>
                  </a:lnTo>
                  <a:lnTo>
                    <a:pt x="1631" y="337"/>
                  </a:lnTo>
                  <a:lnTo>
                    <a:pt x="1633" y="334"/>
                  </a:lnTo>
                  <a:lnTo>
                    <a:pt x="1638" y="334"/>
                  </a:lnTo>
                  <a:lnTo>
                    <a:pt x="1641" y="338"/>
                  </a:lnTo>
                  <a:lnTo>
                    <a:pt x="1647" y="344"/>
                  </a:lnTo>
                  <a:lnTo>
                    <a:pt x="1657" y="338"/>
                  </a:lnTo>
                  <a:lnTo>
                    <a:pt x="1664" y="337"/>
                  </a:lnTo>
                  <a:lnTo>
                    <a:pt x="1666" y="337"/>
                  </a:lnTo>
                  <a:lnTo>
                    <a:pt x="1668" y="338"/>
                  </a:lnTo>
                  <a:lnTo>
                    <a:pt x="1675" y="338"/>
                  </a:lnTo>
                  <a:lnTo>
                    <a:pt x="1682" y="338"/>
                  </a:lnTo>
                  <a:lnTo>
                    <a:pt x="1700" y="337"/>
                  </a:lnTo>
                  <a:lnTo>
                    <a:pt x="1704" y="338"/>
                  </a:lnTo>
                  <a:lnTo>
                    <a:pt x="1712" y="337"/>
                  </a:lnTo>
                  <a:lnTo>
                    <a:pt x="1716" y="338"/>
                  </a:lnTo>
                  <a:lnTo>
                    <a:pt x="1725" y="338"/>
                  </a:lnTo>
                  <a:lnTo>
                    <a:pt x="1729" y="344"/>
                  </a:lnTo>
                  <a:lnTo>
                    <a:pt x="1737" y="346"/>
                  </a:lnTo>
                  <a:lnTo>
                    <a:pt x="1737" y="350"/>
                  </a:lnTo>
                  <a:lnTo>
                    <a:pt x="1739" y="351"/>
                  </a:lnTo>
                  <a:lnTo>
                    <a:pt x="1738" y="351"/>
                  </a:lnTo>
                  <a:lnTo>
                    <a:pt x="1734" y="361"/>
                  </a:lnTo>
                  <a:lnTo>
                    <a:pt x="1735" y="365"/>
                  </a:lnTo>
                  <a:lnTo>
                    <a:pt x="1735" y="369"/>
                  </a:lnTo>
                  <a:lnTo>
                    <a:pt x="1734" y="370"/>
                  </a:lnTo>
                  <a:lnTo>
                    <a:pt x="1729" y="374"/>
                  </a:lnTo>
                  <a:lnTo>
                    <a:pt x="1729" y="382"/>
                  </a:lnTo>
                  <a:lnTo>
                    <a:pt x="1729" y="383"/>
                  </a:lnTo>
                  <a:lnTo>
                    <a:pt x="1728" y="387"/>
                  </a:lnTo>
                  <a:lnTo>
                    <a:pt x="1729" y="387"/>
                  </a:lnTo>
                  <a:lnTo>
                    <a:pt x="1731" y="391"/>
                  </a:lnTo>
                  <a:lnTo>
                    <a:pt x="1731" y="396"/>
                  </a:lnTo>
                  <a:lnTo>
                    <a:pt x="1734" y="396"/>
                  </a:lnTo>
                  <a:lnTo>
                    <a:pt x="1737" y="400"/>
                  </a:lnTo>
                  <a:lnTo>
                    <a:pt x="1739" y="402"/>
                  </a:lnTo>
                  <a:lnTo>
                    <a:pt x="1743" y="402"/>
                  </a:lnTo>
                  <a:lnTo>
                    <a:pt x="1746" y="400"/>
                  </a:lnTo>
                  <a:lnTo>
                    <a:pt x="1756" y="387"/>
                  </a:lnTo>
                  <a:lnTo>
                    <a:pt x="1756" y="386"/>
                  </a:lnTo>
                  <a:lnTo>
                    <a:pt x="1759" y="383"/>
                  </a:lnTo>
                  <a:lnTo>
                    <a:pt x="1773" y="374"/>
                  </a:lnTo>
                  <a:lnTo>
                    <a:pt x="1777" y="366"/>
                  </a:lnTo>
                  <a:lnTo>
                    <a:pt x="1781" y="357"/>
                  </a:lnTo>
                  <a:lnTo>
                    <a:pt x="1784" y="351"/>
                  </a:lnTo>
                  <a:lnTo>
                    <a:pt x="1785" y="351"/>
                  </a:lnTo>
                  <a:lnTo>
                    <a:pt x="1791" y="351"/>
                  </a:lnTo>
                  <a:lnTo>
                    <a:pt x="1799" y="351"/>
                  </a:lnTo>
                  <a:lnTo>
                    <a:pt x="1802" y="360"/>
                  </a:lnTo>
                  <a:lnTo>
                    <a:pt x="1803" y="361"/>
                  </a:lnTo>
                  <a:lnTo>
                    <a:pt x="1807" y="361"/>
                  </a:lnTo>
                  <a:lnTo>
                    <a:pt x="1812" y="366"/>
                  </a:lnTo>
                  <a:lnTo>
                    <a:pt x="1813" y="370"/>
                  </a:lnTo>
                  <a:lnTo>
                    <a:pt x="1814" y="370"/>
                  </a:lnTo>
                  <a:lnTo>
                    <a:pt x="1816" y="370"/>
                  </a:lnTo>
                  <a:lnTo>
                    <a:pt x="1818" y="374"/>
                  </a:lnTo>
                  <a:lnTo>
                    <a:pt x="1829" y="379"/>
                  </a:lnTo>
                  <a:lnTo>
                    <a:pt x="1837" y="378"/>
                  </a:lnTo>
                  <a:lnTo>
                    <a:pt x="1846" y="373"/>
                  </a:lnTo>
                  <a:lnTo>
                    <a:pt x="1856" y="370"/>
                  </a:lnTo>
                  <a:lnTo>
                    <a:pt x="1859" y="366"/>
                  </a:lnTo>
                  <a:lnTo>
                    <a:pt x="1867" y="361"/>
                  </a:lnTo>
                  <a:lnTo>
                    <a:pt x="1878" y="356"/>
                  </a:lnTo>
                  <a:lnTo>
                    <a:pt x="1885" y="351"/>
                  </a:lnTo>
                  <a:lnTo>
                    <a:pt x="1895" y="337"/>
                  </a:lnTo>
                  <a:lnTo>
                    <a:pt x="1899" y="333"/>
                  </a:lnTo>
                  <a:lnTo>
                    <a:pt x="1907" y="329"/>
                  </a:lnTo>
                  <a:lnTo>
                    <a:pt x="1917" y="324"/>
                  </a:lnTo>
                  <a:lnTo>
                    <a:pt x="1927" y="320"/>
                  </a:lnTo>
                  <a:lnTo>
                    <a:pt x="1932" y="315"/>
                  </a:lnTo>
                  <a:lnTo>
                    <a:pt x="1935" y="312"/>
                  </a:lnTo>
                  <a:lnTo>
                    <a:pt x="1938" y="312"/>
                  </a:lnTo>
                  <a:lnTo>
                    <a:pt x="1942" y="311"/>
                  </a:lnTo>
                  <a:lnTo>
                    <a:pt x="1944" y="308"/>
                  </a:lnTo>
                  <a:lnTo>
                    <a:pt x="1951" y="298"/>
                  </a:lnTo>
                  <a:lnTo>
                    <a:pt x="1952" y="289"/>
                  </a:lnTo>
                  <a:lnTo>
                    <a:pt x="1953" y="289"/>
                  </a:lnTo>
                  <a:lnTo>
                    <a:pt x="1956" y="289"/>
                  </a:lnTo>
                  <a:lnTo>
                    <a:pt x="1964" y="276"/>
                  </a:lnTo>
                  <a:lnTo>
                    <a:pt x="1966" y="267"/>
                  </a:lnTo>
                  <a:lnTo>
                    <a:pt x="1969" y="257"/>
                  </a:lnTo>
                  <a:lnTo>
                    <a:pt x="1971" y="250"/>
                  </a:lnTo>
                  <a:lnTo>
                    <a:pt x="1969" y="245"/>
                  </a:lnTo>
                  <a:lnTo>
                    <a:pt x="1971" y="244"/>
                  </a:lnTo>
                  <a:lnTo>
                    <a:pt x="1973" y="236"/>
                  </a:lnTo>
                  <a:lnTo>
                    <a:pt x="1978" y="232"/>
                  </a:lnTo>
                  <a:lnTo>
                    <a:pt x="1980" y="232"/>
                  </a:lnTo>
                  <a:lnTo>
                    <a:pt x="1981" y="236"/>
                  </a:lnTo>
                  <a:lnTo>
                    <a:pt x="1985" y="237"/>
                  </a:lnTo>
                  <a:lnTo>
                    <a:pt x="1987" y="237"/>
                  </a:lnTo>
                  <a:lnTo>
                    <a:pt x="1985" y="241"/>
                  </a:lnTo>
                  <a:lnTo>
                    <a:pt x="1988" y="250"/>
                  </a:lnTo>
                  <a:lnTo>
                    <a:pt x="1991" y="250"/>
                  </a:lnTo>
                  <a:lnTo>
                    <a:pt x="1994" y="257"/>
                  </a:lnTo>
                  <a:lnTo>
                    <a:pt x="1998" y="258"/>
                  </a:lnTo>
                  <a:lnTo>
                    <a:pt x="2002" y="258"/>
                  </a:lnTo>
                  <a:lnTo>
                    <a:pt x="2006" y="258"/>
                  </a:lnTo>
                  <a:lnTo>
                    <a:pt x="2013" y="263"/>
                  </a:lnTo>
                  <a:lnTo>
                    <a:pt x="2017" y="262"/>
                  </a:lnTo>
                  <a:lnTo>
                    <a:pt x="2019" y="263"/>
                  </a:lnTo>
                  <a:lnTo>
                    <a:pt x="2022" y="267"/>
                  </a:lnTo>
                  <a:lnTo>
                    <a:pt x="2023" y="267"/>
                  </a:lnTo>
                  <a:lnTo>
                    <a:pt x="2026" y="266"/>
                  </a:lnTo>
                  <a:lnTo>
                    <a:pt x="2027" y="266"/>
                  </a:lnTo>
                  <a:lnTo>
                    <a:pt x="2030" y="267"/>
                  </a:lnTo>
                  <a:lnTo>
                    <a:pt x="2033" y="267"/>
                  </a:lnTo>
                  <a:lnTo>
                    <a:pt x="2034" y="267"/>
                  </a:lnTo>
                  <a:lnTo>
                    <a:pt x="2036" y="263"/>
                  </a:lnTo>
                  <a:lnTo>
                    <a:pt x="2045" y="266"/>
                  </a:lnTo>
                  <a:lnTo>
                    <a:pt x="2047" y="267"/>
                  </a:lnTo>
                  <a:lnTo>
                    <a:pt x="2048" y="273"/>
                  </a:lnTo>
                  <a:lnTo>
                    <a:pt x="2051" y="273"/>
                  </a:lnTo>
                  <a:lnTo>
                    <a:pt x="2056" y="276"/>
                  </a:lnTo>
                  <a:lnTo>
                    <a:pt x="2058" y="276"/>
                  </a:lnTo>
                  <a:lnTo>
                    <a:pt x="2064" y="276"/>
                  </a:lnTo>
                  <a:lnTo>
                    <a:pt x="2067" y="276"/>
                  </a:lnTo>
                  <a:lnTo>
                    <a:pt x="2069" y="276"/>
                  </a:lnTo>
                  <a:lnTo>
                    <a:pt x="2074" y="271"/>
                  </a:lnTo>
                  <a:lnTo>
                    <a:pt x="2078" y="267"/>
                  </a:lnTo>
                  <a:lnTo>
                    <a:pt x="2084" y="267"/>
                  </a:lnTo>
                  <a:lnTo>
                    <a:pt x="2087" y="271"/>
                  </a:lnTo>
                  <a:lnTo>
                    <a:pt x="2088" y="271"/>
                  </a:lnTo>
                  <a:lnTo>
                    <a:pt x="2095" y="267"/>
                  </a:lnTo>
                  <a:lnTo>
                    <a:pt x="2101" y="267"/>
                  </a:lnTo>
                  <a:lnTo>
                    <a:pt x="2103" y="263"/>
                  </a:lnTo>
                  <a:lnTo>
                    <a:pt x="2112" y="258"/>
                  </a:lnTo>
                  <a:lnTo>
                    <a:pt x="2117" y="257"/>
                  </a:lnTo>
                  <a:lnTo>
                    <a:pt x="2119" y="257"/>
                  </a:lnTo>
                  <a:lnTo>
                    <a:pt x="2119" y="258"/>
                  </a:lnTo>
                  <a:lnTo>
                    <a:pt x="2123" y="258"/>
                  </a:lnTo>
                  <a:lnTo>
                    <a:pt x="2124" y="262"/>
                  </a:lnTo>
                  <a:lnTo>
                    <a:pt x="2126" y="262"/>
                  </a:lnTo>
                  <a:lnTo>
                    <a:pt x="2134" y="263"/>
                  </a:lnTo>
                  <a:lnTo>
                    <a:pt x="2145" y="258"/>
                  </a:lnTo>
                  <a:lnTo>
                    <a:pt x="2148" y="263"/>
                  </a:lnTo>
                  <a:lnTo>
                    <a:pt x="2151" y="263"/>
                  </a:lnTo>
                  <a:lnTo>
                    <a:pt x="2155" y="266"/>
                  </a:lnTo>
                  <a:lnTo>
                    <a:pt x="2158" y="266"/>
                  </a:lnTo>
                  <a:lnTo>
                    <a:pt x="2161" y="267"/>
                  </a:lnTo>
                  <a:lnTo>
                    <a:pt x="2167" y="267"/>
                  </a:lnTo>
                  <a:lnTo>
                    <a:pt x="2177" y="276"/>
                  </a:lnTo>
                  <a:lnTo>
                    <a:pt x="2180" y="281"/>
                  </a:lnTo>
                  <a:lnTo>
                    <a:pt x="2181" y="281"/>
                  </a:lnTo>
                  <a:lnTo>
                    <a:pt x="2181" y="284"/>
                  </a:lnTo>
                  <a:lnTo>
                    <a:pt x="2183" y="286"/>
                  </a:lnTo>
                  <a:lnTo>
                    <a:pt x="2197" y="294"/>
                  </a:lnTo>
                  <a:lnTo>
                    <a:pt x="2201" y="294"/>
                  </a:lnTo>
                  <a:lnTo>
                    <a:pt x="2203" y="298"/>
                  </a:lnTo>
                  <a:lnTo>
                    <a:pt x="2205" y="298"/>
                  </a:lnTo>
                  <a:lnTo>
                    <a:pt x="2209" y="294"/>
                  </a:lnTo>
                  <a:lnTo>
                    <a:pt x="2215" y="294"/>
                  </a:lnTo>
                  <a:lnTo>
                    <a:pt x="2220" y="294"/>
                  </a:lnTo>
                  <a:lnTo>
                    <a:pt x="2227" y="294"/>
                  </a:lnTo>
                  <a:lnTo>
                    <a:pt x="2230" y="298"/>
                  </a:lnTo>
                  <a:lnTo>
                    <a:pt x="2231" y="299"/>
                  </a:lnTo>
                  <a:lnTo>
                    <a:pt x="2237" y="301"/>
                  </a:lnTo>
                  <a:lnTo>
                    <a:pt x="2238" y="299"/>
                  </a:lnTo>
                  <a:lnTo>
                    <a:pt x="2245" y="299"/>
                  </a:lnTo>
                  <a:lnTo>
                    <a:pt x="2250" y="298"/>
                  </a:lnTo>
                  <a:lnTo>
                    <a:pt x="2252" y="299"/>
                  </a:lnTo>
                  <a:lnTo>
                    <a:pt x="2257" y="299"/>
                  </a:lnTo>
                  <a:lnTo>
                    <a:pt x="2261" y="301"/>
                  </a:lnTo>
                  <a:lnTo>
                    <a:pt x="2273" y="301"/>
                  </a:lnTo>
                  <a:lnTo>
                    <a:pt x="2282" y="308"/>
                  </a:lnTo>
                  <a:lnTo>
                    <a:pt x="2287" y="308"/>
                  </a:lnTo>
                  <a:lnTo>
                    <a:pt x="2290" y="312"/>
                  </a:lnTo>
                  <a:lnTo>
                    <a:pt x="2296" y="312"/>
                  </a:lnTo>
                  <a:lnTo>
                    <a:pt x="2298" y="312"/>
                  </a:lnTo>
                  <a:lnTo>
                    <a:pt x="2301" y="316"/>
                  </a:lnTo>
                  <a:lnTo>
                    <a:pt x="2308" y="316"/>
                  </a:lnTo>
                  <a:lnTo>
                    <a:pt x="2311" y="316"/>
                  </a:lnTo>
                  <a:lnTo>
                    <a:pt x="2315" y="312"/>
                  </a:lnTo>
                  <a:lnTo>
                    <a:pt x="2321" y="312"/>
                  </a:lnTo>
                  <a:lnTo>
                    <a:pt x="2323" y="311"/>
                  </a:lnTo>
                  <a:lnTo>
                    <a:pt x="2326" y="311"/>
                  </a:lnTo>
                  <a:lnTo>
                    <a:pt x="2327" y="308"/>
                  </a:lnTo>
                  <a:lnTo>
                    <a:pt x="2329" y="308"/>
                  </a:lnTo>
                  <a:lnTo>
                    <a:pt x="2332" y="307"/>
                  </a:lnTo>
                  <a:lnTo>
                    <a:pt x="2337" y="303"/>
                  </a:lnTo>
                  <a:lnTo>
                    <a:pt x="2338" y="301"/>
                  </a:lnTo>
                  <a:lnTo>
                    <a:pt x="2346" y="299"/>
                  </a:lnTo>
                  <a:lnTo>
                    <a:pt x="2347" y="301"/>
                  </a:lnTo>
                  <a:lnTo>
                    <a:pt x="2351" y="299"/>
                  </a:lnTo>
                  <a:lnTo>
                    <a:pt x="2358" y="301"/>
                  </a:lnTo>
                  <a:lnTo>
                    <a:pt x="2362" y="301"/>
                  </a:lnTo>
                  <a:lnTo>
                    <a:pt x="2365" y="301"/>
                  </a:lnTo>
                  <a:lnTo>
                    <a:pt x="2371" y="303"/>
                  </a:lnTo>
                  <a:lnTo>
                    <a:pt x="2373" y="308"/>
                  </a:lnTo>
                  <a:lnTo>
                    <a:pt x="2375" y="315"/>
                  </a:lnTo>
                  <a:lnTo>
                    <a:pt x="2379" y="315"/>
                  </a:lnTo>
                  <a:lnTo>
                    <a:pt x="2380" y="316"/>
                  </a:lnTo>
                  <a:lnTo>
                    <a:pt x="2383" y="320"/>
                  </a:lnTo>
                  <a:lnTo>
                    <a:pt x="2383" y="324"/>
                  </a:lnTo>
                  <a:lnTo>
                    <a:pt x="2385" y="324"/>
                  </a:lnTo>
                  <a:lnTo>
                    <a:pt x="2387" y="325"/>
                  </a:lnTo>
                  <a:lnTo>
                    <a:pt x="2393" y="325"/>
                  </a:lnTo>
                  <a:lnTo>
                    <a:pt x="2396" y="333"/>
                  </a:lnTo>
                  <a:lnTo>
                    <a:pt x="2401" y="337"/>
                  </a:lnTo>
                  <a:lnTo>
                    <a:pt x="2404" y="337"/>
                  </a:lnTo>
                  <a:lnTo>
                    <a:pt x="2405" y="334"/>
                  </a:lnTo>
                  <a:lnTo>
                    <a:pt x="2410" y="334"/>
                  </a:lnTo>
                  <a:lnTo>
                    <a:pt x="2411" y="334"/>
                  </a:lnTo>
                  <a:lnTo>
                    <a:pt x="2415" y="337"/>
                  </a:lnTo>
                  <a:lnTo>
                    <a:pt x="2419" y="337"/>
                  </a:lnTo>
                  <a:lnTo>
                    <a:pt x="2426" y="338"/>
                  </a:lnTo>
                  <a:lnTo>
                    <a:pt x="2429" y="343"/>
                  </a:lnTo>
                  <a:lnTo>
                    <a:pt x="2437" y="346"/>
                  </a:lnTo>
                  <a:lnTo>
                    <a:pt x="2440" y="346"/>
                  </a:lnTo>
                  <a:lnTo>
                    <a:pt x="2446" y="344"/>
                  </a:lnTo>
                  <a:lnTo>
                    <a:pt x="2450" y="344"/>
                  </a:lnTo>
                  <a:lnTo>
                    <a:pt x="2457" y="343"/>
                  </a:lnTo>
                  <a:lnTo>
                    <a:pt x="2462" y="343"/>
                  </a:lnTo>
                  <a:lnTo>
                    <a:pt x="2465" y="338"/>
                  </a:lnTo>
                  <a:lnTo>
                    <a:pt x="2473" y="324"/>
                  </a:lnTo>
                  <a:lnTo>
                    <a:pt x="2475" y="316"/>
                  </a:lnTo>
                  <a:lnTo>
                    <a:pt x="2485" y="308"/>
                  </a:lnTo>
                  <a:lnTo>
                    <a:pt x="2493" y="301"/>
                  </a:lnTo>
                  <a:lnTo>
                    <a:pt x="2503" y="299"/>
                  </a:lnTo>
                  <a:lnTo>
                    <a:pt x="2507" y="299"/>
                  </a:lnTo>
                  <a:lnTo>
                    <a:pt x="2512" y="294"/>
                  </a:lnTo>
                  <a:lnTo>
                    <a:pt x="2517" y="294"/>
                  </a:lnTo>
                  <a:lnTo>
                    <a:pt x="2523" y="294"/>
                  </a:lnTo>
                  <a:lnTo>
                    <a:pt x="2528" y="289"/>
                  </a:lnTo>
                  <a:lnTo>
                    <a:pt x="2531" y="286"/>
                  </a:lnTo>
                  <a:lnTo>
                    <a:pt x="2533" y="286"/>
                  </a:lnTo>
                  <a:lnTo>
                    <a:pt x="2535" y="286"/>
                  </a:lnTo>
                  <a:lnTo>
                    <a:pt x="2536" y="284"/>
                  </a:lnTo>
                  <a:lnTo>
                    <a:pt x="2540" y="286"/>
                  </a:lnTo>
                  <a:lnTo>
                    <a:pt x="2547" y="288"/>
                  </a:lnTo>
                  <a:lnTo>
                    <a:pt x="2550" y="288"/>
                  </a:lnTo>
                  <a:lnTo>
                    <a:pt x="2554" y="281"/>
                  </a:lnTo>
                  <a:lnTo>
                    <a:pt x="2557" y="286"/>
                  </a:lnTo>
                  <a:lnTo>
                    <a:pt x="2561" y="288"/>
                  </a:lnTo>
                  <a:lnTo>
                    <a:pt x="2570" y="288"/>
                  </a:lnTo>
                  <a:lnTo>
                    <a:pt x="2572" y="289"/>
                  </a:lnTo>
                  <a:lnTo>
                    <a:pt x="2578" y="289"/>
                  </a:lnTo>
                  <a:lnTo>
                    <a:pt x="2581" y="294"/>
                  </a:lnTo>
                  <a:lnTo>
                    <a:pt x="2583" y="289"/>
                  </a:lnTo>
                  <a:lnTo>
                    <a:pt x="2586" y="289"/>
                  </a:lnTo>
                  <a:lnTo>
                    <a:pt x="2595" y="294"/>
                  </a:lnTo>
                  <a:lnTo>
                    <a:pt x="2598" y="294"/>
                  </a:lnTo>
                  <a:lnTo>
                    <a:pt x="2600" y="294"/>
                  </a:lnTo>
                  <a:lnTo>
                    <a:pt x="2603" y="294"/>
                  </a:lnTo>
                  <a:lnTo>
                    <a:pt x="2604" y="289"/>
                  </a:lnTo>
                  <a:lnTo>
                    <a:pt x="2610" y="289"/>
                  </a:lnTo>
                  <a:lnTo>
                    <a:pt x="2615" y="286"/>
                  </a:lnTo>
                  <a:lnTo>
                    <a:pt x="2617" y="286"/>
                  </a:lnTo>
                  <a:lnTo>
                    <a:pt x="2621" y="281"/>
                  </a:lnTo>
                  <a:lnTo>
                    <a:pt x="2628" y="281"/>
                  </a:lnTo>
                  <a:lnTo>
                    <a:pt x="2633" y="276"/>
                  </a:lnTo>
                  <a:lnTo>
                    <a:pt x="2639" y="273"/>
                  </a:lnTo>
                  <a:lnTo>
                    <a:pt x="2640" y="267"/>
                  </a:lnTo>
                  <a:lnTo>
                    <a:pt x="2645" y="266"/>
                  </a:lnTo>
                  <a:lnTo>
                    <a:pt x="2647" y="263"/>
                  </a:lnTo>
                  <a:lnTo>
                    <a:pt x="2651" y="258"/>
                  </a:lnTo>
                  <a:lnTo>
                    <a:pt x="2654" y="257"/>
                  </a:lnTo>
                  <a:lnTo>
                    <a:pt x="2657" y="254"/>
                  </a:lnTo>
                  <a:lnTo>
                    <a:pt x="2662" y="254"/>
                  </a:lnTo>
                  <a:lnTo>
                    <a:pt x="2664" y="253"/>
                  </a:lnTo>
                  <a:lnTo>
                    <a:pt x="2671" y="254"/>
                  </a:lnTo>
                  <a:lnTo>
                    <a:pt x="2675" y="250"/>
                  </a:lnTo>
                  <a:lnTo>
                    <a:pt x="2679" y="249"/>
                  </a:lnTo>
                  <a:lnTo>
                    <a:pt x="2683" y="245"/>
                  </a:lnTo>
                  <a:lnTo>
                    <a:pt x="2693" y="245"/>
                  </a:lnTo>
                  <a:lnTo>
                    <a:pt x="2699" y="241"/>
                  </a:lnTo>
                  <a:lnTo>
                    <a:pt x="2703" y="241"/>
                  </a:lnTo>
                  <a:lnTo>
                    <a:pt x="2715" y="237"/>
                  </a:lnTo>
                  <a:lnTo>
                    <a:pt x="2718" y="237"/>
                  </a:lnTo>
                  <a:lnTo>
                    <a:pt x="2725" y="236"/>
                  </a:lnTo>
                  <a:lnTo>
                    <a:pt x="2732" y="232"/>
                  </a:lnTo>
                  <a:lnTo>
                    <a:pt x="2733" y="232"/>
                  </a:lnTo>
                  <a:lnTo>
                    <a:pt x="2737" y="222"/>
                  </a:lnTo>
                  <a:lnTo>
                    <a:pt x="2742" y="221"/>
                  </a:lnTo>
                  <a:lnTo>
                    <a:pt x="2750" y="209"/>
                  </a:lnTo>
                  <a:lnTo>
                    <a:pt x="2754" y="205"/>
                  </a:lnTo>
                  <a:lnTo>
                    <a:pt x="2760" y="200"/>
                  </a:lnTo>
                  <a:lnTo>
                    <a:pt x="2760" y="192"/>
                  </a:lnTo>
                  <a:lnTo>
                    <a:pt x="2763" y="183"/>
                  </a:lnTo>
                  <a:lnTo>
                    <a:pt x="2764" y="174"/>
                  </a:lnTo>
                  <a:lnTo>
                    <a:pt x="2760" y="172"/>
                  </a:lnTo>
                  <a:lnTo>
                    <a:pt x="2756" y="170"/>
                  </a:lnTo>
                  <a:lnTo>
                    <a:pt x="2756" y="164"/>
                  </a:lnTo>
                  <a:lnTo>
                    <a:pt x="2753" y="159"/>
                  </a:lnTo>
                  <a:lnTo>
                    <a:pt x="2757" y="151"/>
                  </a:lnTo>
                  <a:lnTo>
                    <a:pt x="2757" y="143"/>
                  </a:lnTo>
                  <a:lnTo>
                    <a:pt x="2761" y="138"/>
                  </a:lnTo>
                  <a:lnTo>
                    <a:pt x="2761" y="134"/>
                  </a:lnTo>
                  <a:lnTo>
                    <a:pt x="2761" y="133"/>
                  </a:lnTo>
                  <a:lnTo>
                    <a:pt x="2767" y="125"/>
                  </a:lnTo>
                  <a:lnTo>
                    <a:pt x="2768" y="125"/>
                  </a:lnTo>
                  <a:lnTo>
                    <a:pt x="2772" y="125"/>
                  </a:lnTo>
                  <a:lnTo>
                    <a:pt x="2776" y="121"/>
                  </a:lnTo>
                  <a:lnTo>
                    <a:pt x="2778" y="116"/>
                  </a:lnTo>
                  <a:lnTo>
                    <a:pt x="2781" y="112"/>
                  </a:lnTo>
                  <a:lnTo>
                    <a:pt x="2784" y="108"/>
                  </a:lnTo>
                  <a:lnTo>
                    <a:pt x="2785" y="93"/>
                  </a:lnTo>
                  <a:lnTo>
                    <a:pt x="2792" y="89"/>
                  </a:lnTo>
                  <a:lnTo>
                    <a:pt x="2793" y="89"/>
                  </a:lnTo>
                  <a:lnTo>
                    <a:pt x="2795" y="85"/>
                  </a:lnTo>
                  <a:lnTo>
                    <a:pt x="2793" y="79"/>
                  </a:lnTo>
                  <a:lnTo>
                    <a:pt x="2793" y="71"/>
                  </a:lnTo>
                  <a:lnTo>
                    <a:pt x="2795" y="67"/>
                  </a:lnTo>
                  <a:lnTo>
                    <a:pt x="2795" y="62"/>
                  </a:lnTo>
                  <a:lnTo>
                    <a:pt x="2796" y="56"/>
                  </a:lnTo>
                  <a:lnTo>
                    <a:pt x="2796" y="45"/>
                  </a:lnTo>
                  <a:lnTo>
                    <a:pt x="2796" y="41"/>
                  </a:lnTo>
                  <a:lnTo>
                    <a:pt x="2797" y="35"/>
                  </a:lnTo>
                  <a:lnTo>
                    <a:pt x="2803" y="39"/>
                  </a:lnTo>
                  <a:lnTo>
                    <a:pt x="2807" y="35"/>
                  </a:lnTo>
                  <a:lnTo>
                    <a:pt x="2810" y="35"/>
                  </a:lnTo>
                  <a:lnTo>
                    <a:pt x="2818" y="35"/>
                  </a:lnTo>
                  <a:lnTo>
                    <a:pt x="2820" y="35"/>
                  </a:lnTo>
                  <a:lnTo>
                    <a:pt x="2820" y="31"/>
                  </a:lnTo>
                  <a:lnTo>
                    <a:pt x="2822" y="30"/>
                  </a:lnTo>
                  <a:lnTo>
                    <a:pt x="2825" y="30"/>
                  </a:lnTo>
                  <a:lnTo>
                    <a:pt x="2828" y="23"/>
                  </a:lnTo>
                  <a:lnTo>
                    <a:pt x="2828" y="21"/>
                  </a:lnTo>
                  <a:lnTo>
                    <a:pt x="2834" y="18"/>
                  </a:lnTo>
                  <a:lnTo>
                    <a:pt x="2841" y="14"/>
                  </a:lnTo>
                  <a:lnTo>
                    <a:pt x="2849" y="17"/>
                  </a:lnTo>
                  <a:lnTo>
                    <a:pt x="2852" y="14"/>
                  </a:lnTo>
                  <a:lnTo>
                    <a:pt x="2855" y="9"/>
                  </a:lnTo>
                  <a:lnTo>
                    <a:pt x="2859" y="8"/>
                  </a:lnTo>
                  <a:lnTo>
                    <a:pt x="2861" y="5"/>
                  </a:lnTo>
                  <a:lnTo>
                    <a:pt x="2864" y="1"/>
                  </a:lnTo>
                  <a:lnTo>
                    <a:pt x="2867" y="5"/>
                  </a:lnTo>
                  <a:lnTo>
                    <a:pt x="2872" y="0"/>
                  </a:lnTo>
                  <a:lnTo>
                    <a:pt x="2875" y="0"/>
                  </a:lnTo>
                  <a:lnTo>
                    <a:pt x="2878" y="0"/>
                  </a:lnTo>
                  <a:lnTo>
                    <a:pt x="2881" y="0"/>
                  </a:lnTo>
                  <a:lnTo>
                    <a:pt x="2884" y="0"/>
                  </a:lnTo>
                  <a:lnTo>
                    <a:pt x="2888" y="0"/>
                  </a:lnTo>
                  <a:lnTo>
                    <a:pt x="2891" y="0"/>
                  </a:lnTo>
                  <a:lnTo>
                    <a:pt x="2894" y="5"/>
                  </a:lnTo>
                  <a:lnTo>
                    <a:pt x="2900" y="9"/>
                  </a:lnTo>
                  <a:lnTo>
                    <a:pt x="2903" y="9"/>
                  </a:lnTo>
                  <a:lnTo>
                    <a:pt x="2909" y="9"/>
                  </a:lnTo>
                  <a:lnTo>
                    <a:pt x="2910" y="9"/>
                  </a:lnTo>
                  <a:lnTo>
                    <a:pt x="2913" y="9"/>
                  </a:lnTo>
                  <a:lnTo>
                    <a:pt x="2917" y="5"/>
                  </a:lnTo>
                  <a:lnTo>
                    <a:pt x="2922" y="1"/>
                  </a:lnTo>
                  <a:lnTo>
                    <a:pt x="2927" y="1"/>
                  </a:lnTo>
                  <a:lnTo>
                    <a:pt x="2932" y="5"/>
                  </a:lnTo>
                  <a:lnTo>
                    <a:pt x="2939" y="9"/>
                  </a:lnTo>
                  <a:lnTo>
                    <a:pt x="2941" y="9"/>
                  </a:lnTo>
                  <a:lnTo>
                    <a:pt x="2947" y="13"/>
                  </a:lnTo>
                  <a:lnTo>
                    <a:pt x="2949" y="9"/>
                  </a:lnTo>
                  <a:lnTo>
                    <a:pt x="2952" y="9"/>
                  </a:lnTo>
                  <a:lnTo>
                    <a:pt x="2957" y="9"/>
                  </a:lnTo>
                  <a:lnTo>
                    <a:pt x="2960" y="9"/>
                  </a:lnTo>
                  <a:lnTo>
                    <a:pt x="2967" y="9"/>
                  </a:lnTo>
                  <a:lnTo>
                    <a:pt x="2974" y="14"/>
                  </a:lnTo>
                  <a:lnTo>
                    <a:pt x="2980" y="14"/>
                  </a:lnTo>
                  <a:lnTo>
                    <a:pt x="2994" y="9"/>
                  </a:lnTo>
                  <a:lnTo>
                    <a:pt x="2996" y="8"/>
                  </a:lnTo>
                  <a:lnTo>
                    <a:pt x="3007" y="5"/>
                  </a:lnTo>
                  <a:lnTo>
                    <a:pt x="3009" y="1"/>
                  </a:lnTo>
                  <a:lnTo>
                    <a:pt x="3014" y="0"/>
                  </a:lnTo>
                  <a:lnTo>
                    <a:pt x="3022" y="0"/>
                  </a:lnTo>
                  <a:lnTo>
                    <a:pt x="3024" y="0"/>
                  </a:lnTo>
                  <a:lnTo>
                    <a:pt x="3028" y="1"/>
                  </a:lnTo>
                  <a:lnTo>
                    <a:pt x="3031" y="5"/>
                  </a:lnTo>
                  <a:lnTo>
                    <a:pt x="3034" y="14"/>
                  </a:lnTo>
                  <a:lnTo>
                    <a:pt x="3035" y="14"/>
                  </a:lnTo>
                  <a:lnTo>
                    <a:pt x="3041" y="17"/>
                  </a:lnTo>
                  <a:lnTo>
                    <a:pt x="3042" y="18"/>
                  </a:lnTo>
                  <a:lnTo>
                    <a:pt x="3045" y="22"/>
                  </a:lnTo>
                  <a:lnTo>
                    <a:pt x="3052" y="22"/>
                  </a:lnTo>
                  <a:lnTo>
                    <a:pt x="3055" y="18"/>
                  </a:lnTo>
                  <a:lnTo>
                    <a:pt x="3059" y="17"/>
                  </a:lnTo>
                  <a:lnTo>
                    <a:pt x="3063" y="18"/>
                  </a:lnTo>
                  <a:lnTo>
                    <a:pt x="3070" y="17"/>
                  </a:lnTo>
                  <a:lnTo>
                    <a:pt x="3078" y="18"/>
                  </a:lnTo>
                  <a:lnTo>
                    <a:pt x="3082" y="18"/>
                  </a:lnTo>
                  <a:lnTo>
                    <a:pt x="3087" y="14"/>
                  </a:lnTo>
                  <a:lnTo>
                    <a:pt x="3094" y="14"/>
                  </a:lnTo>
                  <a:lnTo>
                    <a:pt x="3095" y="17"/>
                  </a:lnTo>
                  <a:lnTo>
                    <a:pt x="3095" y="18"/>
                  </a:lnTo>
                  <a:lnTo>
                    <a:pt x="3098" y="22"/>
                  </a:lnTo>
                  <a:lnTo>
                    <a:pt x="3099" y="22"/>
                  </a:lnTo>
                  <a:lnTo>
                    <a:pt x="3101" y="22"/>
                  </a:lnTo>
                  <a:lnTo>
                    <a:pt x="3104" y="22"/>
                  </a:lnTo>
                  <a:lnTo>
                    <a:pt x="3105" y="22"/>
                  </a:lnTo>
                  <a:lnTo>
                    <a:pt x="3106" y="22"/>
                  </a:lnTo>
                  <a:lnTo>
                    <a:pt x="3107" y="23"/>
                  </a:lnTo>
                  <a:lnTo>
                    <a:pt x="3110" y="22"/>
                  </a:lnTo>
                  <a:lnTo>
                    <a:pt x="3112" y="28"/>
                  </a:lnTo>
                  <a:lnTo>
                    <a:pt x="3117" y="28"/>
                  </a:lnTo>
                  <a:lnTo>
                    <a:pt x="3123" y="18"/>
                  </a:lnTo>
                  <a:lnTo>
                    <a:pt x="3130" y="22"/>
                  </a:lnTo>
                  <a:lnTo>
                    <a:pt x="3132" y="23"/>
                  </a:lnTo>
                  <a:lnTo>
                    <a:pt x="3135" y="28"/>
                  </a:lnTo>
                  <a:lnTo>
                    <a:pt x="3141" y="22"/>
                  </a:lnTo>
                  <a:lnTo>
                    <a:pt x="3142" y="22"/>
                  </a:lnTo>
                  <a:lnTo>
                    <a:pt x="3146" y="23"/>
                  </a:lnTo>
                  <a:lnTo>
                    <a:pt x="3146" y="30"/>
                  </a:lnTo>
                  <a:lnTo>
                    <a:pt x="3151" y="31"/>
                  </a:lnTo>
                  <a:lnTo>
                    <a:pt x="3149" y="35"/>
                  </a:lnTo>
                  <a:lnTo>
                    <a:pt x="3152" y="41"/>
                  </a:lnTo>
                  <a:lnTo>
                    <a:pt x="3152" y="48"/>
                  </a:lnTo>
                  <a:lnTo>
                    <a:pt x="3152" y="53"/>
                  </a:lnTo>
                  <a:lnTo>
                    <a:pt x="3152" y="58"/>
                  </a:lnTo>
                  <a:lnTo>
                    <a:pt x="3157" y="63"/>
                  </a:lnTo>
                  <a:lnTo>
                    <a:pt x="3162" y="62"/>
                  </a:lnTo>
                  <a:lnTo>
                    <a:pt x="3163" y="58"/>
                  </a:lnTo>
                  <a:lnTo>
                    <a:pt x="3170" y="58"/>
                  </a:lnTo>
                  <a:lnTo>
                    <a:pt x="3176" y="56"/>
                  </a:lnTo>
                  <a:lnTo>
                    <a:pt x="3187" y="56"/>
                  </a:lnTo>
                  <a:lnTo>
                    <a:pt x="3191" y="58"/>
                  </a:lnTo>
                  <a:lnTo>
                    <a:pt x="3196" y="62"/>
                  </a:lnTo>
                  <a:lnTo>
                    <a:pt x="3198" y="63"/>
                  </a:lnTo>
                  <a:lnTo>
                    <a:pt x="3201" y="67"/>
                  </a:lnTo>
                  <a:lnTo>
                    <a:pt x="3205" y="67"/>
                  </a:lnTo>
                  <a:lnTo>
                    <a:pt x="3206" y="71"/>
                  </a:lnTo>
                  <a:lnTo>
                    <a:pt x="3207" y="71"/>
                  </a:lnTo>
                  <a:lnTo>
                    <a:pt x="3207" y="76"/>
                  </a:lnTo>
                  <a:lnTo>
                    <a:pt x="3221" y="92"/>
                  </a:lnTo>
                  <a:lnTo>
                    <a:pt x="3227" y="93"/>
                  </a:lnTo>
                  <a:lnTo>
                    <a:pt x="3229" y="97"/>
                  </a:lnTo>
                  <a:lnTo>
                    <a:pt x="3229" y="101"/>
                  </a:lnTo>
                  <a:lnTo>
                    <a:pt x="3232" y="103"/>
                  </a:lnTo>
                  <a:lnTo>
                    <a:pt x="3238" y="103"/>
                  </a:lnTo>
                  <a:lnTo>
                    <a:pt x="3246" y="103"/>
                  </a:lnTo>
                  <a:lnTo>
                    <a:pt x="3251" y="107"/>
                  </a:lnTo>
                  <a:lnTo>
                    <a:pt x="3258" y="108"/>
                  </a:lnTo>
                  <a:lnTo>
                    <a:pt x="3262" y="108"/>
                  </a:lnTo>
                  <a:lnTo>
                    <a:pt x="3266" y="107"/>
                  </a:lnTo>
                  <a:lnTo>
                    <a:pt x="3271" y="108"/>
                  </a:lnTo>
                  <a:lnTo>
                    <a:pt x="3274" y="108"/>
                  </a:lnTo>
                  <a:lnTo>
                    <a:pt x="3276" y="112"/>
                  </a:lnTo>
                  <a:lnTo>
                    <a:pt x="3276" y="116"/>
                  </a:lnTo>
                  <a:lnTo>
                    <a:pt x="3279" y="120"/>
                  </a:lnTo>
                  <a:lnTo>
                    <a:pt x="3288" y="125"/>
                  </a:lnTo>
                  <a:lnTo>
                    <a:pt x="3291" y="129"/>
                  </a:lnTo>
                  <a:lnTo>
                    <a:pt x="3294" y="129"/>
                  </a:lnTo>
                  <a:lnTo>
                    <a:pt x="3296" y="133"/>
                  </a:lnTo>
                  <a:lnTo>
                    <a:pt x="3299" y="129"/>
                  </a:lnTo>
                  <a:lnTo>
                    <a:pt x="3301" y="129"/>
                  </a:lnTo>
                  <a:lnTo>
                    <a:pt x="3306" y="129"/>
                  </a:lnTo>
                  <a:lnTo>
                    <a:pt x="3308" y="129"/>
                  </a:lnTo>
                  <a:lnTo>
                    <a:pt x="3313" y="129"/>
                  </a:lnTo>
                  <a:lnTo>
                    <a:pt x="3320" y="133"/>
                  </a:lnTo>
                  <a:lnTo>
                    <a:pt x="3319" y="137"/>
                  </a:lnTo>
                  <a:lnTo>
                    <a:pt x="3312" y="147"/>
                  </a:lnTo>
                  <a:close/>
                </a:path>
              </a:pathLst>
            </a:custGeom>
            <a:solidFill>
              <a:srgbClr val="BD81B9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pt-PT" sz="1200">
                <a:solidFill>
                  <a:srgbClr val="FFFFFF"/>
                </a:solidFill>
              </a:endParaRPr>
            </a:p>
          </p:txBody>
        </p:sp>
        <p:sp>
          <p:nvSpPr>
            <p:cNvPr id="417" name="Freeform 416"/>
            <p:cNvSpPr>
              <a:spLocks noEditPoints="1"/>
            </p:cNvSpPr>
            <p:nvPr/>
          </p:nvSpPr>
          <p:spPr bwMode="auto">
            <a:xfrm>
              <a:off x="5307502" y="1614522"/>
              <a:ext cx="445380" cy="800186"/>
            </a:xfrm>
            <a:custGeom>
              <a:avLst/>
              <a:gdLst>
                <a:gd name="T0" fmla="*/ 2047 w 2234"/>
                <a:gd name="T1" fmla="*/ 258 h 2965"/>
                <a:gd name="T2" fmla="*/ 2054 w 2234"/>
                <a:gd name="T3" fmla="*/ 382 h 2965"/>
                <a:gd name="T4" fmla="*/ 2068 w 2234"/>
                <a:gd name="T5" fmla="*/ 430 h 2965"/>
                <a:gd name="T6" fmla="*/ 1997 w 2234"/>
                <a:gd name="T7" fmla="*/ 640 h 2965"/>
                <a:gd name="T8" fmla="*/ 1976 w 2234"/>
                <a:gd name="T9" fmla="*/ 711 h 2965"/>
                <a:gd name="T10" fmla="*/ 2024 w 2234"/>
                <a:gd name="T11" fmla="*/ 800 h 2965"/>
                <a:gd name="T12" fmla="*/ 2012 w 2234"/>
                <a:gd name="T13" fmla="*/ 943 h 2965"/>
                <a:gd name="T14" fmla="*/ 2030 w 2234"/>
                <a:gd name="T15" fmla="*/ 1058 h 2965"/>
                <a:gd name="T16" fmla="*/ 2064 w 2234"/>
                <a:gd name="T17" fmla="*/ 1250 h 2965"/>
                <a:gd name="T18" fmla="*/ 2035 w 2234"/>
                <a:gd name="T19" fmla="*/ 1428 h 2965"/>
                <a:gd name="T20" fmla="*/ 2054 w 2234"/>
                <a:gd name="T21" fmla="*/ 1504 h 2965"/>
                <a:gd name="T22" fmla="*/ 2079 w 2234"/>
                <a:gd name="T23" fmla="*/ 1539 h 2965"/>
                <a:gd name="T24" fmla="*/ 2054 w 2234"/>
                <a:gd name="T25" fmla="*/ 1601 h 2965"/>
                <a:gd name="T26" fmla="*/ 2043 w 2234"/>
                <a:gd name="T27" fmla="*/ 1647 h 2965"/>
                <a:gd name="T28" fmla="*/ 2107 w 2234"/>
                <a:gd name="T29" fmla="*/ 1700 h 2965"/>
                <a:gd name="T30" fmla="*/ 2121 w 2234"/>
                <a:gd name="T31" fmla="*/ 1793 h 2965"/>
                <a:gd name="T32" fmla="*/ 2146 w 2234"/>
                <a:gd name="T33" fmla="*/ 1832 h 2965"/>
                <a:gd name="T34" fmla="*/ 2100 w 2234"/>
                <a:gd name="T35" fmla="*/ 1898 h 2965"/>
                <a:gd name="T36" fmla="*/ 2008 w 2234"/>
                <a:gd name="T37" fmla="*/ 1953 h 2965"/>
                <a:gd name="T38" fmla="*/ 2007 w 2234"/>
                <a:gd name="T39" fmla="*/ 2033 h 2965"/>
                <a:gd name="T40" fmla="*/ 2069 w 2234"/>
                <a:gd name="T41" fmla="*/ 2030 h 2965"/>
                <a:gd name="T42" fmla="*/ 2105 w 2234"/>
                <a:gd name="T43" fmla="*/ 2211 h 2965"/>
                <a:gd name="T44" fmla="*/ 2022 w 2234"/>
                <a:gd name="T45" fmla="*/ 2435 h 2965"/>
                <a:gd name="T46" fmla="*/ 1791 w 2234"/>
                <a:gd name="T47" fmla="*/ 2402 h 2965"/>
                <a:gd name="T48" fmla="*/ 1549 w 2234"/>
                <a:gd name="T49" fmla="*/ 2568 h 2965"/>
                <a:gd name="T50" fmla="*/ 1323 w 2234"/>
                <a:gd name="T51" fmla="*/ 2630 h 2965"/>
                <a:gd name="T52" fmla="*/ 1147 w 2234"/>
                <a:gd name="T53" fmla="*/ 2725 h 2965"/>
                <a:gd name="T54" fmla="*/ 923 w 2234"/>
                <a:gd name="T55" fmla="*/ 2809 h 2965"/>
                <a:gd name="T56" fmla="*/ 622 w 2234"/>
                <a:gd name="T57" fmla="*/ 2959 h 2965"/>
                <a:gd name="T58" fmla="*/ 356 w 2234"/>
                <a:gd name="T59" fmla="*/ 2920 h 2965"/>
                <a:gd name="T60" fmla="*/ 259 w 2234"/>
                <a:gd name="T61" fmla="*/ 2780 h 2965"/>
                <a:gd name="T62" fmla="*/ 180 w 2234"/>
                <a:gd name="T63" fmla="*/ 2629 h 2965"/>
                <a:gd name="T64" fmla="*/ 115 w 2234"/>
                <a:gd name="T65" fmla="*/ 2332 h 2965"/>
                <a:gd name="T66" fmla="*/ 202 w 2234"/>
                <a:gd name="T67" fmla="*/ 2231 h 2965"/>
                <a:gd name="T68" fmla="*/ 209 w 2234"/>
                <a:gd name="T69" fmla="*/ 2121 h 2965"/>
                <a:gd name="T70" fmla="*/ 37 w 2234"/>
                <a:gd name="T71" fmla="*/ 2025 h 2965"/>
                <a:gd name="T72" fmla="*/ 84 w 2234"/>
                <a:gd name="T73" fmla="*/ 1834 h 2965"/>
                <a:gd name="T74" fmla="*/ 88 w 2234"/>
                <a:gd name="T75" fmla="*/ 1676 h 2965"/>
                <a:gd name="T76" fmla="*/ 182 w 2234"/>
                <a:gd name="T77" fmla="*/ 1521 h 2965"/>
                <a:gd name="T78" fmla="*/ 323 w 2234"/>
                <a:gd name="T79" fmla="*/ 1321 h 2965"/>
                <a:gd name="T80" fmla="*/ 378 w 2234"/>
                <a:gd name="T81" fmla="*/ 955 h 2965"/>
                <a:gd name="T82" fmla="*/ 540 w 2234"/>
                <a:gd name="T83" fmla="*/ 672 h 2965"/>
                <a:gd name="T84" fmla="*/ 753 w 2234"/>
                <a:gd name="T85" fmla="*/ 573 h 2965"/>
                <a:gd name="T86" fmla="*/ 914 w 2234"/>
                <a:gd name="T87" fmla="*/ 560 h 2965"/>
                <a:gd name="T88" fmla="*/ 1120 w 2234"/>
                <a:gd name="T89" fmla="*/ 520 h 2965"/>
                <a:gd name="T90" fmla="*/ 1351 w 2234"/>
                <a:gd name="T91" fmla="*/ 391 h 2965"/>
                <a:gd name="T92" fmla="*/ 1501 w 2234"/>
                <a:gd name="T93" fmla="*/ 346 h 2965"/>
                <a:gd name="T94" fmla="*/ 1727 w 2234"/>
                <a:gd name="T95" fmla="*/ 216 h 2965"/>
                <a:gd name="T96" fmla="*/ 1930 w 2234"/>
                <a:gd name="T97" fmla="*/ 83 h 2965"/>
                <a:gd name="T98" fmla="*/ 2065 w 2234"/>
                <a:gd name="T99" fmla="*/ 15 h 2965"/>
                <a:gd name="T100" fmla="*/ 2040 w 2234"/>
                <a:gd name="T101" fmla="*/ 65 h 2965"/>
                <a:gd name="T102" fmla="*/ 2172 w 2234"/>
                <a:gd name="T103" fmla="*/ 172 h 2965"/>
                <a:gd name="T104" fmla="*/ 2115 w 2234"/>
                <a:gd name="T105" fmla="*/ 1527 h 2965"/>
                <a:gd name="T106" fmla="*/ 2140 w 2234"/>
                <a:gd name="T107" fmla="*/ 1486 h 2965"/>
                <a:gd name="T108" fmla="*/ 2132 w 2234"/>
                <a:gd name="T109" fmla="*/ 1556 h 2965"/>
                <a:gd name="T110" fmla="*/ 2171 w 2234"/>
                <a:gd name="T111" fmla="*/ 453 h 2965"/>
                <a:gd name="T112" fmla="*/ 2193 w 2234"/>
                <a:gd name="T113" fmla="*/ 306 h 2965"/>
                <a:gd name="T114" fmla="*/ 2199 w 2234"/>
                <a:gd name="T115" fmla="*/ 560 h 2965"/>
                <a:gd name="T116" fmla="*/ 2058 w 2234"/>
                <a:gd name="T117" fmla="*/ 79 h 2965"/>
                <a:gd name="T118" fmla="*/ 2142 w 2234"/>
                <a:gd name="T119" fmla="*/ 1705 h 2965"/>
                <a:gd name="T120" fmla="*/ 2164 w 2234"/>
                <a:gd name="T121" fmla="*/ 355 h 2965"/>
                <a:gd name="T122" fmla="*/ 2050 w 2234"/>
                <a:gd name="T123" fmla="*/ 2065 h 2965"/>
                <a:gd name="T124" fmla="*/ 2052 w 2234"/>
                <a:gd name="T125" fmla="*/ 1529 h 296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34"/>
                <a:gd name="T190" fmla="*/ 0 h 2965"/>
                <a:gd name="T191" fmla="*/ 2234 w 2234"/>
                <a:gd name="T192" fmla="*/ 2965 h 296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34" h="2965">
                  <a:moveTo>
                    <a:pt x="2165" y="185"/>
                  </a:moveTo>
                  <a:lnTo>
                    <a:pt x="2162" y="185"/>
                  </a:lnTo>
                  <a:lnTo>
                    <a:pt x="2159" y="181"/>
                  </a:lnTo>
                  <a:lnTo>
                    <a:pt x="2153" y="180"/>
                  </a:lnTo>
                  <a:lnTo>
                    <a:pt x="2137" y="177"/>
                  </a:lnTo>
                  <a:lnTo>
                    <a:pt x="2132" y="177"/>
                  </a:lnTo>
                  <a:lnTo>
                    <a:pt x="2128" y="172"/>
                  </a:lnTo>
                  <a:lnTo>
                    <a:pt x="2124" y="172"/>
                  </a:lnTo>
                  <a:lnTo>
                    <a:pt x="2111" y="177"/>
                  </a:lnTo>
                  <a:lnTo>
                    <a:pt x="2101" y="185"/>
                  </a:lnTo>
                  <a:lnTo>
                    <a:pt x="2069" y="208"/>
                  </a:lnTo>
                  <a:lnTo>
                    <a:pt x="2065" y="208"/>
                  </a:lnTo>
                  <a:lnTo>
                    <a:pt x="2064" y="212"/>
                  </a:lnTo>
                  <a:lnTo>
                    <a:pt x="2064" y="208"/>
                  </a:lnTo>
                  <a:lnTo>
                    <a:pt x="2058" y="208"/>
                  </a:lnTo>
                  <a:lnTo>
                    <a:pt x="2061" y="212"/>
                  </a:lnTo>
                  <a:lnTo>
                    <a:pt x="2060" y="208"/>
                  </a:lnTo>
                  <a:lnTo>
                    <a:pt x="2060" y="212"/>
                  </a:lnTo>
                  <a:lnTo>
                    <a:pt x="2058" y="212"/>
                  </a:lnTo>
                  <a:lnTo>
                    <a:pt x="2058" y="213"/>
                  </a:lnTo>
                  <a:lnTo>
                    <a:pt x="2057" y="213"/>
                  </a:lnTo>
                  <a:lnTo>
                    <a:pt x="2055" y="208"/>
                  </a:lnTo>
                  <a:lnTo>
                    <a:pt x="2055" y="204"/>
                  </a:lnTo>
                  <a:lnTo>
                    <a:pt x="2057" y="208"/>
                  </a:lnTo>
                  <a:lnTo>
                    <a:pt x="2064" y="200"/>
                  </a:lnTo>
                  <a:lnTo>
                    <a:pt x="2060" y="200"/>
                  </a:lnTo>
                  <a:lnTo>
                    <a:pt x="2054" y="204"/>
                  </a:lnTo>
                  <a:lnTo>
                    <a:pt x="2054" y="208"/>
                  </a:lnTo>
                  <a:lnTo>
                    <a:pt x="2047" y="225"/>
                  </a:lnTo>
                  <a:lnTo>
                    <a:pt x="2047" y="230"/>
                  </a:lnTo>
                  <a:lnTo>
                    <a:pt x="2049" y="236"/>
                  </a:lnTo>
                  <a:lnTo>
                    <a:pt x="2047" y="236"/>
                  </a:lnTo>
                  <a:lnTo>
                    <a:pt x="2046" y="239"/>
                  </a:lnTo>
                  <a:lnTo>
                    <a:pt x="2050" y="253"/>
                  </a:lnTo>
                  <a:lnTo>
                    <a:pt x="2051" y="247"/>
                  </a:lnTo>
                  <a:lnTo>
                    <a:pt x="2051" y="253"/>
                  </a:lnTo>
                  <a:lnTo>
                    <a:pt x="2043" y="258"/>
                  </a:lnTo>
                  <a:lnTo>
                    <a:pt x="2044" y="261"/>
                  </a:lnTo>
                  <a:lnTo>
                    <a:pt x="2047" y="262"/>
                  </a:lnTo>
                  <a:lnTo>
                    <a:pt x="2047" y="258"/>
                  </a:lnTo>
                  <a:lnTo>
                    <a:pt x="2051" y="258"/>
                  </a:lnTo>
                  <a:lnTo>
                    <a:pt x="2052" y="253"/>
                  </a:lnTo>
                  <a:lnTo>
                    <a:pt x="2054" y="249"/>
                  </a:lnTo>
                  <a:lnTo>
                    <a:pt x="2051" y="239"/>
                  </a:lnTo>
                  <a:lnTo>
                    <a:pt x="2054" y="239"/>
                  </a:lnTo>
                  <a:lnTo>
                    <a:pt x="2058" y="239"/>
                  </a:lnTo>
                  <a:lnTo>
                    <a:pt x="2080" y="253"/>
                  </a:lnTo>
                  <a:lnTo>
                    <a:pt x="2117" y="275"/>
                  </a:lnTo>
                  <a:lnTo>
                    <a:pt x="2129" y="279"/>
                  </a:lnTo>
                  <a:lnTo>
                    <a:pt x="2146" y="283"/>
                  </a:lnTo>
                  <a:lnTo>
                    <a:pt x="2151" y="283"/>
                  </a:lnTo>
                  <a:lnTo>
                    <a:pt x="2154" y="284"/>
                  </a:lnTo>
                  <a:lnTo>
                    <a:pt x="2154" y="288"/>
                  </a:lnTo>
                  <a:lnTo>
                    <a:pt x="2142" y="296"/>
                  </a:lnTo>
                  <a:lnTo>
                    <a:pt x="2139" y="297"/>
                  </a:lnTo>
                  <a:lnTo>
                    <a:pt x="2142" y="297"/>
                  </a:lnTo>
                  <a:lnTo>
                    <a:pt x="2143" y="297"/>
                  </a:lnTo>
                  <a:lnTo>
                    <a:pt x="2143" y="301"/>
                  </a:lnTo>
                  <a:lnTo>
                    <a:pt x="2145" y="301"/>
                  </a:lnTo>
                  <a:lnTo>
                    <a:pt x="2145" y="297"/>
                  </a:lnTo>
                  <a:lnTo>
                    <a:pt x="2147" y="297"/>
                  </a:lnTo>
                  <a:lnTo>
                    <a:pt x="2149" y="293"/>
                  </a:lnTo>
                  <a:lnTo>
                    <a:pt x="2149" y="297"/>
                  </a:lnTo>
                  <a:lnTo>
                    <a:pt x="2132" y="314"/>
                  </a:lnTo>
                  <a:lnTo>
                    <a:pt x="2096" y="331"/>
                  </a:lnTo>
                  <a:lnTo>
                    <a:pt x="2072" y="350"/>
                  </a:lnTo>
                  <a:lnTo>
                    <a:pt x="2068" y="355"/>
                  </a:lnTo>
                  <a:lnTo>
                    <a:pt x="2068" y="359"/>
                  </a:lnTo>
                  <a:lnTo>
                    <a:pt x="2065" y="359"/>
                  </a:lnTo>
                  <a:lnTo>
                    <a:pt x="2066" y="363"/>
                  </a:lnTo>
                  <a:lnTo>
                    <a:pt x="2065" y="365"/>
                  </a:lnTo>
                  <a:lnTo>
                    <a:pt x="2064" y="363"/>
                  </a:lnTo>
                  <a:lnTo>
                    <a:pt x="2062" y="363"/>
                  </a:lnTo>
                  <a:lnTo>
                    <a:pt x="2061" y="367"/>
                  </a:lnTo>
                  <a:lnTo>
                    <a:pt x="2062" y="367"/>
                  </a:lnTo>
                  <a:lnTo>
                    <a:pt x="2055" y="373"/>
                  </a:lnTo>
                  <a:lnTo>
                    <a:pt x="2055" y="378"/>
                  </a:lnTo>
                  <a:lnTo>
                    <a:pt x="2057" y="380"/>
                  </a:lnTo>
                  <a:lnTo>
                    <a:pt x="2055" y="380"/>
                  </a:lnTo>
                  <a:lnTo>
                    <a:pt x="2054" y="382"/>
                  </a:lnTo>
                  <a:lnTo>
                    <a:pt x="2057" y="382"/>
                  </a:lnTo>
                  <a:lnTo>
                    <a:pt x="2058" y="382"/>
                  </a:lnTo>
                  <a:lnTo>
                    <a:pt x="2055" y="382"/>
                  </a:lnTo>
                  <a:lnTo>
                    <a:pt x="2057" y="387"/>
                  </a:lnTo>
                  <a:lnTo>
                    <a:pt x="2052" y="386"/>
                  </a:lnTo>
                  <a:lnTo>
                    <a:pt x="2052" y="387"/>
                  </a:lnTo>
                  <a:lnTo>
                    <a:pt x="2055" y="390"/>
                  </a:lnTo>
                  <a:lnTo>
                    <a:pt x="2054" y="391"/>
                  </a:lnTo>
                  <a:lnTo>
                    <a:pt x="2051" y="390"/>
                  </a:lnTo>
                  <a:lnTo>
                    <a:pt x="2051" y="395"/>
                  </a:lnTo>
                  <a:lnTo>
                    <a:pt x="2052" y="395"/>
                  </a:lnTo>
                  <a:lnTo>
                    <a:pt x="2052" y="391"/>
                  </a:lnTo>
                  <a:lnTo>
                    <a:pt x="2055" y="404"/>
                  </a:lnTo>
                  <a:lnTo>
                    <a:pt x="2058" y="404"/>
                  </a:lnTo>
                  <a:lnTo>
                    <a:pt x="2055" y="404"/>
                  </a:lnTo>
                  <a:lnTo>
                    <a:pt x="2054" y="408"/>
                  </a:lnTo>
                  <a:lnTo>
                    <a:pt x="2052" y="412"/>
                  </a:lnTo>
                  <a:lnTo>
                    <a:pt x="2050" y="412"/>
                  </a:lnTo>
                  <a:lnTo>
                    <a:pt x="2050" y="408"/>
                  </a:lnTo>
                  <a:lnTo>
                    <a:pt x="2054" y="404"/>
                  </a:lnTo>
                  <a:lnTo>
                    <a:pt x="2051" y="400"/>
                  </a:lnTo>
                  <a:lnTo>
                    <a:pt x="2051" y="404"/>
                  </a:lnTo>
                  <a:lnTo>
                    <a:pt x="2046" y="408"/>
                  </a:lnTo>
                  <a:lnTo>
                    <a:pt x="2044" y="423"/>
                  </a:lnTo>
                  <a:lnTo>
                    <a:pt x="2049" y="425"/>
                  </a:lnTo>
                  <a:lnTo>
                    <a:pt x="2055" y="421"/>
                  </a:lnTo>
                  <a:lnTo>
                    <a:pt x="2060" y="423"/>
                  </a:lnTo>
                  <a:lnTo>
                    <a:pt x="2061" y="421"/>
                  </a:lnTo>
                  <a:lnTo>
                    <a:pt x="2061" y="423"/>
                  </a:lnTo>
                  <a:lnTo>
                    <a:pt x="2060" y="427"/>
                  </a:lnTo>
                  <a:lnTo>
                    <a:pt x="2061" y="430"/>
                  </a:lnTo>
                  <a:lnTo>
                    <a:pt x="2065" y="438"/>
                  </a:lnTo>
                  <a:lnTo>
                    <a:pt x="2065" y="440"/>
                  </a:lnTo>
                  <a:lnTo>
                    <a:pt x="2066" y="440"/>
                  </a:lnTo>
                  <a:lnTo>
                    <a:pt x="2066" y="438"/>
                  </a:lnTo>
                  <a:lnTo>
                    <a:pt x="2066" y="436"/>
                  </a:lnTo>
                  <a:lnTo>
                    <a:pt x="2064" y="436"/>
                  </a:lnTo>
                  <a:lnTo>
                    <a:pt x="2064" y="427"/>
                  </a:lnTo>
                  <a:lnTo>
                    <a:pt x="2065" y="430"/>
                  </a:lnTo>
                  <a:lnTo>
                    <a:pt x="2068" y="430"/>
                  </a:lnTo>
                  <a:lnTo>
                    <a:pt x="2071" y="436"/>
                  </a:lnTo>
                  <a:lnTo>
                    <a:pt x="2078" y="436"/>
                  </a:lnTo>
                  <a:lnTo>
                    <a:pt x="2079" y="436"/>
                  </a:lnTo>
                  <a:lnTo>
                    <a:pt x="2076" y="435"/>
                  </a:lnTo>
                  <a:lnTo>
                    <a:pt x="2075" y="436"/>
                  </a:lnTo>
                  <a:lnTo>
                    <a:pt x="2074" y="435"/>
                  </a:lnTo>
                  <a:lnTo>
                    <a:pt x="2078" y="435"/>
                  </a:lnTo>
                  <a:lnTo>
                    <a:pt x="2086" y="438"/>
                  </a:lnTo>
                  <a:lnTo>
                    <a:pt x="2089" y="440"/>
                  </a:lnTo>
                  <a:lnTo>
                    <a:pt x="2091" y="440"/>
                  </a:lnTo>
                  <a:lnTo>
                    <a:pt x="2112" y="443"/>
                  </a:lnTo>
                  <a:lnTo>
                    <a:pt x="2112" y="449"/>
                  </a:lnTo>
                  <a:lnTo>
                    <a:pt x="2110" y="449"/>
                  </a:lnTo>
                  <a:lnTo>
                    <a:pt x="2111" y="457"/>
                  </a:lnTo>
                  <a:lnTo>
                    <a:pt x="2107" y="471"/>
                  </a:lnTo>
                  <a:lnTo>
                    <a:pt x="2108" y="471"/>
                  </a:lnTo>
                  <a:lnTo>
                    <a:pt x="2099" y="487"/>
                  </a:lnTo>
                  <a:lnTo>
                    <a:pt x="2085" y="502"/>
                  </a:lnTo>
                  <a:lnTo>
                    <a:pt x="2082" y="510"/>
                  </a:lnTo>
                  <a:lnTo>
                    <a:pt x="2061" y="529"/>
                  </a:lnTo>
                  <a:lnTo>
                    <a:pt x="2061" y="533"/>
                  </a:lnTo>
                  <a:lnTo>
                    <a:pt x="2054" y="537"/>
                  </a:lnTo>
                  <a:lnTo>
                    <a:pt x="2052" y="542"/>
                  </a:lnTo>
                  <a:lnTo>
                    <a:pt x="2051" y="552"/>
                  </a:lnTo>
                  <a:lnTo>
                    <a:pt x="2051" y="560"/>
                  </a:lnTo>
                  <a:lnTo>
                    <a:pt x="2054" y="567"/>
                  </a:lnTo>
                  <a:lnTo>
                    <a:pt x="2054" y="569"/>
                  </a:lnTo>
                  <a:lnTo>
                    <a:pt x="2061" y="573"/>
                  </a:lnTo>
                  <a:lnTo>
                    <a:pt x="2064" y="573"/>
                  </a:lnTo>
                  <a:lnTo>
                    <a:pt x="2066" y="578"/>
                  </a:lnTo>
                  <a:lnTo>
                    <a:pt x="2066" y="581"/>
                  </a:lnTo>
                  <a:lnTo>
                    <a:pt x="2050" y="587"/>
                  </a:lnTo>
                  <a:lnTo>
                    <a:pt x="2016" y="609"/>
                  </a:lnTo>
                  <a:lnTo>
                    <a:pt x="2008" y="609"/>
                  </a:lnTo>
                  <a:lnTo>
                    <a:pt x="2007" y="609"/>
                  </a:lnTo>
                  <a:lnTo>
                    <a:pt x="2005" y="614"/>
                  </a:lnTo>
                  <a:lnTo>
                    <a:pt x="2000" y="627"/>
                  </a:lnTo>
                  <a:lnTo>
                    <a:pt x="2000" y="636"/>
                  </a:lnTo>
                  <a:lnTo>
                    <a:pt x="1997" y="639"/>
                  </a:lnTo>
                  <a:lnTo>
                    <a:pt x="1997" y="640"/>
                  </a:lnTo>
                  <a:lnTo>
                    <a:pt x="1999" y="640"/>
                  </a:lnTo>
                  <a:lnTo>
                    <a:pt x="1997" y="644"/>
                  </a:lnTo>
                  <a:lnTo>
                    <a:pt x="1999" y="645"/>
                  </a:lnTo>
                  <a:lnTo>
                    <a:pt x="1997" y="645"/>
                  </a:lnTo>
                  <a:lnTo>
                    <a:pt x="1980" y="672"/>
                  </a:lnTo>
                  <a:lnTo>
                    <a:pt x="1962" y="689"/>
                  </a:lnTo>
                  <a:lnTo>
                    <a:pt x="1960" y="685"/>
                  </a:lnTo>
                  <a:lnTo>
                    <a:pt x="1960" y="681"/>
                  </a:lnTo>
                  <a:lnTo>
                    <a:pt x="1958" y="676"/>
                  </a:lnTo>
                  <a:lnTo>
                    <a:pt x="1957" y="676"/>
                  </a:lnTo>
                  <a:lnTo>
                    <a:pt x="1954" y="685"/>
                  </a:lnTo>
                  <a:lnTo>
                    <a:pt x="1950" y="685"/>
                  </a:lnTo>
                  <a:lnTo>
                    <a:pt x="1941" y="681"/>
                  </a:lnTo>
                  <a:lnTo>
                    <a:pt x="1940" y="676"/>
                  </a:lnTo>
                  <a:lnTo>
                    <a:pt x="1936" y="674"/>
                  </a:lnTo>
                  <a:lnTo>
                    <a:pt x="1929" y="674"/>
                  </a:lnTo>
                  <a:lnTo>
                    <a:pt x="1926" y="672"/>
                  </a:lnTo>
                  <a:lnTo>
                    <a:pt x="1924" y="670"/>
                  </a:lnTo>
                  <a:lnTo>
                    <a:pt x="1922" y="662"/>
                  </a:lnTo>
                  <a:lnTo>
                    <a:pt x="1918" y="662"/>
                  </a:lnTo>
                  <a:lnTo>
                    <a:pt x="1921" y="666"/>
                  </a:lnTo>
                  <a:lnTo>
                    <a:pt x="1922" y="672"/>
                  </a:lnTo>
                  <a:lnTo>
                    <a:pt x="1925" y="672"/>
                  </a:lnTo>
                  <a:lnTo>
                    <a:pt x="1926" y="676"/>
                  </a:lnTo>
                  <a:lnTo>
                    <a:pt x="1927" y="676"/>
                  </a:lnTo>
                  <a:lnTo>
                    <a:pt x="1936" y="676"/>
                  </a:lnTo>
                  <a:lnTo>
                    <a:pt x="1939" y="685"/>
                  </a:lnTo>
                  <a:lnTo>
                    <a:pt x="1943" y="687"/>
                  </a:lnTo>
                  <a:lnTo>
                    <a:pt x="1947" y="689"/>
                  </a:lnTo>
                  <a:lnTo>
                    <a:pt x="1951" y="698"/>
                  </a:lnTo>
                  <a:lnTo>
                    <a:pt x="1958" y="711"/>
                  </a:lnTo>
                  <a:lnTo>
                    <a:pt x="1957" y="716"/>
                  </a:lnTo>
                  <a:lnTo>
                    <a:pt x="1960" y="715"/>
                  </a:lnTo>
                  <a:lnTo>
                    <a:pt x="1960" y="711"/>
                  </a:lnTo>
                  <a:lnTo>
                    <a:pt x="1965" y="707"/>
                  </a:lnTo>
                  <a:lnTo>
                    <a:pt x="1966" y="707"/>
                  </a:lnTo>
                  <a:lnTo>
                    <a:pt x="1965" y="707"/>
                  </a:lnTo>
                  <a:lnTo>
                    <a:pt x="1971" y="702"/>
                  </a:lnTo>
                  <a:lnTo>
                    <a:pt x="1974" y="706"/>
                  </a:lnTo>
                  <a:lnTo>
                    <a:pt x="1976" y="711"/>
                  </a:lnTo>
                  <a:lnTo>
                    <a:pt x="1982" y="715"/>
                  </a:lnTo>
                  <a:lnTo>
                    <a:pt x="1983" y="716"/>
                  </a:lnTo>
                  <a:lnTo>
                    <a:pt x="1985" y="716"/>
                  </a:lnTo>
                  <a:lnTo>
                    <a:pt x="1990" y="724"/>
                  </a:lnTo>
                  <a:lnTo>
                    <a:pt x="1990" y="732"/>
                  </a:lnTo>
                  <a:lnTo>
                    <a:pt x="1991" y="734"/>
                  </a:lnTo>
                  <a:lnTo>
                    <a:pt x="1993" y="734"/>
                  </a:lnTo>
                  <a:lnTo>
                    <a:pt x="1996" y="738"/>
                  </a:lnTo>
                  <a:lnTo>
                    <a:pt x="1999" y="734"/>
                  </a:lnTo>
                  <a:lnTo>
                    <a:pt x="1997" y="741"/>
                  </a:lnTo>
                  <a:lnTo>
                    <a:pt x="1999" y="743"/>
                  </a:lnTo>
                  <a:lnTo>
                    <a:pt x="1999" y="755"/>
                  </a:lnTo>
                  <a:lnTo>
                    <a:pt x="2001" y="752"/>
                  </a:lnTo>
                  <a:lnTo>
                    <a:pt x="2002" y="756"/>
                  </a:lnTo>
                  <a:lnTo>
                    <a:pt x="2004" y="756"/>
                  </a:lnTo>
                  <a:lnTo>
                    <a:pt x="2002" y="755"/>
                  </a:lnTo>
                  <a:lnTo>
                    <a:pt x="2001" y="747"/>
                  </a:lnTo>
                  <a:lnTo>
                    <a:pt x="2005" y="743"/>
                  </a:lnTo>
                  <a:lnTo>
                    <a:pt x="2014" y="747"/>
                  </a:lnTo>
                  <a:lnTo>
                    <a:pt x="2015" y="747"/>
                  </a:lnTo>
                  <a:lnTo>
                    <a:pt x="2018" y="751"/>
                  </a:lnTo>
                  <a:lnTo>
                    <a:pt x="2016" y="755"/>
                  </a:lnTo>
                  <a:lnTo>
                    <a:pt x="2019" y="755"/>
                  </a:lnTo>
                  <a:lnTo>
                    <a:pt x="2021" y="752"/>
                  </a:lnTo>
                  <a:lnTo>
                    <a:pt x="2025" y="752"/>
                  </a:lnTo>
                  <a:lnTo>
                    <a:pt x="2022" y="747"/>
                  </a:lnTo>
                  <a:lnTo>
                    <a:pt x="2027" y="743"/>
                  </a:lnTo>
                  <a:lnTo>
                    <a:pt x="2035" y="745"/>
                  </a:lnTo>
                  <a:lnTo>
                    <a:pt x="2040" y="747"/>
                  </a:lnTo>
                  <a:lnTo>
                    <a:pt x="2033" y="760"/>
                  </a:lnTo>
                  <a:lnTo>
                    <a:pt x="2033" y="770"/>
                  </a:lnTo>
                  <a:lnTo>
                    <a:pt x="2030" y="774"/>
                  </a:lnTo>
                  <a:lnTo>
                    <a:pt x="2026" y="777"/>
                  </a:lnTo>
                  <a:lnTo>
                    <a:pt x="2026" y="778"/>
                  </a:lnTo>
                  <a:lnTo>
                    <a:pt x="2025" y="778"/>
                  </a:lnTo>
                  <a:lnTo>
                    <a:pt x="2024" y="782"/>
                  </a:lnTo>
                  <a:lnTo>
                    <a:pt x="2026" y="791"/>
                  </a:lnTo>
                  <a:lnTo>
                    <a:pt x="2026" y="794"/>
                  </a:lnTo>
                  <a:lnTo>
                    <a:pt x="2024" y="795"/>
                  </a:lnTo>
                  <a:lnTo>
                    <a:pt x="2024" y="800"/>
                  </a:lnTo>
                  <a:lnTo>
                    <a:pt x="2026" y="800"/>
                  </a:lnTo>
                  <a:lnTo>
                    <a:pt x="2024" y="814"/>
                  </a:lnTo>
                  <a:lnTo>
                    <a:pt x="2021" y="817"/>
                  </a:lnTo>
                  <a:lnTo>
                    <a:pt x="2019" y="817"/>
                  </a:lnTo>
                  <a:lnTo>
                    <a:pt x="2014" y="822"/>
                  </a:lnTo>
                  <a:lnTo>
                    <a:pt x="2010" y="827"/>
                  </a:lnTo>
                  <a:lnTo>
                    <a:pt x="2011" y="831"/>
                  </a:lnTo>
                  <a:lnTo>
                    <a:pt x="2019" y="840"/>
                  </a:lnTo>
                  <a:lnTo>
                    <a:pt x="2021" y="845"/>
                  </a:lnTo>
                  <a:lnTo>
                    <a:pt x="2011" y="853"/>
                  </a:lnTo>
                  <a:lnTo>
                    <a:pt x="2007" y="852"/>
                  </a:lnTo>
                  <a:lnTo>
                    <a:pt x="2008" y="853"/>
                  </a:lnTo>
                  <a:lnTo>
                    <a:pt x="2007" y="853"/>
                  </a:lnTo>
                  <a:lnTo>
                    <a:pt x="2000" y="859"/>
                  </a:lnTo>
                  <a:lnTo>
                    <a:pt x="1993" y="868"/>
                  </a:lnTo>
                  <a:lnTo>
                    <a:pt x="1996" y="876"/>
                  </a:lnTo>
                  <a:lnTo>
                    <a:pt x="1997" y="875"/>
                  </a:lnTo>
                  <a:lnTo>
                    <a:pt x="1999" y="876"/>
                  </a:lnTo>
                  <a:lnTo>
                    <a:pt x="1997" y="888"/>
                  </a:lnTo>
                  <a:lnTo>
                    <a:pt x="2004" y="894"/>
                  </a:lnTo>
                  <a:lnTo>
                    <a:pt x="2015" y="898"/>
                  </a:lnTo>
                  <a:lnTo>
                    <a:pt x="2018" y="904"/>
                  </a:lnTo>
                  <a:lnTo>
                    <a:pt x="2025" y="906"/>
                  </a:lnTo>
                  <a:lnTo>
                    <a:pt x="2027" y="912"/>
                  </a:lnTo>
                  <a:lnTo>
                    <a:pt x="2027" y="917"/>
                  </a:lnTo>
                  <a:lnTo>
                    <a:pt x="2025" y="925"/>
                  </a:lnTo>
                  <a:lnTo>
                    <a:pt x="2021" y="920"/>
                  </a:lnTo>
                  <a:lnTo>
                    <a:pt x="2012" y="930"/>
                  </a:lnTo>
                  <a:lnTo>
                    <a:pt x="2007" y="932"/>
                  </a:lnTo>
                  <a:lnTo>
                    <a:pt x="2005" y="925"/>
                  </a:lnTo>
                  <a:lnTo>
                    <a:pt x="2005" y="932"/>
                  </a:lnTo>
                  <a:lnTo>
                    <a:pt x="2004" y="932"/>
                  </a:lnTo>
                  <a:lnTo>
                    <a:pt x="2004" y="938"/>
                  </a:lnTo>
                  <a:lnTo>
                    <a:pt x="1996" y="947"/>
                  </a:lnTo>
                  <a:lnTo>
                    <a:pt x="1993" y="951"/>
                  </a:lnTo>
                  <a:lnTo>
                    <a:pt x="2000" y="946"/>
                  </a:lnTo>
                  <a:lnTo>
                    <a:pt x="2007" y="943"/>
                  </a:lnTo>
                  <a:lnTo>
                    <a:pt x="2007" y="946"/>
                  </a:lnTo>
                  <a:lnTo>
                    <a:pt x="2010" y="943"/>
                  </a:lnTo>
                  <a:lnTo>
                    <a:pt x="2012" y="943"/>
                  </a:lnTo>
                  <a:lnTo>
                    <a:pt x="2014" y="946"/>
                  </a:lnTo>
                  <a:lnTo>
                    <a:pt x="2014" y="947"/>
                  </a:lnTo>
                  <a:lnTo>
                    <a:pt x="2012" y="947"/>
                  </a:lnTo>
                  <a:lnTo>
                    <a:pt x="2012" y="952"/>
                  </a:lnTo>
                  <a:lnTo>
                    <a:pt x="2010" y="955"/>
                  </a:lnTo>
                  <a:lnTo>
                    <a:pt x="2012" y="956"/>
                  </a:lnTo>
                  <a:lnTo>
                    <a:pt x="2011" y="960"/>
                  </a:lnTo>
                  <a:lnTo>
                    <a:pt x="2000" y="964"/>
                  </a:lnTo>
                  <a:lnTo>
                    <a:pt x="1993" y="969"/>
                  </a:lnTo>
                  <a:lnTo>
                    <a:pt x="2001" y="965"/>
                  </a:lnTo>
                  <a:lnTo>
                    <a:pt x="2012" y="965"/>
                  </a:lnTo>
                  <a:lnTo>
                    <a:pt x="2014" y="969"/>
                  </a:lnTo>
                  <a:lnTo>
                    <a:pt x="2012" y="969"/>
                  </a:lnTo>
                  <a:lnTo>
                    <a:pt x="2012" y="975"/>
                  </a:lnTo>
                  <a:lnTo>
                    <a:pt x="2010" y="977"/>
                  </a:lnTo>
                  <a:lnTo>
                    <a:pt x="2007" y="977"/>
                  </a:lnTo>
                  <a:lnTo>
                    <a:pt x="2004" y="977"/>
                  </a:lnTo>
                  <a:lnTo>
                    <a:pt x="1999" y="982"/>
                  </a:lnTo>
                  <a:lnTo>
                    <a:pt x="1996" y="982"/>
                  </a:lnTo>
                  <a:lnTo>
                    <a:pt x="1994" y="982"/>
                  </a:lnTo>
                  <a:lnTo>
                    <a:pt x="1996" y="987"/>
                  </a:lnTo>
                  <a:lnTo>
                    <a:pt x="1997" y="982"/>
                  </a:lnTo>
                  <a:lnTo>
                    <a:pt x="2000" y="982"/>
                  </a:lnTo>
                  <a:lnTo>
                    <a:pt x="2004" y="977"/>
                  </a:lnTo>
                  <a:lnTo>
                    <a:pt x="2008" y="981"/>
                  </a:lnTo>
                  <a:lnTo>
                    <a:pt x="2010" y="982"/>
                  </a:lnTo>
                  <a:lnTo>
                    <a:pt x="2011" y="991"/>
                  </a:lnTo>
                  <a:lnTo>
                    <a:pt x="2008" y="1005"/>
                  </a:lnTo>
                  <a:lnTo>
                    <a:pt x="2012" y="1014"/>
                  </a:lnTo>
                  <a:lnTo>
                    <a:pt x="2018" y="1022"/>
                  </a:lnTo>
                  <a:lnTo>
                    <a:pt x="2019" y="1018"/>
                  </a:lnTo>
                  <a:lnTo>
                    <a:pt x="2026" y="1022"/>
                  </a:lnTo>
                  <a:lnTo>
                    <a:pt x="2030" y="1018"/>
                  </a:lnTo>
                  <a:lnTo>
                    <a:pt x="2032" y="1018"/>
                  </a:lnTo>
                  <a:lnTo>
                    <a:pt x="2030" y="1027"/>
                  </a:lnTo>
                  <a:lnTo>
                    <a:pt x="2032" y="1037"/>
                  </a:lnTo>
                  <a:lnTo>
                    <a:pt x="2030" y="1041"/>
                  </a:lnTo>
                  <a:lnTo>
                    <a:pt x="2033" y="1050"/>
                  </a:lnTo>
                  <a:lnTo>
                    <a:pt x="2032" y="1054"/>
                  </a:lnTo>
                  <a:lnTo>
                    <a:pt x="2030" y="1058"/>
                  </a:lnTo>
                  <a:lnTo>
                    <a:pt x="2030" y="1059"/>
                  </a:lnTo>
                  <a:lnTo>
                    <a:pt x="2030" y="1062"/>
                  </a:lnTo>
                  <a:lnTo>
                    <a:pt x="2029" y="1068"/>
                  </a:lnTo>
                  <a:lnTo>
                    <a:pt x="2029" y="1076"/>
                  </a:lnTo>
                  <a:lnTo>
                    <a:pt x="2030" y="1076"/>
                  </a:lnTo>
                  <a:lnTo>
                    <a:pt x="2036" y="1089"/>
                  </a:lnTo>
                  <a:lnTo>
                    <a:pt x="2044" y="1097"/>
                  </a:lnTo>
                  <a:lnTo>
                    <a:pt x="2052" y="1099"/>
                  </a:lnTo>
                  <a:lnTo>
                    <a:pt x="2064" y="1104"/>
                  </a:lnTo>
                  <a:lnTo>
                    <a:pt x="2068" y="1106"/>
                  </a:lnTo>
                  <a:lnTo>
                    <a:pt x="2069" y="1104"/>
                  </a:lnTo>
                  <a:lnTo>
                    <a:pt x="2072" y="1104"/>
                  </a:lnTo>
                  <a:lnTo>
                    <a:pt x="2071" y="1106"/>
                  </a:lnTo>
                  <a:lnTo>
                    <a:pt x="2071" y="1108"/>
                  </a:lnTo>
                  <a:lnTo>
                    <a:pt x="2074" y="1106"/>
                  </a:lnTo>
                  <a:lnTo>
                    <a:pt x="2071" y="1111"/>
                  </a:lnTo>
                  <a:lnTo>
                    <a:pt x="2062" y="1116"/>
                  </a:lnTo>
                  <a:lnTo>
                    <a:pt x="2057" y="1121"/>
                  </a:lnTo>
                  <a:lnTo>
                    <a:pt x="2050" y="1129"/>
                  </a:lnTo>
                  <a:lnTo>
                    <a:pt x="2046" y="1142"/>
                  </a:lnTo>
                  <a:lnTo>
                    <a:pt x="2046" y="1155"/>
                  </a:lnTo>
                  <a:lnTo>
                    <a:pt x="2047" y="1161"/>
                  </a:lnTo>
                  <a:lnTo>
                    <a:pt x="2050" y="1164"/>
                  </a:lnTo>
                  <a:lnTo>
                    <a:pt x="2049" y="1166"/>
                  </a:lnTo>
                  <a:lnTo>
                    <a:pt x="2049" y="1170"/>
                  </a:lnTo>
                  <a:lnTo>
                    <a:pt x="2050" y="1170"/>
                  </a:lnTo>
                  <a:lnTo>
                    <a:pt x="2054" y="1188"/>
                  </a:lnTo>
                  <a:lnTo>
                    <a:pt x="2061" y="1201"/>
                  </a:lnTo>
                  <a:lnTo>
                    <a:pt x="2068" y="1205"/>
                  </a:lnTo>
                  <a:lnTo>
                    <a:pt x="2078" y="1215"/>
                  </a:lnTo>
                  <a:lnTo>
                    <a:pt x="2080" y="1215"/>
                  </a:lnTo>
                  <a:lnTo>
                    <a:pt x="2083" y="1218"/>
                  </a:lnTo>
                  <a:lnTo>
                    <a:pt x="2085" y="1218"/>
                  </a:lnTo>
                  <a:lnTo>
                    <a:pt x="2094" y="1224"/>
                  </a:lnTo>
                  <a:lnTo>
                    <a:pt x="2101" y="1224"/>
                  </a:lnTo>
                  <a:lnTo>
                    <a:pt x="2099" y="1226"/>
                  </a:lnTo>
                  <a:lnTo>
                    <a:pt x="2094" y="1226"/>
                  </a:lnTo>
                  <a:lnTo>
                    <a:pt x="2089" y="1228"/>
                  </a:lnTo>
                  <a:lnTo>
                    <a:pt x="2074" y="1237"/>
                  </a:lnTo>
                  <a:lnTo>
                    <a:pt x="2064" y="1250"/>
                  </a:lnTo>
                  <a:lnTo>
                    <a:pt x="2060" y="1263"/>
                  </a:lnTo>
                  <a:lnTo>
                    <a:pt x="2060" y="1271"/>
                  </a:lnTo>
                  <a:lnTo>
                    <a:pt x="2061" y="1273"/>
                  </a:lnTo>
                  <a:lnTo>
                    <a:pt x="2061" y="1275"/>
                  </a:lnTo>
                  <a:lnTo>
                    <a:pt x="2062" y="1282"/>
                  </a:lnTo>
                  <a:lnTo>
                    <a:pt x="2069" y="1291"/>
                  </a:lnTo>
                  <a:lnTo>
                    <a:pt x="2069" y="1295"/>
                  </a:lnTo>
                  <a:lnTo>
                    <a:pt x="2068" y="1299"/>
                  </a:lnTo>
                  <a:lnTo>
                    <a:pt x="2060" y="1317"/>
                  </a:lnTo>
                  <a:lnTo>
                    <a:pt x="2051" y="1334"/>
                  </a:lnTo>
                  <a:lnTo>
                    <a:pt x="2050" y="1344"/>
                  </a:lnTo>
                  <a:lnTo>
                    <a:pt x="2055" y="1361"/>
                  </a:lnTo>
                  <a:lnTo>
                    <a:pt x="2069" y="1382"/>
                  </a:lnTo>
                  <a:lnTo>
                    <a:pt x="2072" y="1389"/>
                  </a:lnTo>
                  <a:lnTo>
                    <a:pt x="2061" y="1397"/>
                  </a:lnTo>
                  <a:lnTo>
                    <a:pt x="2055" y="1394"/>
                  </a:lnTo>
                  <a:lnTo>
                    <a:pt x="2058" y="1391"/>
                  </a:lnTo>
                  <a:lnTo>
                    <a:pt x="2057" y="1391"/>
                  </a:lnTo>
                  <a:lnTo>
                    <a:pt x="2055" y="1394"/>
                  </a:lnTo>
                  <a:lnTo>
                    <a:pt x="2051" y="1394"/>
                  </a:lnTo>
                  <a:lnTo>
                    <a:pt x="2051" y="1392"/>
                  </a:lnTo>
                  <a:lnTo>
                    <a:pt x="2050" y="1392"/>
                  </a:lnTo>
                  <a:lnTo>
                    <a:pt x="2051" y="1396"/>
                  </a:lnTo>
                  <a:lnTo>
                    <a:pt x="2055" y="1396"/>
                  </a:lnTo>
                  <a:lnTo>
                    <a:pt x="2058" y="1397"/>
                  </a:lnTo>
                  <a:lnTo>
                    <a:pt x="2055" y="1402"/>
                  </a:lnTo>
                  <a:lnTo>
                    <a:pt x="2055" y="1406"/>
                  </a:lnTo>
                  <a:lnTo>
                    <a:pt x="2057" y="1402"/>
                  </a:lnTo>
                  <a:lnTo>
                    <a:pt x="2065" y="1402"/>
                  </a:lnTo>
                  <a:lnTo>
                    <a:pt x="2066" y="1402"/>
                  </a:lnTo>
                  <a:lnTo>
                    <a:pt x="2066" y="1409"/>
                  </a:lnTo>
                  <a:lnTo>
                    <a:pt x="2064" y="1420"/>
                  </a:lnTo>
                  <a:lnTo>
                    <a:pt x="2057" y="1428"/>
                  </a:lnTo>
                  <a:lnTo>
                    <a:pt x="2054" y="1437"/>
                  </a:lnTo>
                  <a:lnTo>
                    <a:pt x="2054" y="1441"/>
                  </a:lnTo>
                  <a:lnTo>
                    <a:pt x="2051" y="1441"/>
                  </a:lnTo>
                  <a:lnTo>
                    <a:pt x="2044" y="1441"/>
                  </a:lnTo>
                  <a:lnTo>
                    <a:pt x="2040" y="1436"/>
                  </a:lnTo>
                  <a:lnTo>
                    <a:pt x="2037" y="1433"/>
                  </a:lnTo>
                  <a:lnTo>
                    <a:pt x="2035" y="1428"/>
                  </a:lnTo>
                  <a:lnTo>
                    <a:pt x="2030" y="1424"/>
                  </a:lnTo>
                  <a:lnTo>
                    <a:pt x="2030" y="1420"/>
                  </a:lnTo>
                  <a:lnTo>
                    <a:pt x="2032" y="1415"/>
                  </a:lnTo>
                  <a:lnTo>
                    <a:pt x="2036" y="1411"/>
                  </a:lnTo>
                  <a:lnTo>
                    <a:pt x="2035" y="1406"/>
                  </a:lnTo>
                  <a:lnTo>
                    <a:pt x="2033" y="1406"/>
                  </a:lnTo>
                  <a:lnTo>
                    <a:pt x="2032" y="1409"/>
                  </a:lnTo>
                  <a:lnTo>
                    <a:pt x="2030" y="1406"/>
                  </a:lnTo>
                  <a:lnTo>
                    <a:pt x="2029" y="1406"/>
                  </a:lnTo>
                  <a:lnTo>
                    <a:pt x="2030" y="1411"/>
                  </a:lnTo>
                  <a:lnTo>
                    <a:pt x="2033" y="1409"/>
                  </a:lnTo>
                  <a:lnTo>
                    <a:pt x="2035" y="1411"/>
                  </a:lnTo>
                  <a:lnTo>
                    <a:pt x="2029" y="1411"/>
                  </a:lnTo>
                  <a:lnTo>
                    <a:pt x="2026" y="1420"/>
                  </a:lnTo>
                  <a:lnTo>
                    <a:pt x="2026" y="1437"/>
                  </a:lnTo>
                  <a:lnTo>
                    <a:pt x="2032" y="1441"/>
                  </a:lnTo>
                  <a:lnTo>
                    <a:pt x="2036" y="1441"/>
                  </a:lnTo>
                  <a:lnTo>
                    <a:pt x="2037" y="1441"/>
                  </a:lnTo>
                  <a:lnTo>
                    <a:pt x="2041" y="1445"/>
                  </a:lnTo>
                  <a:lnTo>
                    <a:pt x="2041" y="1449"/>
                  </a:lnTo>
                  <a:lnTo>
                    <a:pt x="2043" y="1446"/>
                  </a:lnTo>
                  <a:lnTo>
                    <a:pt x="2044" y="1446"/>
                  </a:lnTo>
                  <a:lnTo>
                    <a:pt x="2054" y="1446"/>
                  </a:lnTo>
                  <a:lnTo>
                    <a:pt x="2057" y="1449"/>
                  </a:lnTo>
                  <a:lnTo>
                    <a:pt x="2060" y="1456"/>
                  </a:lnTo>
                  <a:lnTo>
                    <a:pt x="2060" y="1459"/>
                  </a:lnTo>
                  <a:lnTo>
                    <a:pt x="2062" y="1464"/>
                  </a:lnTo>
                  <a:lnTo>
                    <a:pt x="2061" y="1468"/>
                  </a:lnTo>
                  <a:lnTo>
                    <a:pt x="2062" y="1468"/>
                  </a:lnTo>
                  <a:lnTo>
                    <a:pt x="2064" y="1469"/>
                  </a:lnTo>
                  <a:lnTo>
                    <a:pt x="2064" y="1477"/>
                  </a:lnTo>
                  <a:lnTo>
                    <a:pt x="2071" y="1486"/>
                  </a:lnTo>
                  <a:lnTo>
                    <a:pt x="2068" y="1486"/>
                  </a:lnTo>
                  <a:lnTo>
                    <a:pt x="2066" y="1491"/>
                  </a:lnTo>
                  <a:lnTo>
                    <a:pt x="2066" y="1498"/>
                  </a:lnTo>
                  <a:lnTo>
                    <a:pt x="2062" y="1498"/>
                  </a:lnTo>
                  <a:lnTo>
                    <a:pt x="2051" y="1499"/>
                  </a:lnTo>
                  <a:lnTo>
                    <a:pt x="2049" y="1499"/>
                  </a:lnTo>
                  <a:lnTo>
                    <a:pt x="2051" y="1503"/>
                  </a:lnTo>
                  <a:lnTo>
                    <a:pt x="2054" y="1504"/>
                  </a:lnTo>
                  <a:lnTo>
                    <a:pt x="2060" y="1499"/>
                  </a:lnTo>
                  <a:lnTo>
                    <a:pt x="2062" y="1499"/>
                  </a:lnTo>
                  <a:lnTo>
                    <a:pt x="2064" y="1508"/>
                  </a:lnTo>
                  <a:lnTo>
                    <a:pt x="2062" y="1514"/>
                  </a:lnTo>
                  <a:lnTo>
                    <a:pt x="2054" y="1518"/>
                  </a:lnTo>
                  <a:lnTo>
                    <a:pt x="2052" y="1520"/>
                  </a:lnTo>
                  <a:lnTo>
                    <a:pt x="2051" y="1526"/>
                  </a:lnTo>
                  <a:lnTo>
                    <a:pt x="2049" y="1532"/>
                  </a:lnTo>
                  <a:lnTo>
                    <a:pt x="2049" y="1535"/>
                  </a:lnTo>
                  <a:lnTo>
                    <a:pt x="2050" y="1531"/>
                  </a:lnTo>
                  <a:lnTo>
                    <a:pt x="2049" y="1544"/>
                  </a:lnTo>
                  <a:lnTo>
                    <a:pt x="2047" y="1544"/>
                  </a:lnTo>
                  <a:lnTo>
                    <a:pt x="2044" y="1543"/>
                  </a:lnTo>
                  <a:lnTo>
                    <a:pt x="2043" y="1544"/>
                  </a:lnTo>
                  <a:lnTo>
                    <a:pt x="2041" y="1540"/>
                  </a:lnTo>
                  <a:lnTo>
                    <a:pt x="2040" y="1540"/>
                  </a:lnTo>
                  <a:lnTo>
                    <a:pt x="2041" y="1543"/>
                  </a:lnTo>
                  <a:lnTo>
                    <a:pt x="2040" y="1544"/>
                  </a:lnTo>
                  <a:lnTo>
                    <a:pt x="2046" y="1544"/>
                  </a:lnTo>
                  <a:lnTo>
                    <a:pt x="2044" y="1546"/>
                  </a:lnTo>
                  <a:lnTo>
                    <a:pt x="2050" y="1544"/>
                  </a:lnTo>
                  <a:lnTo>
                    <a:pt x="2052" y="1540"/>
                  </a:lnTo>
                  <a:lnTo>
                    <a:pt x="2057" y="1535"/>
                  </a:lnTo>
                  <a:lnTo>
                    <a:pt x="2058" y="1535"/>
                  </a:lnTo>
                  <a:lnTo>
                    <a:pt x="2061" y="1535"/>
                  </a:lnTo>
                  <a:lnTo>
                    <a:pt x="2064" y="1535"/>
                  </a:lnTo>
                  <a:lnTo>
                    <a:pt x="2064" y="1539"/>
                  </a:lnTo>
                  <a:lnTo>
                    <a:pt x="2065" y="1535"/>
                  </a:lnTo>
                  <a:lnTo>
                    <a:pt x="2064" y="1540"/>
                  </a:lnTo>
                  <a:lnTo>
                    <a:pt x="2065" y="1540"/>
                  </a:lnTo>
                  <a:lnTo>
                    <a:pt x="2065" y="1535"/>
                  </a:lnTo>
                  <a:lnTo>
                    <a:pt x="2068" y="1539"/>
                  </a:lnTo>
                  <a:lnTo>
                    <a:pt x="2068" y="1535"/>
                  </a:lnTo>
                  <a:lnTo>
                    <a:pt x="2069" y="1535"/>
                  </a:lnTo>
                  <a:lnTo>
                    <a:pt x="2076" y="1535"/>
                  </a:lnTo>
                  <a:lnTo>
                    <a:pt x="2076" y="1543"/>
                  </a:lnTo>
                  <a:lnTo>
                    <a:pt x="2079" y="1544"/>
                  </a:lnTo>
                  <a:lnTo>
                    <a:pt x="2082" y="1546"/>
                  </a:lnTo>
                  <a:lnTo>
                    <a:pt x="2079" y="1543"/>
                  </a:lnTo>
                  <a:lnTo>
                    <a:pt x="2079" y="1539"/>
                  </a:lnTo>
                  <a:lnTo>
                    <a:pt x="2086" y="1535"/>
                  </a:lnTo>
                  <a:lnTo>
                    <a:pt x="2087" y="1535"/>
                  </a:lnTo>
                  <a:lnTo>
                    <a:pt x="2090" y="1540"/>
                  </a:lnTo>
                  <a:lnTo>
                    <a:pt x="2090" y="1548"/>
                  </a:lnTo>
                  <a:lnTo>
                    <a:pt x="2093" y="1540"/>
                  </a:lnTo>
                  <a:lnTo>
                    <a:pt x="2094" y="1540"/>
                  </a:lnTo>
                  <a:lnTo>
                    <a:pt x="2093" y="1535"/>
                  </a:lnTo>
                  <a:lnTo>
                    <a:pt x="2096" y="1535"/>
                  </a:lnTo>
                  <a:lnTo>
                    <a:pt x="2093" y="1533"/>
                  </a:lnTo>
                  <a:lnTo>
                    <a:pt x="2094" y="1532"/>
                  </a:lnTo>
                  <a:lnTo>
                    <a:pt x="2091" y="1527"/>
                  </a:lnTo>
                  <a:lnTo>
                    <a:pt x="2097" y="1533"/>
                  </a:lnTo>
                  <a:lnTo>
                    <a:pt x="2100" y="1535"/>
                  </a:lnTo>
                  <a:lnTo>
                    <a:pt x="2100" y="1544"/>
                  </a:lnTo>
                  <a:lnTo>
                    <a:pt x="2101" y="1540"/>
                  </a:lnTo>
                  <a:lnTo>
                    <a:pt x="2104" y="1540"/>
                  </a:lnTo>
                  <a:lnTo>
                    <a:pt x="2103" y="1535"/>
                  </a:lnTo>
                  <a:lnTo>
                    <a:pt x="2103" y="1533"/>
                  </a:lnTo>
                  <a:lnTo>
                    <a:pt x="2104" y="1533"/>
                  </a:lnTo>
                  <a:lnTo>
                    <a:pt x="2105" y="1535"/>
                  </a:lnTo>
                  <a:lnTo>
                    <a:pt x="2107" y="1535"/>
                  </a:lnTo>
                  <a:lnTo>
                    <a:pt x="2108" y="1535"/>
                  </a:lnTo>
                  <a:lnTo>
                    <a:pt x="2110" y="1539"/>
                  </a:lnTo>
                  <a:lnTo>
                    <a:pt x="2108" y="1540"/>
                  </a:lnTo>
                  <a:lnTo>
                    <a:pt x="2111" y="1540"/>
                  </a:lnTo>
                  <a:lnTo>
                    <a:pt x="2112" y="1540"/>
                  </a:lnTo>
                  <a:lnTo>
                    <a:pt x="2112" y="1544"/>
                  </a:lnTo>
                  <a:lnTo>
                    <a:pt x="2114" y="1543"/>
                  </a:lnTo>
                  <a:lnTo>
                    <a:pt x="2117" y="1544"/>
                  </a:lnTo>
                  <a:lnTo>
                    <a:pt x="2115" y="1548"/>
                  </a:lnTo>
                  <a:lnTo>
                    <a:pt x="2108" y="1549"/>
                  </a:lnTo>
                  <a:lnTo>
                    <a:pt x="2085" y="1563"/>
                  </a:lnTo>
                  <a:lnTo>
                    <a:pt x="2080" y="1566"/>
                  </a:lnTo>
                  <a:lnTo>
                    <a:pt x="2078" y="1569"/>
                  </a:lnTo>
                  <a:lnTo>
                    <a:pt x="2075" y="1566"/>
                  </a:lnTo>
                  <a:lnTo>
                    <a:pt x="2075" y="1569"/>
                  </a:lnTo>
                  <a:lnTo>
                    <a:pt x="2064" y="1574"/>
                  </a:lnTo>
                  <a:lnTo>
                    <a:pt x="2058" y="1580"/>
                  </a:lnTo>
                  <a:lnTo>
                    <a:pt x="2058" y="1589"/>
                  </a:lnTo>
                  <a:lnTo>
                    <a:pt x="2054" y="1601"/>
                  </a:lnTo>
                  <a:lnTo>
                    <a:pt x="2051" y="1601"/>
                  </a:lnTo>
                  <a:lnTo>
                    <a:pt x="2049" y="1599"/>
                  </a:lnTo>
                  <a:lnTo>
                    <a:pt x="2044" y="1601"/>
                  </a:lnTo>
                  <a:lnTo>
                    <a:pt x="2049" y="1601"/>
                  </a:lnTo>
                  <a:lnTo>
                    <a:pt x="2050" y="1602"/>
                  </a:lnTo>
                  <a:lnTo>
                    <a:pt x="2049" y="1605"/>
                  </a:lnTo>
                  <a:lnTo>
                    <a:pt x="2052" y="1606"/>
                  </a:lnTo>
                  <a:lnTo>
                    <a:pt x="2050" y="1614"/>
                  </a:lnTo>
                  <a:lnTo>
                    <a:pt x="2047" y="1615"/>
                  </a:lnTo>
                  <a:lnTo>
                    <a:pt x="2047" y="1619"/>
                  </a:lnTo>
                  <a:lnTo>
                    <a:pt x="2044" y="1619"/>
                  </a:lnTo>
                  <a:lnTo>
                    <a:pt x="2044" y="1620"/>
                  </a:lnTo>
                  <a:lnTo>
                    <a:pt x="2040" y="1625"/>
                  </a:lnTo>
                  <a:lnTo>
                    <a:pt x="2033" y="1625"/>
                  </a:lnTo>
                  <a:lnTo>
                    <a:pt x="2029" y="1627"/>
                  </a:lnTo>
                  <a:lnTo>
                    <a:pt x="2026" y="1627"/>
                  </a:lnTo>
                  <a:lnTo>
                    <a:pt x="2025" y="1628"/>
                  </a:lnTo>
                  <a:lnTo>
                    <a:pt x="2024" y="1632"/>
                  </a:lnTo>
                  <a:lnTo>
                    <a:pt x="2026" y="1632"/>
                  </a:lnTo>
                  <a:lnTo>
                    <a:pt x="2026" y="1628"/>
                  </a:lnTo>
                  <a:lnTo>
                    <a:pt x="2029" y="1628"/>
                  </a:lnTo>
                  <a:lnTo>
                    <a:pt x="2033" y="1627"/>
                  </a:lnTo>
                  <a:lnTo>
                    <a:pt x="2035" y="1627"/>
                  </a:lnTo>
                  <a:lnTo>
                    <a:pt x="2030" y="1628"/>
                  </a:lnTo>
                  <a:lnTo>
                    <a:pt x="2029" y="1632"/>
                  </a:lnTo>
                  <a:lnTo>
                    <a:pt x="2027" y="1633"/>
                  </a:lnTo>
                  <a:lnTo>
                    <a:pt x="2036" y="1628"/>
                  </a:lnTo>
                  <a:lnTo>
                    <a:pt x="2035" y="1633"/>
                  </a:lnTo>
                  <a:lnTo>
                    <a:pt x="2032" y="1638"/>
                  </a:lnTo>
                  <a:lnTo>
                    <a:pt x="2035" y="1636"/>
                  </a:lnTo>
                  <a:lnTo>
                    <a:pt x="2037" y="1633"/>
                  </a:lnTo>
                  <a:lnTo>
                    <a:pt x="2037" y="1636"/>
                  </a:lnTo>
                  <a:lnTo>
                    <a:pt x="2037" y="1638"/>
                  </a:lnTo>
                  <a:lnTo>
                    <a:pt x="2040" y="1638"/>
                  </a:lnTo>
                  <a:lnTo>
                    <a:pt x="2037" y="1642"/>
                  </a:lnTo>
                  <a:lnTo>
                    <a:pt x="2041" y="1640"/>
                  </a:lnTo>
                  <a:lnTo>
                    <a:pt x="2040" y="1642"/>
                  </a:lnTo>
                  <a:lnTo>
                    <a:pt x="2044" y="1643"/>
                  </a:lnTo>
                  <a:lnTo>
                    <a:pt x="2046" y="1645"/>
                  </a:lnTo>
                  <a:lnTo>
                    <a:pt x="2043" y="1647"/>
                  </a:lnTo>
                  <a:lnTo>
                    <a:pt x="2046" y="1647"/>
                  </a:lnTo>
                  <a:lnTo>
                    <a:pt x="2044" y="1651"/>
                  </a:lnTo>
                  <a:lnTo>
                    <a:pt x="2047" y="1658"/>
                  </a:lnTo>
                  <a:lnTo>
                    <a:pt x="2044" y="1663"/>
                  </a:lnTo>
                  <a:lnTo>
                    <a:pt x="2044" y="1664"/>
                  </a:lnTo>
                  <a:lnTo>
                    <a:pt x="2046" y="1663"/>
                  </a:lnTo>
                  <a:lnTo>
                    <a:pt x="2049" y="1660"/>
                  </a:lnTo>
                  <a:lnTo>
                    <a:pt x="2049" y="1651"/>
                  </a:lnTo>
                  <a:lnTo>
                    <a:pt x="2051" y="1651"/>
                  </a:lnTo>
                  <a:lnTo>
                    <a:pt x="2054" y="1651"/>
                  </a:lnTo>
                  <a:lnTo>
                    <a:pt x="2055" y="1655"/>
                  </a:lnTo>
                  <a:lnTo>
                    <a:pt x="2062" y="1655"/>
                  </a:lnTo>
                  <a:lnTo>
                    <a:pt x="2071" y="1651"/>
                  </a:lnTo>
                  <a:lnTo>
                    <a:pt x="2072" y="1651"/>
                  </a:lnTo>
                  <a:lnTo>
                    <a:pt x="2076" y="1651"/>
                  </a:lnTo>
                  <a:lnTo>
                    <a:pt x="2078" y="1655"/>
                  </a:lnTo>
                  <a:lnTo>
                    <a:pt x="2078" y="1651"/>
                  </a:lnTo>
                  <a:lnTo>
                    <a:pt x="2076" y="1651"/>
                  </a:lnTo>
                  <a:lnTo>
                    <a:pt x="2087" y="1651"/>
                  </a:lnTo>
                  <a:lnTo>
                    <a:pt x="2096" y="1651"/>
                  </a:lnTo>
                  <a:lnTo>
                    <a:pt x="2105" y="1651"/>
                  </a:lnTo>
                  <a:lnTo>
                    <a:pt x="2111" y="1651"/>
                  </a:lnTo>
                  <a:lnTo>
                    <a:pt x="2115" y="1651"/>
                  </a:lnTo>
                  <a:lnTo>
                    <a:pt x="2115" y="1655"/>
                  </a:lnTo>
                  <a:lnTo>
                    <a:pt x="2114" y="1656"/>
                  </a:lnTo>
                  <a:lnTo>
                    <a:pt x="2114" y="1664"/>
                  </a:lnTo>
                  <a:lnTo>
                    <a:pt x="2112" y="1668"/>
                  </a:lnTo>
                  <a:lnTo>
                    <a:pt x="2105" y="1669"/>
                  </a:lnTo>
                  <a:lnTo>
                    <a:pt x="2104" y="1669"/>
                  </a:lnTo>
                  <a:lnTo>
                    <a:pt x="2104" y="1668"/>
                  </a:lnTo>
                  <a:lnTo>
                    <a:pt x="2101" y="1668"/>
                  </a:lnTo>
                  <a:lnTo>
                    <a:pt x="2099" y="1669"/>
                  </a:lnTo>
                  <a:lnTo>
                    <a:pt x="2103" y="1669"/>
                  </a:lnTo>
                  <a:lnTo>
                    <a:pt x="2100" y="1682"/>
                  </a:lnTo>
                  <a:lnTo>
                    <a:pt x="2100" y="1686"/>
                  </a:lnTo>
                  <a:lnTo>
                    <a:pt x="2101" y="1690"/>
                  </a:lnTo>
                  <a:lnTo>
                    <a:pt x="2100" y="1692"/>
                  </a:lnTo>
                  <a:lnTo>
                    <a:pt x="2100" y="1695"/>
                  </a:lnTo>
                  <a:lnTo>
                    <a:pt x="2101" y="1698"/>
                  </a:lnTo>
                  <a:lnTo>
                    <a:pt x="2107" y="1700"/>
                  </a:lnTo>
                  <a:lnTo>
                    <a:pt x="2107" y="1703"/>
                  </a:lnTo>
                  <a:lnTo>
                    <a:pt x="2108" y="1705"/>
                  </a:lnTo>
                  <a:lnTo>
                    <a:pt x="2107" y="1705"/>
                  </a:lnTo>
                  <a:lnTo>
                    <a:pt x="2108" y="1705"/>
                  </a:lnTo>
                  <a:lnTo>
                    <a:pt x="2114" y="1722"/>
                  </a:lnTo>
                  <a:lnTo>
                    <a:pt x="2114" y="1726"/>
                  </a:lnTo>
                  <a:lnTo>
                    <a:pt x="2112" y="1727"/>
                  </a:lnTo>
                  <a:lnTo>
                    <a:pt x="2115" y="1727"/>
                  </a:lnTo>
                  <a:lnTo>
                    <a:pt x="2112" y="1727"/>
                  </a:lnTo>
                  <a:lnTo>
                    <a:pt x="2112" y="1731"/>
                  </a:lnTo>
                  <a:lnTo>
                    <a:pt x="2110" y="1731"/>
                  </a:lnTo>
                  <a:lnTo>
                    <a:pt x="2112" y="1734"/>
                  </a:lnTo>
                  <a:lnTo>
                    <a:pt x="2114" y="1731"/>
                  </a:lnTo>
                  <a:lnTo>
                    <a:pt x="2118" y="1730"/>
                  </a:lnTo>
                  <a:lnTo>
                    <a:pt x="2117" y="1731"/>
                  </a:lnTo>
                  <a:lnTo>
                    <a:pt x="2119" y="1735"/>
                  </a:lnTo>
                  <a:lnTo>
                    <a:pt x="2124" y="1737"/>
                  </a:lnTo>
                  <a:lnTo>
                    <a:pt x="2124" y="1739"/>
                  </a:lnTo>
                  <a:lnTo>
                    <a:pt x="2129" y="1740"/>
                  </a:lnTo>
                  <a:lnTo>
                    <a:pt x="2139" y="1740"/>
                  </a:lnTo>
                  <a:lnTo>
                    <a:pt x="2145" y="1738"/>
                  </a:lnTo>
                  <a:lnTo>
                    <a:pt x="2153" y="1744"/>
                  </a:lnTo>
                  <a:lnTo>
                    <a:pt x="2156" y="1754"/>
                  </a:lnTo>
                  <a:lnTo>
                    <a:pt x="2153" y="1765"/>
                  </a:lnTo>
                  <a:lnTo>
                    <a:pt x="2151" y="1763"/>
                  </a:lnTo>
                  <a:lnTo>
                    <a:pt x="2151" y="1757"/>
                  </a:lnTo>
                  <a:lnTo>
                    <a:pt x="2147" y="1762"/>
                  </a:lnTo>
                  <a:lnTo>
                    <a:pt x="2146" y="1762"/>
                  </a:lnTo>
                  <a:lnTo>
                    <a:pt x="2142" y="1754"/>
                  </a:lnTo>
                  <a:lnTo>
                    <a:pt x="2129" y="1752"/>
                  </a:lnTo>
                  <a:lnTo>
                    <a:pt x="2129" y="1750"/>
                  </a:lnTo>
                  <a:lnTo>
                    <a:pt x="2128" y="1748"/>
                  </a:lnTo>
                  <a:lnTo>
                    <a:pt x="2121" y="1748"/>
                  </a:lnTo>
                  <a:lnTo>
                    <a:pt x="2114" y="1754"/>
                  </a:lnTo>
                  <a:lnTo>
                    <a:pt x="2114" y="1772"/>
                  </a:lnTo>
                  <a:lnTo>
                    <a:pt x="2115" y="1780"/>
                  </a:lnTo>
                  <a:lnTo>
                    <a:pt x="2114" y="1784"/>
                  </a:lnTo>
                  <a:lnTo>
                    <a:pt x="2117" y="1784"/>
                  </a:lnTo>
                  <a:lnTo>
                    <a:pt x="2118" y="1792"/>
                  </a:lnTo>
                  <a:lnTo>
                    <a:pt x="2121" y="1793"/>
                  </a:lnTo>
                  <a:lnTo>
                    <a:pt x="2112" y="1802"/>
                  </a:lnTo>
                  <a:lnTo>
                    <a:pt x="2111" y="1806"/>
                  </a:lnTo>
                  <a:lnTo>
                    <a:pt x="2114" y="1810"/>
                  </a:lnTo>
                  <a:lnTo>
                    <a:pt x="2117" y="1812"/>
                  </a:lnTo>
                  <a:lnTo>
                    <a:pt x="2121" y="1812"/>
                  </a:lnTo>
                  <a:lnTo>
                    <a:pt x="2126" y="1815"/>
                  </a:lnTo>
                  <a:lnTo>
                    <a:pt x="2126" y="1829"/>
                  </a:lnTo>
                  <a:lnTo>
                    <a:pt x="2124" y="1829"/>
                  </a:lnTo>
                  <a:lnTo>
                    <a:pt x="2125" y="1829"/>
                  </a:lnTo>
                  <a:lnTo>
                    <a:pt x="2128" y="1827"/>
                  </a:lnTo>
                  <a:lnTo>
                    <a:pt x="2128" y="1825"/>
                  </a:lnTo>
                  <a:lnTo>
                    <a:pt x="2129" y="1821"/>
                  </a:lnTo>
                  <a:lnTo>
                    <a:pt x="2132" y="1821"/>
                  </a:lnTo>
                  <a:lnTo>
                    <a:pt x="2129" y="1821"/>
                  </a:lnTo>
                  <a:lnTo>
                    <a:pt x="2125" y="1807"/>
                  </a:lnTo>
                  <a:lnTo>
                    <a:pt x="2124" y="1807"/>
                  </a:lnTo>
                  <a:lnTo>
                    <a:pt x="2117" y="1807"/>
                  </a:lnTo>
                  <a:lnTo>
                    <a:pt x="2114" y="1807"/>
                  </a:lnTo>
                  <a:lnTo>
                    <a:pt x="2114" y="1806"/>
                  </a:lnTo>
                  <a:lnTo>
                    <a:pt x="2119" y="1802"/>
                  </a:lnTo>
                  <a:lnTo>
                    <a:pt x="2129" y="1801"/>
                  </a:lnTo>
                  <a:lnTo>
                    <a:pt x="2132" y="1797"/>
                  </a:lnTo>
                  <a:lnTo>
                    <a:pt x="2139" y="1793"/>
                  </a:lnTo>
                  <a:lnTo>
                    <a:pt x="2143" y="1793"/>
                  </a:lnTo>
                  <a:lnTo>
                    <a:pt x="2151" y="1802"/>
                  </a:lnTo>
                  <a:lnTo>
                    <a:pt x="2153" y="1812"/>
                  </a:lnTo>
                  <a:lnTo>
                    <a:pt x="2151" y="1815"/>
                  </a:lnTo>
                  <a:lnTo>
                    <a:pt x="2146" y="1815"/>
                  </a:lnTo>
                  <a:lnTo>
                    <a:pt x="2147" y="1815"/>
                  </a:lnTo>
                  <a:lnTo>
                    <a:pt x="2146" y="1821"/>
                  </a:lnTo>
                  <a:lnTo>
                    <a:pt x="2143" y="1829"/>
                  </a:lnTo>
                  <a:lnTo>
                    <a:pt x="2143" y="1832"/>
                  </a:lnTo>
                  <a:lnTo>
                    <a:pt x="2137" y="1838"/>
                  </a:lnTo>
                  <a:lnTo>
                    <a:pt x="2139" y="1838"/>
                  </a:lnTo>
                  <a:lnTo>
                    <a:pt x="2143" y="1837"/>
                  </a:lnTo>
                  <a:lnTo>
                    <a:pt x="2143" y="1841"/>
                  </a:lnTo>
                  <a:lnTo>
                    <a:pt x="2142" y="1842"/>
                  </a:lnTo>
                  <a:lnTo>
                    <a:pt x="2143" y="1842"/>
                  </a:lnTo>
                  <a:lnTo>
                    <a:pt x="2146" y="1838"/>
                  </a:lnTo>
                  <a:lnTo>
                    <a:pt x="2146" y="1832"/>
                  </a:lnTo>
                  <a:lnTo>
                    <a:pt x="2149" y="1829"/>
                  </a:lnTo>
                  <a:lnTo>
                    <a:pt x="2151" y="1829"/>
                  </a:lnTo>
                  <a:lnTo>
                    <a:pt x="2153" y="1832"/>
                  </a:lnTo>
                  <a:lnTo>
                    <a:pt x="2153" y="1842"/>
                  </a:lnTo>
                  <a:lnTo>
                    <a:pt x="2154" y="1834"/>
                  </a:lnTo>
                  <a:lnTo>
                    <a:pt x="2156" y="1834"/>
                  </a:lnTo>
                  <a:lnTo>
                    <a:pt x="2156" y="1829"/>
                  </a:lnTo>
                  <a:lnTo>
                    <a:pt x="2164" y="1825"/>
                  </a:lnTo>
                  <a:lnTo>
                    <a:pt x="2164" y="1838"/>
                  </a:lnTo>
                  <a:lnTo>
                    <a:pt x="2161" y="1847"/>
                  </a:lnTo>
                  <a:lnTo>
                    <a:pt x="2153" y="1866"/>
                  </a:lnTo>
                  <a:lnTo>
                    <a:pt x="2149" y="1869"/>
                  </a:lnTo>
                  <a:lnTo>
                    <a:pt x="2142" y="1873"/>
                  </a:lnTo>
                  <a:lnTo>
                    <a:pt x="2137" y="1873"/>
                  </a:lnTo>
                  <a:lnTo>
                    <a:pt x="2133" y="1876"/>
                  </a:lnTo>
                  <a:lnTo>
                    <a:pt x="2125" y="1881"/>
                  </a:lnTo>
                  <a:lnTo>
                    <a:pt x="2124" y="1881"/>
                  </a:lnTo>
                  <a:lnTo>
                    <a:pt x="2125" y="1879"/>
                  </a:lnTo>
                  <a:lnTo>
                    <a:pt x="2124" y="1876"/>
                  </a:lnTo>
                  <a:lnTo>
                    <a:pt x="2118" y="1872"/>
                  </a:lnTo>
                  <a:lnTo>
                    <a:pt x="2118" y="1866"/>
                  </a:lnTo>
                  <a:lnTo>
                    <a:pt x="2112" y="1860"/>
                  </a:lnTo>
                  <a:lnTo>
                    <a:pt x="2111" y="1856"/>
                  </a:lnTo>
                  <a:lnTo>
                    <a:pt x="2105" y="1855"/>
                  </a:lnTo>
                  <a:lnTo>
                    <a:pt x="2099" y="1843"/>
                  </a:lnTo>
                  <a:lnTo>
                    <a:pt x="2097" y="1850"/>
                  </a:lnTo>
                  <a:lnTo>
                    <a:pt x="2094" y="1850"/>
                  </a:lnTo>
                  <a:lnTo>
                    <a:pt x="2100" y="1851"/>
                  </a:lnTo>
                  <a:lnTo>
                    <a:pt x="2110" y="1864"/>
                  </a:lnTo>
                  <a:lnTo>
                    <a:pt x="2108" y="1868"/>
                  </a:lnTo>
                  <a:lnTo>
                    <a:pt x="2111" y="1869"/>
                  </a:lnTo>
                  <a:lnTo>
                    <a:pt x="2108" y="1873"/>
                  </a:lnTo>
                  <a:lnTo>
                    <a:pt x="2108" y="1876"/>
                  </a:lnTo>
                  <a:lnTo>
                    <a:pt x="2110" y="1877"/>
                  </a:lnTo>
                  <a:lnTo>
                    <a:pt x="2108" y="1883"/>
                  </a:lnTo>
                  <a:lnTo>
                    <a:pt x="2110" y="1883"/>
                  </a:lnTo>
                  <a:lnTo>
                    <a:pt x="2112" y="1885"/>
                  </a:lnTo>
                  <a:lnTo>
                    <a:pt x="2110" y="1891"/>
                  </a:lnTo>
                  <a:lnTo>
                    <a:pt x="2105" y="1892"/>
                  </a:lnTo>
                  <a:lnTo>
                    <a:pt x="2100" y="1898"/>
                  </a:lnTo>
                  <a:lnTo>
                    <a:pt x="2099" y="1896"/>
                  </a:lnTo>
                  <a:lnTo>
                    <a:pt x="2097" y="1892"/>
                  </a:lnTo>
                  <a:lnTo>
                    <a:pt x="2094" y="1894"/>
                  </a:lnTo>
                  <a:lnTo>
                    <a:pt x="2096" y="1896"/>
                  </a:lnTo>
                  <a:lnTo>
                    <a:pt x="2094" y="1896"/>
                  </a:lnTo>
                  <a:lnTo>
                    <a:pt x="2093" y="1896"/>
                  </a:lnTo>
                  <a:lnTo>
                    <a:pt x="2093" y="1901"/>
                  </a:lnTo>
                  <a:lnTo>
                    <a:pt x="2094" y="1904"/>
                  </a:lnTo>
                  <a:lnTo>
                    <a:pt x="2097" y="1904"/>
                  </a:lnTo>
                  <a:lnTo>
                    <a:pt x="2097" y="1905"/>
                  </a:lnTo>
                  <a:lnTo>
                    <a:pt x="2094" y="1914"/>
                  </a:lnTo>
                  <a:lnTo>
                    <a:pt x="2087" y="1928"/>
                  </a:lnTo>
                  <a:lnTo>
                    <a:pt x="2085" y="1931"/>
                  </a:lnTo>
                  <a:lnTo>
                    <a:pt x="2083" y="1945"/>
                  </a:lnTo>
                  <a:lnTo>
                    <a:pt x="2074" y="1958"/>
                  </a:lnTo>
                  <a:lnTo>
                    <a:pt x="2072" y="1966"/>
                  </a:lnTo>
                  <a:lnTo>
                    <a:pt x="2068" y="1972"/>
                  </a:lnTo>
                  <a:lnTo>
                    <a:pt x="2064" y="1971"/>
                  </a:lnTo>
                  <a:lnTo>
                    <a:pt x="2061" y="1967"/>
                  </a:lnTo>
                  <a:lnTo>
                    <a:pt x="2062" y="1966"/>
                  </a:lnTo>
                  <a:lnTo>
                    <a:pt x="2060" y="1958"/>
                  </a:lnTo>
                  <a:lnTo>
                    <a:pt x="2062" y="1956"/>
                  </a:lnTo>
                  <a:lnTo>
                    <a:pt x="2062" y="1943"/>
                  </a:lnTo>
                  <a:lnTo>
                    <a:pt x="2060" y="1937"/>
                  </a:lnTo>
                  <a:lnTo>
                    <a:pt x="2054" y="1935"/>
                  </a:lnTo>
                  <a:lnTo>
                    <a:pt x="2054" y="1934"/>
                  </a:lnTo>
                  <a:lnTo>
                    <a:pt x="2051" y="1931"/>
                  </a:lnTo>
                  <a:lnTo>
                    <a:pt x="2050" y="1931"/>
                  </a:lnTo>
                  <a:lnTo>
                    <a:pt x="2052" y="1934"/>
                  </a:lnTo>
                  <a:lnTo>
                    <a:pt x="2051" y="1935"/>
                  </a:lnTo>
                  <a:lnTo>
                    <a:pt x="2046" y="1934"/>
                  </a:lnTo>
                  <a:lnTo>
                    <a:pt x="2037" y="1934"/>
                  </a:lnTo>
                  <a:lnTo>
                    <a:pt x="2036" y="1935"/>
                  </a:lnTo>
                  <a:lnTo>
                    <a:pt x="2035" y="1934"/>
                  </a:lnTo>
                  <a:lnTo>
                    <a:pt x="2029" y="1935"/>
                  </a:lnTo>
                  <a:lnTo>
                    <a:pt x="2022" y="1939"/>
                  </a:lnTo>
                  <a:lnTo>
                    <a:pt x="2014" y="1945"/>
                  </a:lnTo>
                  <a:lnTo>
                    <a:pt x="2010" y="1950"/>
                  </a:lnTo>
                  <a:lnTo>
                    <a:pt x="2010" y="1953"/>
                  </a:lnTo>
                  <a:lnTo>
                    <a:pt x="2008" y="1953"/>
                  </a:lnTo>
                  <a:lnTo>
                    <a:pt x="2005" y="1956"/>
                  </a:lnTo>
                  <a:lnTo>
                    <a:pt x="2004" y="1954"/>
                  </a:lnTo>
                  <a:lnTo>
                    <a:pt x="2004" y="1958"/>
                  </a:lnTo>
                  <a:lnTo>
                    <a:pt x="2005" y="1958"/>
                  </a:lnTo>
                  <a:lnTo>
                    <a:pt x="2001" y="1958"/>
                  </a:lnTo>
                  <a:lnTo>
                    <a:pt x="2002" y="1958"/>
                  </a:lnTo>
                  <a:lnTo>
                    <a:pt x="2001" y="1963"/>
                  </a:lnTo>
                  <a:lnTo>
                    <a:pt x="1994" y="1961"/>
                  </a:lnTo>
                  <a:lnTo>
                    <a:pt x="1993" y="1958"/>
                  </a:lnTo>
                  <a:lnTo>
                    <a:pt x="1994" y="1954"/>
                  </a:lnTo>
                  <a:lnTo>
                    <a:pt x="1990" y="1954"/>
                  </a:lnTo>
                  <a:lnTo>
                    <a:pt x="1987" y="1954"/>
                  </a:lnTo>
                  <a:lnTo>
                    <a:pt x="1986" y="1958"/>
                  </a:lnTo>
                  <a:lnTo>
                    <a:pt x="1990" y="1954"/>
                  </a:lnTo>
                  <a:lnTo>
                    <a:pt x="1991" y="1956"/>
                  </a:lnTo>
                  <a:lnTo>
                    <a:pt x="1989" y="1958"/>
                  </a:lnTo>
                  <a:lnTo>
                    <a:pt x="1991" y="1967"/>
                  </a:lnTo>
                  <a:lnTo>
                    <a:pt x="1987" y="1966"/>
                  </a:lnTo>
                  <a:lnTo>
                    <a:pt x="1982" y="1967"/>
                  </a:lnTo>
                  <a:lnTo>
                    <a:pt x="1985" y="1967"/>
                  </a:lnTo>
                  <a:lnTo>
                    <a:pt x="1986" y="1967"/>
                  </a:lnTo>
                  <a:lnTo>
                    <a:pt x="1987" y="1967"/>
                  </a:lnTo>
                  <a:lnTo>
                    <a:pt x="1989" y="1967"/>
                  </a:lnTo>
                  <a:lnTo>
                    <a:pt x="1987" y="1971"/>
                  </a:lnTo>
                  <a:lnTo>
                    <a:pt x="1989" y="1972"/>
                  </a:lnTo>
                  <a:lnTo>
                    <a:pt x="1983" y="1985"/>
                  </a:lnTo>
                  <a:lnTo>
                    <a:pt x="1982" y="1993"/>
                  </a:lnTo>
                  <a:lnTo>
                    <a:pt x="1985" y="1995"/>
                  </a:lnTo>
                  <a:lnTo>
                    <a:pt x="1983" y="1998"/>
                  </a:lnTo>
                  <a:lnTo>
                    <a:pt x="1986" y="2001"/>
                  </a:lnTo>
                  <a:lnTo>
                    <a:pt x="1987" y="2006"/>
                  </a:lnTo>
                  <a:lnTo>
                    <a:pt x="1991" y="2008"/>
                  </a:lnTo>
                  <a:lnTo>
                    <a:pt x="1991" y="2012"/>
                  </a:lnTo>
                  <a:lnTo>
                    <a:pt x="2004" y="2023"/>
                  </a:lnTo>
                  <a:lnTo>
                    <a:pt x="2004" y="2025"/>
                  </a:lnTo>
                  <a:lnTo>
                    <a:pt x="2001" y="2025"/>
                  </a:lnTo>
                  <a:lnTo>
                    <a:pt x="2002" y="2025"/>
                  </a:lnTo>
                  <a:lnTo>
                    <a:pt x="2001" y="2028"/>
                  </a:lnTo>
                  <a:lnTo>
                    <a:pt x="2004" y="2028"/>
                  </a:lnTo>
                  <a:lnTo>
                    <a:pt x="2007" y="2033"/>
                  </a:lnTo>
                  <a:lnTo>
                    <a:pt x="2010" y="2037"/>
                  </a:lnTo>
                  <a:lnTo>
                    <a:pt x="2012" y="2041"/>
                  </a:lnTo>
                  <a:lnTo>
                    <a:pt x="2010" y="2041"/>
                  </a:lnTo>
                  <a:lnTo>
                    <a:pt x="2012" y="2043"/>
                  </a:lnTo>
                  <a:lnTo>
                    <a:pt x="2011" y="2043"/>
                  </a:lnTo>
                  <a:lnTo>
                    <a:pt x="2010" y="2047"/>
                  </a:lnTo>
                  <a:lnTo>
                    <a:pt x="2010" y="2050"/>
                  </a:lnTo>
                  <a:lnTo>
                    <a:pt x="2007" y="2051"/>
                  </a:lnTo>
                  <a:lnTo>
                    <a:pt x="2011" y="2051"/>
                  </a:lnTo>
                  <a:lnTo>
                    <a:pt x="2012" y="2051"/>
                  </a:lnTo>
                  <a:lnTo>
                    <a:pt x="2022" y="2050"/>
                  </a:lnTo>
                  <a:lnTo>
                    <a:pt x="2027" y="2050"/>
                  </a:lnTo>
                  <a:lnTo>
                    <a:pt x="2026" y="2057"/>
                  </a:lnTo>
                  <a:lnTo>
                    <a:pt x="2033" y="2060"/>
                  </a:lnTo>
                  <a:lnTo>
                    <a:pt x="2032" y="2059"/>
                  </a:lnTo>
                  <a:lnTo>
                    <a:pt x="2029" y="2057"/>
                  </a:lnTo>
                  <a:lnTo>
                    <a:pt x="2030" y="2051"/>
                  </a:lnTo>
                  <a:lnTo>
                    <a:pt x="2039" y="2055"/>
                  </a:lnTo>
                  <a:lnTo>
                    <a:pt x="2040" y="2051"/>
                  </a:lnTo>
                  <a:lnTo>
                    <a:pt x="2046" y="2055"/>
                  </a:lnTo>
                  <a:lnTo>
                    <a:pt x="2050" y="2051"/>
                  </a:lnTo>
                  <a:lnTo>
                    <a:pt x="2046" y="2057"/>
                  </a:lnTo>
                  <a:lnTo>
                    <a:pt x="2049" y="2063"/>
                  </a:lnTo>
                  <a:lnTo>
                    <a:pt x="2049" y="2070"/>
                  </a:lnTo>
                  <a:lnTo>
                    <a:pt x="2050" y="2066"/>
                  </a:lnTo>
                  <a:lnTo>
                    <a:pt x="2051" y="2065"/>
                  </a:lnTo>
                  <a:lnTo>
                    <a:pt x="2052" y="2066"/>
                  </a:lnTo>
                  <a:lnTo>
                    <a:pt x="2051" y="2070"/>
                  </a:lnTo>
                  <a:lnTo>
                    <a:pt x="2052" y="2070"/>
                  </a:lnTo>
                  <a:lnTo>
                    <a:pt x="2055" y="2066"/>
                  </a:lnTo>
                  <a:lnTo>
                    <a:pt x="2055" y="2060"/>
                  </a:lnTo>
                  <a:lnTo>
                    <a:pt x="2061" y="2057"/>
                  </a:lnTo>
                  <a:lnTo>
                    <a:pt x="2064" y="2057"/>
                  </a:lnTo>
                  <a:lnTo>
                    <a:pt x="2068" y="2051"/>
                  </a:lnTo>
                  <a:lnTo>
                    <a:pt x="2066" y="2047"/>
                  </a:lnTo>
                  <a:lnTo>
                    <a:pt x="2069" y="2043"/>
                  </a:lnTo>
                  <a:lnTo>
                    <a:pt x="2068" y="2043"/>
                  </a:lnTo>
                  <a:lnTo>
                    <a:pt x="2071" y="2034"/>
                  </a:lnTo>
                  <a:lnTo>
                    <a:pt x="2071" y="2030"/>
                  </a:lnTo>
                  <a:lnTo>
                    <a:pt x="2069" y="2030"/>
                  </a:lnTo>
                  <a:lnTo>
                    <a:pt x="2071" y="2028"/>
                  </a:lnTo>
                  <a:lnTo>
                    <a:pt x="2071" y="2025"/>
                  </a:lnTo>
                  <a:lnTo>
                    <a:pt x="2069" y="2016"/>
                  </a:lnTo>
                  <a:lnTo>
                    <a:pt x="2065" y="2012"/>
                  </a:lnTo>
                  <a:lnTo>
                    <a:pt x="2052" y="2003"/>
                  </a:lnTo>
                  <a:lnTo>
                    <a:pt x="2046" y="2003"/>
                  </a:lnTo>
                  <a:lnTo>
                    <a:pt x="2044" y="2001"/>
                  </a:lnTo>
                  <a:lnTo>
                    <a:pt x="2046" y="1998"/>
                  </a:lnTo>
                  <a:lnTo>
                    <a:pt x="2049" y="1997"/>
                  </a:lnTo>
                  <a:lnTo>
                    <a:pt x="2050" y="1995"/>
                  </a:lnTo>
                  <a:lnTo>
                    <a:pt x="2054" y="1995"/>
                  </a:lnTo>
                  <a:lnTo>
                    <a:pt x="2058" y="1989"/>
                  </a:lnTo>
                  <a:lnTo>
                    <a:pt x="2064" y="1989"/>
                  </a:lnTo>
                  <a:lnTo>
                    <a:pt x="2069" y="1993"/>
                  </a:lnTo>
                  <a:lnTo>
                    <a:pt x="2074" y="1997"/>
                  </a:lnTo>
                  <a:lnTo>
                    <a:pt x="2080" y="1998"/>
                  </a:lnTo>
                  <a:lnTo>
                    <a:pt x="2083" y="1998"/>
                  </a:lnTo>
                  <a:lnTo>
                    <a:pt x="2089" y="2003"/>
                  </a:lnTo>
                  <a:lnTo>
                    <a:pt x="2093" y="2006"/>
                  </a:lnTo>
                  <a:lnTo>
                    <a:pt x="2099" y="2006"/>
                  </a:lnTo>
                  <a:lnTo>
                    <a:pt x="2104" y="2003"/>
                  </a:lnTo>
                  <a:lnTo>
                    <a:pt x="2114" y="2001"/>
                  </a:lnTo>
                  <a:lnTo>
                    <a:pt x="2117" y="1998"/>
                  </a:lnTo>
                  <a:lnTo>
                    <a:pt x="2128" y="2003"/>
                  </a:lnTo>
                  <a:lnTo>
                    <a:pt x="2131" y="2008"/>
                  </a:lnTo>
                  <a:lnTo>
                    <a:pt x="2129" y="2021"/>
                  </a:lnTo>
                  <a:lnTo>
                    <a:pt x="2118" y="2051"/>
                  </a:lnTo>
                  <a:lnTo>
                    <a:pt x="2107" y="2070"/>
                  </a:lnTo>
                  <a:lnTo>
                    <a:pt x="2101" y="2091"/>
                  </a:lnTo>
                  <a:lnTo>
                    <a:pt x="2103" y="2102"/>
                  </a:lnTo>
                  <a:lnTo>
                    <a:pt x="2101" y="2109"/>
                  </a:lnTo>
                  <a:lnTo>
                    <a:pt x="2104" y="2124"/>
                  </a:lnTo>
                  <a:lnTo>
                    <a:pt x="2104" y="2132"/>
                  </a:lnTo>
                  <a:lnTo>
                    <a:pt x="2105" y="2137"/>
                  </a:lnTo>
                  <a:lnTo>
                    <a:pt x="2107" y="2141"/>
                  </a:lnTo>
                  <a:lnTo>
                    <a:pt x="2110" y="2149"/>
                  </a:lnTo>
                  <a:lnTo>
                    <a:pt x="2110" y="2170"/>
                  </a:lnTo>
                  <a:lnTo>
                    <a:pt x="2108" y="2189"/>
                  </a:lnTo>
                  <a:lnTo>
                    <a:pt x="2105" y="2203"/>
                  </a:lnTo>
                  <a:lnTo>
                    <a:pt x="2105" y="2211"/>
                  </a:lnTo>
                  <a:lnTo>
                    <a:pt x="2108" y="2221"/>
                  </a:lnTo>
                  <a:lnTo>
                    <a:pt x="2107" y="2231"/>
                  </a:lnTo>
                  <a:lnTo>
                    <a:pt x="2108" y="2234"/>
                  </a:lnTo>
                  <a:lnTo>
                    <a:pt x="2111" y="2248"/>
                  </a:lnTo>
                  <a:lnTo>
                    <a:pt x="2108" y="2261"/>
                  </a:lnTo>
                  <a:lnTo>
                    <a:pt x="2111" y="2273"/>
                  </a:lnTo>
                  <a:lnTo>
                    <a:pt x="2111" y="2283"/>
                  </a:lnTo>
                  <a:lnTo>
                    <a:pt x="2115" y="2286"/>
                  </a:lnTo>
                  <a:lnTo>
                    <a:pt x="2115" y="2289"/>
                  </a:lnTo>
                  <a:lnTo>
                    <a:pt x="2122" y="2296"/>
                  </a:lnTo>
                  <a:lnTo>
                    <a:pt x="2125" y="2302"/>
                  </a:lnTo>
                  <a:lnTo>
                    <a:pt x="2125" y="2309"/>
                  </a:lnTo>
                  <a:lnTo>
                    <a:pt x="2126" y="2315"/>
                  </a:lnTo>
                  <a:lnTo>
                    <a:pt x="2128" y="2321"/>
                  </a:lnTo>
                  <a:lnTo>
                    <a:pt x="2125" y="2341"/>
                  </a:lnTo>
                  <a:lnTo>
                    <a:pt x="2122" y="2351"/>
                  </a:lnTo>
                  <a:lnTo>
                    <a:pt x="2110" y="2357"/>
                  </a:lnTo>
                  <a:lnTo>
                    <a:pt x="2103" y="2364"/>
                  </a:lnTo>
                  <a:lnTo>
                    <a:pt x="2091" y="2385"/>
                  </a:lnTo>
                  <a:lnTo>
                    <a:pt x="2087" y="2399"/>
                  </a:lnTo>
                  <a:lnTo>
                    <a:pt x="2087" y="2407"/>
                  </a:lnTo>
                  <a:lnTo>
                    <a:pt x="2087" y="2412"/>
                  </a:lnTo>
                  <a:lnTo>
                    <a:pt x="2087" y="2415"/>
                  </a:lnTo>
                  <a:lnTo>
                    <a:pt x="2080" y="2431"/>
                  </a:lnTo>
                  <a:lnTo>
                    <a:pt x="2080" y="2439"/>
                  </a:lnTo>
                  <a:lnTo>
                    <a:pt x="2082" y="2439"/>
                  </a:lnTo>
                  <a:lnTo>
                    <a:pt x="2079" y="2439"/>
                  </a:lnTo>
                  <a:lnTo>
                    <a:pt x="2079" y="2437"/>
                  </a:lnTo>
                  <a:lnTo>
                    <a:pt x="2074" y="2437"/>
                  </a:lnTo>
                  <a:lnTo>
                    <a:pt x="2069" y="2444"/>
                  </a:lnTo>
                  <a:lnTo>
                    <a:pt x="2068" y="2444"/>
                  </a:lnTo>
                  <a:lnTo>
                    <a:pt x="2066" y="2444"/>
                  </a:lnTo>
                  <a:lnTo>
                    <a:pt x="2064" y="2444"/>
                  </a:lnTo>
                  <a:lnTo>
                    <a:pt x="2055" y="2443"/>
                  </a:lnTo>
                  <a:lnTo>
                    <a:pt x="2044" y="2451"/>
                  </a:lnTo>
                  <a:lnTo>
                    <a:pt x="2041" y="2451"/>
                  </a:lnTo>
                  <a:lnTo>
                    <a:pt x="2035" y="2444"/>
                  </a:lnTo>
                  <a:lnTo>
                    <a:pt x="2027" y="2444"/>
                  </a:lnTo>
                  <a:lnTo>
                    <a:pt x="2025" y="2439"/>
                  </a:lnTo>
                  <a:lnTo>
                    <a:pt x="2022" y="2435"/>
                  </a:lnTo>
                  <a:lnTo>
                    <a:pt x="2019" y="2430"/>
                  </a:lnTo>
                  <a:lnTo>
                    <a:pt x="2021" y="2422"/>
                  </a:lnTo>
                  <a:lnTo>
                    <a:pt x="2019" y="2412"/>
                  </a:lnTo>
                  <a:lnTo>
                    <a:pt x="2018" y="2408"/>
                  </a:lnTo>
                  <a:lnTo>
                    <a:pt x="2015" y="2407"/>
                  </a:lnTo>
                  <a:lnTo>
                    <a:pt x="2007" y="2407"/>
                  </a:lnTo>
                  <a:lnTo>
                    <a:pt x="2004" y="2403"/>
                  </a:lnTo>
                  <a:lnTo>
                    <a:pt x="1999" y="2399"/>
                  </a:lnTo>
                  <a:lnTo>
                    <a:pt x="1994" y="2395"/>
                  </a:lnTo>
                  <a:lnTo>
                    <a:pt x="1991" y="2395"/>
                  </a:lnTo>
                  <a:lnTo>
                    <a:pt x="1983" y="2399"/>
                  </a:lnTo>
                  <a:lnTo>
                    <a:pt x="1975" y="2398"/>
                  </a:lnTo>
                  <a:lnTo>
                    <a:pt x="1968" y="2399"/>
                  </a:lnTo>
                  <a:lnTo>
                    <a:pt x="1962" y="2399"/>
                  </a:lnTo>
                  <a:lnTo>
                    <a:pt x="1954" y="2395"/>
                  </a:lnTo>
                  <a:lnTo>
                    <a:pt x="1944" y="2395"/>
                  </a:lnTo>
                  <a:lnTo>
                    <a:pt x="1941" y="2398"/>
                  </a:lnTo>
                  <a:lnTo>
                    <a:pt x="1937" y="2398"/>
                  </a:lnTo>
                  <a:lnTo>
                    <a:pt x="1933" y="2399"/>
                  </a:lnTo>
                  <a:lnTo>
                    <a:pt x="1925" y="2403"/>
                  </a:lnTo>
                  <a:lnTo>
                    <a:pt x="1922" y="2407"/>
                  </a:lnTo>
                  <a:lnTo>
                    <a:pt x="1916" y="2408"/>
                  </a:lnTo>
                  <a:lnTo>
                    <a:pt x="1912" y="2411"/>
                  </a:lnTo>
                  <a:lnTo>
                    <a:pt x="1897" y="2403"/>
                  </a:lnTo>
                  <a:lnTo>
                    <a:pt x="1889" y="2408"/>
                  </a:lnTo>
                  <a:lnTo>
                    <a:pt x="1883" y="2415"/>
                  </a:lnTo>
                  <a:lnTo>
                    <a:pt x="1871" y="2418"/>
                  </a:lnTo>
                  <a:lnTo>
                    <a:pt x="1865" y="2416"/>
                  </a:lnTo>
                  <a:lnTo>
                    <a:pt x="1859" y="2420"/>
                  </a:lnTo>
                  <a:lnTo>
                    <a:pt x="1847" y="2420"/>
                  </a:lnTo>
                  <a:lnTo>
                    <a:pt x="1840" y="2426"/>
                  </a:lnTo>
                  <a:lnTo>
                    <a:pt x="1837" y="2431"/>
                  </a:lnTo>
                  <a:lnTo>
                    <a:pt x="1829" y="2431"/>
                  </a:lnTo>
                  <a:lnTo>
                    <a:pt x="1825" y="2426"/>
                  </a:lnTo>
                  <a:lnTo>
                    <a:pt x="1822" y="2420"/>
                  </a:lnTo>
                  <a:lnTo>
                    <a:pt x="1818" y="2416"/>
                  </a:lnTo>
                  <a:lnTo>
                    <a:pt x="1815" y="2412"/>
                  </a:lnTo>
                  <a:lnTo>
                    <a:pt x="1808" y="2412"/>
                  </a:lnTo>
                  <a:lnTo>
                    <a:pt x="1805" y="2403"/>
                  </a:lnTo>
                  <a:lnTo>
                    <a:pt x="1791" y="2402"/>
                  </a:lnTo>
                  <a:lnTo>
                    <a:pt x="1776" y="2403"/>
                  </a:lnTo>
                  <a:lnTo>
                    <a:pt x="1773" y="2399"/>
                  </a:lnTo>
                  <a:lnTo>
                    <a:pt x="1769" y="2390"/>
                  </a:lnTo>
                  <a:lnTo>
                    <a:pt x="1755" y="2389"/>
                  </a:lnTo>
                  <a:lnTo>
                    <a:pt x="1744" y="2389"/>
                  </a:lnTo>
                  <a:lnTo>
                    <a:pt x="1741" y="2390"/>
                  </a:lnTo>
                  <a:lnTo>
                    <a:pt x="1744" y="2395"/>
                  </a:lnTo>
                  <a:lnTo>
                    <a:pt x="1748" y="2403"/>
                  </a:lnTo>
                  <a:lnTo>
                    <a:pt x="1750" y="2408"/>
                  </a:lnTo>
                  <a:lnTo>
                    <a:pt x="1750" y="2412"/>
                  </a:lnTo>
                  <a:lnTo>
                    <a:pt x="1745" y="2416"/>
                  </a:lnTo>
                  <a:lnTo>
                    <a:pt x="1733" y="2416"/>
                  </a:lnTo>
                  <a:lnTo>
                    <a:pt x="1698" y="2430"/>
                  </a:lnTo>
                  <a:lnTo>
                    <a:pt x="1688" y="2431"/>
                  </a:lnTo>
                  <a:lnTo>
                    <a:pt x="1683" y="2435"/>
                  </a:lnTo>
                  <a:lnTo>
                    <a:pt x="1675" y="2437"/>
                  </a:lnTo>
                  <a:lnTo>
                    <a:pt x="1658" y="2439"/>
                  </a:lnTo>
                  <a:lnTo>
                    <a:pt x="1658" y="2444"/>
                  </a:lnTo>
                  <a:lnTo>
                    <a:pt x="1658" y="2453"/>
                  </a:lnTo>
                  <a:lnTo>
                    <a:pt x="1651" y="2465"/>
                  </a:lnTo>
                  <a:lnTo>
                    <a:pt x="1648" y="2466"/>
                  </a:lnTo>
                  <a:lnTo>
                    <a:pt x="1642" y="2480"/>
                  </a:lnTo>
                  <a:lnTo>
                    <a:pt x="1626" y="2489"/>
                  </a:lnTo>
                  <a:lnTo>
                    <a:pt x="1622" y="2492"/>
                  </a:lnTo>
                  <a:lnTo>
                    <a:pt x="1617" y="2492"/>
                  </a:lnTo>
                  <a:lnTo>
                    <a:pt x="1615" y="2493"/>
                  </a:lnTo>
                  <a:lnTo>
                    <a:pt x="1603" y="2501"/>
                  </a:lnTo>
                  <a:lnTo>
                    <a:pt x="1602" y="2509"/>
                  </a:lnTo>
                  <a:lnTo>
                    <a:pt x="1606" y="2511"/>
                  </a:lnTo>
                  <a:lnTo>
                    <a:pt x="1603" y="2518"/>
                  </a:lnTo>
                  <a:lnTo>
                    <a:pt x="1595" y="2527"/>
                  </a:lnTo>
                  <a:lnTo>
                    <a:pt x="1592" y="2527"/>
                  </a:lnTo>
                  <a:lnTo>
                    <a:pt x="1584" y="2542"/>
                  </a:lnTo>
                  <a:lnTo>
                    <a:pt x="1577" y="2545"/>
                  </a:lnTo>
                  <a:lnTo>
                    <a:pt x="1573" y="2551"/>
                  </a:lnTo>
                  <a:lnTo>
                    <a:pt x="1569" y="2555"/>
                  </a:lnTo>
                  <a:lnTo>
                    <a:pt x="1563" y="2557"/>
                  </a:lnTo>
                  <a:lnTo>
                    <a:pt x="1560" y="2559"/>
                  </a:lnTo>
                  <a:lnTo>
                    <a:pt x="1553" y="2564"/>
                  </a:lnTo>
                  <a:lnTo>
                    <a:pt x="1549" y="2568"/>
                  </a:lnTo>
                  <a:lnTo>
                    <a:pt x="1548" y="2572"/>
                  </a:lnTo>
                  <a:lnTo>
                    <a:pt x="1544" y="2576"/>
                  </a:lnTo>
                  <a:lnTo>
                    <a:pt x="1528" y="2576"/>
                  </a:lnTo>
                  <a:lnTo>
                    <a:pt x="1523" y="2573"/>
                  </a:lnTo>
                  <a:lnTo>
                    <a:pt x="1520" y="2573"/>
                  </a:lnTo>
                  <a:lnTo>
                    <a:pt x="1512" y="2577"/>
                  </a:lnTo>
                  <a:lnTo>
                    <a:pt x="1509" y="2577"/>
                  </a:lnTo>
                  <a:lnTo>
                    <a:pt x="1505" y="2573"/>
                  </a:lnTo>
                  <a:lnTo>
                    <a:pt x="1499" y="2576"/>
                  </a:lnTo>
                  <a:lnTo>
                    <a:pt x="1492" y="2573"/>
                  </a:lnTo>
                  <a:lnTo>
                    <a:pt x="1488" y="2576"/>
                  </a:lnTo>
                  <a:lnTo>
                    <a:pt x="1477" y="2568"/>
                  </a:lnTo>
                  <a:lnTo>
                    <a:pt x="1473" y="2568"/>
                  </a:lnTo>
                  <a:lnTo>
                    <a:pt x="1467" y="2564"/>
                  </a:lnTo>
                  <a:lnTo>
                    <a:pt x="1460" y="2562"/>
                  </a:lnTo>
                  <a:lnTo>
                    <a:pt x="1455" y="2564"/>
                  </a:lnTo>
                  <a:lnTo>
                    <a:pt x="1453" y="2572"/>
                  </a:lnTo>
                  <a:lnTo>
                    <a:pt x="1443" y="2577"/>
                  </a:lnTo>
                  <a:lnTo>
                    <a:pt x="1434" y="2580"/>
                  </a:lnTo>
                  <a:lnTo>
                    <a:pt x="1430" y="2586"/>
                  </a:lnTo>
                  <a:lnTo>
                    <a:pt x="1420" y="2594"/>
                  </a:lnTo>
                  <a:lnTo>
                    <a:pt x="1401" y="2598"/>
                  </a:lnTo>
                  <a:lnTo>
                    <a:pt x="1396" y="2602"/>
                  </a:lnTo>
                  <a:lnTo>
                    <a:pt x="1395" y="2607"/>
                  </a:lnTo>
                  <a:lnTo>
                    <a:pt x="1390" y="2609"/>
                  </a:lnTo>
                  <a:lnTo>
                    <a:pt x="1387" y="2612"/>
                  </a:lnTo>
                  <a:lnTo>
                    <a:pt x="1382" y="2617"/>
                  </a:lnTo>
                  <a:lnTo>
                    <a:pt x="1377" y="2618"/>
                  </a:lnTo>
                  <a:lnTo>
                    <a:pt x="1373" y="2615"/>
                  </a:lnTo>
                  <a:lnTo>
                    <a:pt x="1367" y="2618"/>
                  </a:lnTo>
                  <a:lnTo>
                    <a:pt x="1359" y="2617"/>
                  </a:lnTo>
                  <a:lnTo>
                    <a:pt x="1355" y="2618"/>
                  </a:lnTo>
                  <a:lnTo>
                    <a:pt x="1352" y="2621"/>
                  </a:lnTo>
                  <a:lnTo>
                    <a:pt x="1346" y="2622"/>
                  </a:lnTo>
                  <a:lnTo>
                    <a:pt x="1338" y="2618"/>
                  </a:lnTo>
                  <a:lnTo>
                    <a:pt x="1334" y="2618"/>
                  </a:lnTo>
                  <a:lnTo>
                    <a:pt x="1330" y="2622"/>
                  </a:lnTo>
                  <a:lnTo>
                    <a:pt x="1328" y="2622"/>
                  </a:lnTo>
                  <a:lnTo>
                    <a:pt x="1324" y="2626"/>
                  </a:lnTo>
                  <a:lnTo>
                    <a:pt x="1323" y="2630"/>
                  </a:lnTo>
                  <a:lnTo>
                    <a:pt x="1318" y="2634"/>
                  </a:lnTo>
                  <a:lnTo>
                    <a:pt x="1309" y="2634"/>
                  </a:lnTo>
                  <a:lnTo>
                    <a:pt x="1307" y="2634"/>
                  </a:lnTo>
                  <a:lnTo>
                    <a:pt x="1306" y="2638"/>
                  </a:lnTo>
                  <a:lnTo>
                    <a:pt x="1298" y="2638"/>
                  </a:lnTo>
                  <a:lnTo>
                    <a:pt x="1291" y="2635"/>
                  </a:lnTo>
                  <a:lnTo>
                    <a:pt x="1286" y="2638"/>
                  </a:lnTo>
                  <a:lnTo>
                    <a:pt x="1284" y="2638"/>
                  </a:lnTo>
                  <a:lnTo>
                    <a:pt x="1281" y="2639"/>
                  </a:lnTo>
                  <a:lnTo>
                    <a:pt x="1273" y="2640"/>
                  </a:lnTo>
                  <a:lnTo>
                    <a:pt x="1270" y="2640"/>
                  </a:lnTo>
                  <a:lnTo>
                    <a:pt x="1270" y="2644"/>
                  </a:lnTo>
                  <a:lnTo>
                    <a:pt x="1267" y="2644"/>
                  </a:lnTo>
                  <a:lnTo>
                    <a:pt x="1266" y="2648"/>
                  </a:lnTo>
                  <a:lnTo>
                    <a:pt x="1256" y="2652"/>
                  </a:lnTo>
                  <a:lnTo>
                    <a:pt x="1256" y="2656"/>
                  </a:lnTo>
                  <a:lnTo>
                    <a:pt x="1253" y="2656"/>
                  </a:lnTo>
                  <a:lnTo>
                    <a:pt x="1242" y="2661"/>
                  </a:lnTo>
                  <a:lnTo>
                    <a:pt x="1236" y="2667"/>
                  </a:lnTo>
                  <a:lnTo>
                    <a:pt x="1235" y="2679"/>
                  </a:lnTo>
                  <a:lnTo>
                    <a:pt x="1232" y="2686"/>
                  </a:lnTo>
                  <a:lnTo>
                    <a:pt x="1228" y="2689"/>
                  </a:lnTo>
                  <a:lnTo>
                    <a:pt x="1228" y="2693"/>
                  </a:lnTo>
                  <a:lnTo>
                    <a:pt x="1221" y="2696"/>
                  </a:lnTo>
                  <a:lnTo>
                    <a:pt x="1218" y="2701"/>
                  </a:lnTo>
                  <a:lnTo>
                    <a:pt x="1210" y="2705"/>
                  </a:lnTo>
                  <a:lnTo>
                    <a:pt x="1208" y="2706"/>
                  </a:lnTo>
                  <a:lnTo>
                    <a:pt x="1208" y="2710"/>
                  </a:lnTo>
                  <a:lnTo>
                    <a:pt x="1205" y="2714"/>
                  </a:lnTo>
                  <a:lnTo>
                    <a:pt x="1196" y="2714"/>
                  </a:lnTo>
                  <a:lnTo>
                    <a:pt x="1189" y="2710"/>
                  </a:lnTo>
                  <a:lnTo>
                    <a:pt x="1182" y="2711"/>
                  </a:lnTo>
                  <a:lnTo>
                    <a:pt x="1180" y="2714"/>
                  </a:lnTo>
                  <a:lnTo>
                    <a:pt x="1171" y="2716"/>
                  </a:lnTo>
                  <a:lnTo>
                    <a:pt x="1167" y="2714"/>
                  </a:lnTo>
                  <a:lnTo>
                    <a:pt x="1161" y="2716"/>
                  </a:lnTo>
                  <a:lnTo>
                    <a:pt x="1158" y="2716"/>
                  </a:lnTo>
                  <a:lnTo>
                    <a:pt x="1157" y="2722"/>
                  </a:lnTo>
                  <a:lnTo>
                    <a:pt x="1150" y="2722"/>
                  </a:lnTo>
                  <a:lnTo>
                    <a:pt x="1147" y="2725"/>
                  </a:lnTo>
                  <a:lnTo>
                    <a:pt x="1142" y="2725"/>
                  </a:lnTo>
                  <a:lnTo>
                    <a:pt x="1138" y="2727"/>
                  </a:lnTo>
                  <a:lnTo>
                    <a:pt x="1136" y="2738"/>
                  </a:lnTo>
                  <a:lnTo>
                    <a:pt x="1133" y="2742"/>
                  </a:lnTo>
                  <a:lnTo>
                    <a:pt x="1127" y="2742"/>
                  </a:lnTo>
                  <a:lnTo>
                    <a:pt x="1121" y="2747"/>
                  </a:lnTo>
                  <a:lnTo>
                    <a:pt x="1114" y="2747"/>
                  </a:lnTo>
                  <a:lnTo>
                    <a:pt x="1113" y="2750"/>
                  </a:lnTo>
                  <a:lnTo>
                    <a:pt x="1110" y="2747"/>
                  </a:lnTo>
                  <a:lnTo>
                    <a:pt x="1106" y="2751"/>
                  </a:lnTo>
                  <a:lnTo>
                    <a:pt x="1096" y="2754"/>
                  </a:lnTo>
                  <a:lnTo>
                    <a:pt x="1089" y="2751"/>
                  </a:lnTo>
                  <a:lnTo>
                    <a:pt x="1085" y="2754"/>
                  </a:lnTo>
                  <a:lnTo>
                    <a:pt x="1078" y="2758"/>
                  </a:lnTo>
                  <a:lnTo>
                    <a:pt x="1077" y="2763"/>
                  </a:lnTo>
                  <a:lnTo>
                    <a:pt x="1072" y="2768"/>
                  </a:lnTo>
                  <a:lnTo>
                    <a:pt x="1066" y="2770"/>
                  </a:lnTo>
                  <a:lnTo>
                    <a:pt x="1061" y="2772"/>
                  </a:lnTo>
                  <a:lnTo>
                    <a:pt x="1056" y="2772"/>
                  </a:lnTo>
                  <a:lnTo>
                    <a:pt x="1052" y="2773"/>
                  </a:lnTo>
                  <a:lnTo>
                    <a:pt x="1050" y="2781"/>
                  </a:lnTo>
                  <a:lnTo>
                    <a:pt x="1047" y="2783"/>
                  </a:lnTo>
                  <a:lnTo>
                    <a:pt x="1043" y="2785"/>
                  </a:lnTo>
                  <a:lnTo>
                    <a:pt x="1038" y="2789"/>
                  </a:lnTo>
                  <a:lnTo>
                    <a:pt x="1022" y="2793"/>
                  </a:lnTo>
                  <a:lnTo>
                    <a:pt x="1018" y="2798"/>
                  </a:lnTo>
                  <a:lnTo>
                    <a:pt x="1008" y="2804"/>
                  </a:lnTo>
                  <a:lnTo>
                    <a:pt x="1003" y="2800"/>
                  </a:lnTo>
                  <a:lnTo>
                    <a:pt x="1000" y="2796"/>
                  </a:lnTo>
                  <a:lnTo>
                    <a:pt x="996" y="2793"/>
                  </a:lnTo>
                  <a:lnTo>
                    <a:pt x="985" y="2789"/>
                  </a:lnTo>
                  <a:lnTo>
                    <a:pt x="979" y="2783"/>
                  </a:lnTo>
                  <a:lnTo>
                    <a:pt x="971" y="2783"/>
                  </a:lnTo>
                  <a:lnTo>
                    <a:pt x="961" y="2789"/>
                  </a:lnTo>
                  <a:lnTo>
                    <a:pt x="953" y="2791"/>
                  </a:lnTo>
                  <a:lnTo>
                    <a:pt x="947" y="2795"/>
                  </a:lnTo>
                  <a:lnTo>
                    <a:pt x="939" y="2800"/>
                  </a:lnTo>
                  <a:lnTo>
                    <a:pt x="934" y="2803"/>
                  </a:lnTo>
                  <a:lnTo>
                    <a:pt x="925" y="2805"/>
                  </a:lnTo>
                  <a:lnTo>
                    <a:pt x="923" y="2809"/>
                  </a:lnTo>
                  <a:lnTo>
                    <a:pt x="923" y="2817"/>
                  </a:lnTo>
                  <a:lnTo>
                    <a:pt x="919" y="2822"/>
                  </a:lnTo>
                  <a:lnTo>
                    <a:pt x="906" y="2831"/>
                  </a:lnTo>
                  <a:lnTo>
                    <a:pt x="890" y="2845"/>
                  </a:lnTo>
                  <a:lnTo>
                    <a:pt x="879" y="2847"/>
                  </a:lnTo>
                  <a:lnTo>
                    <a:pt x="873" y="2845"/>
                  </a:lnTo>
                  <a:lnTo>
                    <a:pt x="865" y="2845"/>
                  </a:lnTo>
                  <a:lnTo>
                    <a:pt x="861" y="2843"/>
                  </a:lnTo>
                  <a:lnTo>
                    <a:pt x="853" y="2845"/>
                  </a:lnTo>
                  <a:lnTo>
                    <a:pt x="848" y="2845"/>
                  </a:lnTo>
                  <a:lnTo>
                    <a:pt x="840" y="2848"/>
                  </a:lnTo>
                  <a:lnTo>
                    <a:pt x="832" y="2851"/>
                  </a:lnTo>
                  <a:lnTo>
                    <a:pt x="829" y="2856"/>
                  </a:lnTo>
                  <a:lnTo>
                    <a:pt x="819" y="2862"/>
                  </a:lnTo>
                  <a:lnTo>
                    <a:pt x="815" y="2867"/>
                  </a:lnTo>
                  <a:lnTo>
                    <a:pt x="809" y="2871"/>
                  </a:lnTo>
                  <a:lnTo>
                    <a:pt x="800" y="2871"/>
                  </a:lnTo>
                  <a:lnTo>
                    <a:pt x="775" y="2884"/>
                  </a:lnTo>
                  <a:lnTo>
                    <a:pt x="767" y="2887"/>
                  </a:lnTo>
                  <a:lnTo>
                    <a:pt x="758" y="2890"/>
                  </a:lnTo>
                  <a:lnTo>
                    <a:pt x="750" y="2893"/>
                  </a:lnTo>
                  <a:lnTo>
                    <a:pt x="743" y="2903"/>
                  </a:lnTo>
                  <a:lnTo>
                    <a:pt x="737" y="2909"/>
                  </a:lnTo>
                  <a:lnTo>
                    <a:pt x="729" y="2912"/>
                  </a:lnTo>
                  <a:lnTo>
                    <a:pt x="722" y="2920"/>
                  </a:lnTo>
                  <a:lnTo>
                    <a:pt x="715" y="2922"/>
                  </a:lnTo>
                  <a:lnTo>
                    <a:pt x="711" y="2924"/>
                  </a:lnTo>
                  <a:lnTo>
                    <a:pt x="701" y="2929"/>
                  </a:lnTo>
                  <a:lnTo>
                    <a:pt x="697" y="2929"/>
                  </a:lnTo>
                  <a:lnTo>
                    <a:pt x="693" y="2925"/>
                  </a:lnTo>
                  <a:lnTo>
                    <a:pt x="688" y="2918"/>
                  </a:lnTo>
                  <a:lnTo>
                    <a:pt x="684" y="2918"/>
                  </a:lnTo>
                  <a:lnTo>
                    <a:pt x="669" y="2929"/>
                  </a:lnTo>
                  <a:lnTo>
                    <a:pt x="662" y="2933"/>
                  </a:lnTo>
                  <a:lnTo>
                    <a:pt x="657" y="2934"/>
                  </a:lnTo>
                  <a:lnTo>
                    <a:pt x="640" y="2942"/>
                  </a:lnTo>
                  <a:lnTo>
                    <a:pt x="634" y="2947"/>
                  </a:lnTo>
                  <a:lnTo>
                    <a:pt x="629" y="2957"/>
                  </a:lnTo>
                  <a:lnTo>
                    <a:pt x="627" y="2958"/>
                  </a:lnTo>
                  <a:lnTo>
                    <a:pt x="622" y="2959"/>
                  </a:lnTo>
                  <a:lnTo>
                    <a:pt x="613" y="2955"/>
                  </a:lnTo>
                  <a:lnTo>
                    <a:pt x="607" y="2957"/>
                  </a:lnTo>
                  <a:lnTo>
                    <a:pt x="596" y="2947"/>
                  </a:lnTo>
                  <a:lnTo>
                    <a:pt x="583" y="2946"/>
                  </a:lnTo>
                  <a:lnTo>
                    <a:pt x="577" y="2947"/>
                  </a:lnTo>
                  <a:lnTo>
                    <a:pt x="572" y="2951"/>
                  </a:lnTo>
                  <a:lnTo>
                    <a:pt x="569" y="2951"/>
                  </a:lnTo>
                  <a:lnTo>
                    <a:pt x="565" y="2955"/>
                  </a:lnTo>
                  <a:lnTo>
                    <a:pt x="555" y="2955"/>
                  </a:lnTo>
                  <a:lnTo>
                    <a:pt x="551" y="2958"/>
                  </a:lnTo>
                  <a:lnTo>
                    <a:pt x="549" y="2957"/>
                  </a:lnTo>
                  <a:lnTo>
                    <a:pt x="547" y="2958"/>
                  </a:lnTo>
                  <a:lnTo>
                    <a:pt x="536" y="2965"/>
                  </a:lnTo>
                  <a:lnTo>
                    <a:pt x="530" y="2965"/>
                  </a:lnTo>
                  <a:lnTo>
                    <a:pt x="529" y="2965"/>
                  </a:lnTo>
                  <a:lnTo>
                    <a:pt x="523" y="2958"/>
                  </a:lnTo>
                  <a:lnTo>
                    <a:pt x="511" y="2957"/>
                  </a:lnTo>
                  <a:lnTo>
                    <a:pt x="499" y="2951"/>
                  </a:lnTo>
                  <a:lnTo>
                    <a:pt x="488" y="2957"/>
                  </a:lnTo>
                  <a:lnTo>
                    <a:pt x="481" y="2957"/>
                  </a:lnTo>
                  <a:lnTo>
                    <a:pt x="476" y="2963"/>
                  </a:lnTo>
                  <a:lnTo>
                    <a:pt x="473" y="2963"/>
                  </a:lnTo>
                  <a:lnTo>
                    <a:pt x="462" y="2959"/>
                  </a:lnTo>
                  <a:lnTo>
                    <a:pt x="454" y="2954"/>
                  </a:lnTo>
                  <a:lnTo>
                    <a:pt x="449" y="2951"/>
                  </a:lnTo>
                  <a:lnTo>
                    <a:pt x="445" y="2945"/>
                  </a:lnTo>
                  <a:lnTo>
                    <a:pt x="441" y="2942"/>
                  </a:lnTo>
                  <a:lnTo>
                    <a:pt x="434" y="2938"/>
                  </a:lnTo>
                  <a:lnTo>
                    <a:pt x="413" y="2934"/>
                  </a:lnTo>
                  <a:lnTo>
                    <a:pt x="406" y="2929"/>
                  </a:lnTo>
                  <a:lnTo>
                    <a:pt x="402" y="2929"/>
                  </a:lnTo>
                  <a:lnTo>
                    <a:pt x="399" y="2929"/>
                  </a:lnTo>
                  <a:lnTo>
                    <a:pt x="394" y="2934"/>
                  </a:lnTo>
                  <a:lnTo>
                    <a:pt x="374" y="2937"/>
                  </a:lnTo>
                  <a:lnTo>
                    <a:pt x="370" y="2937"/>
                  </a:lnTo>
                  <a:lnTo>
                    <a:pt x="367" y="2934"/>
                  </a:lnTo>
                  <a:lnTo>
                    <a:pt x="366" y="2932"/>
                  </a:lnTo>
                  <a:lnTo>
                    <a:pt x="363" y="2925"/>
                  </a:lnTo>
                  <a:lnTo>
                    <a:pt x="358" y="2920"/>
                  </a:lnTo>
                  <a:lnTo>
                    <a:pt x="356" y="2920"/>
                  </a:lnTo>
                  <a:lnTo>
                    <a:pt x="348" y="2922"/>
                  </a:lnTo>
                  <a:lnTo>
                    <a:pt x="342" y="2920"/>
                  </a:lnTo>
                  <a:lnTo>
                    <a:pt x="341" y="2916"/>
                  </a:lnTo>
                  <a:lnTo>
                    <a:pt x="341" y="2907"/>
                  </a:lnTo>
                  <a:lnTo>
                    <a:pt x="328" y="2890"/>
                  </a:lnTo>
                  <a:lnTo>
                    <a:pt x="330" y="2883"/>
                  </a:lnTo>
                  <a:lnTo>
                    <a:pt x="328" y="2880"/>
                  </a:lnTo>
                  <a:lnTo>
                    <a:pt x="323" y="2884"/>
                  </a:lnTo>
                  <a:lnTo>
                    <a:pt x="320" y="2884"/>
                  </a:lnTo>
                  <a:lnTo>
                    <a:pt x="320" y="2880"/>
                  </a:lnTo>
                  <a:lnTo>
                    <a:pt x="316" y="2876"/>
                  </a:lnTo>
                  <a:lnTo>
                    <a:pt x="319" y="2875"/>
                  </a:lnTo>
                  <a:lnTo>
                    <a:pt x="317" y="2873"/>
                  </a:lnTo>
                  <a:lnTo>
                    <a:pt x="313" y="2875"/>
                  </a:lnTo>
                  <a:lnTo>
                    <a:pt x="310" y="2871"/>
                  </a:lnTo>
                  <a:lnTo>
                    <a:pt x="308" y="2867"/>
                  </a:lnTo>
                  <a:lnTo>
                    <a:pt x="308" y="2865"/>
                  </a:lnTo>
                  <a:lnTo>
                    <a:pt x="303" y="2865"/>
                  </a:lnTo>
                  <a:lnTo>
                    <a:pt x="298" y="2858"/>
                  </a:lnTo>
                  <a:lnTo>
                    <a:pt x="297" y="2854"/>
                  </a:lnTo>
                  <a:lnTo>
                    <a:pt x="297" y="2853"/>
                  </a:lnTo>
                  <a:lnTo>
                    <a:pt x="287" y="2845"/>
                  </a:lnTo>
                  <a:lnTo>
                    <a:pt x="285" y="2840"/>
                  </a:lnTo>
                  <a:lnTo>
                    <a:pt x="280" y="2838"/>
                  </a:lnTo>
                  <a:lnTo>
                    <a:pt x="275" y="2831"/>
                  </a:lnTo>
                  <a:lnTo>
                    <a:pt x="275" y="2830"/>
                  </a:lnTo>
                  <a:lnTo>
                    <a:pt x="281" y="2817"/>
                  </a:lnTo>
                  <a:lnTo>
                    <a:pt x="284" y="2816"/>
                  </a:lnTo>
                  <a:lnTo>
                    <a:pt x="281" y="2813"/>
                  </a:lnTo>
                  <a:lnTo>
                    <a:pt x="281" y="2812"/>
                  </a:lnTo>
                  <a:lnTo>
                    <a:pt x="280" y="2809"/>
                  </a:lnTo>
                  <a:lnTo>
                    <a:pt x="277" y="2804"/>
                  </a:lnTo>
                  <a:lnTo>
                    <a:pt x="273" y="2804"/>
                  </a:lnTo>
                  <a:lnTo>
                    <a:pt x="273" y="2800"/>
                  </a:lnTo>
                  <a:lnTo>
                    <a:pt x="275" y="2800"/>
                  </a:lnTo>
                  <a:lnTo>
                    <a:pt x="274" y="2791"/>
                  </a:lnTo>
                  <a:lnTo>
                    <a:pt x="267" y="2785"/>
                  </a:lnTo>
                  <a:lnTo>
                    <a:pt x="264" y="2786"/>
                  </a:lnTo>
                  <a:lnTo>
                    <a:pt x="259" y="2783"/>
                  </a:lnTo>
                  <a:lnTo>
                    <a:pt x="259" y="2780"/>
                  </a:lnTo>
                  <a:lnTo>
                    <a:pt x="258" y="2773"/>
                  </a:lnTo>
                  <a:lnTo>
                    <a:pt x="259" y="2772"/>
                  </a:lnTo>
                  <a:lnTo>
                    <a:pt x="260" y="2767"/>
                  </a:lnTo>
                  <a:lnTo>
                    <a:pt x="259" y="2764"/>
                  </a:lnTo>
                  <a:lnTo>
                    <a:pt x="258" y="2759"/>
                  </a:lnTo>
                  <a:lnTo>
                    <a:pt x="253" y="2758"/>
                  </a:lnTo>
                  <a:lnTo>
                    <a:pt x="252" y="2751"/>
                  </a:lnTo>
                  <a:lnTo>
                    <a:pt x="252" y="2747"/>
                  </a:lnTo>
                  <a:lnTo>
                    <a:pt x="245" y="2742"/>
                  </a:lnTo>
                  <a:lnTo>
                    <a:pt x="244" y="2734"/>
                  </a:lnTo>
                  <a:lnTo>
                    <a:pt x="237" y="2729"/>
                  </a:lnTo>
                  <a:lnTo>
                    <a:pt x="235" y="2723"/>
                  </a:lnTo>
                  <a:lnTo>
                    <a:pt x="233" y="2723"/>
                  </a:lnTo>
                  <a:lnTo>
                    <a:pt x="225" y="2716"/>
                  </a:lnTo>
                  <a:lnTo>
                    <a:pt x="222" y="2711"/>
                  </a:lnTo>
                  <a:lnTo>
                    <a:pt x="223" y="2709"/>
                  </a:lnTo>
                  <a:lnTo>
                    <a:pt x="220" y="2706"/>
                  </a:lnTo>
                  <a:lnTo>
                    <a:pt x="220" y="2705"/>
                  </a:lnTo>
                  <a:lnTo>
                    <a:pt x="222" y="2701"/>
                  </a:lnTo>
                  <a:lnTo>
                    <a:pt x="223" y="2701"/>
                  </a:lnTo>
                  <a:lnTo>
                    <a:pt x="217" y="2699"/>
                  </a:lnTo>
                  <a:lnTo>
                    <a:pt x="216" y="2697"/>
                  </a:lnTo>
                  <a:lnTo>
                    <a:pt x="212" y="2696"/>
                  </a:lnTo>
                  <a:lnTo>
                    <a:pt x="210" y="2693"/>
                  </a:lnTo>
                  <a:lnTo>
                    <a:pt x="212" y="2689"/>
                  </a:lnTo>
                  <a:lnTo>
                    <a:pt x="212" y="2686"/>
                  </a:lnTo>
                  <a:lnTo>
                    <a:pt x="213" y="2676"/>
                  </a:lnTo>
                  <a:lnTo>
                    <a:pt x="208" y="2673"/>
                  </a:lnTo>
                  <a:lnTo>
                    <a:pt x="206" y="2671"/>
                  </a:lnTo>
                  <a:lnTo>
                    <a:pt x="203" y="2669"/>
                  </a:lnTo>
                  <a:lnTo>
                    <a:pt x="203" y="2667"/>
                  </a:lnTo>
                  <a:lnTo>
                    <a:pt x="196" y="2661"/>
                  </a:lnTo>
                  <a:lnTo>
                    <a:pt x="196" y="2656"/>
                  </a:lnTo>
                  <a:lnTo>
                    <a:pt x="196" y="2654"/>
                  </a:lnTo>
                  <a:lnTo>
                    <a:pt x="189" y="2648"/>
                  </a:lnTo>
                  <a:lnTo>
                    <a:pt x="185" y="2651"/>
                  </a:lnTo>
                  <a:lnTo>
                    <a:pt x="187" y="2639"/>
                  </a:lnTo>
                  <a:lnTo>
                    <a:pt x="185" y="2635"/>
                  </a:lnTo>
                  <a:lnTo>
                    <a:pt x="180" y="2634"/>
                  </a:lnTo>
                  <a:lnTo>
                    <a:pt x="180" y="2629"/>
                  </a:lnTo>
                  <a:lnTo>
                    <a:pt x="181" y="2622"/>
                  </a:lnTo>
                  <a:lnTo>
                    <a:pt x="181" y="2612"/>
                  </a:lnTo>
                  <a:lnTo>
                    <a:pt x="184" y="2609"/>
                  </a:lnTo>
                  <a:lnTo>
                    <a:pt x="184" y="2599"/>
                  </a:lnTo>
                  <a:lnTo>
                    <a:pt x="187" y="2593"/>
                  </a:lnTo>
                  <a:lnTo>
                    <a:pt x="185" y="2582"/>
                  </a:lnTo>
                  <a:lnTo>
                    <a:pt x="187" y="2581"/>
                  </a:lnTo>
                  <a:lnTo>
                    <a:pt x="189" y="2576"/>
                  </a:lnTo>
                  <a:lnTo>
                    <a:pt x="188" y="2572"/>
                  </a:lnTo>
                  <a:lnTo>
                    <a:pt x="181" y="2568"/>
                  </a:lnTo>
                  <a:lnTo>
                    <a:pt x="177" y="2568"/>
                  </a:lnTo>
                  <a:lnTo>
                    <a:pt x="175" y="2564"/>
                  </a:lnTo>
                  <a:lnTo>
                    <a:pt x="175" y="2560"/>
                  </a:lnTo>
                  <a:lnTo>
                    <a:pt x="173" y="2555"/>
                  </a:lnTo>
                  <a:lnTo>
                    <a:pt x="171" y="2551"/>
                  </a:lnTo>
                  <a:lnTo>
                    <a:pt x="167" y="2549"/>
                  </a:lnTo>
                  <a:lnTo>
                    <a:pt x="168" y="2542"/>
                  </a:lnTo>
                  <a:lnTo>
                    <a:pt x="167" y="2536"/>
                  </a:lnTo>
                  <a:lnTo>
                    <a:pt x="171" y="2509"/>
                  </a:lnTo>
                  <a:lnTo>
                    <a:pt x="170" y="2506"/>
                  </a:lnTo>
                  <a:lnTo>
                    <a:pt x="167" y="2505"/>
                  </a:lnTo>
                  <a:lnTo>
                    <a:pt x="164" y="2487"/>
                  </a:lnTo>
                  <a:lnTo>
                    <a:pt x="166" y="2470"/>
                  </a:lnTo>
                  <a:lnTo>
                    <a:pt x="159" y="2461"/>
                  </a:lnTo>
                  <a:lnTo>
                    <a:pt x="159" y="2457"/>
                  </a:lnTo>
                  <a:lnTo>
                    <a:pt x="157" y="2452"/>
                  </a:lnTo>
                  <a:lnTo>
                    <a:pt x="153" y="2448"/>
                  </a:lnTo>
                  <a:lnTo>
                    <a:pt x="142" y="2443"/>
                  </a:lnTo>
                  <a:lnTo>
                    <a:pt x="139" y="2443"/>
                  </a:lnTo>
                  <a:lnTo>
                    <a:pt x="138" y="2437"/>
                  </a:lnTo>
                  <a:lnTo>
                    <a:pt x="135" y="2430"/>
                  </a:lnTo>
                  <a:lnTo>
                    <a:pt x="134" y="2426"/>
                  </a:lnTo>
                  <a:lnTo>
                    <a:pt x="113" y="2431"/>
                  </a:lnTo>
                  <a:lnTo>
                    <a:pt x="100" y="2437"/>
                  </a:lnTo>
                  <a:lnTo>
                    <a:pt x="79" y="2364"/>
                  </a:lnTo>
                  <a:lnTo>
                    <a:pt x="84" y="2360"/>
                  </a:lnTo>
                  <a:lnTo>
                    <a:pt x="85" y="2354"/>
                  </a:lnTo>
                  <a:lnTo>
                    <a:pt x="90" y="2351"/>
                  </a:lnTo>
                  <a:lnTo>
                    <a:pt x="99" y="2341"/>
                  </a:lnTo>
                  <a:lnTo>
                    <a:pt x="115" y="2332"/>
                  </a:lnTo>
                  <a:lnTo>
                    <a:pt x="120" y="2327"/>
                  </a:lnTo>
                  <a:lnTo>
                    <a:pt x="124" y="2327"/>
                  </a:lnTo>
                  <a:lnTo>
                    <a:pt x="124" y="2323"/>
                  </a:lnTo>
                  <a:lnTo>
                    <a:pt x="127" y="2315"/>
                  </a:lnTo>
                  <a:lnTo>
                    <a:pt x="131" y="2315"/>
                  </a:lnTo>
                  <a:lnTo>
                    <a:pt x="137" y="2318"/>
                  </a:lnTo>
                  <a:lnTo>
                    <a:pt x="149" y="2315"/>
                  </a:lnTo>
                  <a:lnTo>
                    <a:pt x="160" y="2315"/>
                  </a:lnTo>
                  <a:lnTo>
                    <a:pt x="167" y="2309"/>
                  </a:lnTo>
                  <a:lnTo>
                    <a:pt x="170" y="2308"/>
                  </a:lnTo>
                  <a:lnTo>
                    <a:pt x="168" y="2302"/>
                  </a:lnTo>
                  <a:lnTo>
                    <a:pt x="170" y="2301"/>
                  </a:lnTo>
                  <a:lnTo>
                    <a:pt x="178" y="2291"/>
                  </a:lnTo>
                  <a:lnTo>
                    <a:pt x="181" y="2289"/>
                  </a:lnTo>
                  <a:lnTo>
                    <a:pt x="182" y="2286"/>
                  </a:lnTo>
                  <a:lnTo>
                    <a:pt x="187" y="2283"/>
                  </a:lnTo>
                  <a:lnTo>
                    <a:pt x="189" y="2279"/>
                  </a:lnTo>
                  <a:lnTo>
                    <a:pt x="194" y="2274"/>
                  </a:lnTo>
                  <a:lnTo>
                    <a:pt x="195" y="2273"/>
                  </a:lnTo>
                  <a:lnTo>
                    <a:pt x="196" y="2273"/>
                  </a:lnTo>
                  <a:lnTo>
                    <a:pt x="199" y="2270"/>
                  </a:lnTo>
                  <a:lnTo>
                    <a:pt x="196" y="2270"/>
                  </a:lnTo>
                  <a:lnTo>
                    <a:pt x="196" y="2266"/>
                  </a:lnTo>
                  <a:lnTo>
                    <a:pt x="192" y="2266"/>
                  </a:lnTo>
                  <a:lnTo>
                    <a:pt x="191" y="2265"/>
                  </a:lnTo>
                  <a:lnTo>
                    <a:pt x="194" y="2261"/>
                  </a:lnTo>
                  <a:lnTo>
                    <a:pt x="192" y="2256"/>
                  </a:lnTo>
                  <a:lnTo>
                    <a:pt x="196" y="2253"/>
                  </a:lnTo>
                  <a:lnTo>
                    <a:pt x="195" y="2252"/>
                  </a:lnTo>
                  <a:lnTo>
                    <a:pt x="191" y="2253"/>
                  </a:lnTo>
                  <a:lnTo>
                    <a:pt x="189" y="2252"/>
                  </a:lnTo>
                  <a:lnTo>
                    <a:pt x="192" y="2248"/>
                  </a:lnTo>
                  <a:lnTo>
                    <a:pt x="192" y="2244"/>
                  </a:lnTo>
                  <a:lnTo>
                    <a:pt x="194" y="2239"/>
                  </a:lnTo>
                  <a:lnTo>
                    <a:pt x="196" y="2239"/>
                  </a:lnTo>
                  <a:lnTo>
                    <a:pt x="195" y="2234"/>
                  </a:lnTo>
                  <a:lnTo>
                    <a:pt x="196" y="2234"/>
                  </a:lnTo>
                  <a:lnTo>
                    <a:pt x="196" y="2231"/>
                  </a:lnTo>
                  <a:lnTo>
                    <a:pt x="200" y="2231"/>
                  </a:lnTo>
                  <a:lnTo>
                    <a:pt x="202" y="2231"/>
                  </a:lnTo>
                  <a:lnTo>
                    <a:pt x="203" y="2225"/>
                  </a:lnTo>
                  <a:lnTo>
                    <a:pt x="202" y="2221"/>
                  </a:lnTo>
                  <a:lnTo>
                    <a:pt x="205" y="2221"/>
                  </a:lnTo>
                  <a:lnTo>
                    <a:pt x="205" y="2217"/>
                  </a:lnTo>
                  <a:lnTo>
                    <a:pt x="208" y="2217"/>
                  </a:lnTo>
                  <a:lnTo>
                    <a:pt x="208" y="2216"/>
                  </a:lnTo>
                  <a:lnTo>
                    <a:pt x="208" y="2215"/>
                  </a:lnTo>
                  <a:lnTo>
                    <a:pt x="209" y="2212"/>
                  </a:lnTo>
                  <a:lnTo>
                    <a:pt x="212" y="2208"/>
                  </a:lnTo>
                  <a:lnTo>
                    <a:pt x="212" y="2207"/>
                  </a:lnTo>
                  <a:lnTo>
                    <a:pt x="210" y="2203"/>
                  </a:lnTo>
                  <a:lnTo>
                    <a:pt x="210" y="2195"/>
                  </a:lnTo>
                  <a:lnTo>
                    <a:pt x="213" y="2194"/>
                  </a:lnTo>
                  <a:lnTo>
                    <a:pt x="212" y="2190"/>
                  </a:lnTo>
                  <a:lnTo>
                    <a:pt x="214" y="2189"/>
                  </a:lnTo>
                  <a:lnTo>
                    <a:pt x="214" y="2186"/>
                  </a:lnTo>
                  <a:lnTo>
                    <a:pt x="217" y="2184"/>
                  </a:lnTo>
                  <a:lnTo>
                    <a:pt x="217" y="2180"/>
                  </a:lnTo>
                  <a:lnTo>
                    <a:pt x="219" y="2180"/>
                  </a:lnTo>
                  <a:lnTo>
                    <a:pt x="219" y="2177"/>
                  </a:lnTo>
                  <a:lnTo>
                    <a:pt x="217" y="2172"/>
                  </a:lnTo>
                  <a:lnTo>
                    <a:pt x="222" y="2172"/>
                  </a:lnTo>
                  <a:lnTo>
                    <a:pt x="223" y="2171"/>
                  </a:lnTo>
                  <a:lnTo>
                    <a:pt x="225" y="2167"/>
                  </a:lnTo>
                  <a:lnTo>
                    <a:pt x="225" y="2166"/>
                  </a:lnTo>
                  <a:lnTo>
                    <a:pt x="228" y="2159"/>
                  </a:lnTo>
                  <a:lnTo>
                    <a:pt x="225" y="2154"/>
                  </a:lnTo>
                  <a:lnTo>
                    <a:pt x="227" y="2145"/>
                  </a:lnTo>
                  <a:lnTo>
                    <a:pt x="225" y="2145"/>
                  </a:lnTo>
                  <a:lnTo>
                    <a:pt x="224" y="2145"/>
                  </a:lnTo>
                  <a:lnTo>
                    <a:pt x="224" y="2141"/>
                  </a:lnTo>
                  <a:lnTo>
                    <a:pt x="222" y="2135"/>
                  </a:lnTo>
                  <a:lnTo>
                    <a:pt x="222" y="2134"/>
                  </a:lnTo>
                  <a:lnTo>
                    <a:pt x="224" y="2134"/>
                  </a:lnTo>
                  <a:lnTo>
                    <a:pt x="224" y="2132"/>
                  </a:lnTo>
                  <a:lnTo>
                    <a:pt x="222" y="2128"/>
                  </a:lnTo>
                  <a:lnTo>
                    <a:pt x="222" y="2127"/>
                  </a:lnTo>
                  <a:lnTo>
                    <a:pt x="220" y="2127"/>
                  </a:lnTo>
                  <a:lnTo>
                    <a:pt x="220" y="2124"/>
                  </a:lnTo>
                  <a:lnTo>
                    <a:pt x="209" y="2121"/>
                  </a:lnTo>
                  <a:lnTo>
                    <a:pt x="202" y="2119"/>
                  </a:lnTo>
                  <a:lnTo>
                    <a:pt x="200" y="2119"/>
                  </a:lnTo>
                  <a:lnTo>
                    <a:pt x="198" y="2122"/>
                  </a:lnTo>
                  <a:lnTo>
                    <a:pt x="195" y="2124"/>
                  </a:lnTo>
                  <a:lnTo>
                    <a:pt x="189" y="2122"/>
                  </a:lnTo>
                  <a:lnTo>
                    <a:pt x="182" y="2124"/>
                  </a:lnTo>
                  <a:lnTo>
                    <a:pt x="175" y="2128"/>
                  </a:lnTo>
                  <a:lnTo>
                    <a:pt x="170" y="2137"/>
                  </a:lnTo>
                  <a:lnTo>
                    <a:pt x="159" y="2141"/>
                  </a:lnTo>
                  <a:lnTo>
                    <a:pt x="149" y="2141"/>
                  </a:lnTo>
                  <a:lnTo>
                    <a:pt x="148" y="2140"/>
                  </a:lnTo>
                  <a:lnTo>
                    <a:pt x="142" y="2141"/>
                  </a:lnTo>
                  <a:lnTo>
                    <a:pt x="127" y="2134"/>
                  </a:lnTo>
                  <a:lnTo>
                    <a:pt x="121" y="2132"/>
                  </a:lnTo>
                  <a:lnTo>
                    <a:pt x="120" y="2132"/>
                  </a:lnTo>
                  <a:lnTo>
                    <a:pt x="113" y="2132"/>
                  </a:lnTo>
                  <a:lnTo>
                    <a:pt x="110" y="2128"/>
                  </a:lnTo>
                  <a:lnTo>
                    <a:pt x="109" y="2124"/>
                  </a:lnTo>
                  <a:lnTo>
                    <a:pt x="103" y="2124"/>
                  </a:lnTo>
                  <a:lnTo>
                    <a:pt x="103" y="2119"/>
                  </a:lnTo>
                  <a:lnTo>
                    <a:pt x="99" y="2115"/>
                  </a:lnTo>
                  <a:lnTo>
                    <a:pt x="85" y="2113"/>
                  </a:lnTo>
                  <a:lnTo>
                    <a:pt x="81" y="2109"/>
                  </a:lnTo>
                  <a:lnTo>
                    <a:pt x="78" y="2108"/>
                  </a:lnTo>
                  <a:lnTo>
                    <a:pt x="71" y="2105"/>
                  </a:lnTo>
                  <a:lnTo>
                    <a:pt x="65" y="2108"/>
                  </a:lnTo>
                  <a:lnTo>
                    <a:pt x="63" y="2105"/>
                  </a:lnTo>
                  <a:lnTo>
                    <a:pt x="53" y="2102"/>
                  </a:lnTo>
                  <a:lnTo>
                    <a:pt x="50" y="2100"/>
                  </a:lnTo>
                  <a:lnTo>
                    <a:pt x="45" y="2102"/>
                  </a:lnTo>
                  <a:lnTo>
                    <a:pt x="37" y="2099"/>
                  </a:lnTo>
                  <a:lnTo>
                    <a:pt x="14" y="2074"/>
                  </a:lnTo>
                  <a:lnTo>
                    <a:pt x="2" y="2066"/>
                  </a:lnTo>
                  <a:lnTo>
                    <a:pt x="0" y="2060"/>
                  </a:lnTo>
                  <a:lnTo>
                    <a:pt x="3" y="2051"/>
                  </a:lnTo>
                  <a:lnTo>
                    <a:pt x="6" y="2050"/>
                  </a:lnTo>
                  <a:lnTo>
                    <a:pt x="17" y="2037"/>
                  </a:lnTo>
                  <a:lnTo>
                    <a:pt x="23" y="2037"/>
                  </a:lnTo>
                  <a:lnTo>
                    <a:pt x="28" y="2030"/>
                  </a:lnTo>
                  <a:lnTo>
                    <a:pt x="37" y="2025"/>
                  </a:lnTo>
                  <a:lnTo>
                    <a:pt x="40" y="2021"/>
                  </a:lnTo>
                  <a:lnTo>
                    <a:pt x="45" y="2012"/>
                  </a:lnTo>
                  <a:lnTo>
                    <a:pt x="49" y="2010"/>
                  </a:lnTo>
                  <a:lnTo>
                    <a:pt x="49" y="2006"/>
                  </a:lnTo>
                  <a:lnTo>
                    <a:pt x="48" y="2001"/>
                  </a:lnTo>
                  <a:lnTo>
                    <a:pt x="49" y="1998"/>
                  </a:lnTo>
                  <a:lnTo>
                    <a:pt x="48" y="1995"/>
                  </a:lnTo>
                  <a:lnTo>
                    <a:pt x="48" y="1989"/>
                  </a:lnTo>
                  <a:lnTo>
                    <a:pt x="46" y="1988"/>
                  </a:lnTo>
                  <a:lnTo>
                    <a:pt x="50" y="1980"/>
                  </a:lnTo>
                  <a:lnTo>
                    <a:pt x="52" y="1976"/>
                  </a:lnTo>
                  <a:lnTo>
                    <a:pt x="54" y="1972"/>
                  </a:lnTo>
                  <a:lnTo>
                    <a:pt x="56" y="1967"/>
                  </a:lnTo>
                  <a:lnTo>
                    <a:pt x="59" y="1966"/>
                  </a:lnTo>
                  <a:lnTo>
                    <a:pt x="60" y="1958"/>
                  </a:lnTo>
                  <a:lnTo>
                    <a:pt x="73" y="1945"/>
                  </a:lnTo>
                  <a:lnTo>
                    <a:pt x="73" y="1941"/>
                  </a:lnTo>
                  <a:lnTo>
                    <a:pt x="71" y="1937"/>
                  </a:lnTo>
                  <a:lnTo>
                    <a:pt x="67" y="1935"/>
                  </a:lnTo>
                  <a:lnTo>
                    <a:pt x="67" y="1930"/>
                  </a:lnTo>
                  <a:lnTo>
                    <a:pt x="71" y="1928"/>
                  </a:lnTo>
                  <a:lnTo>
                    <a:pt x="73" y="1922"/>
                  </a:lnTo>
                  <a:lnTo>
                    <a:pt x="77" y="1918"/>
                  </a:lnTo>
                  <a:lnTo>
                    <a:pt x="81" y="1909"/>
                  </a:lnTo>
                  <a:lnTo>
                    <a:pt x="87" y="1904"/>
                  </a:lnTo>
                  <a:lnTo>
                    <a:pt x="87" y="1898"/>
                  </a:lnTo>
                  <a:lnTo>
                    <a:pt x="82" y="1896"/>
                  </a:lnTo>
                  <a:lnTo>
                    <a:pt x="81" y="1891"/>
                  </a:lnTo>
                  <a:lnTo>
                    <a:pt x="74" y="1892"/>
                  </a:lnTo>
                  <a:lnTo>
                    <a:pt x="71" y="1883"/>
                  </a:lnTo>
                  <a:lnTo>
                    <a:pt x="71" y="1881"/>
                  </a:lnTo>
                  <a:lnTo>
                    <a:pt x="74" y="1877"/>
                  </a:lnTo>
                  <a:lnTo>
                    <a:pt x="78" y="1873"/>
                  </a:lnTo>
                  <a:lnTo>
                    <a:pt x="77" y="1866"/>
                  </a:lnTo>
                  <a:lnTo>
                    <a:pt x="79" y="1863"/>
                  </a:lnTo>
                  <a:lnTo>
                    <a:pt x="82" y="1856"/>
                  </a:lnTo>
                  <a:lnTo>
                    <a:pt x="88" y="1847"/>
                  </a:lnTo>
                  <a:lnTo>
                    <a:pt x="88" y="1843"/>
                  </a:lnTo>
                  <a:lnTo>
                    <a:pt x="88" y="1838"/>
                  </a:lnTo>
                  <a:lnTo>
                    <a:pt x="84" y="1834"/>
                  </a:lnTo>
                  <a:lnTo>
                    <a:pt x="82" y="1829"/>
                  </a:lnTo>
                  <a:lnTo>
                    <a:pt x="82" y="1825"/>
                  </a:lnTo>
                  <a:lnTo>
                    <a:pt x="77" y="1815"/>
                  </a:lnTo>
                  <a:lnTo>
                    <a:pt x="78" y="1815"/>
                  </a:lnTo>
                  <a:lnTo>
                    <a:pt x="81" y="1812"/>
                  </a:lnTo>
                  <a:lnTo>
                    <a:pt x="78" y="1802"/>
                  </a:lnTo>
                  <a:lnTo>
                    <a:pt x="79" y="1798"/>
                  </a:lnTo>
                  <a:lnTo>
                    <a:pt x="81" y="1797"/>
                  </a:lnTo>
                  <a:lnTo>
                    <a:pt x="79" y="1793"/>
                  </a:lnTo>
                  <a:lnTo>
                    <a:pt x="82" y="1789"/>
                  </a:lnTo>
                  <a:lnTo>
                    <a:pt x="81" y="1785"/>
                  </a:lnTo>
                  <a:lnTo>
                    <a:pt x="84" y="1779"/>
                  </a:lnTo>
                  <a:lnTo>
                    <a:pt x="82" y="1776"/>
                  </a:lnTo>
                  <a:lnTo>
                    <a:pt x="81" y="1767"/>
                  </a:lnTo>
                  <a:lnTo>
                    <a:pt x="77" y="1763"/>
                  </a:lnTo>
                  <a:lnTo>
                    <a:pt x="77" y="1760"/>
                  </a:lnTo>
                  <a:lnTo>
                    <a:pt x="75" y="1757"/>
                  </a:lnTo>
                  <a:lnTo>
                    <a:pt x="74" y="1756"/>
                  </a:lnTo>
                  <a:lnTo>
                    <a:pt x="73" y="1757"/>
                  </a:lnTo>
                  <a:lnTo>
                    <a:pt x="68" y="1756"/>
                  </a:lnTo>
                  <a:lnTo>
                    <a:pt x="70" y="1752"/>
                  </a:lnTo>
                  <a:lnTo>
                    <a:pt x="70" y="1750"/>
                  </a:lnTo>
                  <a:lnTo>
                    <a:pt x="71" y="1748"/>
                  </a:lnTo>
                  <a:lnTo>
                    <a:pt x="70" y="1744"/>
                  </a:lnTo>
                  <a:lnTo>
                    <a:pt x="73" y="1734"/>
                  </a:lnTo>
                  <a:lnTo>
                    <a:pt x="71" y="1731"/>
                  </a:lnTo>
                  <a:lnTo>
                    <a:pt x="73" y="1730"/>
                  </a:lnTo>
                  <a:lnTo>
                    <a:pt x="73" y="1727"/>
                  </a:lnTo>
                  <a:lnTo>
                    <a:pt x="75" y="1722"/>
                  </a:lnTo>
                  <a:lnTo>
                    <a:pt x="77" y="1715"/>
                  </a:lnTo>
                  <a:lnTo>
                    <a:pt x="79" y="1714"/>
                  </a:lnTo>
                  <a:lnTo>
                    <a:pt x="78" y="1709"/>
                  </a:lnTo>
                  <a:lnTo>
                    <a:pt x="84" y="1705"/>
                  </a:lnTo>
                  <a:lnTo>
                    <a:pt x="87" y="1700"/>
                  </a:lnTo>
                  <a:lnTo>
                    <a:pt x="89" y="1698"/>
                  </a:lnTo>
                  <a:lnTo>
                    <a:pt x="90" y="1695"/>
                  </a:lnTo>
                  <a:lnTo>
                    <a:pt x="92" y="1692"/>
                  </a:lnTo>
                  <a:lnTo>
                    <a:pt x="89" y="1690"/>
                  </a:lnTo>
                  <a:lnTo>
                    <a:pt x="85" y="1682"/>
                  </a:lnTo>
                  <a:lnTo>
                    <a:pt x="88" y="1676"/>
                  </a:lnTo>
                  <a:lnTo>
                    <a:pt x="88" y="1668"/>
                  </a:lnTo>
                  <a:lnTo>
                    <a:pt x="90" y="1664"/>
                  </a:lnTo>
                  <a:lnTo>
                    <a:pt x="93" y="1664"/>
                  </a:lnTo>
                  <a:lnTo>
                    <a:pt x="96" y="1663"/>
                  </a:lnTo>
                  <a:lnTo>
                    <a:pt x="100" y="1656"/>
                  </a:lnTo>
                  <a:lnTo>
                    <a:pt x="104" y="1651"/>
                  </a:lnTo>
                  <a:lnTo>
                    <a:pt x="102" y="1647"/>
                  </a:lnTo>
                  <a:lnTo>
                    <a:pt x="109" y="1642"/>
                  </a:lnTo>
                  <a:lnTo>
                    <a:pt x="110" y="1632"/>
                  </a:lnTo>
                  <a:lnTo>
                    <a:pt x="114" y="1628"/>
                  </a:lnTo>
                  <a:lnTo>
                    <a:pt x="113" y="1627"/>
                  </a:lnTo>
                  <a:lnTo>
                    <a:pt x="115" y="1623"/>
                  </a:lnTo>
                  <a:lnTo>
                    <a:pt x="115" y="1614"/>
                  </a:lnTo>
                  <a:lnTo>
                    <a:pt x="114" y="1610"/>
                  </a:lnTo>
                  <a:lnTo>
                    <a:pt x="112" y="1611"/>
                  </a:lnTo>
                  <a:lnTo>
                    <a:pt x="112" y="1607"/>
                  </a:lnTo>
                  <a:lnTo>
                    <a:pt x="109" y="1607"/>
                  </a:lnTo>
                  <a:lnTo>
                    <a:pt x="110" y="1601"/>
                  </a:lnTo>
                  <a:lnTo>
                    <a:pt x="107" y="1601"/>
                  </a:lnTo>
                  <a:lnTo>
                    <a:pt x="107" y="1597"/>
                  </a:lnTo>
                  <a:lnTo>
                    <a:pt x="113" y="1593"/>
                  </a:lnTo>
                  <a:lnTo>
                    <a:pt x="115" y="1588"/>
                  </a:lnTo>
                  <a:lnTo>
                    <a:pt x="115" y="1585"/>
                  </a:lnTo>
                  <a:lnTo>
                    <a:pt x="118" y="1580"/>
                  </a:lnTo>
                  <a:lnTo>
                    <a:pt x="117" y="1576"/>
                  </a:lnTo>
                  <a:lnTo>
                    <a:pt x="118" y="1570"/>
                  </a:lnTo>
                  <a:lnTo>
                    <a:pt x="127" y="1569"/>
                  </a:lnTo>
                  <a:lnTo>
                    <a:pt x="129" y="1566"/>
                  </a:lnTo>
                  <a:lnTo>
                    <a:pt x="137" y="1565"/>
                  </a:lnTo>
                  <a:lnTo>
                    <a:pt x="142" y="1557"/>
                  </a:lnTo>
                  <a:lnTo>
                    <a:pt x="150" y="1552"/>
                  </a:lnTo>
                  <a:lnTo>
                    <a:pt x="149" y="1549"/>
                  </a:lnTo>
                  <a:lnTo>
                    <a:pt x="152" y="1546"/>
                  </a:lnTo>
                  <a:lnTo>
                    <a:pt x="156" y="1543"/>
                  </a:lnTo>
                  <a:lnTo>
                    <a:pt x="159" y="1535"/>
                  </a:lnTo>
                  <a:lnTo>
                    <a:pt x="167" y="1533"/>
                  </a:lnTo>
                  <a:lnTo>
                    <a:pt x="173" y="1529"/>
                  </a:lnTo>
                  <a:lnTo>
                    <a:pt x="175" y="1529"/>
                  </a:lnTo>
                  <a:lnTo>
                    <a:pt x="180" y="1521"/>
                  </a:lnTo>
                  <a:lnTo>
                    <a:pt x="182" y="1521"/>
                  </a:lnTo>
                  <a:lnTo>
                    <a:pt x="188" y="1518"/>
                  </a:lnTo>
                  <a:lnTo>
                    <a:pt x="188" y="1514"/>
                  </a:lnTo>
                  <a:lnTo>
                    <a:pt x="191" y="1512"/>
                  </a:lnTo>
                  <a:lnTo>
                    <a:pt x="194" y="1504"/>
                  </a:lnTo>
                  <a:lnTo>
                    <a:pt x="202" y="1499"/>
                  </a:lnTo>
                  <a:lnTo>
                    <a:pt x="206" y="1495"/>
                  </a:lnTo>
                  <a:lnTo>
                    <a:pt x="209" y="1486"/>
                  </a:lnTo>
                  <a:lnTo>
                    <a:pt x="216" y="1481"/>
                  </a:lnTo>
                  <a:lnTo>
                    <a:pt x="216" y="1478"/>
                  </a:lnTo>
                  <a:lnTo>
                    <a:pt x="213" y="1478"/>
                  </a:lnTo>
                  <a:lnTo>
                    <a:pt x="212" y="1477"/>
                  </a:lnTo>
                  <a:lnTo>
                    <a:pt x="212" y="1469"/>
                  </a:lnTo>
                  <a:lnTo>
                    <a:pt x="210" y="1464"/>
                  </a:lnTo>
                  <a:lnTo>
                    <a:pt x="212" y="1462"/>
                  </a:lnTo>
                  <a:lnTo>
                    <a:pt x="214" y="1458"/>
                  </a:lnTo>
                  <a:lnTo>
                    <a:pt x="213" y="1454"/>
                  </a:lnTo>
                  <a:lnTo>
                    <a:pt x="216" y="1446"/>
                  </a:lnTo>
                  <a:lnTo>
                    <a:pt x="220" y="1445"/>
                  </a:lnTo>
                  <a:lnTo>
                    <a:pt x="222" y="1436"/>
                  </a:lnTo>
                  <a:lnTo>
                    <a:pt x="227" y="1433"/>
                  </a:lnTo>
                  <a:lnTo>
                    <a:pt x="231" y="1432"/>
                  </a:lnTo>
                  <a:lnTo>
                    <a:pt x="231" y="1428"/>
                  </a:lnTo>
                  <a:lnTo>
                    <a:pt x="228" y="1428"/>
                  </a:lnTo>
                  <a:lnTo>
                    <a:pt x="228" y="1420"/>
                  </a:lnTo>
                  <a:lnTo>
                    <a:pt x="235" y="1411"/>
                  </a:lnTo>
                  <a:lnTo>
                    <a:pt x="238" y="1402"/>
                  </a:lnTo>
                  <a:lnTo>
                    <a:pt x="238" y="1397"/>
                  </a:lnTo>
                  <a:lnTo>
                    <a:pt x="234" y="1394"/>
                  </a:lnTo>
                  <a:lnTo>
                    <a:pt x="235" y="1389"/>
                  </a:lnTo>
                  <a:lnTo>
                    <a:pt x="233" y="1387"/>
                  </a:lnTo>
                  <a:lnTo>
                    <a:pt x="233" y="1384"/>
                  </a:lnTo>
                  <a:lnTo>
                    <a:pt x="231" y="1382"/>
                  </a:lnTo>
                  <a:lnTo>
                    <a:pt x="228" y="1375"/>
                  </a:lnTo>
                  <a:lnTo>
                    <a:pt x="237" y="1371"/>
                  </a:lnTo>
                  <a:lnTo>
                    <a:pt x="260" y="1352"/>
                  </a:lnTo>
                  <a:lnTo>
                    <a:pt x="277" y="1344"/>
                  </a:lnTo>
                  <a:lnTo>
                    <a:pt x="285" y="1334"/>
                  </a:lnTo>
                  <a:lnTo>
                    <a:pt x="298" y="1333"/>
                  </a:lnTo>
                  <a:lnTo>
                    <a:pt x="314" y="1321"/>
                  </a:lnTo>
                  <a:lnTo>
                    <a:pt x="323" y="1321"/>
                  </a:lnTo>
                  <a:lnTo>
                    <a:pt x="330" y="1321"/>
                  </a:lnTo>
                  <a:lnTo>
                    <a:pt x="333" y="1317"/>
                  </a:lnTo>
                  <a:lnTo>
                    <a:pt x="335" y="1316"/>
                  </a:lnTo>
                  <a:lnTo>
                    <a:pt x="347" y="1312"/>
                  </a:lnTo>
                  <a:lnTo>
                    <a:pt x="356" y="1303"/>
                  </a:lnTo>
                  <a:lnTo>
                    <a:pt x="356" y="1290"/>
                  </a:lnTo>
                  <a:lnTo>
                    <a:pt x="353" y="1286"/>
                  </a:lnTo>
                  <a:lnTo>
                    <a:pt x="353" y="1282"/>
                  </a:lnTo>
                  <a:lnTo>
                    <a:pt x="359" y="1271"/>
                  </a:lnTo>
                  <a:lnTo>
                    <a:pt x="366" y="1263"/>
                  </a:lnTo>
                  <a:lnTo>
                    <a:pt x="364" y="1250"/>
                  </a:lnTo>
                  <a:lnTo>
                    <a:pt x="367" y="1241"/>
                  </a:lnTo>
                  <a:lnTo>
                    <a:pt x="373" y="1228"/>
                  </a:lnTo>
                  <a:lnTo>
                    <a:pt x="372" y="1218"/>
                  </a:lnTo>
                  <a:lnTo>
                    <a:pt x="374" y="1204"/>
                  </a:lnTo>
                  <a:lnTo>
                    <a:pt x="378" y="1183"/>
                  </a:lnTo>
                  <a:lnTo>
                    <a:pt x="385" y="1166"/>
                  </a:lnTo>
                  <a:lnTo>
                    <a:pt x="391" y="1138"/>
                  </a:lnTo>
                  <a:lnTo>
                    <a:pt x="385" y="1116"/>
                  </a:lnTo>
                  <a:lnTo>
                    <a:pt x="384" y="1108"/>
                  </a:lnTo>
                  <a:lnTo>
                    <a:pt x="391" y="1093"/>
                  </a:lnTo>
                  <a:lnTo>
                    <a:pt x="391" y="1084"/>
                  </a:lnTo>
                  <a:lnTo>
                    <a:pt x="385" y="1072"/>
                  </a:lnTo>
                  <a:lnTo>
                    <a:pt x="383" y="1059"/>
                  </a:lnTo>
                  <a:lnTo>
                    <a:pt x="381" y="1054"/>
                  </a:lnTo>
                  <a:lnTo>
                    <a:pt x="381" y="1052"/>
                  </a:lnTo>
                  <a:lnTo>
                    <a:pt x="380" y="1044"/>
                  </a:lnTo>
                  <a:lnTo>
                    <a:pt x="383" y="1027"/>
                  </a:lnTo>
                  <a:lnTo>
                    <a:pt x="381" y="1027"/>
                  </a:lnTo>
                  <a:lnTo>
                    <a:pt x="381" y="1026"/>
                  </a:lnTo>
                  <a:lnTo>
                    <a:pt x="380" y="1018"/>
                  </a:lnTo>
                  <a:lnTo>
                    <a:pt x="374" y="1013"/>
                  </a:lnTo>
                  <a:lnTo>
                    <a:pt x="374" y="1009"/>
                  </a:lnTo>
                  <a:lnTo>
                    <a:pt x="374" y="1005"/>
                  </a:lnTo>
                  <a:lnTo>
                    <a:pt x="376" y="1001"/>
                  </a:lnTo>
                  <a:lnTo>
                    <a:pt x="377" y="997"/>
                  </a:lnTo>
                  <a:lnTo>
                    <a:pt x="378" y="992"/>
                  </a:lnTo>
                  <a:lnTo>
                    <a:pt x="378" y="977"/>
                  </a:lnTo>
                  <a:lnTo>
                    <a:pt x="377" y="964"/>
                  </a:lnTo>
                  <a:lnTo>
                    <a:pt x="378" y="955"/>
                  </a:lnTo>
                  <a:lnTo>
                    <a:pt x="383" y="943"/>
                  </a:lnTo>
                  <a:lnTo>
                    <a:pt x="383" y="939"/>
                  </a:lnTo>
                  <a:lnTo>
                    <a:pt x="383" y="932"/>
                  </a:lnTo>
                  <a:lnTo>
                    <a:pt x="378" y="920"/>
                  </a:lnTo>
                  <a:lnTo>
                    <a:pt x="378" y="912"/>
                  </a:lnTo>
                  <a:lnTo>
                    <a:pt x="383" y="904"/>
                  </a:lnTo>
                  <a:lnTo>
                    <a:pt x="385" y="889"/>
                  </a:lnTo>
                  <a:lnTo>
                    <a:pt x="387" y="876"/>
                  </a:lnTo>
                  <a:lnTo>
                    <a:pt x="387" y="872"/>
                  </a:lnTo>
                  <a:lnTo>
                    <a:pt x="389" y="868"/>
                  </a:lnTo>
                  <a:lnTo>
                    <a:pt x="389" y="867"/>
                  </a:lnTo>
                  <a:lnTo>
                    <a:pt x="389" y="863"/>
                  </a:lnTo>
                  <a:lnTo>
                    <a:pt x="391" y="863"/>
                  </a:lnTo>
                  <a:lnTo>
                    <a:pt x="392" y="861"/>
                  </a:lnTo>
                  <a:lnTo>
                    <a:pt x="392" y="859"/>
                  </a:lnTo>
                  <a:lnTo>
                    <a:pt x="394" y="859"/>
                  </a:lnTo>
                  <a:lnTo>
                    <a:pt x="392" y="859"/>
                  </a:lnTo>
                  <a:lnTo>
                    <a:pt x="398" y="848"/>
                  </a:lnTo>
                  <a:lnTo>
                    <a:pt x="403" y="831"/>
                  </a:lnTo>
                  <a:lnTo>
                    <a:pt x="409" y="813"/>
                  </a:lnTo>
                  <a:lnTo>
                    <a:pt x="417" y="794"/>
                  </a:lnTo>
                  <a:lnTo>
                    <a:pt x="427" y="781"/>
                  </a:lnTo>
                  <a:lnTo>
                    <a:pt x="430" y="778"/>
                  </a:lnTo>
                  <a:lnTo>
                    <a:pt x="437" y="768"/>
                  </a:lnTo>
                  <a:lnTo>
                    <a:pt x="438" y="764"/>
                  </a:lnTo>
                  <a:lnTo>
                    <a:pt x="441" y="760"/>
                  </a:lnTo>
                  <a:lnTo>
                    <a:pt x="442" y="760"/>
                  </a:lnTo>
                  <a:lnTo>
                    <a:pt x="454" y="751"/>
                  </a:lnTo>
                  <a:lnTo>
                    <a:pt x="459" y="743"/>
                  </a:lnTo>
                  <a:lnTo>
                    <a:pt x="466" y="734"/>
                  </a:lnTo>
                  <a:lnTo>
                    <a:pt x="467" y="730"/>
                  </a:lnTo>
                  <a:lnTo>
                    <a:pt x="470" y="730"/>
                  </a:lnTo>
                  <a:lnTo>
                    <a:pt x="474" y="724"/>
                  </a:lnTo>
                  <a:lnTo>
                    <a:pt x="483" y="719"/>
                  </a:lnTo>
                  <a:lnTo>
                    <a:pt x="487" y="716"/>
                  </a:lnTo>
                  <a:lnTo>
                    <a:pt x="494" y="710"/>
                  </a:lnTo>
                  <a:lnTo>
                    <a:pt x="508" y="702"/>
                  </a:lnTo>
                  <a:lnTo>
                    <a:pt x="516" y="697"/>
                  </a:lnTo>
                  <a:lnTo>
                    <a:pt x="524" y="693"/>
                  </a:lnTo>
                  <a:lnTo>
                    <a:pt x="540" y="672"/>
                  </a:lnTo>
                  <a:lnTo>
                    <a:pt x="559" y="659"/>
                  </a:lnTo>
                  <a:lnTo>
                    <a:pt x="562" y="654"/>
                  </a:lnTo>
                  <a:lnTo>
                    <a:pt x="565" y="652"/>
                  </a:lnTo>
                  <a:lnTo>
                    <a:pt x="568" y="652"/>
                  </a:lnTo>
                  <a:lnTo>
                    <a:pt x="577" y="652"/>
                  </a:lnTo>
                  <a:lnTo>
                    <a:pt x="583" y="653"/>
                  </a:lnTo>
                  <a:lnTo>
                    <a:pt x="586" y="652"/>
                  </a:lnTo>
                  <a:lnTo>
                    <a:pt x="587" y="649"/>
                  </a:lnTo>
                  <a:lnTo>
                    <a:pt x="591" y="645"/>
                  </a:lnTo>
                  <a:lnTo>
                    <a:pt x="594" y="645"/>
                  </a:lnTo>
                  <a:lnTo>
                    <a:pt x="596" y="645"/>
                  </a:lnTo>
                  <a:lnTo>
                    <a:pt x="602" y="648"/>
                  </a:lnTo>
                  <a:lnTo>
                    <a:pt x="608" y="645"/>
                  </a:lnTo>
                  <a:lnTo>
                    <a:pt x="609" y="645"/>
                  </a:lnTo>
                  <a:lnTo>
                    <a:pt x="612" y="644"/>
                  </a:lnTo>
                  <a:lnTo>
                    <a:pt x="613" y="640"/>
                  </a:lnTo>
                  <a:lnTo>
                    <a:pt x="615" y="640"/>
                  </a:lnTo>
                  <a:lnTo>
                    <a:pt x="627" y="645"/>
                  </a:lnTo>
                  <a:lnTo>
                    <a:pt x="632" y="645"/>
                  </a:lnTo>
                  <a:lnTo>
                    <a:pt x="638" y="645"/>
                  </a:lnTo>
                  <a:lnTo>
                    <a:pt x="640" y="645"/>
                  </a:lnTo>
                  <a:lnTo>
                    <a:pt x="646" y="648"/>
                  </a:lnTo>
                  <a:lnTo>
                    <a:pt x="657" y="636"/>
                  </a:lnTo>
                  <a:lnTo>
                    <a:pt x="661" y="632"/>
                  </a:lnTo>
                  <a:lnTo>
                    <a:pt x="666" y="627"/>
                  </a:lnTo>
                  <a:lnTo>
                    <a:pt x="668" y="627"/>
                  </a:lnTo>
                  <a:lnTo>
                    <a:pt x="672" y="627"/>
                  </a:lnTo>
                  <a:lnTo>
                    <a:pt x="677" y="627"/>
                  </a:lnTo>
                  <a:lnTo>
                    <a:pt x="684" y="622"/>
                  </a:lnTo>
                  <a:lnTo>
                    <a:pt x="691" y="617"/>
                  </a:lnTo>
                  <a:lnTo>
                    <a:pt x="696" y="617"/>
                  </a:lnTo>
                  <a:lnTo>
                    <a:pt x="711" y="604"/>
                  </a:lnTo>
                  <a:lnTo>
                    <a:pt x="721" y="595"/>
                  </a:lnTo>
                  <a:lnTo>
                    <a:pt x="723" y="591"/>
                  </a:lnTo>
                  <a:lnTo>
                    <a:pt x="730" y="587"/>
                  </a:lnTo>
                  <a:lnTo>
                    <a:pt x="739" y="582"/>
                  </a:lnTo>
                  <a:lnTo>
                    <a:pt x="741" y="578"/>
                  </a:lnTo>
                  <a:lnTo>
                    <a:pt x="747" y="577"/>
                  </a:lnTo>
                  <a:lnTo>
                    <a:pt x="750" y="573"/>
                  </a:lnTo>
                  <a:lnTo>
                    <a:pt x="753" y="573"/>
                  </a:lnTo>
                  <a:lnTo>
                    <a:pt x="754" y="569"/>
                  </a:lnTo>
                  <a:lnTo>
                    <a:pt x="757" y="567"/>
                  </a:lnTo>
                  <a:lnTo>
                    <a:pt x="762" y="565"/>
                  </a:lnTo>
                  <a:lnTo>
                    <a:pt x="764" y="565"/>
                  </a:lnTo>
                  <a:lnTo>
                    <a:pt x="768" y="565"/>
                  </a:lnTo>
                  <a:lnTo>
                    <a:pt x="769" y="565"/>
                  </a:lnTo>
                  <a:lnTo>
                    <a:pt x="771" y="565"/>
                  </a:lnTo>
                  <a:lnTo>
                    <a:pt x="773" y="565"/>
                  </a:lnTo>
                  <a:lnTo>
                    <a:pt x="778" y="564"/>
                  </a:lnTo>
                  <a:lnTo>
                    <a:pt x="783" y="565"/>
                  </a:lnTo>
                  <a:lnTo>
                    <a:pt x="790" y="564"/>
                  </a:lnTo>
                  <a:lnTo>
                    <a:pt x="793" y="560"/>
                  </a:lnTo>
                  <a:lnTo>
                    <a:pt x="798" y="564"/>
                  </a:lnTo>
                  <a:lnTo>
                    <a:pt x="800" y="564"/>
                  </a:lnTo>
                  <a:lnTo>
                    <a:pt x="804" y="565"/>
                  </a:lnTo>
                  <a:lnTo>
                    <a:pt x="807" y="567"/>
                  </a:lnTo>
                  <a:lnTo>
                    <a:pt x="809" y="569"/>
                  </a:lnTo>
                  <a:lnTo>
                    <a:pt x="815" y="565"/>
                  </a:lnTo>
                  <a:lnTo>
                    <a:pt x="819" y="565"/>
                  </a:lnTo>
                  <a:lnTo>
                    <a:pt x="821" y="567"/>
                  </a:lnTo>
                  <a:lnTo>
                    <a:pt x="823" y="569"/>
                  </a:lnTo>
                  <a:lnTo>
                    <a:pt x="825" y="569"/>
                  </a:lnTo>
                  <a:lnTo>
                    <a:pt x="836" y="569"/>
                  </a:lnTo>
                  <a:lnTo>
                    <a:pt x="843" y="569"/>
                  </a:lnTo>
                  <a:lnTo>
                    <a:pt x="847" y="567"/>
                  </a:lnTo>
                  <a:lnTo>
                    <a:pt x="850" y="569"/>
                  </a:lnTo>
                  <a:lnTo>
                    <a:pt x="857" y="565"/>
                  </a:lnTo>
                  <a:lnTo>
                    <a:pt x="859" y="567"/>
                  </a:lnTo>
                  <a:lnTo>
                    <a:pt x="864" y="565"/>
                  </a:lnTo>
                  <a:lnTo>
                    <a:pt x="871" y="567"/>
                  </a:lnTo>
                  <a:lnTo>
                    <a:pt x="873" y="565"/>
                  </a:lnTo>
                  <a:lnTo>
                    <a:pt x="879" y="565"/>
                  </a:lnTo>
                  <a:lnTo>
                    <a:pt x="883" y="565"/>
                  </a:lnTo>
                  <a:lnTo>
                    <a:pt x="886" y="565"/>
                  </a:lnTo>
                  <a:lnTo>
                    <a:pt x="889" y="565"/>
                  </a:lnTo>
                  <a:lnTo>
                    <a:pt x="892" y="565"/>
                  </a:lnTo>
                  <a:lnTo>
                    <a:pt x="897" y="564"/>
                  </a:lnTo>
                  <a:lnTo>
                    <a:pt x="901" y="560"/>
                  </a:lnTo>
                  <a:lnTo>
                    <a:pt x="908" y="560"/>
                  </a:lnTo>
                  <a:lnTo>
                    <a:pt x="914" y="560"/>
                  </a:lnTo>
                  <a:lnTo>
                    <a:pt x="917" y="558"/>
                  </a:lnTo>
                  <a:lnTo>
                    <a:pt x="921" y="556"/>
                  </a:lnTo>
                  <a:lnTo>
                    <a:pt x="925" y="556"/>
                  </a:lnTo>
                  <a:lnTo>
                    <a:pt x="931" y="556"/>
                  </a:lnTo>
                  <a:lnTo>
                    <a:pt x="933" y="556"/>
                  </a:lnTo>
                  <a:lnTo>
                    <a:pt x="947" y="554"/>
                  </a:lnTo>
                  <a:lnTo>
                    <a:pt x="951" y="552"/>
                  </a:lnTo>
                  <a:lnTo>
                    <a:pt x="956" y="550"/>
                  </a:lnTo>
                  <a:lnTo>
                    <a:pt x="958" y="550"/>
                  </a:lnTo>
                  <a:lnTo>
                    <a:pt x="967" y="547"/>
                  </a:lnTo>
                  <a:lnTo>
                    <a:pt x="979" y="552"/>
                  </a:lnTo>
                  <a:lnTo>
                    <a:pt x="983" y="556"/>
                  </a:lnTo>
                  <a:lnTo>
                    <a:pt x="985" y="560"/>
                  </a:lnTo>
                  <a:lnTo>
                    <a:pt x="989" y="560"/>
                  </a:lnTo>
                  <a:lnTo>
                    <a:pt x="996" y="560"/>
                  </a:lnTo>
                  <a:lnTo>
                    <a:pt x="1006" y="564"/>
                  </a:lnTo>
                  <a:lnTo>
                    <a:pt x="1008" y="565"/>
                  </a:lnTo>
                  <a:lnTo>
                    <a:pt x="1014" y="567"/>
                  </a:lnTo>
                  <a:lnTo>
                    <a:pt x="1025" y="569"/>
                  </a:lnTo>
                  <a:lnTo>
                    <a:pt x="1027" y="569"/>
                  </a:lnTo>
                  <a:lnTo>
                    <a:pt x="1031" y="573"/>
                  </a:lnTo>
                  <a:lnTo>
                    <a:pt x="1035" y="577"/>
                  </a:lnTo>
                  <a:lnTo>
                    <a:pt x="1036" y="577"/>
                  </a:lnTo>
                  <a:lnTo>
                    <a:pt x="1043" y="573"/>
                  </a:lnTo>
                  <a:lnTo>
                    <a:pt x="1052" y="573"/>
                  </a:lnTo>
                  <a:lnTo>
                    <a:pt x="1053" y="569"/>
                  </a:lnTo>
                  <a:lnTo>
                    <a:pt x="1057" y="569"/>
                  </a:lnTo>
                  <a:lnTo>
                    <a:pt x="1067" y="564"/>
                  </a:lnTo>
                  <a:lnTo>
                    <a:pt x="1070" y="560"/>
                  </a:lnTo>
                  <a:lnTo>
                    <a:pt x="1077" y="556"/>
                  </a:lnTo>
                  <a:lnTo>
                    <a:pt x="1085" y="552"/>
                  </a:lnTo>
                  <a:lnTo>
                    <a:pt x="1091" y="552"/>
                  </a:lnTo>
                  <a:lnTo>
                    <a:pt x="1097" y="547"/>
                  </a:lnTo>
                  <a:lnTo>
                    <a:pt x="1100" y="542"/>
                  </a:lnTo>
                  <a:lnTo>
                    <a:pt x="1104" y="541"/>
                  </a:lnTo>
                  <a:lnTo>
                    <a:pt x="1110" y="537"/>
                  </a:lnTo>
                  <a:lnTo>
                    <a:pt x="1111" y="533"/>
                  </a:lnTo>
                  <a:lnTo>
                    <a:pt x="1116" y="532"/>
                  </a:lnTo>
                  <a:lnTo>
                    <a:pt x="1118" y="524"/>
                  </a:lnTo>
                  <a:lnTo>
                    <a:pt x="1120" y="520"/>
                  </a:lnTo>
                  <a:lnTo>
                    <a:pt x="1129" y="511"/>
                  </a:lnTo>
                  <a:lnTo>
                    <a:pt x="1135" y="505"/>
                  </a:lnTo>
                  <a:lnTo>
                    <a:pt x="1138" y="502"/>
                  </a:lnTo>
                  <a:lnTo>
                    <a:pt x="1139" y="502"/>
                  </a:lnTo>
                  <a:lnTo>
                    <a:pt x="1147" y="502"/>
                  </a:lnTo>
                  <a:lnTo>
                    <a:pt x="1150" y="498"/>
                  </a:lnTo>
                  <a:lnTo>
                    <a:pt x="1155" y="497"/>
                  </a:lnTo>
                  <a:lnTo>
                    <a:pt x="1160" y="494"/>
                  </a:lnTo>
                  <a:lnTo>
                    <a:pt x="1170" y="488"/>
                  </a:lnTo>
                  <a:lnTo>
                    <a:pt x="1177" y="485"/>
                  </a:lnTo>
                  <a:lnTo>
                    <a:pt x="1182" y="485"/>
                  </a:lnTo>
                  <a:lnTo>
                    <a:pt x="1185" y="485"/>
                  </a:lnTo>
                  <a:lnTo>
                    <a:pt x="1189" y="479"/>
                  </a:lnTo>
                  <a:lnTo>
                    <a:pt x="1192" y="475"/>
                  </a:lnTo>
                  <a:lnTo>
                    <a:pt x="1199" y="471"/>
                  </a:lnTo>
                  <a:lnTo>
                    <a:pt x="1211" y="471"/>
                  </a:lnTo>
                  <a:lnTo>
                    <a:pt x="1214" y="471"/>
                  </a:lnTo>
                  <a:lnTo>
                    <a:pt x="1220" y="466"/>
                  </a:lnTo>
                  <a:lnTo>
                    <a:pt x="1233" y="449"/>
                  </a:lnTo>
                  <a:lnTo>
                    <a:pt x="1238" y="449"/>
                  </a:lnTo>
                  <a:lnTo>
                    <a:pt x="1249" y="440"/>
                  </a:lnTo>
                  <a:lnTo>
                    <a:pt x="1256" y="440"/>
                  </a:lnTo>
                  <a:lnTo>
                    <a:pt x="1257" y="438"/>
                  </a:lnTo>
                  <a:lnTo>
                    <a:pt x="1260" y="436"/>
                  </a:lnTo>
                  <a:lnTo>
                    <a:pt x="1263" y="427"/>
                  </a:lnTo>
                  <a:lnTo>
                    <a:pt x="1274" y="427"/>
                  </a:lnTo>
                  <a:lnTo>
                    <a:pt x="1284" y="413"/>
                  </a:lnTo>
                  <a:lnTo>
                    <a:pt x="1282" y="412"/>
                  </a:lnTo>
                  <a:lnTo>
                    <a:pt x="1288" y="412"/>
                  </a:lnTo>
                  <a:lnTo>
                    <a:pt x="1293" y="408"/>
                  </a:lnTo>
                  <a:lnTo>
                    <a:pt x="1296" y="408"/>
                  </a:lnTo>
                  <a:lnTo>
                    <a:pt x="1305" y="408"/>
                  </a:lnTo>
                  <a:lnTo>
                    <a:pt x="1309" y="404"/>
                  </a:lnTo>
                  <a:lnTo>
                    <a:pt x="1313" y="404"/>
                  </a:lnTo>
                  <a:lnTo>
                    <a:pt x="1323" y="400"/>
                  </a:lnTo>
                  <a:lnTo>
                    <a:pt x="1328" y="395"/>
                  </a:lnTo>
                  <a:lnTo>
                    <a:pt x="1338" y="395"/>
                  </a:lnTo>
                  <a:lnTo>
                    <a:pt x="1342" y="395"/>
                  </a:lnTo>
                  <a:lnTo>
                    <a:pt x="1349" y="391"/>
                  </a:lnTo>
                  <a:lnTo>
                    <a:pt x="1351" y="391"/>
                  </a:lnTo>
                  <a:lnTo>
                    <a:pt x="1351" y="387"/>
                  </a:lnTo>
                  <a:lnTo>
                    <a:pt x="1352" y="386"/>
                  </a:lnTo>
                  <a:lnTo>
                    <a:pt x="1355" y="386"/>
                  </a:lnTo>
                  <a:lnTo>
                    <a:pt x="1357" y="386"/>
                  </a:lnTo>
                  <a:lnTo>
                    <a:pt x="1359" y="382"/>
                  </a:lnTo>
                  <a:lnTo>
                    <a:pt x="1360" y="382"/>
                  </a:lnTo>
                  <a:lnTo>
                    <a:pt x="1362" y="382"/>
                  </a:lnTo>
                  <a:lnTo>
                    <a:pt x="1363" y="386"/>
                  </a:lnTo>
                  <a:lnTo>
                    <a:pt x="1371" y="382"/>
                  </a:lnTo>
                  <a:lnTo>
                    <a:pt x="1373" y="382"/>
                  </a:lnTo>
                  <a:lnTo>
                    <a:pt x="1381" y="382"/>
                  </a:lnTo>
                  <a:lnTo>
                    <a:pt x="1384" y="382"/>
                  </a:lnTo>
                  <a:lnTo>
                    <a:pt x="1385" y="382"/>
                  </a:lnTo>
                  <a:lnTo>
                    <a:pt x="1388" y="382"/>
                  </a:lnTo>
                  <a:lnTo>
                    <a:pt x="1392" y="382"/>
                  </a:lnTo>
                  <a:lnTo>
                    <a:pt x="1398" y="382"/>
                  </a:lnTo>
                  <a:lnTo>
                    <a:pt x="1401" y="382"/>
                  </a:lnTo>
                  <a:lnTo>
                    <a:pt x="1402" y="382"/>
                  </a:lnTo>
                  <a:lnTo>
                    <a:pt x="1407" y="378"/>
                  </a:lnTo>
                  <a:lnTo>
                    <a:pt x="1409" y="378"/>
                  </a:lnTo>
                  <a:lnTo>
                    <a:pt x="1420" y="376"/>
                  </a:lnTo>
                  <a:lnTo>
                    <a:pt x="1421" y="376"/>
                  </a:lnTo>
                  <a:lnTo>
                    <a:pt x="1427" y="373"/>
                  </a:lnTo>
                  <a:lnTo>
                    <a:pt x="1430" y="373"/>
                  </a:lnTo>
                  <a:lnTo>
                    <a:pt x="1431" y="368"/>
                  </a:lnTo>
                  <a:lnTo>
                    <a:pt x="1435" y="368"/>
                  </a:lnTo>
                  <a:lnTo>
                    <a:pt x="1438" y="367"/>
                  </a:lnTo>
                  <a:lnTo>
                    <a:pt x="1441" y="368"/>
                  </a:lnTo>
                  <a:lnTo>
                    <a:pt x="1445" y="368"/>
                  </a:lnTo>
                  <a:lnTo>
                    <a:pt x="1453" y="365"/>
                  </a:lnTo>
                  <a:lnTo>
                    <a:pt x="1459" y="365"/>
                  </a:lnTo>
                  <a:lnTo>
                    <a:pt x="1465" y="363"/>
                  </a:lnTo>
                  <a:lnTo>
                    <a:pt x="1468" y="359"/>
                  </a:lnTo>
                  <a:lnTo>
                    <a:pt x="1474" y="359"/>
                  </a:lnTo>
                  <a:lnTo>
                    <a:pt x="1476" y="359"/>
                  </a:lnTo>
                  <a:lnTo>
                    <a:pt x="1478" y="355"/>
                  </a:lnTo>
                  <a:lnTo>
                    <a:pt x="1482" y="355"/>
                  </a:lnTo>
                  <a:lnTo>
                    <a:pt x="1491" y="350"/>
                  </a:lnTo>
                  <a:lnTo>
                    <a:pt x="1495" y="350"/>
                  </a:lnTo>
                  <a:lnTo>
                    <a:pt x="1501" y="346"/>
                  </a:lnTo>
                  <a:lnTo>
                    <a:pt x="1505" y="342"/>
                  </a:lnTo>
                  <a:lnTo>
                    <a:pt x="1505" y="341"/>
                  </a:lnTo>
                  <a:lnTo>
                    <a:pt x="1506" y="337"/>
                  </a:lnTo>
                  <a:lnTo>
                    <a:pt x="1510" y="337"/>
                  </a:lnTo>
                  <a:lnTo>
                    <a:pt x="1517" y="337"/>
                  </a:lnTo>
                  <a:lnTo>
                    <a:pt x="1521" y="333"/>
                  </a:lnTo>
                  <a:lnTo>
                    <a:pt x="1526" y="329"/>
                  </a:lnTo>
                  <a:lnTo>
                    <a:pt x="1535" y="323"/>
                  </a:lnTo>
                  <a:lnTo>
                    <a:pt x="1540" y="320"/>
                  </a:lnTo>
                  <a:lnTo>
                    <a:pt x="1555" y="314"/>
                  </a:lnTo>
                  <a:lnTo>
                    <a:pt x="1563" y="305"/>
                  </a:lnTo>
                  <a:lnTo>
                    <a:pt x="1572" y="297"/>
                  </a:lnTo>
                  <a:lnTo>
                    <a:pt x="1572" y="296"/>
                  </a:lnTo>
                  <a:lnTo>
                    <a:pt x="1573" y="296"/>
                  </a:lnTo>
                  <a:lnTo>
                    <a:pt x="1576" y="293"/>
                  </a:lnTo>
                  <a:lnTo>
                    <a:pt x="1581" y="297"/>
                  </a:lnTo>
                  <a:lnTo>
                    <a:pt x="1588" y="293"/>
                  </a:lnTo>
                  <a:lnTo>
                    <a:pt x="1591" y="293"/>
                  </a:lnTo>
                  <a:lnTo>
                    <a:pt x="1594" y="292"/>
                  </a:lnTo>
                  <a:lnTo>
                    <a:pt x="1603" y="288"/>
                  </a:lnTo>
                  <a:lnTo>
                    <a:pt x="1608" y="287"/>
                  </a:lnTo>
                  <a:lnTo>
                    <a:pt x="1615" y="287"/>
                  </a:lnTo>
                  <a:lnTo>
                    <a:pt x="1619" y="284"/>
                  </a:lnTo>
                  <a:lnTo>
                    <a:pt x="1631" y="284"/>
                  </a:lnTo>
                  <a:lnTo>
                    <a:pt x="1637" y="284"/>
                  </a:lnTo>
                  <a:lnTo>
                    <a:pt x="1638" y="284"/>
                  </a:lnTo>
                  <a:lnTo>
                    <a:pt x="1644" y="279"/>
                  </a:lnTo>
                  <a:lnTo>
                    <a:pt x="1654" y="279"/>
                  </a:lnTo>
                  <a:lnTo>
                    <a:pt x="1659" y="275"/>
                  </a:lnTo>
                  <a:lnTo>
                    <a:pt x="1672" y="269"/>
                  </a:lnTo>
                  <a:lnTo>
                    <a:pt x="1683" y="261"/>
                  </a:lnTo>
                  <a:lnTo>
                    <a:pt x="1684" y="258"/>
                  </a:lnTo>
                  <a:lnTo>
                    <a:pt x="1686" y="253"/>
                  </a:lnTo>
                  <a:lnTo>
                    <a:pt x="1697" y="239"/>
                  </a:lnTo>
                  <a:lnTo>
                    <a:pt x="1698" y="238"/>
                  </a:lnTo>
                  <a:lnTo>
                    <a:pt x="1700" y="236"/>
                  </a:lnTo>
                  <a:lnTo>
                    <a:pt x="1712" y="229"/>
                  </a:lnTo>
                  <a:lnTo>
                    <a:pt x="1719" y="221"/>
                  </a:lnTo>
                  <a:lnTo>
                    <a:pt x="1726" y="217"/>
                  </a:lnTo>
                  <a:lnTo>
                    <a:pt x="1727" y="216"/>
                  </a:lnTo>
                  <a:lnTo>
                    <a:pt x="1731" y="213"/>
                  </a:lnTo>
                  <a:lnTo>
                    <a:pt x="1737" y="208"/>
                  </a:lnTo>
                  <a:lnTo>
                    <a:pt x="1744" y="204"/>
                  </a:lnTo>
                  <a:lnTo>
                    <a:pt x="1750" y="202"/>
                  </a:lnTo>
                  <a:lnTo>
                    <a:pt x="1769" y="185"/>
                  </a:lnTo>
                  <a:lnTo>
                    <a:pt x="1775" y="177"/>
                  </a:lnTo>
                  <a:lnTo>
                    <a:pt x="1781" y="172"/>
                  </a:lnTo>
                  <a:lnTo>
                    <a:pt x="1783" y="168"/>
                  </a:lnTo>
                  <a:lnTo>
                    <a:pt x="1786" y="164"/>
                  </a:lnTo>
                  <a:lnTo>
                    <a:pt x="1790" y="163"/>
                  </a:lnTo>
                  <a:lnTo>
                    <a:pt x="1795" y="158"/>
                  </a:lnTo>
                  <a:lnTo>
                    <a:pt x="1802" y="155"/>
                  </a:lnTo>
                  <a:lnTo>
                    <a:pt x="1804" y="150"/>
                  </a:lnTo>
                  <a:lnTo>
                    <a:pt x="1806" y="150"/>
                  </a:lnTo>
                  <a:lnTo>
                    <a:pt x="1812" y="146"/>
                  </a:lnTo>
                  <a:lnTo>
                    <a:pt x="1814" y="146"/>
                  </a:lnTo>
                  <a:lnTo>
                    <a:pt x="1825" y="133"/>
                  </a:lnTo>
                  <a:lnTo>
                    <a:pt x="1829" y="129"/>
                  </a:lnTo>
                  <a:lnTo>
                    <a:pt x="1839" y="120"/>
                  </a:lnTo>
                  <a:lnTo>
                    <a:pt x="1840" y="114"/>
                  </a:lnTo>
                  <a:lnTo>
                    <a:pt x="1851" y="106"/>
                  </a:lnTo>
                  <a:lnTo>
                    <a:pt x="1855" y="105"/>
                  </a:lnTo>
                  <a:lnTo>
                    <a:pt x="1861" y="101"/>
                  </a:lnTo>
                  <a:lnTo>
                    <a:pt x="1864" y="97"/>
                  </a:lnTo>
                  <a:lnTo>
                    <a:pt x="1869" y="97"/>
                  </a:lnTo>
                  <a:lnTo>
                    <a:pt x="1871" y="96"/>
                  </a:lnTo>
                  <a:lnTo>
                    <a:pt x="1873" y="92"/>
                  </a:lnTo>
                  <a:lnTo>
                    <a:pt x="1879" y="92"/>
                  </a:lnTo>
                  <a:lnTo>
                    <a:pt x="1880" y="88"/>
                  </a:lnTo>
                  <a:lnTo>
                    <a:pt x="1886" y="88"/>
                  </a:lnTo>
                  <a:lnTo>
                    <a:pt x="1887" y="88"/>
                  </a:lnTo>
                  <a:lnTo>
                    <a:pt x="1889" y="88"/>
                  </a:lnTo>
                  <a:lnTo>
                    <a:pt x="1901" y="84"/>
                  </a:lnTo>
                  <a:lnTo>
                    <a:pt x="1908" y="84"/>
                  </a:lnTo>
                  <a:lnTo>
                    <a:pt x="1912" y="84"/>
                  </a:lnTo>
                  <a:lnTo>
                    <a:pt x="1916" y="84"/>
                  </a:lnTo>
                  <a:lnTo>
                    <a:pt x="1919" y="87"/>
                  </a:lnTo>
                  <a:lnTo>
                    <a:pt x="1924" y="87"/>
                  </a:lnTo>
                  <a:lnTo>
                    <a:pt x="1927" y="84"/>
                  </a:lnTo>
                  <a:lnTo>
                    <a:pt x="1930" y="83"/>
                  </a:lnTo>
                  <a:lnTo>
                    <a:pt x="1932" y="84"/>
                  </a:lnTo>
                  <a:lnTo>
                    <a:pt x="1935" y="83"/>
                  </a:lnTo>
                  <a:lnTo>
                    <a:pt x="1939" y="84"/>
                  </a:lnTo>
                  <a:lnTo>
                    <a:pt x="1941" y="84"/>
                  </a:lnTo>
                  <a:lnTo>
                    <a:pt x="1946" y="79"/>
                  </a:lnTo>
                  <a:lnTo>
                    <a:pt x="1952" y="75"/>
                  </a:lnTo>
                  <a:lnTo>
                    <a:pt x="1960" y="71"/>
                  </a:lnTo>
                  <a:lnTo>
                    <a:pt x="1965" y="62"/>
                  </a:lnTo>
                  <a:lnTo>
                    <a:pt x="1966" y="52"/>
                  </a:lnTo>
                  <a:lnTo>
                    <a:pt x="1969" y="47"/>
                  </a:lnTo>
                  <a:lnTo>
                    <a:pt x="1972" y="43"/>
                  </a:lnTo>
                  <a:lnTo>
                    <a:pt x="1976" y="38"/>
                  </a:lnTo>
                  <a:lnTo>
                    <a:pt x="1983" y="30"/>
                  </a:lnTo>
                  <a:lnTo>
                    <a:pt x="1985" y="34"/>
                  </a:lnTo>
                  <a:lnTo>
                    <a:pt x="1991" y="30"/>
                  </a:lnTo>
                  <a:lnTo>
                    <a:pt x="1989" y="26"/>
                  </a:lnTo>
                  <a:lnTo>
                    <a:pt x="1991" y="25"/>
                  </a:lnTo>
                  <a:lnTo>
                    <a:pt x="1999" y="14"/>
                  </a:lnTo>
                  <a:lnTo>
                    <a:pt x="2002" y="3"/>
                  </a:lnTo>
                  <a:lnTo>
                    <a:pt x="2010" y="8"/>
                  </a:lnTo>
                  <a:lnTo>
                    <a:pt x="2015" y="0"/>
                  </a:lnTo>
                  <a:lnTo>
                    <a:pt x="2019" y="0"/>
                  </a:lnTo>
                  <a:lnTo>
                    <a:pt x="2029" y="3"/>
                  </a:lnTo>
                  <a:lnTo>
                    <a:pt x="2030" y="8"/>
                  </a:lnTo>
                  <a:lnTo>
                    <a:pt x="2032" y="8"/>
                  </a:lnTo>
                  <a:lnTo>
                    <a:pt x="2033" y="8"/>
                  </a:lnTo>
                  <a:lnTo>
                    <a:pt x="2033" y="3"/>
                  </a:lnTo>
                  <a:lnTo>
                    <a:pt x="2036" y="3"/>
                  </a:lnTo>
                  <a:lnTo>
                    <a:pt x="2049" y="8"/>
                  </a:lnTo>
                  <a:lnTo>
                    <a:pt x="2060" y="11"/>
                  </a:lnTo>
                  <a:lnTo>
                    <a:pt x="2058" y="13"/>
                  </a:lnTo>
                  <a:lnTo>
                    <a:pt x="2052" y="14"/>
                  </a:lnTo>
                  <a:lnTo>
                    <a:pt x="2049" y="17"/>
                  </a:lnTo>
                  <a:lnTo>
                    <a:pt x="2043" y="15"/>
                  </a:lnTo>
                  <a:lnTo>
                    <a:pt x="2041" y="21"/>
                  </a:lnTo>
                  <a:lnTo>
                    <a:pt x="2043" y="26"/>
                  </a:lnTo>
                  <a:lnTo>
                    <a:pt x="2040" y="30"/>
                  </a:lnTo>
                  <a:lnTo>
                    <a:pt x="2041" y="30"/>
                  </a:lnTo>
                  <a:lnTo>
                    <a:pt x="2051" y="26"/>
                  </a:lnTo>
                  <a:lnTo>
                    <a:pt x="2065" y="15"/>
                  </a:lnTo>
                  <a:lnTo>
                    <a:pt x="2068" y="11"/>
                  </a:lnTo>
                  <a:lnTo>
                    <a:pt x="2068" y="3"/>
                  </a:lnTo>
                  <a:lnTo>
                    <a:pt x="2075" y="3"/>
                  </a:lnTo>
                  <a:lnTo>
                    <a:pt x="2082" y="8"/>
                  </a:lnTo>
                  <a:lnTo>
                    <a:pt x="2082" y="13"/>
                  </a:lnTo>
                  <a:lnTo>
                    <a:pt x="2085" y="13"/>
                  </a:lnTo>
                  <a:lnTo>
                    <a:pt x="2086" y="17"/>
                  </a:lnTo>
                  <a:lnTo>
                    <a:pt x="2089" y="17"/>
                  </a:lnTo>
                  <a:lnTo>
                    <a:pt x="2086" y="26"/>
                  </a:lnTo>
                  <a:lnTo>
                    <a:pt x="2089" y="34"/>
                  </a:lnTo>
                  <a:lnTo>
                    <a:pt x="2093" y="39"/>
                  </a:lnTo>
                  <a:lnTo>
                    <a:pt x="2094" y="47"/>
                  </a:lnTo>
                  <a:lnTo>
                    <a:pt x="2097" y="48"/>
                  </a:lnTo>
                  <a:lnTo>
                    <a:pt x="2099" y="51"/>
                  </a:lnTo>
                  <a:lnTo>
                    <a:pt x="2096" y="56"/>
                  </a:lnTo>
                  <a:lnTo>
                    <a:pt x="2096" y="62"/>
                  </a:lnTo>
                  <a:lnTo>
                    <a:pt x="2094" y="62"/>
                  </a:lnTo>
                  <a:lnTo>
                    <a:pt x="2091" y="62"/>
                  </a:lnTo>
                  <a:lnTo>
                    <a:pt x="2090" y="62"/>
                  </a:lnTo>
                  <a:lnTo>
                    <a:pt x="2087" y="60"/>
                  </a:lnTo>
                  <a:lnTo>
                    <a:pt x="2085" y="60"/>
                  </a:lnTo>
                  <a:lnTo>
                    <a:pt x="2085" y="64"/>
                  </a:lnTo>
                  <a:lnTo>
                    <a:pt x="2080" y="64"/>
                  </a:lnTo>
                  <a:lnTo>
                    <a:pt x="2078" y="65"/>
                  </a:lnTo>
                  <a:lnTo>
                    <a:pt x="2075" y="65"/>
                  </a:lnTo>
                  <a:lnTo>
                    <a:pt x="2074" y="62"/>
                  </a:lnTo>
                  <a:lnTo>
                    <a:pt x="2072" y="62"/>
                  </a:lnTo>
                  <a:lnTo>
                    <a:pt x="2074" y="65"/>
                  </a:lnTo>
                  <a:lnTo>
                    <a:pt x="2072" y="65"/>
                  </a:lnTo>
                  <a:lnTo>
                    <a:pt x="2066" y="64"/>
                  </a:lnTo>
                  <a:lnTo>
                    <a:pt x="2062" y="62"/>
                  </a:lnTo>
                  <a:lnTo>
                    <a:pt x="2060" y="64"/>
                  </a:lnTo>
                  <a:lnTo>
                    <a:pt x="2058" y="70"/>
                  </a:lnTo>
                  <a:lnTo>
                    <a:pt x="2055" y="71"/>
                  </a:lnTo>
                  <a:lnTo>
                    <a:pt x="2051" y="70"/>
                  </a:lnTo>
                  <a:lnTo>
                    <a:pt x="2047" y="73"/>
                  </a:lnTo>
                  <a:lnTo>
                    <a:pt x="2046" y="75"/>
                  </a:lnTo>
                  <a:lnTo>
                    <a:pt x="2044" y="73"/>
                  </a:lnTo>
                  <a:lnTo>
                    <a:pt x="2046" y="65"/>
                  </a:lnTo>
                  <a:lnTo>
                    <a:pt x="2040" y="65"/>
                  </a:lnTo>
                  <a:lnTo>
                    <a:pt x="2036" y="71"/>
                  </a:lnTo>
                  <a:lnTo>
                    <a:pt x="2036" y="73"/>
                  </a:lnTo>
                  <a:lnTo>
                    <a:pt x="2039" y="71"/>
                  </a:lnTo>
                  <a:lnTo>
                    <a:pt x="2040" y="65"/>
                  </a:lnTo>
                  <a:lnTo>
                    <a:pt x="2041" y="65"/>
                  </a:lnTo>
                  <a:lnTo>
                    <a:pt x="2041" y="79"/>
                  </a:lnTo>
                  <a:lnTo>
                    <a:pt x="2043" y="79"/>
                  </a:lnTo>
                  <a:lnTo>
                    <a:pt x="2050" y="79"/>
                  </a:lnTo>
                  <a:lnTo>
                    <a:pt x="2050" y="83"/>
                  </a:lnTo>
                  <a:lnTo>
                    <a:pt x="2047" y="84"/>
                  </a:lnTo>
                  <a:lnTo>
                    <a:pt x="2046" y="92"/>
                  </a:lnTo>
                  <a:lnTo>
                    <a:pt x="2050" y="88"/>
                  </a:lnTo>
                  <a:lnTo>
                    <a:pt x="2054" y="92"/>
                  </a:lnTo>
                  <a:lnTo>
                    <a:pt x="2068" y="92"/>
                  </a:lnTo>
                  <a:lnTo>
                    <a:pt x="2078" y="88"/>
                  </a:lnTo>
                  <a:lnTo>
                    <a:pt x="2082" y="84"/>
                  </a:lnTo>
                  <a:lnTo>
                    <a:pt x="2086" y="83"/>
                  </a:lnTo>
                  <a:lnTo>
                    <a:pt x="2090" y="83"/>
                  </a:lnTo>
                  <a:lnTo>
                    <a:pt x="2097" y="84"/>
                  </a:lnTo>
                  <a:lnTo>
                    <a:pt x="2100" y="88"/>
                  </a:lnTo>
                  <a:lnTo>
                    <a:pt x="2107" y="88"/>
                  </a:lnTo>
                  <a:lnTo>
                    <a:pt x="2115" y="97"/>
                  </a:lnTo>
                  <a:lnTo>
                    <a:pt x="2121" y="97"/>
                  </a:lnTo>
                  <a:lnTo>
                    <a:pt x="2126" y="101"/>
                  </a:lnTo>
                  <a:lnTo>
                    <a:pt x="2128" y="101"/>
                  </a:lnTo>
                  <a:lnTo>
                    <a:pt x="2125" y="106"/>
                  </a:lnTo>
                  <a:lnTo>
                    <a:pt x="2125" y="110"/>
                  </a:lnTo>
                  <a:lnTo>
                    <a:pt x="2118" y="110"/>
                  </a:lnTo>
                  <a:lnTo>
                    <a:pt x="2115" y="120"/>
                  </a:lnTo>
                  <a:lnTo>
                    <a:pt x="2115" y="137"/>
                  </a:lnTo>
                  <a:lnTo>
                    <a:pt x="2118" y="146"/>
                  </a:lnTo>
                  <a:lnTo>
                    <a:pt x="2125" y="154"/>
                  </a:lnTo>
                  <a:lnTo>
                    <a:pt x="2129" y="154"/>
                  </a:lnTo>
                  <a:lnTo>
                    <a:pt x="2136" y="155"/>
                  </a:lnTo>
                  <a:lnTo>
                    <a:pt x="2146" y="158"/>
                  </a:lnTo>
                  <a:lnTo>
                    <a:pt x="2154" y="158"/>
                  </a:lnTo>
                  <a:lnTo>
                    <a:pt x="2160" y="159"/>
                  </a:lnTo>
                  <a:lnTo>
                    <a:pt x="2165" y="163"/>
                  </a:lnTo>
                  <a:lnTo>
                    <a:pt x="2170" y="168"/>
                  </a:lnTo>
                  <a:lnTo>
                    <a:pt x="2172" y="172"/>
                  </a:lnTo>
                  <a:lnTo>
                    <a:pt x="2171" y="185"/>
                  </a:lnTo>
                  <a:lnTo>
                    <a:pt x="2165" y="185"/>
                  </a:lnTo>
                  <a:close/>
                  <a:moveTo>
                    <a:pt x="2156" y="1498"/>
                  </a:moveTo>
                  <a:lnTo>
                    <a:pt x="2153" y="1503"/>
                  </a:lnTo>
                  <a:lnTo>
                    <a:pt x="2156" y="1504"/>
                  </a:lnTo>
                  <a:lnTo>
                    <a:pt x="2153" y="1504"/>
                  </a:lnTo>
                  <a:lnTo>
                    <a:pt x="2156" y="1508"/>
                  </a:lnTo>
                  <a:lnTo>
                    <a:pt x="2157" y="1518"/>
                  </a:lnTo>
                  <a:lnTo>
                    <a:pt x="2154" y="1520"/>
                  </a:lnTo>
                  <a:lnTo>
                    <a:pt x="2151" y="1518"/>
                  </a:lnTo>
                  <a:lnTo>
                    <a:pt x="2149" y="1521"/>
                  </a:lnTo>
                  <a:lnTo>
                    <a:pt x="2146" y="1526"/>
                  </a:lnTo>
                  <a:lnTo>
                    <a:pt x="2145" y="1526"/>
                  </a:lnTo>
                  <a:lnTo>
                    <a:pt x="2143" y="1529"/>
                  </a:lnTo>
                  <a:lnTo>
                    <a:pt x="2142" y="1529"/>
                  </a:lnTo>
                  <a:lnTo>
                    <a:pt x="2140" y="1532"/>
                  </a:lnTo>
                  <a:lnTo>
                    <a:pt x="2139" y="1532"/>
                  </a:lnTo>
                  <a:lnTo>
                    <a:pt x="2140" y="1535"/>
                  </a:lnTo>
                  <a:lnTo>
                    <a:pt x="2136" y="1535"/>
                  </a:lnTo>
                  <a:lnTo>
                    <a:pt x="2137" y="1535"/>
                  </a:lnTo>
                  <a:lnTo>
                    <a:pt x="2136" y="1535"/>
                  </a:lnTo>
                  <a:lnTo>
                    <a:pt x="2132" y="1540"/>
                  </a:lnTo>
                  <a:lnTo>
                    <a:pt x="2133" y="1540"/>
                  </a:lnTo>
                  <a:lnTo>
                    <a:pt x="2137" y="1539"/>
                  </a:lnTo>
                  <a:lnTo>
                    <a:pt x="2142" y="1540"/>
                  </a:lnTo>
                  <a:lnTo>
                    <a:pt x="2140" y="1543"/>
                  </a:lnTo>
                  <a:lnTo>
                    <a:pt x="2136" y="1544"/>
                  </a:lnTo>
                  <a:lnTo>
                    <a:pt x="2137" y="1540"/>
                  </a:lnTo>
                  <a:lnTo>
                    <a:pt x="2133" y="1543"/>
                  </a:lnTo>
                  <a:lnTo>
                    <a:pt x="2128" y="1544"/>
                  </a:lnTo>
                  <a:lnTo>
                    <a:pt x="2118" y="1553"/>
                  </a:lnTo>
                  <a:lnTo>
                    <a:pt x="2119" y="1549"/>
                  </a:lnTo>
                  <a:lnTo>
                    <a:pt x="2118" y="1548"/>
                  </a:lnTo>
                  <a:lnTo>
                    <a:pt x="2118" y="1540"/>
                  </a:lnTo>
                  <a:lnTo>
                    <a:pt x="2114" y="1535"/>
                  </a:lnTo>
                  <a:lnTo>
                    <a:pt x="2110" y="1531"/>
                  </a:lnTo>
                  <a:lnTo>
                    <a:pt x="2118" y="1532"/>
                  </a:lnTo>
                  <a:lnTo>
                    <a:pt x="2118" y="1531"/>
                  </a:lnTo>
                  <a:lnTo>
                    <a:pt x="2125" y="1527"/>
                  </a:lnTo>
                  <a:lnTo>
                    <a:pt x="2115" y="1527"/>
                  </a:lnTo>
                  <a:lnTo>
                    <a:pt x="2115" y="1521"/>
                  </a:lnTo>
                  <a:lnTo>
                    <a:pt x="2114" y="1521"/>
                  </a:lnTo>
                  <a:lnTo>
                    <a:pt x="2112" y="1527"/>
                  </a:lnTo>
                  <a:lnTo>
                    <a:pt x="2108" y="1527"/>
                  </a:lnTo>
                  <a:lnTo>
                    <a:pt x="2110" y="1526"/>
                  </a:lnTo>
                  <a:lnTo>
                    <a:pt x="2108" y="1521"/>
                  </a:lnTo>
                  <a:lnTo>
                    <a:pt x="2105" y="1521"/>
                  </a:lnTo>
                  <a:lnTo>
                    <a:pt x="2101" y="1520"/>
                  </a:lnTo>
                  <a:lnTo>
                    <a:pt x="2100" y="1521"/>
                  </a:lnTo>
                  <a:lnTo>
                    <a:pt x="2096" y="1518"/>
                  </a:lnTo>
                  <a:lnTo>
                    <a:pt x="2096" y="1516"/>
                  </a:lnTo>
                  <a:lnTo>
                    <a:pt x="2100" y="1511"/>
                  </a:lnTo>
                  <a:lnTo>
                    <a:pt x="2103" y="1511"/>
                  </a:lnTo>
                  <a:lnTo>
                    <a:pt x="2104" y="1512"/>
                  </a:lnTo>
                  <a:lnTo>
                    <a:pt x="2103" y="1508"/>
                  </a:lnTo>
                  <a:lnTo>
                    <a:pt x="2104" y="1511"/>
                  </a:lnTo>
                  <a:lnTo>
                    <a:pt x="2107" y="1507"/>
                  </a:lnTo>
                  <a:lnTo>
                    <a:pt x="2111" y="1504"/>
                  </a:lnTo>
                  <a:lnTo>
                    <a:pt x="2111" y="1503"/>
                  </a:lnTo>
                  <a:lnTo>
                    <a:pt x="2114" y="1499"/>
                  </a:lnTo>
                  <a:lnTo>
                    <a:pt x="2115" y="1499"/>
                  </a:lnTo>
                  <a:lnTo>
                    <a:pt x="2118" y="1504"/>
                  </a:lnTo>
                  <a:lnTo>
                    <a:pt x="2119" y="1512"/>
                  </a:lnTo>
                  <a:lnTo>
                    <a:pt x="2125" y="1514"/>
                  </a:lnTo>
                  <a:lnTo>
                    <a:pt x="2124" y="1508"/>
                  </a:lnTo>
                  <a:lnTo>
                    <a:pt x="2125" y="1508"/>
                  </a:lnTo>
                  <a:lnTo>
                    <a:pt x="2126" y="1508"/>
                  </a:lnTo>
                  <a:lnTo>
                    <a:pt x="2131" y="1514"/>
                  </a:lnTo>
                  <a:lnTo>
                    <a:pt x="2135" y="1516"/>
                  </a:lnTo>
                  <a:lnTo>
                    <a:pt x="2133" y="1508"/>
                  </a:lnTo>
                  <a:lnTo>
                    <a:pt x="2135" y="1508"/>
                  </a:lnTo>
                  <a:lnTo>
                    <a:pt x="2136" y="1508"/>
                  </a:lnTo>
                  <a:lnTo>
                    <a:pt x="2131" y="1503"/>
                  </a:lnTo>
                  <a:lnTo>
                    <a:pt x="2128" y="1499"/>
                  </a:lnTo>
                  <a:lnTo>
                    <a:pt x="2125" y="1503"/>
                  </a:lnTo>
                  <a:lnTo>
                    <a:pt x="2126" y="1499"/>
                  </a:lnTo>
                  <a:lnTo>
                    <a:pt x="2126" y="1495"/>
                  </a:lnTo>
                  <a:lnTo>
                    <a:pt x="2128" y="1495"/>
                  </a:lnTo>
                  <a:lnTo>
                    <a:pt x="2136" y="1491"/>
                  </a:lnTo>
                  <a:lnTo>
                    <a:pt x="2140" y="1486"/>
                  </a:lnTo>
                  <a:lnTo>
                    <a:pt x="2143" y="1491"/>
                  </a:lnTo>
                  <a:lnTo>
                    <a:pt x="2150" y="1495"/>
                  </a:lnTo>
                  <a:lnTo>
                    <a:pt x="2157" y="1495"/>
                  </a:lnTo>
                  <a:lnTo>
                    <a:pt x="2159" y="1491"/>
                  </a:lnTo>
                  <a:lnTo>
                    <a:pt x="2160" y="1495"/>
                  </a:lnTo>
                  <a:lnTo>
                    <a:pt x="2156" y="1498"/>
                  </a:lnTo>
                  <a:close/>
                  <a:moveTo>
                    <a:pt x="2151" y="1400"/>
                  </a:moveTo>
                  <a:lnTo>
                    <a:pt x="2151" y="1406"/>
                  </a:lnTo>
                  <a:lnTo>
                    <a:pt x="2154" y="1411"/>
                  </a:lnTo>
                  <a:lnTo>
                    <a:pt x="2146" y="1420"/>
                  </a:lnTo>
                  <a:lnTo>
                    <a:pt x="2133" y="1428"/>
                  </a:lnTo>
                  <a:lnTo>
                    <a:pt x="2131" y="1428"/>
                  </a:lnTo>
                  <a:lnTo>
                    <a:pt x="2131" y="1424"/>
                  </a:lnTo>
                  <a:lnTo>
                    <a:pt x="2128" y="1424"/>
                  </a:lnTo>
                  <a:lnTo>
                    <a:pt x="2126" y="1424"/>
                  </a:lnTo>
                  <a:lnTo>
                    <a:pt x="2129" y="1420"/>
                  </a:lnTo>
                  <a:lnTo>
                    <a:pt x="2131" y="1416"/>
                  </a:lnTo>
                  <a:lnTo>
                    <a:pt x="2128" y="1406"/>
                  </a:lnTo>
                  <a:lnTo>
                    <a:pt x="2124" y="1402"/>
                  </a:lnTo>
                  <a:lnTo>
                    <a:pt x="2125" y="1397"/>
                  </a:lnTo>
                  <a:lnTo>
                    <a:pt x="2118" y="1392"/>
                  </a:lnTo>
                  <a:lnTo>
                    <a:pt x="2117" y="1389"/>
                  </a:lnTo>
                  <a:lnTo>
                    <a:pt x="2107" y="1383"/>
                  </a:lnTo>
                  <a:lnTo>
                    <a:pt x="2124" y="1371"/>
                  </a:lnTo>
                  <a:lnTo>
                    <a:pt x="2128" y="1371"/>
                  </a:lnTo>
                  <a:lnTo>
                    <a:pt x="2129" y="1371"/>
                  </a:lnTo>
                  <a:lnTo>
                    <a:pt x="2139" y="1375"/>
                  </a:lnTo>
                  <a:lnTo>
                    <a:pt x="2149" y="1389"/>
                  </a:lnTo>
                  <a:lnTo>
                    <a:pt x="2151" y="1400"/>
                  </a:lnTo>
                  <a:close/>
                  <a:moveTo>
                    <a:pt x="2151" y="1593"/>
                  </a:moveTo>
                  <a:lnTo>
                    <a:pt x="2147" y="1598"/>
                  </a:lnTo>
                  <a:lnTo>
                    <a:pt x="2139" y="1593"/>
                  </a:lnTo>
                  <a:lnTo>
                    <a:pt x="2137" y="1591"/>
                  </a:lnTo>
                  <a:lnTo>
                    <a:pt x="2139" y="1589"/>
                  </a:lnTo>
                  <a:lnTo>
                    <a:pt x="2137" y="1588"/>
                  </a:lnTo>
                  <a:lnTo>
                    <a:pt x="2137" y="1585"/>
                  </a:lnTo>
                  <a:lnTo>
                    <a:pt x="2136" y="1580"/>
                  </a:lnTo>
                  <a:lnTo>
                    <a:pt x="2136" y="1570"/>
                  </a:lnTo>
                  <a:lnTo>
                    <a:pt x="2132" y="1566"/>
                  </a:lnTo>
                  <a:lnTo>
                    <a:pt x="2132" y="1556"/>
                  </a:lnTo>
                  <a:lnTo>
                    <a:pt x="2135" y="1552"/>
                  </a:lnTo>
                  <a:lnTo>
                    <a:pt x="2136" y="1549"/>
                  </a:lnTo>
                  <a:lnTo>
                    <a:pt x="2139" y="1552"/>
                  </a:lnTo>
                  <a:lnTo>
                    <a:pt x="2142" y="1553"/>
                  </a:lnTo>
                  <a:lnTo>
                    <a:pt x="2147" y="1557"/>
                  </a:lnTo>
                  <a:lnTo>
                    <a:pt x="2149" y="1557"/>
                  </a:lnTo>
                  <a:lnTo>
                    <a:pt x="2151" y="1561"/>
                  </a:lnTo>
                  <a:lnTo>
                    <a:pt x="2154" y="1563"/>
                  </a:lnTo>
                  <a:lnTo>
                    <a:pt x="2153" y="1566"/>
                  </a:lnTo>
                  <a:lnTo>
                    <a:pt x="2156" y="1574"/>
                  </a:lnTo>
                  <a:lnTo>
                    <a:pt x="2154" y="1589"/>
                  </a:lnTo>
                  <a:lnTo>
                    <a:pt x="2151" y="1593"/>
                  </a:lnTo>
                  <a:close/>
                  <a:moveTo>
                    <a:pt x="2234" y="425"/>
                  </a:moveTo>
                  <a:lnTo>
                    <a:pt x="2232" y="427"/>
                  </a:lnTo>
                  <a:lnTo>
                    <a:pt x="2234" y="430"/>
                  </a:lnTo>
                  <a:lnTo>
                    <a:pt x="2232" y="430"/>
                  </a:lnTo>
                  <a:lnTo>
                    <a:pt x="2229" y="436"/>
                  </a:lnTo>
                  <a:lnTo>
                    <a:pt x="2226" y="435"/>
                  </a:lnTo>
                  <a:lnTo>
                    <a:pt x="2226" y="436"/>
                  </a:lnTo>
                  <a:lnTo>
                    <a:pt x="2225" y="436"/>
                  </a:lnTo>
                  <a:lnTo>
                    <a:pt x="2226" y="438"/>
                  </a:lnTo>
                  <a:lnTo>
                    <a:pt x="2222" y="440"/>
                  </a:lnTo>
                  <a:lnTo>
                    <a:pt x="2221" y="440"/>
                  </a:lnTo>
                  <a:lnTo>
                    <a:pt x="2224" y="440"/>
                  </a:lnTo>
                  <a:lnTo>
                    <a:pt x="2222" y="440"/>
                  </a:lnTo>
                  <a:lnTo>
                    <a:pt x="2215" y="443"/>
                  </a:lnTo>
                  <a:lnTo>
                    <a:pt x="2211" y="443"/>
                  </a:lnTo>
                  <a:lnTo>
                    <a:pt x="2204" y="440"/>
                  </a:lnTo>
                  <a:lnTo>
                    <a:pt x="2201" y="443"/>
                  </a:lnTo>
                  <a:lnTo>
                    <a:pt x="2184" y="449"/>
                  </a:lnTo>
                  <a:lnTo>
                    <a:pt x="2179" y="453"/>
                  </a:lnTo>
                  <a:lnTo>
                    <a:pt x="2178" y="453"/>
                  </a:lnTo>
                  <a:lnTo>
                    <a:pt x="2176" y="453"/>
                  </a:lnTo>
                  <a:lnTo>
                    <a:pt x="2174" y="453"/>
                  </a:lnTo>
                  <a:lnTo>
                    <a:pt x="2178" y="453"/>
                  </a:lnTo>
                  <a:lnTo>
                    <a:pt x="2178" y="449"/>
                  </a:lnTo>
                  <a:lnTo>
                    <a:pt x="2176" y="453"/>
                  </a:lnTo>
                  <a:lnTo>
                    <a:pt x="2172" y="453"/>
                  </a:lnTo>
                  <a:lnTo>
                    <a:pt x="2172" y="457"/>
                  </a:lnTo>
                  <a:lnTo>
                    <a:pt x="2171" y="453"/>
                  </a:lnTo>
                  <a:lnTo>
                    <a:pt x="2168" y="449"/>
                  </a:lnTo>
                  <a:lnTo>
                    <a:pt x="2151" y="449"/>
                  </a:lnTo>
                  <a:lnTo>
                    <a:pt x="2139" y="440"/>
                  </a:lnTo>
                  <a:lnTo>
                    <a:pt x="2149" y="440"/>
                  </a:lnTo>
                  <a:lnTo>
                    <a:pt x="2164" y="448"/>
                  </a:lnTo>
                  <a:lnTo>
                    <a:pt x="2176" y="448"/>
                  </a:lnTo>
                  <a:lnTo>
                    <a:pt x="2192" y="443"/>
                  </a:lnTo>
                  <a:lnTo>
                    <a:pt x="2200" y="440"/>
                  </a:lnTo>
                  <a:lnTo>
                    <a:pt x="2215" y="436"/>
                  </a:lnTo>
                  <a:lnTo>
                    <a:pt x="2221" y="430"/>
                  </a:lnTo>
                  <a:lnTo>
                    <a:pt x="2222" y="430"/>
                  </a:lnTo>
                  <a:lnTo>
                    <a:pt x="2221" y="427"/>
                  </a:lnTo>
                  <a:lnTo>
                    <a:pt x="2224" y="425"/>
                  </a:lnTo>
                  <a:lnTo>
                    <a:pt x="2226" y="423"/>
                  </a:lnTo>
                  <a:lnTo>
                    <a:pt x="2231" y="423"/>
                  </a:lnTo>
                  <a:lnTo>
                    <a:pt x="2234" y="425"/>
                  </a:lnTo>
                  <a:close/>
                  <a:moveTo>
                    <a:pt x="2207" y="297"/>
                  </a:moveTo>
                  <a:lnTo>
                    <a:pt x="2207" y="305"/>
                  </a:lnTo>
                  <a:lnTo>
                    <a:pt x="2204" y="306"/>
                  </a:lnTo>
                  <a:lnTo>
                    <a:pt x="2196" y="311"/>
                  </a:lnTo>
                  <a:lnTo>
                    <a:pt x="2193" y="311"/>
                  </a:lnTo>
                  <a:lnTo>
                    <a:pt x="2190" y="320"/>
                  </a:lnTo>
                  <a:lnTo>
                    <a:pt x="2186" y="320"/>
                  </a:lnTo>
                  <a:lnTo>
                    <a:pt x="2186" y="323"/>
                  </a:lnTo>
                  <a:lnTo>
                    <a:pt x="2184" y="323"/>
                  </a:lnTo>
                  <a:lnTo>
                    <a:pt x="2181" y="320"/>
                  </a:lnTo>
                  <a:lnTo>
                    <a:pt x="2178" y="320"/>
                  </a:lnTo>
                  <a:lnTo>
                    <a:pt x="2181" y="324"/>
                  </a:lnTo>
                  <a:lnTo>
                    <a:pt x="2176" y="324"/>
                  </a:lnTo>
                  <a:lnTo>
                    <a:pt x="2175" y="324"/>
                  </a:lnTo>
                  <a:lnTo>
                    <a:pt x="2179" y="314"/>
                  </a:lnTo>
                  <a:lnTo>
                    <a:pt x="2179" y="306"/>
                  </a:lnTo>
                  <a:lnTo>
                    <a:pt x="2182" y="301"/>
                  </a:lnTo>
                  <a:lnTo>
                    <a:pt x="2182" y="297"/>
                  </a:lnTo>
                  <a:lnTo>
                    <a:pt x="2184" y="297"/>
                  </a:lnTo>
                  <a:lnTo>
                    <a:pt x="2187" y="301"/>
                  </a:lnTo>
                  <a:lnTo>
                    <a:pt x="2190" y="311"/>
                  </a:lnTo>
                  <a:lnTo>
                    <a:pt x="2193" y="309"/>
                  </a:lnTo>
                  <a:lnTo>
                    <a:pt x="2197" y="306"/>
                  </a:lnTo>
                  <a:lnTo>
                    <a:pt x="2193" y="306"/>
                  </a:lnTo>
                  <a:lnTo>
                    <a:pt x="2192" y="301"/>
                  </a:lnTo>
                  <a:lnTo>
                    <a:pt x="2189" y="301"/>
                  </a:lnTo>
                  <a:lnTo>
                    <a:pt x="2189" y="297"/>
                  </a:lnTo>
                  <a:lnTo>
                    <a:pt x="2190" y="297"/>
                  </a:lnTo>
                  <a:lnTo>
                    <a:pt x="2190" y="293"/>
                  </a:lnTo>
                  <a:lnTo>
                    <a:pt x="2189" y="293"/>
                  </a:lnTo>
                  <a:lnTo>
                    <a:pt x="2186" y="288"/>
                  </a:lnTo>
                  <a:lnTo>
                    <a:pt x="2184" y="287"/>
                  </a:lnTo>
                  <a:lnTo>
                    <a:pt x="2185" y="283"/>
                  </a:lnTo>
                  <a:lnTo>
                    <a:pt x="2187" y="287"/>
                  </a:lnTo>
                  <a:lnTo>
                    <a:pt x="2199" y="292"/>
                  </a:lnTo>
                  <a:lnTo>
                    <a:pt x="2207" y="297"/>
                  </a:lnTo>
                  <a:close/>
                  <a:moveTo>
                    <a:pt x="2147" y="1656"/>
                  </a:moveTo>
                  <a:lnTo>
                    <a:pt x="2149" y="1663"/>
                  </a:lnTo>
                  <a:lnTo>
                    <a:pt x="2147" y="1669"/>
                  </a:lnTo>
                  <a:lnTo>
                    <a:pt x="2145" y="1673"/>
                  </a:lnTo>
                  <a:lnTo>
                    <a:pt x="2143" y="1677"/>
                  </a:lnTo>
                  <a:lnTo>
                    <a:pt x="2142" y="1678"/>
                  </a:lnTo>
                  <a:lnTo>
                    <a:pt x="2139" y="1681"/>
                  </a:lnTo>
                  <a:lnTo>
                    <a:pt x="2137" y="1678"/>
                  </a:lnTo>
                  <a:lnTo>
                    <a:pt x="2133" y="1678"/>
                  </a:lnTo>
                  <a:lnTo>
                    <a:pt x="2131" y="1682"/>
                  </a:lnTo>
                  <a:lnTo>
                    <a:pt x="2128" y="1682"/>
                  </a:lnTo>
                  <a:lnTo>
                    <a:pt x="2131" y="1678"/>
                  </a:lnTo>
                  <a:lnTo>
                    <a:pt x="2129" y="1673"/>
                  </a:lnTo>
                  <a:lnTo>
                    <a:pt x="2128" y="1669"/>
                  </a:lnTo>
                  <a:lnTo>
                    <a:pt x="2124" y="1668"/>
                  </a:lnTo>
                  <a:lnTo>
                    <a:pt x="2124" y="1664"/>
                  </a:lnTo>
                  <a:lnTo>
                    <a:pt x="2128" y="1660"/>
                  </a:lnTo>
                  <a:lnTo>
                    <a:pt x="2133" y="1658"/>
                  </a:lnTo>
                  <a:lnTo>
                    <a:pt x="2133" y="1656"/>
                  </a:lnTo>
                  <a:lnTo>
                    <a:pt x="2143" y="1651"/>
                  </a:lnTo>
                  <a:lnTo>
                    <a:pt x="2147" y="1656"/>
                  </a:lnTo>
                  <a:close/>
                  <a:moveTo>
                    <a:pt x="2215" y="537"/>
                  </a:moveTo>
                  <a:lnTo>
                    <a:pt x="2218" y="554"/>
                  </a:lnTo>
                  <a:lnTo>
                    <a:pt x="2214" y="556"/>
                  </a:lnTo>
                  <a:lnTo>
                    <a:pt x="2209" y="560"/>
                  </a:lnTo>
                  <a:lnTo>
                    <a:pt x="2204" y="558"/>
                  </a:lnTo>
                  <a:lnTo>
                    <a:pt x="2201" y="560"/>
                  </a:lnTo>
                  <a:lnTo>
                    <a:pt x="2199" y="560"/>
                  </a:lnTo>
                  <a:lnTo>
                    <a:pt x="2193" y="560"/>
                  </a:lnTo>
                  <a:lnTo>
                    <a:pt x="2193" y="564"/>
                  </a:lnTo>
                  <a:lnTo>
                    <a:pt x="2189" y="565"/>
                  </a:lnTo>
                  <a:lnTo>
                    <a:pt x="2182" y="569"/>
                  </a:lnTo>
                  <a:lnTo>
                    <a:pt x="2190" y="560"/>
                  </a:lnTo>
                  <a:lnTo>
                    <a:pt x="2195" y="552"/>
                  </a:lnTo>
                  <a:lnTo>
                    <a:pt x="2195" y="547"/>
                  </a:lnTo>
                  <a:lnTo>
                    <a:pt x="2197" y="545"/>
                  </a:lnTo>
                  <a:lnTo>
                    <a:pt x="2199" y="541"/>
                  </a:lnTo>
                  <a:lnTo>
                    <a:pt x="2201" y="537"/>
                  </a:lnTo>
                  <a:lnTo>
                    <a:pt x="2207" y="537"/>
                  </a:lnTo>
                  <a:lnTo>
                    <a:pt x="2215" y="537"/>
                  </a:lnTo>
                  <a:close/>
                  <a:moveTo>
                    <a:pt x="2189" y="243"/>
                  </a:moveTo>
                  <a:lnTo>
                    <a:pt x="2186" y="256"/>
                  </a:lnTo>
                  <a:lnTo>
                    <a:pt x="2186" y="253"/>
                  </a:lnTo>
                  <a:lnTo>
                    <a:pt x="2185" y="253"/>
                  </a:lnTo>
                  <a:lnTo>
                    <a:pt x="2182" y="262"/>
                  </a:lnTo>
                  <a:lnTo>
                    <a:pt x="2179" y="253"/>
                  </a:lnTo>
                  <a:lnTo>
                    <a:pt x="2178" y="249"/>
                  </a:lnTo>
                  <a:lnTo>
                    <a:pt x="2174" y="243"/>
                  </a:lnTo>
                  <a:lnTo>
                    <a:pt x="2164" y="239"/>
                  </a:lnTo>
                  <a:lnTo>
                    <a:pt x="2167" y="238"/>
                  </a:lnTo>
                  <a:lnTo>
                    <a:pt x="2170" y="238"/>
                  </a:lnTo>
                  <a:lnTo>
                    <a:pt x="2171" y="236"/>
                  </a:lnTo>
                  <a:lnTo>
                    <a:pt x="2179" y="238"/>
                  </a:lnTo>
                  <a:lnTo>
                    <a:pt x="2182" y="236"/>
                  </a:lnTo>
                  <a:lnTo>
                    <a:pt x="2184" y="238"/>
                  </a:lnTo>
                  <a:lnTo>
                    <a:pt x="2186" y="238"/>
                  </a:lnTo>
                  <a:lnTo>
                    <a:pt x="2189" y="243"/>
                  </a:lnTo>
                  <a:close/>
                  <a:moveTo>
                    <a:pt x="2076" y="79"/>
                  </a:moveTo>
                  <a:lnTo>
                    <a:pt x="2075" y="84"/>
                  </a:lnTo>
                  <a:lnTo>
                    <a:pt x="2066" y="88"/>
                  </a:lnTo>
                  <a:lnTo>
                    <a:pt x="2055" y="88"/>
                  </a:lnTo>
                  <a:lnTo>
                    <a:pt x="2051" y="88"/>
                  </a:lnTo>
                  <a:lnTo>
                    <a:pt x="2049" y="88"/>
                  </a:lnTo>
                  <a:lnTo>
                    <a:pt x="2050" y="84"/>
                  </a:lnTo>
                  <a:lnTo>
                    <a:pt x="2051" y="83"/>
                  </a:lnTo>
                  <a:lnTo>
                    <a:pt x="2051" y="75"/>
                  </a:lnTo>
                  <a:lnTo>
                    <a:pt x="2052" y="73"/>
                  </a:lnTo>
                  <a:lnTo>
                    <a:pt x="2058" y="79"/>
                  </a:lnTo>
                  <a:lnTo>
                    <a:pt x="2071" y="75"/>
                  </a:lnTo>
                  <a:lnTo>
                    <a:pt x="2074" y="79"/>
                  </a:lnTo>
                  <a:lnTo>
                    <a:pt x="2076" y="79"/>
                  </a:lnTo>
                  <a:close/>
                  <a:moveTo>
                    <a:pt x="2135" y="1205"/>
                  </a:moveTo>
                  <a:lnTo>
                    <a:pt x="2135" y="1211"/>
                  </a:lnTo>
                  <a:lnTo>
                    <a:pt x="2132" y="1218"/>
                  </a:lnTo>
                  <a:lnTo>
                    <a:pt x="2129" y="1218"/>
                  </a:lnTo>
                  <a:lnTo>
                    <a:pt x="2129" y="1224"/>
                  </a:lnTo>
                  <a:lnTo>
                    <a:pt x="2124" y="1228"/>
                  </a:lnTo>
                  <a:lnTo>
                    <a:pt x="2124" y="1218"/>
                  </a:lnTo>
                  <a:lnTo>
                    <a:pt x="2122" y="1215"/>
                  </a:lnTo>
                  <a:lnTo>
                    <a:pt x="2114" y="1211"/>
                  </a:lnTo>
                  <a:lnTo>
                    <a:pt x="2115" y="1205"/>
                  </a:lnTo>
                  <a:lnTo>
                    <a:pt x="2121" y="1205"/>
                  </a:lnTo>
                  <a:lnTo>
                    <a:pt x="2122" y="1205"/>
                  </a:lnTo>
                  <a:lnTo>
                    <a:pt x="2131" y="1205"/>
                  </a:lnTo>
                  <a:lnTo>
                    <a:pt x="2135" y="1205"/>
                  </a:lnTo>
                  <a:close/>
                  <a:moveTo>
                    <a:pt x="2176" y="573"/>
                  </a:moveTo>
                  <a:lnTo>
                    <a:pt x="2178" y="573"/>
                  </a:lnTo>
                  <a:lnTo>
                    <a:pt x="2171" y="577"/>
                  </a:lnTo>
                  <a:lnTo>
                    <a:pt x="2164" y="578"/>
                  </a:lnTo>
                  <a:lnTo>
                    <a:pt x="2161" y="578"/>
                  </a:lnTo>
                  <a:lnTo>
                    <a:pt x="2153" y="581"/>
                  </a:lnTo>
                  <a:lnTo>
                    <a:pt x="2129" y="565"/>
                  </a:lnTo>
                  <a:lnTo>
                    <a:pt x="2126" y="564"/>
                  </a:lnTo>
                  <a:lnTo>
                    <a:pt x="2135" y="565"/>
                  </a:lnTo>
                  <a:lnTo>
                    <a:pt x="2150" y="573"/>
                  </a:lnTo>
                  <a:lnTo>
                    <a:pt x="2160" y="577"/>
                  </a:lnTo>
                  <a:lnTo>
                    <a:pt x="2167" y="577"/>
                  </a:lnTo>
                  <a:lnTo>
                    <a:pt x="2176" y="573"/>
                  </a:lnTo>
                  <a:close/>
                  <a:moveTo>
                    <a:pt x="2159" y="1709"/>
                  </a:moveTo>
                  <a:lnTo>
                    <a:pt x="2160" y="1709"/>
                  </a:lnTo>
                  <a:lnTo>
                    <a:pt x="2156" y="1712"/>
                  </a:lnTo>
                  <a:lnTo>
                    <a:pt x="2157" y="1715"/>
                  </a:lnTo>
                  <a:lnTo>
                    <a:pt x="2156" y="1717"/>
                  </a:lnTo>
                  <a:lnTo>
                    <a:pt x="2156" y="1715"/>
                  </a:lnTo>
                  <a:lnTo>
                    <a:pt x="2151" y="1713"/>
                  </a:lnTo>
                  <a:lnTo>
                    <a:pt x="2139" y="1709"/>
                  </a:lnTo>
                  <a:lnTo>
                    <a:pt x="2139" y="1705"/>
                  </a:lnTo>
                  <a:lnTo>
                    <a:pt x="2142" y="1705"/>
                  </a:lnTo>
                  <a:lnTo>
                    <a:pt x="2149" y="1703"/>
                  </a:lnTo>
                  <a:lnTo>
                    <a:pt x="2150" y="1703"/>
                  </a:lnTo>
                  <a:lnTo>
                    <a:pt x="2154" y="1703"/>
                  </a:lnTo>
                  <a:lnTo>
                    <a:pt x="2153" y="1705"/>
                  </a:lnTo>
                  <a:lnTo>
                    <a:pt x="2159" y="1709"/>
                  </a:lnTo>
                  <a:close/>
                  <a:moveTo>
                    <a:pt x="2079" y="75"/>
                  </a:moveTo>
                  <a:lnTo>
                    <a:pt x="2078" y="75"/>
                  </a:lnTo>
                  <a:lnTo>
                    <a:pt x="2071" y="75"/>
                  </a:lnTo>
                  <a:lnTo>
                    <a:pt x="2061" y="75"/>
                  </a:lnTo>
                  <a:lnTo>
                    <a:pt x="2058" y="75"/>
                  </a:lnTo>
                  <a:lnTo>
                    <a:pt x="2061" y="73"/>
                  </a:lnTo>
                  <a:lnTo>
                    <a:pt x="2062" y="71"/>
                  </a:lnTo>
                  <a:lnTo>
                    <a:pt x="2061" y="70"/>
                  </a:lnTo>
                  <a:lnTo>
                    <a:pt x="2061" y="65"/>
                  </a:lnTo>
                  <a:lnTo>
                    <a:pt x="2062" y="65"/>
                  </a:lnTo>
                  <a:lnTo>
                    <a:pt x="2071" y="71"/>
                  </a:lnTo>
                  <a:lnTo>
                    <a:pt x="2079" y="75"/>
                  </a:lnTo>
                  <a:close/>
                  <a:moveTo>
                    <a:pt x="2182" y="716"/>
                  </a:moveTo>
                  <a:lnTo>
                    <a:pt x="2184" y="716"/>
                  </a:lnTo>
                  <a:lnTo>
                    <a:pt x="2179" y="719"/>
                  </a:lnTo>
                  <a:lnTo>
                    <a:pt x="2165" y="719"/>
                  </a:lnTo>
                  <a:lnTo>
                    <a:pt x="2162" y="720"/>
                  </a:lnTo>
                  <a:lnTo>
                    <a:pt x="2160" y="720"/>
                  </a:lnTo>
                  <a:lnTo>
                    <a:pt x="2160" y="716"/>
                  </a:lnTo>
                  <a:lnTo>
                    <a:pt x="2162" y="716"/>
                  </a:lnTo>
                  <a:lnTo>
                    <a:pt x="2171" y="719"/>
                  </a:lnTo>
                  <a:lnTo>
                    <a:pt x="2178" y="716"/>
                  </a:lnTo>
                  <a:lnTo>
                    <a:pt x="2182" y="716"/>
                  </a:lnTo>
                  <a:close/>
                  <a:moveTo>
                    <a:pt x="2164" y="355"/>
                  </a:moveTo>
                  <a:lnTo>
                    <a:pt x="2165" y="355"/>
                  </a:lnTo>
                  <a:lnTo>
                    <a:pt x="2161" y="358"/>
                  </a:lnTo>
                  <a:lnTo>
                    <a:pt x="2160" y="359"/>
                  </a:lnTo>
                  <a:lnTo>
                    <a:pt x="2160" y="355"/>
                  </a:lnTo>
                  <a:lnTo>
                    <a:pt x="2159" y="355"/>
                  </a:lnTo>
                  <a:lnTo>
                    <a:pt x="2159" y="350"/>
                  </a:lnTo>
                  <a:lnTo>
                    <a:pt x="2157" y="346"/>
                  </a:lnTo>
                  <a:lnTo>
                    <a:pt x="2159" y="346"/>
                  </a:lnTo>
                  <a:lnTo>
                    <a:pt x="2160" y="350"/>
                  </a:lnTo>
                  <a:lnTo>
                    <a:pt x="2162" y="350"/>
                  </a:lnTo>
                  <a:lnTo>
                    <a:pt x="2164" y="355"/>
                  </a:lnTo>
                  <a:close/>
                  <a:moveTo>
                    <a:pt x="2167" y="1610"/>
                  </a:moveTo>
                  <a:lnTo>
                    <a:pt x="2167" y="1615"/>
                  </a:lnTo>
                  <a:lnTo>
                    <a:pt x="2164" y="1615"/>
                  </a:lnTo>
                  <a:lnTo>
                    <a:pt x="2162" y="1614"/>
                  </a:lnTo>
                  <a:lnTo>
                    <a:pt x="2165" y="1606"/>
                  </a:lnTo>
                  <a:lnTo>
                    <a:pt x="2168" y="1606"/>
                  </a:lnTo>
                  <a:lnTo>
                    <a:pt x="2168" y="1607"/>
                  </a:lnTo>
                  <a:lnTo>
                    <a:pt x="2167" y="1610"/>
                  </a:lnTo>
                  <a:close/>
                  <a:moveTo>
                    <a:pt x="2086" y="764"/>
                  </a:moveTo>
                  <a:lnTo>
                    <a:pt x="2087" y="765"/>
                  </a:lnTo>
                  <a:lnTo>
                    <a:pt x="2085" y="765"/>
                  </a:lnTo>
                  <a:lnTo>
                    <a:pt x="2080" y="764"/>
                  </a:lnTo>
                  <a:lnTo>
                    <a:pt x="2076" y="760"/>
                  </a:lnTo>
                  <a:lnTo>
                    <a:pt x="2076" y="756"/>
                  </a:lnTo>
                  <a:lnTo>
                    <a:pt x="2083" y="760"/>
                  </a:lnTo>
                  <a:lnTo>
                    <a:pt x="2086" y="764"/>
                  </a:lnTo>
                  <a:close/>
                  <a:moveTo>
                    <a:pt x="2087" y="711"/>
                  </a:moveTo>
                  <a:lnTo>
                    <a:pt x="2089" y="711"/>
                  </a:lnTo>
                  <a:lnTo>
                    <a:pt x="2083" y="711"/>
                  </a:lnTo>
                  <a:lnTo>
                    <a:pt x="2079" y="707"/>
                  </a:lnTo>
                  <a:lnTo>
                    <a:pt x="2080" y="707"/>
                  </a:lnTo>
                  <a:lnTo>
                    <a:pt x="2082" y="707"/>
                  </a:lnTo>
                  <a:lnTo>
                    <a:pt x="2087" y="711"/>
                  </a:lnTo>
                  <a:close/>
                  <a:moveTo>
                    <a:pt x="2058" y="1520"/>
                  </a:moveTo>
                  <a:lnTo>
                    <a:pt x="2057" y="1526"/>
                  </a:lnTo>
                  <a:lnTo>
                    <a:pt x="2052" y="1527"/>
                  </a:lnTo>
                  <a:lnTo>
                    <a:pt x="2054" y="1520"/>
                  </a:lnTo>
                  <a:lnTo>
                    <a:pt x="2055" y="1518"/>
                  </a:lnTo>
                  <a:lnTo>
                    <a:pt x="2058" y="1520"/>
                  </a:lnTo>
                  <a:close/>
                  <a:moveTo>
                    <a:pt x="2151" y="1772"/>
                  </a:moveTo>
                  <a:lnTo>
                    <a:pt x="2151" y="1776"/>
                  </a:lnTo>
                  <a:lnTo>
                    <a:pt x="2149" y="1779"/>
                  </a:lnTo>
                  <a:lnTo>
                    <a:pt x="2147" y="1776"/>
                  </a:lnTo>
                  <a:lnTo>
                    <a:pt x="2146" y="1772"/>
                  </a:lnTo>
                  <a:lnTo>
                    <a:pt x="2146" y="1771"/>
                  </a:lnTo>
                  <a:lnTo>
                    <a:pt x="2150" y="1772"/>
                  </a:lnTo>
                  <a:lnTo>
                    <a:pt x="2151" y="1772"/>
                  </a:lnTo>
                  <a:close/>
                  <a:moveTo>
                    <a:pt x="2051" y="2057"/>
                  </a:moveTo>
                  <a:lnTo>
                    <a:pt x="2051" y="2060"/>
                  </a:lnTo>
                  <a:lnTo>
                    <a:pt x="2050" y="2065"/>
                  </a:lnTo>
                  <a:lnTo>
                    <a:pt x="2050" y="2060"/>
                  </a:lnTo>
                  <a:lnTo>
                    <a:pt x="2047" y="2059"/>
                  </a:lnTo>
                  <a:lnTo>
                    <a:pt x="2049" y="2057"/>
                  </a:lnTo>
                  <a:lnTo>
                    <a:pt x="2051" y="2057"/>
                  </a:lnTo>
                  <a:close/>
                  <a:moveTo>
                    <a:pt x="2145" y="1623"/>
                  </a:moveTo>
                  <a:lnTo>
                    <a:pt x="2145" y="1625"/>
                  </a:lnTo>
                  <a:lnTo>
                    <a:pt x="2143" y="1625"/>
                  </a:lnTo>
                  <a:lnTo>
                    <a:pt x="2142" y="1625"/>
                  </a:lnTo>
                  <a:lnTo>
                    <a:pt x="2143" y="1623"/>
                  </a:lnTo>
                  <a:lnTo>
                    <a:pt x="2140" y="1620"/>
                  </a:lnTo>
                  <a:lnTo>
                    <a:pt x="2140" y="1619"/>
                  </a:lnTo>
                  <a:lnTo>
                    <a:pt x="2145" y="1623"/>
                  </a:lnTo>
                  <a:close/>
                  <a:moveTo>
                    <a:pt x="2147" y="1076"/>
                  </a:moveTo>
                  <a:lnTo>
                    <a:pt x="2149" y="1076"/>
                  </a:lnTo>
                  <a:lnTo>
                    <a:pt x="2145" y="1076"/>
                  </a:lnTo>
                  <a:lnTo>
                    <a:pt x="2145" y="1080"/>
                  </a:lnTo>
                  <a:lnTo>
                    <a:pt x="2137" y="1076"/>
                  </a:lnTo>
                  <a:lnTo>
                    <a:pt x="2147" y="1076"/>
                  </a:lnTo>
                  <a:close/>
                  <a:moveTo>
                    <a:pt x="2087" y="1531"/>
                  </a:moveTo>
                  <a:lnTo>
                    <a:pt x="2089" y="1532"/>
                  </a:lnTo>
                  <a:lnTo>
                    <a:pt x="2083" y="1533"/>
                  </a:lnTo>
                  <a:lnTo>
                    <a:pt x="2083" y="1532"/>
                  </a:lnTo>
                  <a:lnTo>
                    <a:pt x="2083" y="1531"/>
                  </a:lnTo>
                  <a:lnTo>
                    <a:pt x="2085" y="1531"/>
                  </a:lnTo>
                  <a:lnTo>
                    <a:pt x="2087" y="1531"/>
                  </a:lnTo>
                  <a:close/>
                  <a:moveTo>
                    <a:pt x="2097" y="1259"/>
                  </a:moveTo>
                  <a:lnTo>
                    <a:pt x="2096" y="1263"/>
                  </a:lnTo>
                  <a:lnTo>
                    <a:pt x="2093" y="1263"/>
                  </a:lnTo>
                  <a:lnTo>
                    <a:pt x="2093" y="1259"/>
                  </a:lnTo>
                  <a:lnTo>
                    <a:pt x="2094" y="1259"/>
                  </a:lnTo>
                  <a:lnTo>
                    <a:pt x="2097" y="1259"/>
                  </a:lnTo>
                  <a:close/>
                  <a:moveTo>
                    <a:pt x="2128" y="672"/>
                  </a:moveTo>
                  <a:lnTo>
                    <a:pt x="2126" y="674"/>
                  </a:lnTo>
                  <a:lnTo>
                    <a:pt x="2122" y="672"/>
                  </a:lnTo>
                  <a:lnTo>
                    <a:pt x="2121" y="672"/>
                  </a:lnTo>
                  <a:lnTo>
                    <a:pt x="2124" y="672"/>
                  </a:lnTo>
                  <a:lnTo>
                    <a:pt x="2128" y="672"/>
                  </a:lnTo>
                  <a:close/>
                  <a:moveTo>
                    <a:pt x="2052" y="1533"/>
                  </a:moveTo>
                  <a:lnTo>
                    <a:pt x="2052" y="1532"/>
                  </a:lnTo>
                  <a:lnTo>
                    <a:pt x="2052" y="1529"/>
                  </a:lnTo>
                  <a:lnTo>
                    <a:pt x="2054" y="1527"/>
                  </a:lnTo>
                  <a:lnTo>
                    <a:pt x="2052" y="1529"/>
                  </a:lnTo>
                  <a:lnTo>
                    <a:pt x="2054" y="1529"/>
                  </a:lnTo>
                  <a:lnTo>
                    <a:pt x="2055" y="1532"/>
                  </a:lnTo>
                  <a:lnTo>
                    <a:pt x="2052" y="1533"/>
                  </a:lnTo>
                  <a:close/>
                  <a:moveTo>
                    <a:pt x="2061" y="1527"/>
                  </a:moveTo>
                  <a:lnTo>
                    <a:pt x="2060" y="1529"/>
                  </a:lnTo>
                  <a:lnTo>
                    <a:pt x="2057" y="1532"/>
                  </a:lnTo>
                  <a:lnTo>
                    <a:pt x="2057" y="1529"/>
                  </a:lnTo>
                  <a:lnTo>
                    <a:pt x="2058" y="1529"/>
                  </a:lnTo>
                  <a:lnTo>
                    <a:pt x="2061" y="1527"/>
                  </a:lnTo>
                  <a:close/>
                  <a:moveTo>
                    <a:pt x="2032" y="1436"/>
                  </a:moveTo>
                  <a:lnTo>
                    <a:pt x="2029" y="1433"/>
                  </a:lnTo>
                  <a:lnTo>
                    <a:pt x="2029" y="1432"/>
                  </a:lnTo>
                  <a:lnTo>
                    <a:pt x="2029" y="1428"/>
                  </a:lnTo>
                  <a:lnTo>
                    <a:pt x="2032" y="1436"/>
                  </a:lnTo>
                  <a:close/>
                  <a:moveTo>
                    <a:pt x="2091" y="1241"/>
                  </a:moveTo>
                  <a:lnTo>
                    <a:pt x="2090" y="1241"/>
                  </a:lnTo>
                  <a:lnTo>
                    <a:pt x="2087" y="1240"/>
                  </a:lnTo>
                  <a:lnTo>
                    <a:pt x="2091" y="1241"/>
                  </a:lnTo>
                  <a:close/>
                  <a:moveTo>
                    <a:pt x="2027" y="1436"/>
                  </a:moveTo>
                  <a:lnTo>
                    <a:pt x="2030" y="1440"/>
                  </a:lnTo>
                  <a:lnTo>
                    <a:pt x="2026" y="1436"/>
                  </a:lnTo>
                  <a:lnTo>
                    <a:pt x="2027" y="1436"/>
                  </a:lnTo>
                  <a:close/>
                  <a:moveTo>
                    <a:pt x="2114" y="1084"/>
                  </a:moveTo>
                  <a:lnTo>
                    <a:pt x="2114" y="1086"/>
                  </a:lnTo>
                  <a:lnTo>
                    <a:pt x="2112" y="1086"/>
                  </a:lnTo>
                  <a:lnTo>
                    <a:pt x="2111" y="1084"/>
                  </a:lnTo>
                  <a:lnTo>
                    <a:pt x="2114" y="1084"/>
                  </a:lnTo>
                  <a:close/>
                </a:path>
              </a:pathLst>
            </a:custGeom>
            <a:solidFill>
              <a:srgbClr val="BD81B9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421" name="Freeform 420"/>
            <p:cNvSpPr>
              <a:spLocks noEditPoints="1"/>
            </p:cNvSpPr>
            <p:nvPr/>
          </p:nvSpPr>
          <p:spPr bwMode="auto">
            <a:xfrm>
              <a:off x="5169388" y="2212898"/>
              <a:ext cx="663885" cy="761055"/>
            </a:xfrm>
            <a:custGeom>
              <a:avLst/>
              <a:gdLst>
                <a:gd name="T0" fmla="*/ 3326 w 3330"/>
                <a:gd name="T1" fmla="*/ 1006 h 2820"/>
                <a:gd name="T2" fmla="*/ 3299 w 3330"/>
                <a:gd name="T3" fmla="*/ 1124 h 2820"/>
                <a:gd name="T4" fmla="*/ 3165 w 3330"/>
                <a:gd name="T5" fmla="*/ 1137 h 2820"/>
                <a:gd name="T6" fmla="*/ 3270 w 3330"/>
                <a:gd name="T7" fmla="*/ 1250 h 2820"/>
                <a:gd name="T8" fmla="*/ 3201 w 3330"/>
                <a:gd name="T9" fmla="*/ 1237 h 2820"/>
                <a:gd name="T10" fmla="*/ 3183 w 3330"/>
                <a:gd name="T11" fmla="*/ 1240 h 2820"/>
                <a:gd name="T12" fmla="*/ 3169 w 3330"/>
                <a:gd name="T13" fmla="*/ 1318 h 2820"/>
                <a:gd name="T14" fmla="*/ 3069 w 3330"/>
                <a:gd name="T15" fmla="*/ 1386 h 2820"/>
                <a:gd name="T16" fmla="*/ 3145 w 3330"/>
                <a:gd name="T17" fmla="*/ 1369 h 2820"/>
                <a:gd name="T18" fmla="*/ 3120 w 3330"/>
                <a:gd name="T19" fmla="*/ 1607 h 2820"/>
                <a:gd name="T20" fmla="*/ 2994 w 3330"/>
                <a:gd name="T21" fmla="*/ 1760 h 2820"/>
                <a:gd name="T22" fmla="*/ 2757 w 3330"/>
                <a:gd name="T23" fmla="*/ 2024 h 2820"/>
                <a:gd name="T24" fmla="*/ 2684 w 3330"/>
                <a:gd name="T25" fmla="*/ 2183 h 2820"/>
                <a:gd name="T26" fmla="*/ 2558 w 3330"/>
                <a:gd name="T27" fmla="*/ 2246 h 2820"/>
                <a:gd name="T28" fmla="*/ 2499 w 3330"/>
                <a:gd name="T29" fmla="*/ 2356 h 2820"/>
                <a:gd name="T30" fmla="*/ 2429 w 3330"/>
                <a:gd name="T31" fmla="*/ 2473 h 2820"/>
                <a:gd name="T32" fmla="*/ 2051 w 3330"/>
                <a:gd name="T33" fmla="*/ 2648 h 2820"/>
                <a:gd name="T34" fmla="*/ 1956 w 3330"/>
                <a:gd name="T35" fmla="*/ 2738 h 2820"/>
                <a:gd name="T36" fmla="*/ 1870 w 3330"/>
                <a:gd name="T37" fmla="*/ 2580 h 2820"/>
                <a:gd name="T38" fmla="*/ 1873 w 3330"/>
                <a:gd name="T39" fmla="*/ 2434 h 2820"/>
                <a:gd name="T40" fmla="*/ 1785 w 3330"/>
                <a:gd name="T41" fmla="*/ 2188 h 2820"/>
                <a:gd name="T42" fmla="*/ 1752 w 3330"/>
                <a:gd name="T43" fmla="*/ 2019 h 2820"/>
                <a:gd name="T44" fmla="*/ 1644 w 3330"/>
                <a:gd name="T45" fmla="*/ 1859 h 2820"/>
                <a:gd name="T46" fmla="*/ 1463 w 3330"/>
                <a:gd name="T47" fmla="*/ 1715 h 2820"/>
                <a:gd name="T48" fmla="*/ 1256 w 3330"/>
                <a:gd name="T49" fmla="*/ 1602 h 2820"/>
                <a:gd name="T50" fmla="*/ 1110 w 3330"/>
                <a:gd name="T51" fmla="*/ 1515 h 2820"/>
                <a:gd name="T52" fmla="*/ 941 w 3330"/>
                <a:gd name="T53" fmla="*/ 1433 h 2820"/>
                <a:gd name="T54" fmla="*/ 763 w 3330"/>
                <a:gd name="T55" fmla="*/ 1440 h 2820"/>
                <a:gd name="T56" fmla="*/ 677 w 3330"/>
                <a:gd name="T57" fmla="*/ 1363 h 2820"/>
                <a:gd name="T58" fmla="*/ 571 w 3330"/>
                <a:gd name="T59" fmla="*/ 1385 h 2820"/>
                <a:gd name="T60" fmla="*/ 427 w 3330"/>
                <a:gd name="T61" fmla="*/ 1275 h 2820"/>
                <a:gd name="T62" fmla="*/ 107 w 3330"/>
                <a:gd name="T63" fmla="*/ 1133 h 2820"/>
                <a:gd name="T64" fmla="*/ 256 w 3330"/>
                <a:gd name="T65" fmla="*/ 988 h 2820"/>
                <a:gd name="T66" fmla="*/ 498 w 3330"/>
                <a:gd name="T67" fmla="*/ 897 h 2820"/>
                <a:gd name="T68" fmla="*/ 674 w 3330"/>
                <a:gd name="T69" fmla="*/ 767 h 2820"/>
                <a:gd name="T70" fmla="*/ 824 w 3330"/>
                <a:gd name="T71" fmla="*/ 686 h 2820"/>
                <a:gd name="T72" fmla="*/ 1066 w 3330"/>
                <a:gd name="T73" fmla="*/ 647 h 2820"/>
                <a:gd name="T74" fmla="*/ 1323 w 3330"/>
                <a:gd name="T75" fmla="*/ 576 h 2820"/>
                <a:gd name="T76" fmla="*/ 1581 w 3330"/>
                <a:gd name="T77" fmla="*/ 557 h 2820"/>
                <a:gd name="T78" fmla="*/ 1871 w 3330"/>
                <a:gd name="T79" fmla="*/ 456 h 2820"/>
                <a:gd name="T80" fmla="*/ 2111 w 3330"/>
                <a:gd name="T81" fmla="*/ 361 h 2820"/>
                <a:gd name="T82" fmla="*/ 2271 w 3330"/>
                <a:gd name="T83" fmla="*/ 251 h 2820"/>
                <a:gd name="T84" fmla="*/ 2475 w 3330"/>
                <a:gd name="T85" fmla="*/ 179 h 2820"/>
                <a:gd name="T86" fmla="*/ 2686 w 3330"/>
                <a:gd name="T87" fmla="*/ 42 h 2820"/>
                <a:gd name="T88" fmla="*/ 2942 w 3330"/>
                <a:gd name="T89" fmla="*/ 6 h 2820"/>
                <a:gd name="T90" fmla="*/ 3092 w 3330"/>
                <a:gd name="T91" fmla="*/ 93 h 2820"/>
                <a:gd name="T92" fmla="*/ 3103 w 3330"/>
                <a:gd name="T93" fmla="*/ 201 h 2820"/>
                <a:gd name="T94" fmla="*/ 3152 w 3330"/>
                <a:gd name="T95" fmla="*/ 442 h 2820"/>
                <a:gd name="T96" fmla="*/ 3141 w 3330"/>
                <a:gd name="T97" fmla="*/ 553 h 2820"/>
                <a:gd name="T98" fmla="*/ 3106 w 3330"/>
                <a:gd name="T99" fmla="*/ 632 h 2820"/>
                <a:gd name="T100" fmla="*/ 3133 w 3330"/>
                <a:gd name="T101" fmla="*/ 658 h 2820"/>
                <a:gd name="T102" fmla="*/ 3194 w 3330"/>
                <a:gd name="T103" fmla="*/ 605 h 2820"/>
                <a:gd name="T104" fmla="*/ 3162 w 3330"/>
                <a:gd name="T105" fmla="*/ 710 h 2820"/>
                <a:gd name="T106" fmla="*/ 3176 w 3330"/>
                <a:gd name="T107" fmla="*/ 838 h 2820"/>
                <a:gd name="T108" fmla="*/ 3151 w 3330"/>
                <a:gd name="T109" fmla="*/ 933 h 2820"/>
                <a:gd name="T110" fmla="*/ 3219 w 3330"/>
                <a:gd name="T111" fmla="*/ 805 h 2820"/>
                <a:gd name="T112" fmla="*/ 3268 w 3330"/>
                <a:gd name="T113" fmla="*/ 888 h 2820"/>
                <a:gd name="T114" fmla="*/ 2572 w 3330"/>
                <a:gd name="T115" fmla="*/ 2393 h 2820"/>
                <a:gd name="T116" fmla="*/ 2539 w 3330"/>
                <a:gd name="T117" fmla="*/ 2311 h 2820"/>
                <a:gd name="T118" fmla="*/ 2598 w 3330"/>
                <a:gd name="T119" fmla="*/ 2312 h 2820"/>
                <a:gd name="T120" fmla="*/ 3316 w 3330"/>
                <a:gd name="T121" fmla="*/ 1145 h 2820"/>
                <a:gd name="T122" fmla="*/ 3291 w 3330"/>
                <a:gd name="T123" fmla="*/ 1287 h 28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30"/>
                <a:gd name="T187" fmla="*/ 0 h 2820"/>
                <a:gd name="T188" fmla="*/ 3330 w 3330"/>
                <a:gd name="T189" fmla="*/ 2820 h 28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30" h="2820">
                  <a:moveTo>
                    <a:pt x="1920" y="2807"/>
                  </a:moveTo>
                  <a:lnTo>
                    <a:pt x="1920" y="2813"/>
                  </a:lnTo>
                  <a:lnTo>
                    <a:pt x="1916" y="2820"/>
                  </a:lnTo>
                  <a:lnTo>
                    <a:pt x="1912" y="2820"/>
                  </a:lnTo>
                  <a:lnTo>
                    <a:pt x="1904" y="2817"/>
                  </a:lnTo>
                  <a:lnTo>
                    <a:pt x="1902" y="2816"/>
                  </a:lnTo>
                  <a:lnTo>
                    <a:pt x="1902" y="2813"/>
                  </a:lnTo>
                  <a:lnTo>
                    <a:pt x="1905" y="2812"/>
                  </a:lnTo>
                  <a:lnTo>
                    <a:pt x="1904" y="2807"/>
                  </a:lnTo>
                  <a:lnTo>
                    <a:pt x="1904" y="2802"/>
                  </a:lnTo>
                  <a:lnTo>
                    <a:pt x="1909" y="2802"/>
                  </a:lnTo>
                  <a:lnTo>
                    <a:pt x="1916" y="2807"/>
                  </a:lnTo>
                  <a:lnTo>
                    <a:pt x="1920" y="2807"/>
                  </a:lnTo>
                  <a:close/>
                  <a:moveTo>
                    <a:pt x="3323" y="892"/>
                  </a:moveTo>
                  <a:lnTo>
                    <a:pt x="3321" y="904"/>
                  </a:lnTo>
                  <a:lnTo>
                    <a:pt x="3318" y="909"/>
                  </a:lnTo>
                  <a:lnTo>
                    <a:pt x="3316" y="922"/>
                  </a:lnTo>
                  <a:lnTo>
                    <a:pt x="3313" y="930"/>
                  </a:lnTo>
                  <a:lnTo>
                    <a:pt x="3308" y="936"/>
                  </a:lnTo>
                  <a:lnTo>
                    <a:pt x="3305" y="936"/>
                  </a:lnTo>
                  <a:lnTo>
                    <a:pt x="3304" y="939"/>
                  </a:lnTo>
                  <a:lnTo>
                    <a:pt x="3299" y="941"/>
                  </a:lnTo>
                  <a:lnTo>
                    <a:pt x="3298" y="950"/>
                  </a:lnTo>
                  <a:lnTo>
                    <a:pt x="3299" y="954"/>
                  </a:lnTo>
                  <a:lnTo>
                    <a:pt x="3301" y="955"/>
                  </a:lnTo>
                  <a:lnTo>
                    <a:pt x="3301" y="958"/>
                  </a:lnTo>
                  <a:lnTo>
                    <a:pt x="3304" y="959"/>
                  </a:lnTo>
                  <a:lnTo>
                    <a:pt x="3304" y="963"/>
                  </a:lnTo>
                  <a:lnTo>
                    <a:pt x="3311" y="972"/>
                  </a:lnTo>
                  <a:lnTo>
                    <a:pt x="3313" y="972"/>
                  </a:lnTo>
                  <a:lnTo>
                    <a:pt x="3315" y="972"/>
                  </a:lnTo>
                  <a:lnTo>
                    <a:pt x="3319" y="972"/>
                  </a:lnTo>
                  <a:lnTo>
                    <a:pt x="3321" y="972"/>
                  </a:lnTo>
                  <a:lnTo>
                    <a:pt x="3323" y="976"/>
                  </a:lnTo>
                  <a:lnTo>
                    <a:pt x="3323" y="979"/>
                  </a:lnTo>
                  <a:lnTo>
                    <a:pt x="3324" y="980"/>
                  </a:lnTo>
                  <a:lnTo>
                    <a:pt x="3329" y="993"/>
                  </a:lnTo>
                  <a:lnTo>
                    <a:pt x="3326" y="1006"/>
                  </a:lnTo>
                  <a:lnTo>
                    <a:pt x="3327" y="1010"/>
                  </a:lnTo>
                  <a:lnTo>
                    <a:pt x="3327" y="1017"/>
                  </a:lnTo>
                  <a:lnTo>
                    <a:pt x="3329" y="1017"/>
                  </a:lnTo>
                  <a:lnTo>
                    <a:pt x="3327" y="1023"/>
                  </a:lnTo>
                  <a:lnTo>
                    <a:pt x="3329" y="1030"/>
                  </a:lnTo>
                  <a:lnTo>
                    <a:pt x="3327" y="1033"/>
                  </a:lnTo>
                  <a:lnTo>
                    <a:pt x="3329" y="1034"/>
                  </a:lnTo>
                  <a:lnTo>
                    <a:pt x="3329" y="1043"/>
                  </a:lnTo>
                  <a:lnTo>
                    <a:pt x="3327" y="1072"/>
                  </a:lnTo>
                  <a:lnTo>
                    <a:pt x="3326" y="1072"/>
                  </a:lnTo>
                  <a:lnTo>
                    <a:pt x="3326" y="1066"/>
                  </a:lnTo>
                  <a:lnTo>
                    <a:pt x="3324" y="1066"/>
                  </a:lnTo>
                  <a:lnTo>
                    <a:pt x="3323" y="1066"/>
                  </a:lnTo>
                  <a:lnTo>
                    <a:pt x="3323" y="1068"/>
                  </a:lnTo>
                  <a:lnTo>
                    <a:pt x="3322" y="1068"/>
                  </a:lnTo>
                  <a:lnTo>
                    <a:pt x="3319" y="1068"/>
                  </a:lnTo>
                  <a:lnTo>
                    <a:pt x="3316" y="1075"/>
                  </a:lnTo>
                  <a:lnTo>
                    <a:pt x="3318" y="1082"/>
                  </a:lnTo>
                  <a:lnTo>
                    <a:pt x="3313" y="1085"/>
                  </a:lnTo>
                  <a:lnTo>
                    <a:pt x="3312" y="1088"/>
                  </a:lnTo>
                  <a:lnTo>
                    <a:pt x="3315" y="1097"/>
                  </a:lnTo>
                  <a:lnTo>
                    <a:pt x="3319" y="1097"/>
                  </a:lnTo>
                  <a:lnTo>
                    <a:pt x="3322" y="1100"/>
                  </a:lnTo>
                  <a:lnTo>
                    <a:pt x="3321" y="1095"/>
                  </a:lnTo>
                  <a:lnTo>
                    <a:pt x="3322" y="1095"/>
                  </a:lnTo>
                  <a:lnTo>
                    <a:pt x="3324" y="1092"/>
                  </a:lnTo>
                  <a:lnTo>
                    <a:pt x="3326" y="1092"/>
                  </a:lnTo>
                  <a:lnTo>
                    <a:pt x="3326" y="1105"/>
                  </a:lnTo>
                  <a:lnTo>
                    <a:pt x="3327" y="1105"/>
                  </a:lnTo>
                  <a:lnTo>
                    <a:pt x="3324" y="1118"/>
                  </a:lnTo>
                  <a:lnTo>
                    <a:pt x="3323" y="1120"/>
                  </a:lnTo>
                  <a:lnTo>
                    <a:pt x="3323" y="1110"/>
                  </a:lnTo>
                  <a:lnTo>
                    <a:pt x="3319" y="1109"/>
                  </a:lnTo>
                  <a:lnTo>
                    <a:pt x="3313" y="1110"/>
                  </a:lnTo>
                  <a:lnTo>
                    <a:pt x="3309" y="1113"/>
                  </a:lnTo>
                  <a:lnTo>
                    <a:pt x="3305" y="1118"/>
                  </a:lnTo>
                  <a:lnTo>
                    <a:pt x="3304" y="1126"/>
                  </a:lnTo>
                  <a:lnTo>
                    <a:pt x="3299" y="1124"/>
                  </a:lnTo>
                  <a:lnTo>
                    <a:pt x="3288" y="1124"/>
                  </a:lnTo>
                  <a:lnTo>
                    <a:pt x="3276" y="1128"/>
                  </a:lnTo>
                  <a:lnTo>
                    <a:pt x="3270" y="1135"/>
                  </a:lnTo>
                  <a:lnTo>
                    <a:pt x="3272" y="1137"/>
                  </a:lnTo>
                  <a:lnTo>
                    <a:pt x="3274" y="1137"/>
                  </a:lnTo>
                  <a:lnTo>
                    <a:pt x="3262" y="1149"/>
                  </a:lnTo>
                  <a:lnTo>
                    <a:pt x="3259" y="1146"/>
                  </a:lnTo>
                  <a:lnTo>
                    <a:pt x="3251" y="1150"/>
                  </a:lnTo>
                  <a:lnTo>
                    <a:pt x="3247" y="1150"/>
                  </a:lnTo>
                  <a:lnTo>
                    <a:pt x="3241" y="1153"/>
                  </a:lnTo>
                  <a:lnTo>
                    <a:pt x="3236" y="1158"/>
                  </a:lnTo>
                  <a:lnTo>
                    <a:pt x="3223" y="1159"/>
                  </a:lnTo>
                  <a:lnTo>
                    <a:pt x="3215" y="1167"/>
                  </a:lnTo>
                  <a:lnTo>
                    <a:pt x="3212" y="1167"/>
                  </a:lnTo>
                  <a:lnTo>
                    <a:pt x="3209" y="1169"/>
                  </a:lnTo>
                  <a:lnTo>
                    <a:pt x="3205" y="1169"/>
                  </a:lnTo>
                  <a:lnTo>
                    <a:pt x="3201" y="1171"/>
                  </a:lnTo>
                  <a:lnTo>
                    <a:pt x="3194" y="1171"/>
                  </a:lnTo>
                  <a:lnTo>
                    <a:pt x="3182" y="1172"/>
                  </a:lnTo>
                  <a:lnTo>
                    <a:pt x="3179" y="1172"/>
                  </a:lnTo>
                  <a:lnTo>
                    <a:pt x="3187" y="1169"/>
                  </a:lnTo>
                  <a:lnTo>
                    <a:pt x="3188" y="1163"/>
                  </a:lnTo>
                  <a:lnTo>
                    <a:pt x="3183" y="1159"/>
                  </a:lnTo>
                  <a:lnTo>
                    <a:pt x="3183" y="1149"/>
                  </a:lnTo>
                  <a:lnTo>
                    <a:pt x="3177" y="1145"/>
                  </a:lnTo>
                  <a:lnTo>
                    <a:pt x="3176" y="1141"/>
                  </a:lnTo>
                  <a:lnTo>
                    <a:pt x="3173" y="1140"/>
                  </a:lnTo>
                  <a:lnTo>
                    <a:pt x="3170" y="1128"/>
                  </a:lnTo>
                  <a:lnTo>
                    <a:pt x="3172" y="1122"/>
                  </a:lnTo>
                  <a:lnTo>
                    <a:pt x="3177" y="1122"/>
                  </a:lnTo>
                  <a:lnTo>
                    <a:pt x="3177" y="1120"/>
                  </a:lnTo>
                  <a:lnTo>
                    <a:pt x="3170" y="1122"/>
                  </a:lnTo>
                  <a:lnTo>
                    <a:pt x="3168" y="1124"/>
                  </a:lnTo>
                  <a:lnTo>
                    <a:pt x="3166" y="1126"/>
                  </a:lnTo>
                  <a:lnTo>
                    <a:pt x="3166" y="1130"/>
                  </a:lnTo>
                  <a:lnTo>
                    <a:pt x="3165" y="1135"/>
                  </a:lnTo>
                  <a:lnTo>
                    <a:pt x="3166" y="1135"/>
                  </a:lnTo>
                  <a:lnTo>
                    <a:pt x="3165" y="1137"/>
                  </a:lnTo>
                  <a:lnTo>
                    <a:pt x="3166" y="1137"/>
                  </a:lnTo>
                  <a:lnTo>
                    <a:pt x="3166" y="1141"/>
                  </a:lnTo>
                  <a:lnTo>
                    <a:pt x="3165" y="1141"/>
                  </a:lnTo>
                  <a:lnTo>
                    <a:pt x="3169" y="1146"/>
                  </a:lnTo>
                  <a:lnTo>
                    <a:pt x="3169" y="1150"/>
                  </a:lnTo>
                  <a:lnTo>
                    <a:pt x="3174" y="1153"/>
                  </a:lnTo>
                  <a:lnTo>
                    <a:pt x="3177" y="1155"/>
                  </a:lnTo>
                  <a:lnTo>
                    <a:pt x="3174" y="1163"/>
                  </a:lnTo>
                  <a:lnTo>
                    <a:pt x="3176" y="1180"/>
                  </a:lnTo>
                  <a:lnTo>
                    <a:pt x="3179" y="1182"/>
                  </a:lnTo>
                  <a:lnTo>
                    <a:pt x="3190" y="1192"/>
                  </a:lnTo>
                  <a:lnTo>
                    <a:pt x="3208" y="1199"/>
                  </a:lnTo>
                  <a:lnTo>
                    <a:pt x="3215" y="1203"/>
                  </a:lnTo>
                  <a:lnTo>
                    <a:pt x="3220" y="1201"/>
                  </a:lnTo>
                  <a:lnTo>
                    <a:pt x="3220" y="1199"/>
                  </a:lnTo>
                  <a:lnTo>
                    <a:pt x="3213" y="1199"/>
                  </a:lnTo>
                  <a:lnTo>
                    <a:pt x="3210" y="1195"/>
                  </a:lnTo>
                  <a:lnTo>
                    <a:pt x="3212" y="1194"/>
                  </a:lnTo>
                  <a:lnTo>
                    <a:pt x="3209" y="1194"/>
                  </a:lnTo>
                  <a:lnTo>
                    <a:pt x="3209" y="1192"/>
                  </a:lnTo>
                  <a:lnTo>
                    <a:pt x="3215" y="1191"/>
                  </a:lnTo>
                  <a:lnTo>
                    <a:pt x="3223" y="1195"/>
                  </a:lnTo>
                  <a:lnTo>
                    <a:pt x="3227" y="1195"/>
                  </a:lnTo>
                  <a:lnTo>
                    <a:pt x="3232" y="1192"/>
                  </a:lnTo>
                  <a:lnTo>
                    <a:pt x="3237" y="1195"/>
                  </a:lnTo>
                  <a:lnTo>
                    <a:pt x="3245" y="1195"/>
                  </a:lnTo>
                  <a:lnTo>
                    <a:pt x="3249" y="1197"/>
                  </a:lnTo>
                  <a:lnTo>
                    <a:pt x="3249" y="1203"/>
                  </a:lnTo>
                  <a:lnTo>
                    <a:pt x="3255" y="1221"/>
                  </a:lnTo>
                  <a:lnTo>
                    <a:pt x="3258" y="1225"/>
                  </a:lnTo>
                  <a:lnTo>
                    <a:pt x="3262" y="1231"/>
                  </a:lnTo>
                  <a:lnTo>
                    <a:pt x="3268" y="1238"/>
                  </a:lnTo>
                  <a:lnTo>
                    <a:pt x="3279" y="1244"/>
                  </a:lnTo>
                  <a:lnTo>
                    <a:pt x="3279" y="1248"/>
                  </a:lnTo>
                  <a:lnTo>
                    <a:pt x="3276" y="1251"/>
                  </a:lnTo>
                  <a:lnTo>
                    <a:pt x="3276" y="1256"/>
                  </a:lnTo>
                  <a:lnTo>
                    <a:pt x="3272" y="1261"/>
                  </a:lnTo>
                  <a:lnTo>
                    <a:pt x="3270" y="1250"/>
                  </a:lnTo>
                  <a:lnTo>
                    <a:pt x="3266" y="1249"/>
                  </a:lnTo>
                  <a:lnTo>
                    <a:pt x="3258" y="1249"/>
                  </a:lnTo>
                  <a:lnTo>
                    <a:pt x="3258" y="1251"/>
                  </a:lnTo>
                  <a:lnTo>
                    <a:pt x="3255" y="1253"/>
                  </a:lnTo>
                  <a:lnTo>
                    <a:pt x="3252" y="1257"/>
                  </a:lnTo>
                  <a:lnTo>
                    <a:pt x="3252" y="1253"/>
                  </a:lnTo>
                  <a:lnTo>
                    <a:pt x="3255" y="1249"/>
                  </a:lnTo>
                  <a:lnTo>
                    <a:pt x="3259" y="1246"/>
                  </a:lnTo>
                  <a:lnTo>
                    <a:pt x="3261" y="1242"/>
                  </a:lnTo>
                  <a:lnTo>
                    <a:pt x="3263" y="1242"/>
                  </a:lnTo>
                  <a:lnTo>
                    <a:pt x="3261" y="1240"/>
                  </a:lnTo>
                  <a:lnTo>
                    <a:pt x="3259" y="1240"/>
                  </a:lnTo>
                  <a:lnTo>
                    <a:pt x="3257" y="1246"/>
                  </a:lnTo>
                  <a:lnTo>
                    <a:pt x="3257" y="1244"/>
                  </a:lnTo>
                  <a:lnTo>
                    <a:pt x="3255" y="1244"/>
                  </a:lnTo>
                  <a:lnTo>
                    <a:pt x="3251" y="1249"/>
                  </a:lnTo>
                  <a:lnTo>
                    <a:pt x="3254" y="1244"/>
                  </a:lnTo>
                  <a:lnTo>
                    <a:pt x="3252" y="1242"/>
                  </a:lnTo>
                  <a:lnTo>
                    <a:pt x="3251" y="1244"/>
                  </a:lnTo>
                  <a:lnTo>
                    <a:pt x="3251" y="1240"/>
                  </a:lnTo>
                  <a:lnTo>
                    <a:pt x="3249" y="1242"/>
                  </a:lnTo>
                  <a:lnTo>
                    <a:pt x="3247" y="1242"/>
                  </a:lnTo>
                  <a:lnTo>
                    <a:pt x="3245" y="1248"/>
                  </a:lnTo>
                  <a:lnTo>
                    <a:pt x="3245" y="1240"/>
                  </a:lnTo>
                  <a:lnTo>
                    <a:pt x="3241" y="1240"/>
                  </a:lnTo>
                  <a:lnTo>
                    <a:pt x="3240" y="1242"/>
                  </a:lnTo>
                  <a:lnTo>
                    <a:pt x="3237" y="1242"/>
                  </a:lnTo>
                  <a:lnTo>
                    <a:pt x="3232" y="1242"/>
                  </a:lnTo>
                  <a:lnTo>
                    <a:pt x="3227" y="1240"/>
                  </a:lnTo>
                  <a:lnTo>
                    <a:pt x="3215" y="1242"/>
                  </a:lnTo>
                  <a:lnTo>
                    <a:pt x="3215" y="1240"/>
                  </a:lnTo>
                  <a:lnTo>
                    <a:pt x="3209" y="1240"/>
                  </a:lnTo>
                  <a:lnTo>
                    <a:pt x="3208" y="1244"/>
                  </a:lnTo>
                  <a:lnTo>
                    <a:pt x="3202" y="1244"/>
                  </a:lnTo>
                  <a:lnTo>
                    <a:pt x="3201" y="1240"/>
                  </a:lnTo>
                  <a:lnTo>
                    <a:pt x="3198" y="1242"/>
                  </a:lnTo>
                  <a:lnTo>
                    <a:pt x="3198" y="1238"/>
                  </a:lnTo>
                  <a:lnTo>
                    <a:pt x="3201" y="1237"/>
                  </a:lnTo>
                  <a:lnTo>
                    <a:pt x="3201" y="1234"/>
                  </a:lnTo>
                  <a:lnTo>
                    <a:pt x="3195" y="1234"/>
                  </a:lnTo>
                  <a:lnTo>
                    <a:pt x="3194" y="1234"/>
                  </a:lnTo>
                  <a:lnTo>
                    <a:pt x="3188" y="1224"/>
                  </a:lnTo>
                  <a:lnTo>
                    <a:pt x="3184" y="1221"/>
                  </a:lnTo>
                  <a:lnTo>
                    <a:pt x="3176" y="1224"/>
                  </a:lnTo>
                  <a:lnTo>
                    <a:pt x="3172" y="1224"/>
                  </a:lnTo>
                  <a:lnTo>
                    <a:pt x="3170" y="1221"/>
                  </a:lnTo>
                  <a:lnTo>
                    <a:pt x="3172" y="1217"/>
                  </a:lnTo>
                  <a:lnTo>
                    <a:pt x="3169" y="1215"/>
                  </a:lnTo>
                  <a:lnTo>
                    <a:pt x="3168" y="1216"/>
                  </a:lnTo>
                  <a:lnTo>
                    <a:pt x="3166" y="1221"/>
                  </a:lnTo>
                  <a:lnTo>
                    <a:pt x="3166" y="1226"/>
                  </a:lnTo>
                  <a:lnTo>
                    <a:pt x="3168" y="1226"/>
                  </a:lnTo>
                  <a:lnTo>
                    <a:pt x="3170" y="1231"/>
                  </a:lnTo>
                  <a:lnTo>
                    <a:pt x="3177" y="1229"/>
                  </a:lnTo>
                  <a:lnTo>
                    <a:pt x="3179" y="1231"/>
                  </a:lnTo>
                  <a:lnTo>
                    <a:pt x="3173" y="1237"/>
                  </a:lnTo>
                  <a:lnTo>
                    <a:pt x="3169" y="1238"/>
                  </a:lnTo>
                  <a:lnTo>
                    <a:pt x="3162" y="1234"/>
                  </a:lnTo>
                  <a:lnTo>
                    <a:pt x="3159" y="1234"/>
                  </a:lnTo>
                  <a:lnTo>
                    <a:pt x="3155" y="1240"/>
                  </a:lnTo>
                  <a:lnTo>
                    <a:pt x="3152" y="1244"/>
                  </a:lnTo>
                  <a:lnTo>
                    <a:pt x="3154" y="1244"/>
                  </a:lnTo>
                  <a:lnTo>
                    <a:pt x="3155" y="1244"/>
                  </a:lnTo>
                  <a:lnTo>
                    <a:pt x="3159" y="1238"/>
                  </a:lnTo>
                  <a:lnTo>
                    <a:pt x="3168" y="1240"/>
                  </a:lnTo>
                  <a:lnTo>
                    <a:pt x="3176" y="1244"/>
                  </a:lnTo>
                  <a:lnTo>
                    <a:pt x="3179" y="1250"/>
                  </a:lnTo>
                  <a:lnTo>
                    <a:pt x="3179" y="1253"/>
                  </a:lnTo>
                  <a:lnTo>
                    <a:pt x="3182" y="1253"/>
                  </a:lnTo>
                  <a:lnTo>
                    <a:pt x="3182" y="1257"/>
                  </a:lnTo>
                  <a:lnTo>
                    <a:pt x="3184" y="1259"/>
                  </a:lnTo>
                  <a:lnTo>
                    <a:pt x="3185" y="1257"/>
                  </a:lnTo>
                  <a:lnTo>
                    <a:pt x="3184" y="1253"/>
                  </a:lnTo>
                  <a:lnTo>
                    <a:pt x="3184" y="1250"/>
                  </a:lnTo>
                  <a:lnTo>
                    <a:pt x="3182" y="1244"/>
                  </a:lnTo>
                  <a:lnTo>
                    <a:pt x="3183" y="1240"/>
                  </a:lnTo>
                  <a:lnTo>
                    <a:pt x="3185" y="1250"/>
                  </a:lnTo>
                  <a:lnTo>
                    <a:pt x="3188" y="1251"/>
                  </a:lnTo>
                  <a:lnTo>
                    <a:pt x="3193" y="1257"/>
                  </a:lnTo>
                  <a:lnTo>
                    <a:pt x="3197" y="1263"/>
                  </a:lnTo>
                  <a:lnTo>
                    <a:pt x="3207" y="1270"/>
                  </a:lnTo>
                  <a:lnTo>
                    <a:pt x="3209" y="1273"/>
                  </a:lnTo>
                  <a:lnTo>
                    <a:pt x="3212" y="1273"/>
                  </a:lnTo>
                  <a:lnTo>
                    <a:pt x="3215" y="1275"/>
                  </a:lnTo>
                  <a:lnTo>
                    <a:pt x="3215" y="1283"/>
                  </a:lnTo>
                  <a:lnTo>
                    <a:pt x="3218" y="1284"/>
                  </a:lnTo>
                  <a:lnTo>
                    <a:pt x="3213" y="1287"/>
                  </a:lnTo>
                  <a:lnTo>
                    <a:pt x="3213" y="1291"/>
                  </a:lnTo>
                  <a:lnTo>
                    <a:pt x="3219" y="1300"/>
                  </a:lnTo>
                  <a:lnTo>
                    <a:pt x="3223" y="1301"/>
                  </a:lnTo>
                  <a:lnTo>
                    <a:pt x="3227" y="1307"/>
                  </a:lnTo>
                  <a:lnTo>
                    <a:pt x="3229" y="1309"/>
                  </a:lnTo>
                  <a:lnTo>
                    <a:pt x="3226" y="1313"/>
                  </a:lnTo>
                  <a:lnTo>
                    <a:pt x="3229" y="1315"/>
                  </a:lnTo>
                  <a:lnTo>
                    <a:pt x="3224" y="1319"/>
                  </a:lnTo>
                  <a:lnTo>
                    <a:pt x="3219" y="1319"/>
                  </a:lnTo>
                  <a:lnTo>
                    <a:pt x="3212" y="1323"/>
                  </a:lnTo>
                  <a:lnTo>
                    <a:pt x="3208" y="1321"/>
                  </a:lnTo>
                  <a:lnTo>
                    <a:pt x="3199" y="1323"/>
                  </a:lnTo>
                  <a:lnTo>
                    <a:pt x="3195" y="1324"/>
                  </a:lnTo>
                  <a:lnTo>
                    <a:pt x="3190" y="1324"/>
                  </a:lnTo>
                  <a:lnTo>
                    <a:pt x="3191" y="1324"/>
                  </a:lnTo>
                  <a:lnTo>
                    <a:pt x="3190" y="1323"/>
                  </a:lnTo>
                  <a:lnTo>
                    <a:pt x="3187" y="1324"/>
                  </a:lnTo>
                  <a:lnTo>
                    <a:pt x="3185" y="1324"/>
                  </a:lnTo>
                  <a:lnTo>
                    <a:pt x="3187" y="1324"/>
                  </a:lnTo>
                  <a:lnTo>
                    <a:pt x="3185" y="1321"/>
                  </a:lnTo>
                  <a:lnTo>
                    <a:pt x="3180" y="1323"/>
                  </a:lnTo>
                  <a:lnTo>
                    <a:pt x="3182" y="1321"/>
                  </a:lnTo>
                  <a:lnTo>
                    <a:pt x="3182" y="1320"/>
                  </a:lnTo>
                  <a:lnTo>
                    <a:pt x="3179" y="1320"/>
                  </a:lnTo>
                  <a:lnTo>
                    <a:pt x="3176" y="1321"/>
                  </a:lnTo>
                  <a:lnTo>
                    <a:pt x="3173" y="1321"/>
                  </a:lnTo>
                  <a:lnTo>
                    <a:pt x="3169" y="1318"/>
                  </a:lnTo>
                  <a:lnTo>
                    <a:pt x="3165" y="1319"/>
                  </a:lnTo>
                  <a:lnTo>
                    <a:pt x="3159" y="1321"/>
                  </a:lnTo>
                  <a:lnTo>
                    <a:pt x="3154" y="1328"/>
                  </a:lnTo>
                  <a:lnTo>
                    <a:pt x="3151" y="1333"/>
                  </a:lnTo>
                  <a:lnTo>
                    <a:pt x="3145" y="1336"/>
                  </a:lnTo>
                  <a:lnTo>
                    <a:pt x="3143" y="1340"/>
                  </a:lnTo>
                  <a:lnTo>
                    <a:pt x="3140" y="1340"/>
                  </a:lnTo>
                  <a:lnTo>
                    <a:pt x="3138" y="1343"/>
                  </a:lnTo>
                  <a:lnTo>
                    <a:pt x="3137" y="1346"/>
                  </a:lnTo>
                  <a:lnTo>
                    <a:pt x="3134" y="1346"/>
                  </a:lnTo>
                  <a:lnTo>
                    <a:pt x="3134" y="1350"/>
                  </a:lnTo>
                  <a:lnTo>
                    <a:pt x="3129" y="1353"/>
                  </a:lnTo>
                  <a:lnTo>
                    <a:pt x="3126" y="1357"/>
                  </a:lnTo>
                  <a:lnTo>
                    <a:pt x="3124" y="1360"/>
                  </a:lnTo>
                  <a:lnTo>
                    <a:pt x="3123" y="1363"/>
                  </a:lnTo>
                  <a:lnTo>
                    <a:pt x="3122" y="1362"/>
                  </a:lnTo>
                  <a:lnTo>
                    <a:pt x="3120" y="1360"/>
                  </a:lnTo>
                  <a:lnTo>
                    <a:pt x="3117" y="1360"/>
                  </a:lnTo>
                  <a:lnTo>
                    <a:pt x="3115" y="1356"/>
                  </a:lnTo>
                  <a:lnTo>
                    <a:pt x="3110" y="1354"/>
                  </a:lnTo>
                  <a:lnTo>
                    <a:pt x="3109" y="1350"/>
                  </a:lnTo>
                  <a:lnTo>
                    <a:pt x="3105" y="1346"/>
                  </a:lnTo>
                  <a:lnTo>
                    <a:pt x="3094" y="1346"/>
                  </a:lnTo>
                  <a:lnTo>
                    <a:pt x="3089" y="1356"/>
                  </a:lnTo>
                  <a:lnTo>
                    <a:pt x="3088" y="1350"/>
                  </a:lnTo>
                  <a:lnTo>
                    <a:pt x="3084" y="1346"/>
                  </a:lnTo>
                  <a:lnTo>
                    <a:pt x="3078" y="1350"/>
                  </a:lnTo>
                  <a:lnTo>
                    <a:pt x="3076" y="1354"/>
                  </a:lnTo>
                  <a:lnTo>
                    <a:pt x="3076" y="1358"/>
                  </a:lnTo>
                  <a:lnTo>
                    <a:pt x="3077" y="1362"/>
                  </a:lnTo>
                  <a:lnTo>
                    <a:pt x="3076" y="1369"/>
                  </a:lnTo>
                  <a:lnTo>
                    <a:pt x="3074" y="1373"/>
                  </a:lnTo>
                  <a:lnTo>
                    <a:pt x="3072" y="1373"/>
                  </a:lnTo>
                  <a:lnTo>
                    <a:pt x="3070" y="1375"/>
                  </a:lnTo>
                  <a:lnTo>
                    <a:pt x="3070" y="1377"/>
                  </a:lnTo>
                  <a:lnTo>
                    <a:pt x="3073" y="1377"/>
                  </a:lnTo>
                  <a:lnTo>
                    <a:pt x="3072" y="1385"/>
                  </a:lnTo>
                  <a:lnTo>
                    <a:pt x="3069" y="1386"/>
                  </a:lnTo>
                  <a:lnTo>
                    <a:pt x="3066" y="1382"/>
                  </a:lnTo>
                  <a:lnTo>
                    <a:pt x="3064" y="1386"/>
                  </a:lnTo>
                  <a:lnTo>
                    <a:pt x="3063" y="1382"/>
                  </a:lnTo>
                  <a:lnTo>
                    <a:pt x="3059" y="1382"/>
                  </a:lnTo>
                  <a:lnTo>
                    <a:pt x="3059" y="1390"/>
                  </a:lnTo>
                  <a:lnTo>
                    <a:pt x="3060" y="1391"/>
                  </a:lnTo>
                  <a:lnTo>
                    <a:pt x="3058" y="1393"/>
                  </a:lnTo>
                  <a:lnTo>
                    <a:pt x="3056" y="1394"/>
                  </a:lnTo>
                  <a:lnTo>
                    <a:pt x="3058" y="1395"/>
                  </a:lnTo>
                  <a:lnTo>
                    <a:pt x="3056" y="1395"/>
                  </a:lnTo>
                  <a:lnTo>
                    <a:pt x="3056" y="1399"/>
                  </a:lnTo>
                  <a:lnTo>
                    <a:pt x="3059" y="1399"/>
                  </a:lnTo>
                  <a:lnTo>
                    <a:pt x="3059" y="1402"/>
                  </a:lnTo>
                  <a:lnTo>
                    <a:pt x="3060" y="1405"/>
                  </a:lnTo>
                  <a:lnTo>
                    <a:pt x="3063" y="1405"/>
                  </a:lnTo>
                  <a:lnTo>
                    <a:pt x="3062" y="1402"/>
                  </a:lnTo>
                  <a:lnTo>
                    <a:pt x="3064" y="1394"/>
                  </a:lnTo>
                  <a:lnTo>
                    <a:pt x="3069" y="1391"/>
                  </a:lnTo>
                  <a:lnTo>
                    <a:pt x="3076" y="1402"/>
                  </a:lnTo>
                  <a:lnTo>
                    <a:pt x="3077" y="1403"/>
                  </a:lnTo>
                  <a:lnTo>
                    <a:pt x="3083" y="1405"/>
                  </a:lnTo>
                  <a:lnTo>
                    <a:pt x="3088" y="1405"/>
                  </a:lnTo>
                  <a:lnTo>
                    <a:pt x="3092" y="1407"/>
                  </a:lnTo>
                  <a:lnTo>
                    <a:pt x="3094" y="1405"/>
                  </a:lnTo>
                  <a:lnTo>
                    <a:pt x="3103" y="1408"/>
                  </a:lnTo>
                  <a:lnTo>
                    <a:pt x="3110" y="1411"/>
                  </a:lnTo>
                  <a:lnTo>
                    <a:pt x="3113" y="1408"/>
                  </a:lnTo>
                  <a:lnTo>
                    <a:pt x="3115" y="1405"/>
                  </a:lnTo>
                  <a:lnTo>
                    <a:pt x="3124" y="1395"/>
                  </a:lnTo>
                  <a:lnTo>
                    <a:pt x="3131" y="1398"/>
                  </a:lnTo>
                  <a:lnTo>
                    <a:pt x="3134" y="1394"/>
                  </a:lnTo>
                  <a:lnTo>
                    <a:pt x="3133" y="1386"/>
                  </a:lnTo>
                  <a:lnTo>
                    <a:pt x="3127" y="1379"/>
                  </a:lnTo>
                  <a:lnTo>
                    <a:pt x="3133" y="1381"/>
                  </a:lnTo>
                  <a:lnTo>
                    <a:pt x="3137" y="1379"/>
                  </a:lnTo>
                  <a:lnTo>
                    <a:pt x="3141" y="1373"/>
                  </a:lnTo>
                  <a:lnTo>
                    <a:pt x="3143" y="1369"/>
                  </a:lnTo>
                  <a:lnTo>
                    <a:pt x="3145" y="1369"/>
                  </a:lnTo>
                  <a:lnTo>
                    <a:pt x="3151" y="1369"/>
                  </a:lnTo>
                  <a:lnTo>
                    <a:pt x="3149" y="1369"/>
                  </a:lnTo>
                  <a:lnTo>
                    <a:pt x="3147" y="1368"/>
                  </a:lnTo>
                  <a:lnTo>
                    <a:pt x="3147" y="1366"/>
                  </a:lnTo>
                  <a:lnTo>
                    <a:pt x="3152" y="1366"/>
                  </a:lnTo>
                  <a:lnTo>
                    <a:pt x="3152" y="1363"/>
                  </a:lnTo>
                  <a:lnTo>
                    <a:pt x="3159" y="1373"/>
                  </a:lnTo>
                  <a:lnTo>
                    <a:pt x="3166" y="1385"/>
                  </a:lnTo>
                  <a:lnTo>
                    <a:pt x="3169" y="1386"/>
                  </a:lnTo>
                  <a:lnTo>
                    <a:pt x="3174" y="1386"/>
                  </a:lnTo>
                  <a:lnTo>
                    <a:pt x="3187" y="1395"/>
                  </a:lnTo>
                  <a:lnTo>
                    <a:pt x="3188" y="1395"/>
                  </a:lnTo>
                  <a:lnTo>
                    <a:pt x="3190" y="1399"/>
                  </a:lnTo>
                  <a:lnTo>
                    <a:pt x="3190" y="1403"/>
                  </a:lnTo>
                  <a:lnTo>
                    <a:pt x="3191" y="1408"/>
                  </a:lnTo>
                  <a:lnTo>
                    <a:pt x="3191" y="1435"/>
                  </a:lnTo>
                  <a:lnTo>
                    <a:pt x="3194" y="1440"/>
                  </a:lnTo>
                  <a:lnTo>
                    <a:pt x="3202" y="1449"/>
                  </a:lnTo>
                  <a:lnTo>
                    <a:pt x="3202" y="1456"/>
                  </a:lnTo>
                  <a:lnTo>
                    <a:pt x="3201" y="1457"/>
                  </a:lnTo>
                  <a:lnTo>
                    <a:pt x="3197" y="1469"/>
                  </a:lnTo>
                  <a:lnTo>
                    <a:pt x="3180" y="1493"/>
                  </a:lnTo>
                  <a:lnTo>
                    <a:pt x="3168" y="1509"/>
                  </a:lnTo>
                  <a:lnTo>
                    <a:pt x="3165" y="1524"/>
                  </a:lnTo>
                  <a:lnTo>
                    <a:pt x="3160" y="1531"/>
                  </a:lnTo>
                  <a:lnTo>
                    <a:pt x="3162" y="1534"/>
                  </a:lnTo>
                  <a:lnTo>
                    <a:pt x="3158" y="1537"/>
                  </a:lnTo>
                  <a:lnTo>
                    <a:pt x="3152" y="1542"/>
                  </a:lnTo>
                  <a:lnTo>
                    <a:pt x="3131" y="1567"/>
                  </a:lnTo>
                  <a:lnTo>
                    <a:pt x="3127" y="1577"/>
                  </a:lnTo>
                  <a:lnTo>
                    <a:pt x="3123" y="1581"/>
                  </a:lnTo>
                  <a:lnTo>
                    <a:pt x="3124" y="1585"/>
                  </a:lnTo>
                  <a:lnTo>
                    <a:pt x="3122" y="1590"/>
                  </a:lnTo>
                  <a:lnTo>
                    <a:pt x="3120" y="1598"/>
                  </a:lnTo>
                  <a:lnTo>
                    <a:pt x="3119" y="1602"/>
                  </a:lnTo>
                  <a:lnTo>
                    <a:pt x="3119" y="1604"/>
                  </a:lnTo>
                  <a:lnTo>
                    <a:pt x="3120" y="1604"/>
                  </a:lnTo>
                  <a:lnTo>
                    <a:pt x="3120" y="1607"/>
                  </a:lnTo>
                  <a:lnTo>
                    <a:pt x="3120" y="1611"/>
                  </a:lnTo>
                  <a:lnTo>
                    <a:pt x="3115" y="1621"/>
                  </a:lnTo>
                  <a:lnTo>
                    <a:pt x="3116" y="1631"/>
                  </a:lnTo>
                  <a:lnTo>
                    <a:pt x="3115" y="1631"/>
                  </a:lnTo>
                  <a:lnTo>
                    <a:pt x="3117" y="1635"/>
                  </a:lnTo>
                  <a:lnTo>
                    <a:pt x="3110" y="1647"/>
                  </a:lnTo>
                  <a:lnTo>
                    <a:pt x="3101" y="1654"/>
                  </a:lnTo>
                  <a:lnTo>
                    <a:pt x="3091" y="1669"/>
                  </a:lnTo>
                  <a:lnTo>
                    <a:pt x="3083" y="1680"/>
                  </a:lnTo>
                  <a:lnTo>
                    <a:pt x="3081" y="1682"/>
                  </a:lnTo>
                  <a:lnTo>
                    <a:pt x="3077" y="1688"/>
                  </a:lnTo>
                  <a:lnTo>
                    <a:pt x="3076" y="1686"/>
                  </a:lnTo>
                  <a:lnTo>
                    <a:pt x="3074" y="1684"/>
                  </a:lnTo>
                  <a:lnTo>
                    <a:pt x="3080" y="1680"/>
                  </a:lnTo>
                  <a:lnTo>
                    <a:pt x="3078" y="1679"/>
                  </a:lnTo>
                  <a:lnTo>
                    <a:pt x="3074" y="1679"/>
                  </a:lnTo>
                  <a:lnTo>
                    <a:pt x="3070" y="1676"/>
                  </a:lnTo>
                  <a:lnTo>
                    <a:pt x="3063" y="1680"/>
                  </a:lnTo>
                  <a:lnTo>
                    <a:pt x="3063" y="1685"/>
                  </a:lnTo>
                  <a:lnTo>
                    <a:pt x="3059" y="1685"/>
                  </a:lnTo>
                  <a:lnTo>
                    <a:pt x="3059" y="1686"/>
                  </a:lnTo>
                  <a:lnTo>
                    <a:pt x="3058" y="1692"/>
                  </a:lnTo>
                  <a:lnTo>
                    <a:pt x="3059" y="1692"/>
                  </a:lnTo>
                  <a:lnTo>
                    <a:pt x="3063" y="1694"/>
                  </a:lnTo>
                  <a:lnTo>
                    <a:pt x="3067" y="1692"/>
                  </a:lnTo>
                  <a:lnTo>
                    <a:pt x="3064" y="1698"/>
                  </a:lnTo>
                  <a:lnTo>
                    <a:pt x="3055" y="1702"/>
                  </a:lnTo>
                  <a:lnTo>
                    <a:pt x="3045" y="1709"/>
                  </a:lnTo>
                  <a:lnTo>
                    <a:pt x="3042" y="1715"/>
                  </a:lnTo>
                  <a:lnTo>
                    <a:pt x="3041" y="1719"/>
                  </a:lnTo>
                  <a:lnTo>
                    <a:pt x="3035" y="1718"/>
                  </a:lnTo>
                  <a:lnTo>
                    <a:pt x="3035" y="1721"/>
                  </a:lnTo>
                  <a:lnTo>
                    <a:pt x="3024" y="1725"/>
                  </a:lnTo>
                  <a:lnTo>
                    <a:pt x="3008" y="1736"/>
                  </a:lnTo>
                  <a:lnTo>
                    <a:pt x="2999" y="1744"/>
                  </a:lnTo>
                  <a:lnTo>
                    <a:pt x="2997" y="1750"/>
                  </a:lnTo>
                  <a:lnTo>
                    <a:pt x="2997" y="1754"/>
                  </a:lnTo>
                  <a:lnTo>
                    <a:pt x="2994" y="1760"/>
                  </a:lnTo>
                  <a:lnTo>
                    <a:pt x="2977" y="1781"/>
                  </a:lnTo>
                  <a:lnTo>
                    <a:pt x="2973" y="1793"/>
                  </a:lnTo>
                  <a:lnTo>
                    <a:pt x="2966" y="1800"/>
                  </a:lnTo>
                  <a:lnTo>
                    <a:pt x="2958" y="1814"/>
                  </a:lnTo>
                  <a:lnTo>
                    <a:pt x="2958" y="1818"/>
                  </a:lnTo>
                  <a:lnTo>
                    <a:pt x="2950" y="1830"/>
                  </a:lnTo>
                  <a:lnTo>
                    <a:pt x="2937" y="1848"/>
                  </a:lnTo>
                  <a:lnTo>
                    <a:pt x="2919" y="1863"/>
                  </a:lnTo>
                  <a:lnTo>
                    <a:pt x="2913" y="1867"/>
                  </a:lnTo>
                  <a:lnTo>
                    <a:pt x="2908" y="1876"/>
                  </a:lnTo>
                  <a:lnTo>
                    <a:pt x="2905" y="1880"/>
                  </a:lnTo>
                  <a:lnTo>
                    <a:pt x="2878" y="1905"/>
                  </a:lnTo>
                  <a:lnTo>
                    <a:pt x="2869" y="1912"/>
                  </a:lnTo>
                  <a:lnTo>
                    <a:pt x="2855" y="1925"/>
                  </a:lnTo>
                  <a:lnTo>
                    <a:pt x="2848" y="1934"/>
                  </a:lnTo>
                  <a:lnTo>
                    <a:pt x="2846" y="1937"/>
                  </a:lnTo>
                  <a:lnTo>
                    <a:pt x="2837" y="1945"/>
                  </a:lnTo>
                  <a:lnTo>
                    <a:pt x="2824" y="1959"/>
                  </a:lnTo>
                  <a:lnTo>
                    <a:pt x="2804" y="1974"/>
                  </a:lnTo>
                  <a:lnTo>
                    <a:pt x="2785" y="1999"/>
                  </a:lnTo>
                  <a:lnTo>
                    <a:pt x="2785" y="2005"/>
                  </a:lnTo>
                  <a:lnTo>
                    <a:pt x="2781" y="2004"/>
                  </a:lnTo>
                  <a:lnTo>
                    <a:pt x="2763" y="2012"/>
                  </a:lnTo>
                  <a:lnTo>
                    <a:pt x="2756" y="2016"/>
                  </a:lnTo>
                  <a:lnTo>
                    <a:pt x="2754" y="2013"/>
                  </a:lnTo>
                  <a:lnTo>
                    <a:pt x="2757" y="2009"/>
                  </a:lnTo>
                  <a:lnTo>
                    <a:pt x="2771" y="2005"/>
                  </a:lnTo>
                  <a:lnTo>
                    <a:pt x="2773" y="2002"/>
                  </a:lnTo>
                  <a:lnTo>
                    <a:pt x="2773" y="1991"/>
                  </a:lnTo>
                  <a:lnTo>
                    <a:pt x="2771" y="1989"/>
                  </a:lnTo>
                  <a:lnTo>
                    <a:pt x="2768" y="2001"/>
                  </a:lnTo>
                  <a:lnTo>
                    <a:pt x="2763" y="2001"/>
                  </a:lnTo>
                  <a:lnTo>
                    <a:pt x="2759" y="2005"/>
                  </a:lnTo>
                  <a:lnTo>
                    <a:pt x="2756" y="2005"/>
                  </a:lnTo>
                  <a:lnTo>
                    <a:pt x="2750" y="2012"/>
                  </a:lnTo>
                  <a:lnTo>
                    <a:pt x="2750" y="2021"/>
                  </a:lnTo>
                  <a:lnTo>
                    <a:pt x="2753" y="2024"/>
                  </a:lnTo>
                  <a:lnTo>
                    <a:pt x="2757" y="2024"/>
                  </a:lnTo>
                  <a:lnTo>
                    <a:pt x="2752" y="2028"/>
                  </a:lnTo>
                  <a:lnTo>
                    <a:pt x="2745" y="2047"/>
                  </a:lnTo>
                  <a:lnTo>
                    <a:pt x="2739" y="2051"/>
                  </a:lnTo>
                  <a:lnTo>
                    <a:pt x="2727" y="2050"/>
                  </a:lnTo>
                  <a:lnTo>
                    <a:pt x="2717" y="2053"/>
                  </a:lnTo>
                  <a:lnTo>
                    <a:pt x="2710" y="2059"/>
                  </a:lnTo>
                  <a:lnTo>
                    <a:pt x="2707" y="2064"/>
                  </a:lnTo>
                  <a:lnTo>
                    <a:pt x="2706" y="2075"/>
                  </a:lnTo>
                  <a:lnTo>
                    <a:pt x="2709" y="2073"/>
                  </a:lnTo>
                  <a:lnTo>
                    <a:pt x="2715" y="2061"/>
                  </a:lnTo>
                  <a:lnTo>
                    <a:pt x="2721" y="2054"/>
                  </a:lnTo>
                  <a:lnTo>
                    <a:pt x="2739" y="2057"/>
                  </a:lnTo>
                  <a:lnTo>
                    <a:pt x="2748" y="2057"/>
                  </a:lnTo>
                  <a:lnTo>
                    <a:pt x="2752" y="2051"/>
                  </a:lnTo>
                  <a:lnTo>
                    <a:pt x="2756" y="2046"/>
                  </a:lnTo>
                  <a:lnTo>
                    <a:pt x="2762" y="2041"/>
                  </a:lnTo>
                  <a:lnTo>
                    <a:pt x="2762" y="2030"/>
                  </a:lnTo>
                  <a:lnTo>
                    <a:pt x="2764" y="2028"/>
                  </a:lnTo>
                  <a:lnTo>
                    <a:pt x="2765" y="2028"/>
                  </a:lnTo>
                  <a:lnTo>
                    <a:pt x="2767" y="2032"/>
                  </a:lnTo>
                  <a:lnTo>
                    <a:pt x="2764" y="2045"/>
                  </a:lnTo>
                  <a:lnTo>
                    <a:pt x="2764" y="2053"/>
                  </a:lnTo>
                  <a:lnTo>
                    <a:pt x="2749" y="2073"/>
                  </a:lnTo>
                  <a:lnTo>
                    <a:pt x="2742" y="2087"/>
                  </a:lnTo>
                  <a:lnTo>
                    <a:pt x="2742" y="2089"/>
                  </a:lnTo>
                  <a:lnTo>
                    <a:pt x="2743" y="2091"/>
                  </a:lnTo>
                  <a:lnTo>
                    <a:pt x="2737" y="2101"/>
                  </a:lnTo>
                  <a:lnTo>
                    <a:pt x="2735" y="2106"/>
                  </a:lnTo>
                  <a:lnTo>
                    <a:pt x="2735" y="2108"/>
                  </a:lnTo>
                  <a:lnTo>
                    <a:pt x="2738" y="2108"/>
                  </a:lnTo>
                  <a:lnTo>
                    <a:pt x="2739" y="2109"/>
                  </a:lnTo>
                  <a:lnTo>
                    <a:pt x="2739" y="2113"/>
                  </a:lnTo>
                  <a:lnTo>
                    <a:pt x="2731" y="2120"/>
                  </a:lnTo>
                  <a:lnTo>
                    <a:pt x="2715" y="2143"/>
                  </a:lnTo>
                  <a:lnTo>
                    <a:pt x="2706" y="2150"/>
                  </a:lnTo>
                  <a:lnTo>
                    <a:pt x="2702" y="2151"/>
                  </a:lnTo>
                  <a:lnTo>
                    <a:pt x="2696" y="2157"/>
                  </a:lnTo>
                  <a:lnTo>
                    <a:pt x="2684" y="2183"/>
                  </a:lnTo>
                  <a:lnTo>
                    <a:pt x="2682" y="2191"/>
                  </a:lnTo>
                  <a:lnTo>
                    <a:pt x="2677" y="2203"/>
                  </a:lnTo>
                  <a:lnTo>
                    <a:pt x="2656" y="2218"/>
                  </a:lnTo>
                  <a:lnTo>
                    <a:pt x="2646" y="2228"/>
                  </a:lnTo>
                  <a:lnTo>
                    <a:pt x="2638" y="2237"/>
                  </a:lnTo>
                  <a:lnTo>
                    <a:pt x="2624" y="2248"/>
                  </a:lnTo>
                  <a:lnTo>
                    <a:pt x="2607" y="2246"/>
                  </a:lnTo>
                  <a:lnTo>
                    <a:pt x="2589" y="2250"/>
                  </a:lnTo>
                  <a:lnTo>
                    <a:pt x="2586" y="2248"/>
                  </a:lnTo>
                  <a:lnTo>
                    <a:pt x="2588" y="2248"/>
                  </a:lnTo>
                  <a:lnTo>
                    <a:pt x="2586" y="2248"/>
                  </a:lnTo>
                  <a:lnTo>
                    <a:pt x="2584" y="2250"/>
                  </a:lnTo>
                  <a:lnTo>
                    <a:pt x="2579" y="2250"/>
                  </a:lnTo>
                  <a:lnTo>
                    <a:pt x="2576" y="2246"/>
                  </a:lnTo>
                  <a:lnTo>
                    <a:pt x="2578" y="2241"/>
                  </a:lnTo>
                  <a:lnTo>
                    <a:pt x="2576" y="2241"/>
                  </a:lnTo>
                  <a:lnTo>
                    <a:pt x="2578" y="2240"/>
                  </a:lnTo>
                  <a:lnTo>
                    <a:pt x="2576" y="2237"/>
                  </a:lnTo>
                  <a:lnTo>
                    <a:pt x="2564" y="2218"/>
                  </a:lnTo>
                  <a:lnTo>
                    <a:pt x="2564" y="2213"/>
                  </a:lnTo>
                  <a:lnTo>
                    <a:pt x="2570" y="2207"/>
                  </a:lnTo>
                  <a:lnTo>
                    <a:pt x="2575" y="2207"/>
                  </a:lnTo>
                  <a:lnTo>
                    <a:pt x="2576" y="2203"/>
                  </a:lnTo>
                  <a:lnTo>
                    <a:pt x="2572" y="2193"/>
                  </a:lnTo>
                  <a:lnTo>
                    <a:pt x="2568" y="2195"/>
                  </a:lnTo>
                  <a:lnTo>
                    <a:pt x="2567" y="2196"/>
                  </a:lnTo>
                  <a:lnTo>
                    <a:pt x="2564" y="2196"/>
                  </a:lnTo>
                  <a:lnTo>
                    <a:pt x="2564" y="2199"/>
                  </a:lnTo>
                  <a:lnTo>
                    <a:pt x="2560" y="2202"/>
                  </a:lnTo>
                  <a:lnTo>
                    <a:pt x="2561" y="2211"/>
                  </a:lnTo>
                  <a:lnTo>
                    <a:pt x="2556" y="2215"/>
                  </a:lnTo>
                  <a:lnTo>
                    <a:pt x="2558" y="2221"/>
                  </a:lnTo>
                  <a:lnTo>
                    <a:pt x="2560" y="2225"/>
                  </a:lnTo>
                  <a:lnTo>
                    <a:pt x="2564" y="2229"/>
                  </a:lnTo>
                  <a:lnTo>
                    <a:pt x="2565" y="2229"/>
                  </a:lnTo>
                  <a:lnTo>
                    <a:pt x="2565" y="2244"/>
                  </a:lnTo>
                  <a:lnTo>
                    <a:pt x="2563" y="2246"/>
                  </a:lnTo>
                  <a:lnTo>
                    <a:pt x="2558" y="2246"/>
                  </a:lnTo>
                  <a:lnTo>
                    <a:pt x="2546" y="2241"/>
                  </a:lnTo>
                  <a:lnTo>
                    <a:pt x="2542" y="2241"/>
                  </a:lnTo>
                  <a:lnTo>
                    <a:pt x="2546" y="2252"/>
                  </a:lnTo>
                  <a:lnTo>
                    <a:pt x="2544" y="2252"/>
                  </a:lnTo>
                  <a:lnTo>
                    <a:pt x="2543" y="2260"/>
                  </a:lnTo>
                  <a:lnTo>
                    <a:pt x="2539" y="2263"/>
                  </a:lnTo>
                  <a:lnTo>
                    <a:pt x="2535" y="2263"/>
                  </a:lnTo>
                  <a:lnTo>
                    <a:pt x="2526" y="2268"/>
                  </a:lnTo>
                  <a:lnTo>
                    <a:pt x="2519" y="2268"/>
                  </a:lnTo>
                  <a:lnTo>
                    <a:pt x="2507" y="2274"/>
                  </a:lnTo>
                  <a:lnTo>
                    <a:pt x="2501" y="2273"/>
                  </a:lnTo>
                  <a:lnTo>
                    <a:pt x="2496" y="2278"/>
                  </a:lnTo>
                  <a:lnTo>
                    <a:pt x="2480" y="2281"/>
                  </a:lnTo>
                  <a:lnTo>
                    <a:pt x="2476" y="2278"/>
                  </a:lnTo>
                  <a:lnTo>
                    <a:pt x="2469" y="2268"/>
                  </a:lnTo>
                  <a:lnTo>
                    <a:pt x="2465" y="2266"/>
                  </a:lnTo>
                  <a:lnTo>
                    <a:pt x="2464" y="2262"/>
                  </a:lnTo>
                  <a:lnTo>
                    <a:pt x="2458" y="2260"/>
                  </a:lnTo>
                  <a:lnTo>
                    <a:pt x="2460" y="2266"/>
                  </a:lnTo>
                  <a:lnTo>
                    <a:pt x="2468" y="2270"/>
                  </a:lnTo>
                  <a:lnTo>
                    <a:pt x="2474" y="2282"/>
                  </a:lnTo>
                  <a:lnTo>
                    <a:pt x="2478" y="2286"/>
                  </a:lnTo>
                  <a:lnTo>
                    <a:pt x="2485" y="2286"/>
                  </a:lnTo>
                  <a:lnTo>
                    <a:pt x="2493" y="2286"/>
                  </a:lnTo>
                  <a:lnTo>
                    <a:pt x="2503" y="2282"/>
                  </a:lnTo>
                  <a:lnTo>
                    <a:pt x="2494" y="2293"/>
                  </a:lnTo>
                  <a:lnTo>
                    <a:pt x="2486" y="2293"/>
                  </a:lnTo>
                  <a:lnTo>
                    <a:pt x="2485" y="2297"/>
                  </a:lnTo>
                  <a:lnTo>
                    <a:pt x="2480" y="2299"/>
                  </a:lnTo>
                  <a:lnTo>
                    <a:pt x="2474" y="2311"/>
                  </a:lnTo>
                  <a:lnTo>
                    <a:pt x="2476" y="2312"/>
                  </a:lnTo>
                  <a:lnTo>
                    <a:pt x="2479" y="2307"/>
                  </a:lnTo>
                  <a:lnTo>
                    <a:pt x="2486" y="2323"/>
                  </a:lnTo>
                  <a:lnTo>
                    <a:pt x="2486" y="2335"/>
                  </a:lnTo>
                  <a:lnTo>
                    <a:pt x="2489" y="2341"/>
                  </a:lnTo>
                  <a:lnTo>
                    <a:pt x="2489" y="2345"/>
                  </a:lnTo>
                  <a:lnTo>
                    <a:pt x="2493" y="2352"/>
                  </a:lnTo>
                  <a:lnTo>
                    <a:pt x="2499" y="2356"/>
                  </a:lnTo>
                  <a:lnTo>
                    <a:pt x="2499" y="2357"/>
                  </a:lnTo>
                  <a:lnTo>
                    <a:pt x="2504" y="2360"/>
                  </a:lnTo>
                  <a:lnTo>
                    <a:pt x="2508" y="2368"/>
                  </a:lnTo>
                  <a:lnTo>
                    <a:pt x="2514" y="2372"/>
                  </a:lnTo>
                  <a:lnTo>
                    <a:pt x="2514" y="2376"/>
                  </a:lnTo>
                  <a:lnTo>
                    <a:pt x="2515" y="2379"/>
                  </a:lnTo>
                  <a:lnTo>
                    <a:pt x="2504" y="2382"/>
                  </a:lnTo>
                  <a:lnTo>
                    <a:pt x="2497" y="2386"/>
                  </a:lnTo>
                  <a:lnTo>
                    <a:pt x="2501" y="2386"/>
                  </a:lnTo>
                  <a:lnTo>
                    <a:pt x="2507" y="2384"/>
                  </a:lnTo>
                  <a:lnTo>
                    <a:pt x="2519" y="2384"/>
                  </a:lnTo>
                  <a:lnTo>
                    <a:pt x="2521" y="2386"/>
                  </a:lnTo>
                  <a:lnTo>
                    <a:pt x="2521" y="2389"/>
                  </a:lnTo>
                  <a:lnTo>
                    <a:pt x="2525" y="2389"/>
                  </a:lnTo>
                  <a:lnTo>
                    <a:pt x="2532" y="2397"/>
                  </a:lnTo>
                  <a:lnTo>
                    <a:pt x="2530" y="2398"/>
                  </a:lnTo>
                  <a:lnTo>
                    <a:pt x="2533" y="2401"/>
                  </a:lnTo>
                  <a:lnTo>
                    <a:pt x="2538" y="2402"/>
                  </a:lnTo>
                  <a:lnTo>
                    <a:pt x="2544" y="2401"/>
                  </a:lnTo>
                  <a:lnTo>
                    <a:pt x="2547" y="2402"/>
                  </a:lnTo>
                  <a:lnTo>
                    <a:pt x="2546" y="2406"/>
                  </a:lnTo>
                  <a:lnTo>
                    <a:pt x="2540" y="2409"/>
                  </a:lnTo>
                  <a:lnTo>
                    <a:pt x="2499" y="2424"/>
                  </a:lnTo>
                  <a:lnTo>
                    <a:pt x="2494" y="2428"/>
                  </a:lnTo>
                  <a:lnTo>
                    <a:pt x="2491" y="2434"/>
                  </a:lnTo>
                  <a:lnTo>
                    <a:pt x="2490" y="2432"/>
                  </a:lnTo>
                  <a:lnTo>
                    <a:pt x="2489" y="2431"/>
                  </a:lnTo>
                  <a:lnTo>
                    <a:pt x="2482" y="2432"/>
                  </a:lnTo>
                  <a:lnTo>
                    <a:pt x="2479" y="2435"/>
                  </a:lnTo>
                  <a:lnTo>
                    <a:pt x="2472" y="2439"/>
                  </a:lnTo>
                  <a:lnTo>
                    <a:pt x="2474" y="2441"/>
                  </a:lnTo>
                  <a:lnTo>
                    <a:pt x="2476" y="2441"/>
                  </a:lnTo>
                  <a:lnTo>
                    <a:pt x="2483" y="2435"/>
                  </a:lnTo>
                  <a:lnTo>
                    <a:pt x="2488" y="2434"/>
                  </a:lnTo>
                  <a:lnTo>
                    <a:pt x="2489" y="2439"/>
                  </a:lnTo>
                  <a:lnTo>
                    <a:pt x="2482" y="2446"/>
                  </a:lnTo>
                  <a:lnTo>
                    <a:pt x="2438" y="2468"/>
                  </a:lnTo>
                  <a:lnTo>
                    <a:pt x="2429" y="2473"/>
                  </a:lnTo>
                  <a:lnTo>
                    <a:pt x="2428" y="2473"/>
                  </a:lnTo>
                  <a:lnTo>
                    <a:pt x="2430" y="2469"/>
                  </a:lnTo>
                  <a:lnTo>
                    <a:pt x="2429" y="2465"/>
                  </a:lnTo>
                  <a:lnTo>
                    <a:pt x="2426" y="2465"/>
                  </a:lnTo>
                  <a:lnTo>
                    <a:pt x="2424" y="2473"/>
                  </a:lnTo>
                  <a:lnTo>
                    <a:pt x="2426" y="2473"/>
                  </a:lnTo>
                  <a:lnTo>
                    <a:pt x="2426" y="2477"/>
                  </a:lnTo>
                  <a:lnTo>
                    <a:pt x="2400" y="2496"/>
                  </a:lnTo>
                  <a:lnTo>
                    <a:pt x="2390" y="2499"/>
                  </a:lnTo>
                  <a:lnTo>
                    <a:pt x="2369" y="2509"/>
                  </a:lnTo>
                  <a:lnTo>
                    <a:pt x="2361" y="2514"/>
                  </a:lnTo>
                  <a:lnTo>
                    <a:pt x="2358" y="2516"/>
                  </a:lnTo>
                  <a:lnTo>
                    <a:pt x="2354" y="2522"/>
                  </a:lnTo>
                  <a:lnTo>
                    <a:pt x="2341" y="2533"/>
                  </a:lnTo>
                  <a:lnTo>
                    <a:pt x="2322" y="2540"/>
                  </a:lnTo>
                  <a:lnTo>
                    <a:pt x="2305" y="2547"/>
                  </a:lnTo>
                  <a:lnTo>
                    <a:pt x="2294" y="2551"/>
                  </a:lnTo>
                  <a:lnTo>
                    <a:pt x="2290" y="2555"/>
                  </a:lnTo>
                  <a:lnTo>
                    <a:pt x="2289" y="2563"/>
                  </a:lnTo>
                  <a:lnTo>
                    <a:pt x="2286" y="2566"/>
                  </a:lnTo>
                  <a:lnTo>
                    <a:pt x="2283" y="2571"/>
                  </a:lnTo>
                  <a:lnTo>
                    <a:pt x="2276" y="2576"/>
                  </a:lnTo>
                  <a:lnTo>
                    <a:pt x="2229" y="2603"/>
                  </a:lnTo>
                  <a:lnTo>
                    <a:pt x="2187" y="2625"/>
                  </a:lnTo>
                  <a:lnTo>
                    <a:pt x="2125" y="2651"/>
                  </a:lnTo>
                  <a:lnTo>
                    <a:pt x="2116" y="2655"/>
                  </a:lnTo>
                  <a:lnTo>
                    <a:pt x="2109" y="2663"/>
                  </a:lnTo>
                  <a:lnTo>
                    <a:pt x="2093" y="2675"/>
                  </a:lnTo>
                  <a:lnTo>
                    <a:pt x="2094" y="2679"/>
                  </a:lnTo>
                  <a:lnTo>
                    <a:pt x="2090" y="2675"/>
                  </a:lnTo>
                  <a:lnTo>
                    <a:pt x="2087" y="2675"/>
                  </a:lnTo>
                  <a:lnTo>
                    <a:pt x="2087" y="2673"/>
                  </a:lnTo>
                  <a:lnTo>
                    <a:pt x="2086" y="2671"/>
                  </a:lnTo>
                  <a:lnTo>
                    <a:pt x="2076" y="2675"/>
                  </a:lnTo>
                  <a:lnTo>
                    <a:pt x="2065" y="2675"/>
                  </a:lnTo>
                  <a:lnTo>
                    <a:pt x="2062" y="2673"/>
                  </a:lnTo>
                  <a:lnTo>
                    <a:pt x="2051" y="2656"/>
                  </a:lnTo>
                  <a:lnTo>
                    <a:pt x="2051" y="2648"/>
                  </a:lnTo>
                  <a:lnTo>
                    <a:pt x="2054" y="2646"/>
                  </a:lnTo>
                  <a:lnTo>
                    <a:pt x="2054" y="2642"/>
                  </a:lnTo>
                  <a:lnTo>
                    <a:pt x="2044" y="2622"/>
                  </a:lnTo>
                  <a:lnTo>
                    <a:pt x="2044" y="2611"/>
                  </a:lnTo>
                  <a:lnTo>
                    <a:pt x="2043" y="2611"/>
                  </a:lnTo>
                  <a:lnTo>
                    <a:pt x="2040" y="2615"/>
                  </a:lnTo>
                  <a:lnTo>
                    <a:pt x="2040" y="2620"/>
                  </a:lnTo>
                  <a:lnTo>
                    <a:pt x="2040" y="2626"/>
                  </a:lnTo>
                  <a:lnTo>
                    <a:pt x="2044" y="2634"/>
                  </a:lnTo>
                  <a:lnTo>
                    <a:pt x="2044" y="2652"/>
                  </a:lnTo>
                  <a:lnTo>
                    <a:pt x="2045" y="2660"/>
                  </a:lnTo>
                  <a:lnTo>
                    <a:pt x="2050" y="2667"/>
                  </a:lnTo>
                  <a:lnTo>
                    <a:pt x="2047" y="2670"/>
                  </a:lnTo>
                  <a:lnTo>
                    <a:pt x="2044" y="2671"/>
                  </a:lnTo>
                  <a:lnTo>
                    <a:pt x="2026" y="2668"/>
                  </a:lnTo>
                  <a:lnTo>
                    <a:pt x="2023" y="2671"/>
                  </a:lnTo>
                  <a:lnTo>
                    <a:pt x="2030" y="2675"/>
                  </a:lnTo>
                  <a:lnTo>
                    <a:pt x="2037" y="2679"/>
                  </a:lnTo>
                  <a:lnTo>
                    <a:pt x="2039" y="2683"/>
                  </a:lnTo>
                  <a:lnTo>
                    <a:pt x="2051" y="2683"/>
                  </a:lnTo>
                  <a:lnTo>
                    <a:pt x="2056" y="2690"/>
                  </a:lnTo>
                  <a:lnTo>
                    <a:pt x="2062" y="2687"/>
                  </a:lnTo>
                  <a:lnTo>
                    <a:pt x="2064" y="2687"/>
                  </a:lnTo>
                  <a:lnTo>
                    <a:pt x="2066" y="2683"/>
                  </a:lnTo>
                  <a:lnTo>
                    <a:pt x="2072" y="2685"/>
                  </a:lnTo>
                  <a:lnTo>
                    <a:pt x="2062" y="2693"/>
                  </a:lnTo>
                  <a:lnTo>
                    <a:pt x="2041" y="2705"/>
                  </a:lnTo>
                  <a:lnTo>
                    <a:pt x="2001" y="2732"/>
                  </a:lnTo>
                  <a:lnTo>
                    <a:pt x="1981" y="2754"/>
                  </a:lnTo>
                  <a:lnTo>
                    <a:pt x="1967" y="2772"/>
                  </a:lnTo>
                  <a:lnTo>
                    <a:pt x="1967" y="2776"/>
                  </a:lnTo>
                  <a:lnTo>
                    <a:pt x="1966" y="2776"/>
                  </a:lnTo>
                  <a:lnTo>
                    <a:pt x="1966" y="2772"/>
                  </a:lnTo>
                  <a:lnTo>
                    <a:pt x="1965" y="2763"/>
                  </a:lnTo>
                  <a:lnTo>
                    <a:pt x="1959" y="2757"/>
                  </a:lnTo>
                  <a:lnTo>
                    <a:pt x="1958" y="2746"/>
                  </a:lnTo>
                  <a:lnTo>
                    <a:pt x="1956" y="2742"/>
                  </a:lnTo>
                  <a:lnTo>
                    <a:pt x="1956" y="2738"/>
                  </a:lnTo>
                  <a:lnTo>
                    <a:pt x="1960" y="2735"/>
                  </a:lnTo>
                  <a:lnTo>
                    <a:pt x="1962" y="2732"/>
                  </a:lnTo>
                  <a:lnTo>
                    <a:pt x="1963" y="2726"/>
                  </a:lnTo>
                  <a:lnTo>
                    <a:pt x="1962" y="2724"/>
                  </a:lnTo>
                  <a:lnTo>
                    <a:pt x="1951" y="2715"/>
                  </a:lnTo>
                  <a:lnTo>
                    <a:pt x="1948" y="2713"/>
                  </a:lnTo>
                  <a:lnTo>
                    <a:pt x="1946" y="2708"/>
                  </a:lnTo>
                  <a:lnTo>
                    <a:pt x="1946" y="2701"/>
                  </a:lnTo>
                  <a:lnTo>
                    <a:pt x="1942" y="2690"/>
                  </a:lnTo>
                  <a:lnTo>
                    <a:pt x="1935" y="2689"/>
                  </a:lnTo>
                  <a:lnTo>
                    <a:pt x="1934" y="2683"/>
                  </a:lnTo>
                  <a:lnTo>
                    <a:pt x="1929" y="2685"/>
                  </a:lnTo>
                  <a:lnTo>
                    <a:pt x="1926" y="2681"/>
                  </a:lnTo>
                  <a:lnTo>
                    <a:pt x="1921" y="2681"/>
                  </a:lnTo>
                  <a:lnTo>
                    <a:pt x="1919" y="2675"/>
                  </a:lnTo>
                  <a:lnTo>
                    <a:pt x="1916" y="2673"/>
                  </a:lnTo>
                  <a:lnTo>
                    <a:pt x="1915" y="2668"/>
                  </a:lnTo>
                  <a:lnTo>
                    <a:pt x="1912" y="2663"/>
                  </a:lnTo>
                  <a:lnTo>
                    <a:pt x="1913" y="2656"/>
                  </a:lnTo>
                  <a:lnTo>
                    <a:pt x="1912" y="2652"/>
                  </a:lnTo>
                  <a:lnTo>
                    <a:pt x="1912" y="2648"/>
                  </a:lnTo>
                  <a:lnTo>
                    <a:pt x="1910" y="2646"/>
                  </a:lnTo>
                  <a:lnTo>
                    <a:pt x="1910" y="2645"/>
                  </a:lnTo>
                  <a:lnTo>
                    <a:pt x="1904" y="2638"/>
                  </a:lnTo>
                  <a:lnTo>
                    <a:pt x="1899" y="2638"/>
                  </a:lnTo>
                  <a:lnTo>
                    <a:pt x="1894" y="2630"/>
                  </a:lnTo>
                  <a:lnTo>
                    <a:pt x="1890" y="2628"/>
                  </a:lnTo>
                  <a:lnTo>
                    <a:pt x="1891" y="2622"/>
                  </a:lnTo>
                  <a:lnTo>
                    <a:pt x="1890" y="2618"/>
                  </a:lnTo>
                  <a:lnTo>
                    <a:pt x="1892" y="2610"/>
                  </a:lnTo>
                  <a:lnTo>
                    <a:pt x="1890" y="2600"/>
                  </a:lnTo>
                  <a:lnTo>
                    <a:pt x="1890" y="2593"/>
                  </a:lnTo>
                  <a:lnTo>
                    <a:pt x="1885" y="2592"/>
                  </a:lnTo>
                  <a:lnTo>
                    <a:pt x="1884" y="2588"/>
                  </a:lnTo>
                  <a:lnTo>
                    <a:pt x="1882" y="2585"/>
                  </a:lnTo>
                  <a:lnTo>
                    <a:pt x="1880" y="2585"/>
                  </a:lnTo>
                  <a:lnTo>
                    <a:pt x="1874" y="2584"/>
                  </a:lnTo>
                  <a:lnTo>
                    <a:pt x="1870" y="2580"/>
                  </a:lnTo>
                  <a:lnTo>
                    <a:pt x="1867" y="2581"/>
                  </a:lnTo>
                  <a:lnTo>
                    <a:pt x="1863" y="2581"/>
                  </a:lnTo>
                  <a:lnTo>
                    <a:pt x="1862" y="2577"/>
                  </a:lnTo>
                  <a:lnTo>
                    <a:pt x="1859" y="2580"/>
                  </a:lnTo>
                  <a:lnTo>
                    <a:pt x="1856" y="2577"/>
                  </a:lnTo>
                  <a:lnTo>
                    <a:pt x="1855" y="2577"/>
                  </a:lnTo>
                  <a:lnTo>
                    <a:pt x="1851" y="2575"/>
                  </a:lnTo>
                  <a:lnTo>
                    <a:pt x="1851" y="2571"/>
                  </a:lnTo>
                  <a:lnTo>
                    <a:pt x="1845" y="2569"/>
                  </a:lnTo>
                  <a:lnTo>
                    <a:pt x="1845" y="2563"/>
                  </a:lnTo>
                  <a:lnTo>
                    <a:pt x="1842" y="2561"/>
                  </a:lnTo>
                  <a:lnTo>
                    <a:pt x="1841" y="2559"/>
                  </a:lnTo>
                  <a:lnTo>
                    <a:pt x="1844" y="2553"/>
                  </a:lnTo>
                  <a:lnTo>
                    <a:pt x="1841" y="2544"/>
                  </a:lnTo>
                  <a:lnTo>
                    <a:pt x="1844" y="2540"/>
                  </a:lnTo>
                  <a:lnTo>
                    <a:pt x="1845" y="2535"/>
                  </a:lnTo>
                  <a:lnTo>
                    <a:pt x="1851" y="2526"/>
                  </a:lnTo>
                  <a:lnTo>
                    <a:pt x="1849" y="2518"/>
                  </a:lnTo>
                  <a:lnTo>
                    <a:pt x="1851" y="2514"/>
                  </a:lnTo>
                  <a:lnTo>
                    <a:pt x="1849" y="2510"/>
                  </a:lnTo>
                  <a:lnTo>
                    <a:pt x="1854" y="2499"/>
                  </a:lnTo>
                  <a:lnTo>
                    <a:pt x="1851" y="2494"/>
                  </a:lnTo>
                  <a:lnTo>
                    <a:pt x="1852" y="2488"/>
                  </a:lnTo>
                  <a:lnTo>
                    <a:pt x="1860" y="2482"/>
                  </a:lnTo>
                  <a:lnTo>
                    <a:pt x="1863" y="2477"/>
                  </a:lnTo>
                  <a:lnTo>
                    <a:pt x="1867" y="2479"/>
                  </a:lnTo>
                  <a:lnTo>
                    <a:pt x="1869" y="2477"/>
                  </a:lnTo>
                  <a:lnTo>
                    <a:pt x="1873" y="2477"/>
                  </a:lnTo>
                  <a:lnTo>
                    <a:pt x="1876" y="2477"/>
                  </a:lnTo>
                  <a:lnTo>
                    <a:pt x="1884" y="2477"/>
                  </a:lnTo>
                  <a:lnTo>
                    <a:pt x="1885" y="2476"/>
                  </a:lnTo>
                  <a:lnTo>
                    <a:pt x="1885" y="2468"/>
                  </a:lnTo>
                  <a:lnTo>
                    <a:pt x="1880" y="2461"/>
                  </a:lnTo>
                  <a:lnTo>
                    <a:pt x="1877" y="2454"/>
                  </a:lnTo>
                  <a:lnTo>
                    <a:pt x="1870" y="2451"/>
                  </a:lnTo>
                  <a:lnTo>
                    <a:pt x="1869" y="2439"/>
                  </a:lnTo>
                  <a:lnTo>
                    <a:pt x="1873" y="2435"/>
                  </a:lnTo>
                  <a:lnTo>
                    <a:pt x="1873" y="2434"/>
                  </a:lnTo>
                  <a:lnTo>
                    <a:pt x="1881" y="2431"/>
                  </a:lnTo>
                  <a:lnTo>
                    <a:pt x="1885" y="2424"/>
                  </a:lnTo>
                  <a:lnTo>
                    <a:pt x="1884" y="2419"/>
                  </a:lnTo>
                  <a:lnTo>
                    <a:pt x="1887" y="2412"/>
                  </a:lnTo>
                  <a:lnTo>
                    <a:pt x="1885" y="2394"/>
                  </a:lnTo>
                  <a:lnTo>
                    <a:pt x="1884" y="2393"/>
                  </a:lnTo>
                  <a:lnTo>
                    <a:pt x="1876" y="2389"/>
                  </a:lnTo>
                  <a:lnTo>
                    <a:pt x="1874" y="2379"/>
                  </a:lnTo>
                  <a:lnTo>
                    <a:pt x="1863" y="2370"/>
                  </a:lnTo>
                  <a:lnTo>
                    <a:pt x="1863" y="2368"/>
                  </a:lnTo>
                  <a:lnTo>
                    <a:pt x="1866" y="2364"/>
                  </a:lnTo>
                  <a:lnTo>
                    <a:pt x="1866" y="2360"/>
                  </a:lnTo>
                  <a:lnTo>
                    <a:pt x="1865" y="2356"/>
                  </a:lnTo>
                  <a:lnTo>
                    <a:pt x="1860" y="2353"/>
                  </a:lnTo>
                  <a:lnTo>
                    <a:pt x="1860" y="2349"/>
                  </a:lnTo>
                  <a:lnTo>
                    <a:pt x="1855" y="2341"/>
                  </a:lnTo>
                  <a:lnTo>
                    <a:pt x="1855" y="2335"/>
                  </a:lnTo>
                  <a:lnTo>
                    <a:pt x="1854" y="2327"/>
                  </a:lnTo>
                  <a:lnTo>
                    <a:pt x="1859" y="2322"/>
                  </a:lnTo>
                  <a:lnTo>
                    <a:pt x="1857" y="2319"/>
                  </a:lnTo>
                  <a:lnTo>
                    <a:pt x="1856" y="2318"/>
                  </a:lnTo>
                  <a:lnTo>
                    <a:pt x="1845" y="2304"/>
                  </a:lnTo>
                  <a:lnTo>
                    <a:pt x="1846" y="2297"/>
                  </a:lnTo>
                  <a:lnTo>
                    <a:pt x="1846" y="2290"/>
                  </a:lnTo>
                  <a:lnTo>
                    <a:pt x="1838" y="2274"/>
                  </a:lnTo>
                  <a:lnTo>
                    <a:pt x="1837" y="2273"/>
                  </a:lnTo>
                  <a:lnTo>
                    <a:pt x="1831" y="2274"/>
                  </a:lnTo>
                  <a:lnTo>
                    <a:pt x="1820" y="2273"/>
                  </a:lnTo>
                  <a:lnTo>
                    <a:pt x="1807" y="2262"/>
                  </a:lnTo>
                  <a:lnTo>
                    <a:pt x="1807" y="2252"/>
                  </a:lnTo>
                  <a:lnTo>
                    <a:pt x="1801" y="2248"/>
                  </a:lnTo>
                  <a:lnTo>
                    <a:pt x="1799" y="2241"/>
                  </a:lnTo>
                  <a:lnTo>
                    <a:pt x="1799" y="2237"/>
                  </a:lnTo>
                  <a:lnTo>
                    <a:pt x="1796" y="2229"/>
                  </a:lnTo>
                  <a:lnTo>
                    <a:pt x="1788" y="2219"/>
                  </a:lnTo>
                  <a:lnTo>
                    <a:pt x="1788" y="2206"/>
                  </a:lnTo>
                  <a:lnTo>
                    <a:pt x="1785" y="2199"/>
                  </a:lnTo>
                  <a:lnTo>
                    <a:pt x="1785" y="2188"/>
                  </a:lnTo>
                  <a:lnTo>
                    <a:pt x="1788" y="2187"/>
                  </a:lnTo>
                  <a:lnTo>
                    <a:pt x="1792" y="2185"/>
                  </a:lnTo>
                  <a:lnTo>
                    <a:pt x="1794" y="2183"/>
                  </a:lnTo>
                  <a:lnTo>
                    <a:pt x="1787" y="2174"/>
                  </a:lnTo>
                  <a:lnTo>
                    <a:pt x="1785" y="2169"/>
                  </a:lnTo>
                  <a:lnTo>
                    <a:pt x="1787" y="2166"/>
                  </a:lnTo>
                  <a:lnTo>
                    <a:pt x="1791" y="2162"/>
                  </a:lnTo>
                  <a:lnTo>
                    <a:pt x="1798" y="2153"/>
                  </a:lnTo>
                  <a:lnTo>
                    <a:pt x="1805" y="2151"/>
                  </a:lnTo>
                  <a:lnTo>
                    <a:pt x="1806" y="2148"/>
                  </a:lnTo>
                  <a:lnTo>
                    <a:pt x="1805" y="2146"/>
                  </a:lnTo>
                  <a:lnTo>
                    <a:pt x="1799" y="2146"/>
                  </a:lnTo>
                  <a:lnTo>
                    <a:pt x="1798" y="2144"/>
                  </a:lnTo>
                  <a:lnTo>
                    <a:pt x="1795" y="2140"/>
                  </a:lnTo>
                  <a:lnTo>
                    <a:pt x="1794" y="2125"/>
                  </a:lnTo>
                  <a:lnTo>
                    <a:pt x="1791" y="2124"/>
                  </a:lnTo>
                  <a:lnTo>
                    <a:pt x="1788" y="2117"/>
                  </a:lnTo>
                  <a:lnTo>
                    <a:pt x="1784" y="2113"/>
                  </a:lnTo>
                  <a:lnTo>
                    <a:pt x="1781" y="2109"/>
                  </a:lnTo>
                  <a:lnTo>
                    <a:pt x="1781" y="2108"/>
                  </a:lnTo>
                  <a:lnTo>
                    <a:pt x="1787" y="2094"/>
                  </a:lnTo>
                  <a:lnTo>
                    <a:pt x="1787" y="2091"/>
                  </a:lnTo>
                  <a:lnTo>
                    <a:pt x="1785" y="2083"/>
                  </a:lnTo>
                  <a:lnTo>
                    <a:pt x="1777" y="2082"/>
                  </a:lnTo>
                  <a:lnTo>
                    <a:pt x="1776" y="2079"/>
                  </a:lnTo>
                  <a:lnTo>
                    <a:pt x="1769" y="2076"/>
                  </a:lnTo>
                  <a:lnTo>
                    <a:pt x="1771" y="2069"/>
                  </a:lnTo>
                  <a:lnTo>
                    <a:pt x="1770" y="2063"/>
                  </a:lnTo>
                  <a:lnTo>
                    <a:pt x="1769" y="2059"/>
                  </a:lnTo>
                  <a:lnTo>
                    <a:pt x="1749" y="2053"/>
                  </a:lnTo>
                  <a:lnTo>
                    <a:pt x="1749" y="2046"/>
                  </a:lnTo>
                  <a:lnTo>
                    <a:pt x="1751" y="2041"/>
                  </a:lnTo>
                  <a:lnTo>
                    <a:pt x="1748" y="2034"/>
                  </a:lnTo>
                  <a:lnTo>
                    <a:pt x="1749" y="2032"/>
                  </a:lnTo>
                  <a:lnTo>
                    <a:pt x="1752" y="2032"/>
                  </a:lnTo>
                  <a:lnTo>
                    <a:pt x="1753" y="2028"/>
                  </a:lnTo>
                  <a:lnTo>
                    <a:pt x="1751" y="2025"/>
                  </a:lnTo>
                  <a:lnTo>
                    <a:pt x="1752" y="2019"/>
                  </a:lnTo>
                  <a:lnTo>
                    <a:pt x="1751" y="2013"/>
                  </a:lnTo>
                  <a:lnTo>
                    <a:pt x="1752" y="2009"/>
                  </a:lnTo>
                  <a:lnTo>
                    <a:pt x="1752" y="2005"/>
                  </a:lnTo>
                  <a:lnTo>
                    <a:pt x="1746" y="2001"/>
                  </a:lnTo>
                  <a:lnTo>
                    <a:pt x="1742" y="1995"/>
                  </a:lnTo>
                  <a:lnTo>
                    <a:pt x="1737" y="1991"/>
                  </a:lnTo>
                  <a:lnTo>
                    <a:pt x="1730" y="1991"/>
                  </a:lnTo>
                  <a:lnTo>
                    <a:pt x="1728" y="1991"/>
                  </a:lnTo>
                  <a:lnTo>
                    <a:pt x="1727" y="1988"/>
                  </a:lnTo>
                  <a:lnTo>
                    <a:pt x="1730" y="1983"/>
                  </a:lnTo>
                  <a:lnTo>
                    <a:pt x="1730" y="1980"/>
                  </a:lnTo>
                  <a:lnTo>
                    <a:pt x="1732" y="1976"/>
                  </a:lnTo>
                  <a:lnTo>
                    <a:pt x="1732" y="1966"/>
                  </a:lnTo>
                  <a:lnTo>
                    <a:pt x="1730" y="1963"/>
                  </a:lnTo>
                  <a:lnTo>
                    <a:pt x="1723" y="1960"/>
                  </a:lnTo>
                  <a:lnTo>
                    <a:pt x="1713" y="1960"/>
                  </a:lnTo>
                  <a:lnTo>
                    <a:pt x="1710" y="1958"/>
                  </a:lnTo>
                  <a:lnTo>
                    <a:pt x="1709" y="1938"/>
                  </a:lnTo>
                  <a:lnTo>
                    <a:pt x="1709" y="1934"/>
                  </a:lnTo>
                  <a:lnTo>
                    <a:pt x="1707" y="1932"/>
                  </a:lnTo>
                  <a:lnTo>
                    <a:pt x="1710" y="1925"/>
                  </a:lnTo>
                  <a:lnTo>
                    <a:pt x="1710" y="1924"/>
                  </a:lnTo>
                  <a:lnTo>
                    <a:pt x="1702" y="1920"/>
                  </a:lnTo>
                  <a:lnTo>
                    <a:pt x="1696" y="1908"/>
                  </a:lnTo>
                  <a:lnTo>
                    <a:pt x="1697" y="1889"/>
                  </a:lnTo>
                  <a:lnTo>
                    <a:pt x="1691" y="1885"/>
                  </a:lnTo>
                  <a:lnTo>
                    <a:pt x="1685" y="1880"/>
                  </a:lnTo>
                  <a:lnTo>
                    <a:pt x="1685" y="1876"/>
                  </a:lnTo>
                  <a:lnTo>
                    <a:pt x="1681" y="1871"/>
                  </a:lnTo>
                  <a:lnTo>
                    <a:pt x="1681" y="1865"/>
                  </a:lnTo>
                  <a:lnTo>
                    <a:pt x="1680" y="1863"/>
                  </a:lnTo>
                  <a:lnTo>
                    <a:pt x="1675" y="1863"/>
                  </a:lnTo>
                  <a:lnTo>
                    <a:pt x="1667" y="1871"/>
                  </a:lnTo>
                  <a:lnTo>
                    <a:pt x="1659" y="1870"/>
                  </a:lnTo>
                  <a:lnTo>
                    <a:pt x="1653" y="1870"/>
                  </a:lnTo>
                  <a:lnTo>
                    <a:pt x="1649" y="1867"/>
                  </a:lnTo>
                  <a:lnTo>
                    <a:pt x="1644" y="1865"/>
                  </a:lnTo>
                  <a:lnTo>
                    <a:pt x="1644" y="1859"/>
                  </a:lnTo>
                  <a:lnTo>
                    <a:pt x="1641" y="1852"/>
                  </a:lnTo>
                  <a:lnTo>
                    <a:pt x="1634" y="1852"/>
                  </a:lnTo>
                  <a:lnTo>
                    <a:pt x="1631" y="1847"/>
                  </a:lnTo>
                  <a:lnTo>
                    <a:pt x="1622" y="1840"/>
                  </a:lnTo>
                  <a:lnTo>
                    <a:pt x="1616" y="1840"/>
                  </a:lnTo>
                  <a:lnTo>
                    <a:pt x="1610" y="1830"/>
                  </a:lnTo>
                  <a:lnTo>
                    <a:pt x="1610" y="1822"/>
                  </a:lnTo>
                  <a:lnTo>
                    <a:pt x="1607" y="1817"/>
                  </a:lnTo>
                  <a:lnTo>
                    <a:pt x="1609" y="1814"/>
                  </a:lnTo>
                  <a:lnTo>
                    <a:pt x="1606" y="1805"/>
                  </a:lnTo>
                  <a:lnTo>
                    <a:pt x="1603" y="1802"/>
                  </a:lnTo>
                  <a:lnTo>
                    <a:pt x="1599" y="1793"/>
                  </a:lnTo>
                  <a:lnTo>
                    <a:pt x="1588" y="1792"/>
                  </a:lnTo>
                  <a:lnTo>
                    <a:pt x="1582" y="1795"/>
                  </a:lnTo>
                  <a:lnTo>
                    <a:pt x="1570" y="1796"/>
                  </a:lnTo>
                  <a:lnTo>
                    <a:pt x="1559" y="1796"/>
                  </a:lnTo>
                  <a:lnTo>
                    <a:pt x="1549" y="1793"/>
                  </a:lnTo>
                  <a:lnTo>
                    <a:pt x="1546" y="1789"/>
                  </a:lnTo>
                  <a:lnTo>
                    <a:pt x="1535" y="1792"/>
                  </a:lnTo>
                  <a:lnTo>
                    <a:pt x="1531" y="1792"/>
                  </a:lnTo>
                  <a:lnTo>
                    <a:pt x="1528" y="1790"/>
                  </a:lnTo>
                  <a:lnTo>
                    <a:pt x="1525" y="1786"/>
                  </a:lnTo>
                  <a:lnTo>
                    <a:pt x="1524" y="1783"/>
                  </a:lnTo>
                  <a:lnTo>
                    <a:pt x="1520" y="1783"/>
                  </a:lnTo>
                  <a:lnTo>
                    <a:pt x="1520" y="1780"/>
                  </a:lnTo>
                  <a:lnTo>
                    <a:pt x="1517" y="1777"/>
                  </a:lnTo>
                  <a:lnTo>
                    <a:pt x="1511" y="1773"/>
                  </a:lnTo>
                  <a:lnTo>
                    <a:pt x="1507" y="1773"/>
                  </a:lnTo>
                  <a:lnTo>
                    <a:pt x="1505" y="1772"/>
                  </a:lnTo>
                  <a:lnTo>
                    <a:pt x="1499" y="1765"/>
                  </a:lnTo>
                  <a:lnTo>
                    <a:pt x="1495" y="1760"/>
                  </a:lnTo>
                  <a:lnTo>
                    <a:pt x="1485" y="1747"/>
                  </a:lnTo>
                  <a:lnTo>
                    <a:pt x="1479" y="1743"/>
                  </a:lnTo>
                  <a:lnTo>
                    <a:pt x="1478" y="1733"/>
                  </a:lnTo>
                  <a:lnTo>
                    <a:pt x="1472" y="1725"/>
                  </a:lnTo>
                  <a:lnTo>
                    <a:pt x="1471" y="1723"/>
                  </a:lnTo>
                  <a:lnTo>
                    <a:pt x="1470" y="1723"/>
                  </a:lnTo>
                  <a:lnTo>
                    <a:pt x="1463" y="1715"/>
                  </a:lnTo>
                  <a:lnTo>
                    <a:pt x="1450" y="1706"/>
                  </a:lnTo>
                  <a:lnTo>
                    <a:pt x="1445" y="1706"/>
                  </a:lnTo>
                  <a:lnTo>
                    <a:pt x="1439" y="1708"/>
                  </a:lnTo>
                  <a:lnTo>
                    <a:pt x="1432" y="1708"/>
                  </a:lnTo>
                  <a:lnTo>
                    <a:pt x="1428" y="1705"/>
                  </a:lnTo>
                  <a:lnTo>
                    <a:pt x="1426" y="1698"/>
                  </a:lnTo>
                  <a:lnTo>
                    <a:pt x="1424" y="1697"/>
                  </a:lnTo>
                  <a:lnTo>
                    <a:pt x="1412" y="1696"/>
                  </a:lnTo>
                  <a:lnTo>
                    <a:pt x="1406" y="1689"/>
                  </a:lnTo>
                  <a:lnTo>
                    <a:pt x="1403" y="1686"/>
                  </a:lnTo>
                  <a:lnTo>
                    <a:pt x="1403" y="1676"/>
                  </a:lnTo>
                  <a:lnTo>
                    <a:pt x="1399" y="1672"/>
                  </a:lnTo>
                  <a:lnTo>
                    <a:pt x="1399" y="1665"/>
                  </a:lnTo>
                  <a:lnTo>
                    <a:pt x="1397" y="1663"/>
                  </a:lnTo>
                  <a:lnTo>
                    <a:pt x="1395" y="1661"/>
                  </a:lnTo>
                  <a:lnTo>
                    <a:pt x="1393" y="1657"/>
                  </a:lnTo>
                  <a:lnTo>
                    <a:pt x="1392" y="1656"/>
                  </a:lnTo>
                  <a:lnTo>
                    <a:pt x="1389" y="1654"/>
                  </a:lnTo>
                  <a:lnTo>
                    <a:pt x="1381" y="1657"/>
                  </a:lnTo>
                  <a:lnTo>
                    <a:pt x="1375" y="1656"/>
                  </a:lnTo>
                  <a:lnTo>
                    <a:pt x="1371" y="1656"/>
                  </a:lnTo>
                  <a:lnTo>
                    <a:pt x="1370" y="1654"/>
                  </a:lnTo>
                  <a:lnTo>
                    <a:pt x="1362" y="1644"/>
                  </a:lnTo>
                  <a:lnTo>
                    <a:pt x="1358" y="1644"/>
                  </a:lnTo>
                  <a:lnTo>
                    <a:pt x="1354" y="1636"/>
                  </a:lnTo>
                  <a:lnTo>
                    <a:pt x="1348" y="1631"/>
                  </a:lnTo>
                  <a:lnTo>
                    <a:pt x="1346" y="1630"/>
                  </a:lnTo>
                  <a:lnTo>
                    <a:pt x="1346" y="1624"/>
                  </a:lnTo>
                  <a:lnTo>
                    <a:pt x="1342" y="1621"/>
                  </a:lnTo>
                  <a:lnTo>
                    <a:pt x="1326" y="1622"/>
                  </a:lnTo>
                  <a:lnTo>
                    <a:pt x="1311" y="1621"/>
                  </a:lnTo>
                  <a:lnTo>
                    <a:pt x="1308" y="1618"/>
                  </a:lnTo>
                  <a:lnTo>
                    <a:pt x="1308" y="1611"/>
                  </a:lnTo>
                  <a:lnTo>
                    <a:pt x="1303" y="1609"/>
                  </a:lnTo>
                  <a:lnTo>
                    <a:pt x="1290" y="1614"/>
                  </a:lnTo>
                  <a:lnTo>
                    <a:pt x="1276" y="1617"/>
                  </a:lnTo>
                  <a:lnTo>
                    <a:pt x="1261" y="1611"/>
                  </a:lnTo>
                  <a:lnTo>
                    <a:pt x="1256" y="1602"/>
                  </a:lnTo>
                  <a:lnTo>
                    <a:pt x="1251" y="1601"/>
                  </a:lnTo>
                  <a:lnTo>
                    <a:pt x="1243" y="1609"/>
                  </a:lnTo>
                  <a:lnTo>
                    <a:pt x="1231" y="1614"/>
                  </a:lnTo>
                  <a:lnTo>
                    <a:pt x="1225" y="1612"/>
                  </a:lnTo>
                  <a:lnTo>
                    <a:pt x="1217" y="1609"/>
                  </a:lnTo>
                  <a:lnTo>
                    <a:pt x="1214" y="1605"/>
                  </a:lnTo>
                  <a:lnTo>
                    <a:pt x="1204" y="1604"/>
                  </a:lnTo>
                  <a:lnTo>
                    <a:pt x="1196" y="1596"/>
                  </a:lnTo>
                  <a:lnTo>
                    <a:pt x="1192" y="1593"/>
                  </a:lnTo>
                  <a:lnTo>
                    <a:pt x="1190" y="1586"/>
                  </a:lnTo>
                  <a:lnTo>
                    <a:pt x="1183" y="1579"/>
                  </a:lnTo>
                  <a:lnTo>
                    <a:pt x="1183" y="1573"/>
                  </a:lnTo>
                  <a:lnTo>
                    <a:pt x="1186" y="1572"/>
                  </a:lnTo>
                  <a:lnTo>
                    <a:pt x="1186" y="1569"/>
                  </a:lnTo>
                  <a:lnTo>
                    <a:pt x="1180" y="1564"/>
                  </a:lnTo>
                  <a:lnTo>
                    <a:pt x="1176" y="1565"/>
                  </a:lnTo>
                  <a:lnTo>
                    <a:pt x="1172" y="1564"/>
                  </a:lnTo>
                  <a:lnTo>
                    <a:pt x="1162" y="1556"/>
                  </a:lnTo>
                  <a:lnTo>
                    <a:pt x="1158" y="1557"/>
                  </a:lnTo>
                  <a:lnTo>
                    <a:pt x="1154" y="1556"/>
                  </a:lnTo>
                  <a:lnTo>
                    <a:pt x="1154" y="1549"/>
                  </a:lnTo>
                  <a:lnTo>
                    <a:pt x="1154" y="1542"/>
                  </a:lnTo>
                  <a:lnTo>
                    <a:pt x="1160" y="1536"/>
                  </a:lnTo>
                  <a:lnTo>
                    <a:pt x="1164" y="1524"/>
                  </a:lnTo>
                  <a:lnTo>
                    <a:pt x="1162" y="1523"/>
                  </a:lnTo>
                  <a:lnTo>
                    <a:pt x="1154" y="1524"/>
                  </a:lnTo>
                  <a:lnTo>
                    <a:pt x="1143" y="1528"/>
                  </a:lnTo>
                  <a:lnTo>
                    <a:pt x="1138" y="1528"/>
                  </a:lnTo>
                  <a:lnTo>
                    <a:pt x="1135" y="1522"/>
                  </a:lnTo>
                  <a:lnTo>
                    <a:pt x="1127" y="1519"/>
                  </a:lnTo>
                  <a:lnTo>
                    <a:pt x="1127" y="1518"/>
                  </a:lnTo>
                  <a:lnTo>
                    <a:pt x="1132" y="1515"/>
                  </a:lnTo>
                  <a:lnTo>
                    <a:pt x="1132" y="1511"/>
                  </a:lnTo>
                  <a:lnTo>
                    <a:pt x="1126" y="1509"/>
                  </a:lnTo>
                  <a:lnTo>
                    <a:pt x="1126" y="1507"/>
                  </a:lnTo>
                  <a:lnTo>
                    <a:pt x="1119" y="1511"/>
                  </a:lnTo>
                  <a:lnTo>
                    <a:pt x="1115" y="1509"/>
                  </a:lnTo>
                  <a:lnTo>
                    <a:pt x="1110" y="1515"/>
                  </a:lnTo>
                  <a:lnTo>
                    <a:pt x="1105" y="1515"/>
                  </a:lnTo>
                  <a:lnTo>
                    <a:pt x="1100" y="1511"/>
                  </a:lnTo>
                  <a:lnTo>
                    <a:pt x="1096" y="1511"/>
                  </a:lnTo>
                  <a:lnTo>
                    <a:pt x="1090" y="1507"/>
                  </a:lnTo>
                  <a:lnTo>
                    <a:pt x="1091" y="1502"/>
                  </a:lnTo>
                  <a:lnTo>
                    <a:pt x="1090" y="1498"/>
                  </a:lnTo>
                  <a:lnTo>
                    <a:pt x="1086" y="1498"/>
                  </a:lnTo>
                  <a:lnTo>
                    <a:pt x="1083" y="1500"/>
                  </a:lnTo>
                  <a:lnTo>
                    <a:pt x="1083" y="1507"/>
                  </a:lnTo>
                  <a:lnTo>
                    <a:pt x="1082" y="1509"/>
                  </a:lnTo>
                  <a:lnTo>
                    <a:pt x="1073" y="1505"/>
                  </a:lnTo>
                  <a:lnTo>
                    <a:pt x="1065" y="1495"/>
                  </a:lnTo>
                  <a:lnTo>
                    <a:pt x="1058" y="1493"/>
                  </a:lnTo>
                  <a:lnTo>
                    <a:pt x="1054" y="1489"/>
                  </a:lnTo>
                  <a:lnTo>
                    <a:pt x="1050" y="1475"/>
                  </a:lnTo>
                  <a:lnTo>
                    <a:pt x="1054" y="1474"/>
                  </a:lnTo>
                  <a:lnTo>
                    <a:pt x="1051" y="1464"/>
                  </a:lnTo>
                  <a:lnTo>
                    <a:pt x="1054" y="1460"/>
                  </a:lnTo>
                  <a:lnTo>
                    <a:pt x="1052" y="1457"/>
                  </a:lnTo>
                  <a:lnTo>
                    <a:pt x="1041" y="1457"/>
                  </a:lnTo>
                  <a:lnTo>
                    <a:pt x="1029" y="1449"/>
                  </a:lnTo>
                  <a:lnTo>
                    <a:pt x="1027" y="1448"/>
                  </a:lnTo>
                  <a:lnTo>
                    <a:pt x="1029" y="1447"/>
                  </a:lnTo>
                  <a:lnTo>
                    <a:pt x="1026" y="1444"/>
                  </a:lnTo>
                  <a:lnTo>
                    <a:pt x="1018" y="1443"/>
                  </a:lnTo>
                  <a:lnTo>
                    <a:pt x="1016" y="1444"/>
                  </a:lnTo>
                  <a:lnTo>
                    <a:pt x="1005" y="1437"/>
                  </a:lnTo>
                  <a:lnTo>
                    <a:pt x="998" y="1436"/>
                  </a:lnTo>
                  <a:lnTo>
                    <a:pt x="987" y="1433"/>
                  </a:lnTo>
                  <a:lnTo>
                    <a:pt x="975" y="1433"/>
                  </a:lnTo>
                  <a:lnTo>
                    <a:pt x="972" y="1435"/>
                  </a:lnTo>
                  <a:lnTo>
                    <a:pt x="968" y="1430"/>
                  </a:lnTo>
                  <a:lnTo>
                    <a:pt x="963" y="1433"/>
                  </a:lnTo>
                  <a:lnTo>
                    <a:pt x="958" y="1436"/>
                  </a:lnTo>
                  <a:lnTo>
                    <a:pt x="955" y="1440"/>
                  </a:lnTo>
                  <a:lnTo>
                    <a:pt x="951" y="1440"/>
                  </a:lnTo>
                  <a:lnTo>
                    <a:pt x="946" y="1433"/>
                  </a:lnTo>
                  <a:lnTo>
                    <a:pt x="941" y="1433"/>
                  </a:lnTo>
                  <a:lnTo>
                    <a:pt x="937" y="1428"/>
                  </a:lnTo>
                  <a:lnTo>
                    <a:pt x="936" y="1425"/>
                  </a:lnTo>
                  <a:lnTo>
                    <a:pt x="930" y="1427"/>
                  </a:lnTo>
                  <a:lnTo>
                    <a:pt x="929" y="1422"/>
                  </a:lnTo>
                  <a:lnTo>
                    <a:pt x="922" y="1418"/>
                  </a:lnTo>
                  <a:lnTo>
                    <a:pt x="920" y="1413"/>
                  </a:lnTo>
                  <a:lnTo>
                    <a:pt x="915" y="1413"/>
                  </a:lnTo>
                  <a:lnTo>
                    <a:pt x="912" y="1412"/>
                  </a:lnTo>
                  <a:lnTo>
                    <a:pt x="909" y="1415"/>
                  </a:lnTo>
                  <a:lnTo>
                    <a:pt x="905" y="1416"/>
                  </a:lnTo>
                  <a:lnTo>
                    <a:pt x="900" y="1418"/>
                  </a:lnTo>
                  <a:lnTo>
                    <a:pt x="897" y="1418"/>
                  </a:lnTo>
                  <a:lnTo>
                    <a:pt x="892" y="1418"/>
                  </a:lnTo>
                  <a:lnTo>
                    <a:pt x="891" y="1422"/>
                  </a:lnTo>
                  <a:lnTo>
                    <a:pt x="884" y="1422"/>
                  </a:lnTo>
                  <a:lnTo>
                    <a:pt x="880" y="1422"/>
                  </a:lnTo>
                  <a:lnTo>
                    <a:pt x="869" y="1422"/>
                  </a:lnTo>
                  <a:lnTo>
                    <a:pt x="867" y="1422"/>
                  </a:lnTo>
                  <a:lnTo>
                    <a:pt x="856" y="1418"/>
                  </a:lnTo>
                  <a:lnTo>
                    <a:pt x="841" y="1427"/>
                  </a:lnTo>
                  <a:lnTo>
                    <a:pt x="837" y="1427"/>
                  </a:lnTo>
                  <a:lnTo>
                    <a:pt x="830" y="1436"/>
                  </a:lnTo>
                  <a:lnTo>
                    <a:pt x="824" y="1440"/>
                  </a:lnTo>
                  <a:lnTo>
                    <a:pt x="822" y="1440"/>
                  </a:lnTo>
                  <a:lnTo>
                    <a:pt x="819" y="1443"/>
                  </a:lnTo>
                  <a:lnTo>
                    <a:pt x="803" y="1447"/>
                  </a:lnTo>
                  <a:lnTo>
                    <a:pt x="798" y="1444"/>
                  </a:lnTo>
                  <a:lnTo>
                    <a:pt x="797" y="1443"/>
                  </a:lnTo>
                  <a:lnTo>
                    <a:pt x="797" y="1444"/>
                  </a:lnTo>
                  <a:lnTo>
                    <a:pt x="794" y="1447"/>
                  </a:lnTo>
                  <a:lnTo>
                    <a:pt x="788" y="1440"/>
                  </a:lnTo>
                  <a:lnTo>
                    <a:pt x="786" y="1444"/>
                  </a:lnTo>
                  <a:lnTo>
                    <a:pt x="784" y="1444"/>
                  </a:lnTo>
                  <a:lnTo>
                    <a:pt x="783" y="1440"/>
                  </a:lnTo>
                  <a:lnTo>
                    <a:pt x="776" y="1440"/>
                  </a:lnTo>
                  <a:lnTo>
                    <a:pt x="772" y="1440"/>
                  </a:lnTo>
                  <a:lnTo>
                    <a:pt x="766" y="1440"/>
                  </a:lnTo>
                  <a:lnTo>
                    <a:pt x="763" y="1440"/>
                  </a:lnTo>
                  <a:lnTo>
                    <a:pt x="761" y="1438"/>
                  </a:lnTo>
                  <a:lnTo>
                    <a:pt x="758" y="1440"/>
                  </a:lnTo>
                  <a:lnTo>
                    <a:pt x="755" y="1437"/>
                  </a:lnTo>
                  <a:lnTo>
                    <a:pt x="752" y="1438"/>
                  </a:lnTo>
                  <a:lnTo>
                    <a:pt x="749" y="1438"/>
                  </a:lnTo>
                  <a:lnTo>
                    <a:pt x="747" y="1440"/>
                  </a:lnTo>
                  <a:lnTo>
                    <a:pt x="744" y="1437"/>
                  </a:lnTo>
                  <a:lnTo>
                    <a:pt x="742" y="1433"/>
                  </a:lnTo>
                  <a:lnTo>
                    <a:pt x="739" y="1431"/>
                  </a:lnTo>
                  <a:lnTo>
                    <a:pt x="739" y="1430"/>
                  </a:lnTo>
                  <a:lnTo>
                    <a:pt x="741" y="1430"/>
                  </a:lnTo>
                  <a:lnTo>
                    <a:pt x="741" y="1428"/>
                  </a:lnTo>
                  <a:lnTo>
                    <a:pt x="742" y="1427"/>
                  </a:lnTo>
                  <a:lnTo>
                    <a:pt x="742" y="1424"/>
                  </a:lnTo>
                  <a:lnTo>
                    <a:pt x="739" y="1422"/>
                  </a:lnTo>
                  <a:lnTo>
                    <a:pt x="742" y="1418"/>
                  </a:lnTo>
                  <a:lnTo>
                    <a:pt x="741" y="1418"/>
                  </a:lnTo>
                  <a:lnTo>
                    <a:pt x="741" y="1415"/>
                  </a:lnTo>
                  <a:lnTo>
                    <a:pt x="739" y="1411"/>
                  </a:lnTo>
                  <a:lnTo>
                    <a:pt x="736" y="1412"/>
                  </a:lnTo>
                  <a:lnTo>
                    <a:pt x="734" y="1408"/>
                  </a:lnTo>
                  <a:lnTo>
                    <a:pt x="733" y="1411"/>
                  </a:lnTo>
                  <a:lnTo>
                    <a:pt x="730" y="1408"/>
                  </a:lnTo>
                  <a:lnTo>
                    <a:pt x="728" y="1405"/>
                  </a:lnTo>
                  <a:lnTo>
                    <a:pt x="724" y="1402"/>
                  </a:lnTo>
                  <a:lnTo>
                    <a:pt x="720" y="1405"/>
                  </a:lnTo>
                  <a:lnTo>
                    <a:pt x="717" y="1405"/>
                  </a:lnTo>
                  <a:lnTo>
                    <a:pt x="716" y="1399"/>
                  </a:lnTo>
                  <a:lnTo>
                    <a:pt x="713" y="1399"/>
                  </a:lnTo>
                  <a:lnTo>
                    <a:pt x="705" y="1388"/>
                  </a:lnTo>
                  <a:lnTo>
                    <a:pt x="701" y="1386"/>
                  </a:lnTo>
                  <a:lnTo>
                    <a:pt x="698" y="1382"/>
                  </a:lnTo>
                  <a:lnTo>
                    <a:pt x="694" y="1382"/>
                  </a:lnTo>
                  <a:lnTo>
                    <a:pt x="688" y="1378"/>
                  </a:lnTo>
                  <a:lnTo>
                    <a:pt x="688" y="1375"/>
                  </a:lnTo>
                  <a:lnTo>
                    <a:pt x="686" y="1373"/>
                  </a:lnTo>
                  <a:lnTo>
                    <a:pt x="686" y="1371"/>
                  </a:lnTo>
                  <a:lnTo>
                    <a:pt x="677" y="1363"/>
                  </a:lnTo>
                  <a:lnTo>
                    <a:pt x="676" y="1363"/>
                  </a:lnTo>
                  <a:lnTo>
                    <a:pt x="676" y="1362"/>
                  </a:lnTo>
                  <a:lnTo>
                    <a:pt x="674" y="1363"/>
                  </a:lnTo>
                  <a:lnTo>
                    <a:pt x="672" y="1363"/>
                  </a:lnTo>
                  <a:lnTo>
                    <a:pt x="670" y="1366"/>
                  </a:lnTo>
                  <a:lnTo>
                    <a:pt x="667" y="1368"/>
                  </a:lnTo>
                  <a:lnTo>
                    <a:pt x="663" y="1360"/>
                  </a:lnTo>
                  <a:lnTo>
                    <a:pt x="663" y="1358"/>
                  </a:lnTo>
                  <a:lnTo>
                    <a:pt x="660" y="1358"/>
                  </a:lnTo>
                  <a:lnTo>
                    <a:pt x="659" y="1353"/>
                  </a:lnTo>
                  <a:lnTo>
                    <a:pt x="656" y="1350"/>
                  </a:lnTo>
                  <a:lnTo>
                    <a:pt x="652" y="1353"/>
                  </a:lnTo>
                  <a:lnTo>
                    <a:pt x="651" y="1350"/>
                  </a:lnTo>
                  <a:lnTo>
                    <a:pt x="647" y="1356"/>
                  </a:lnTo>
                  <a:lnTo>
                    <a:pt x="647" y="1354"/>
                  </a:lnTo>
                  <a:lnTo>
                    <a:pt x="641" y="1362"/>
                  </a:lnTo>
                  <a:lnTo>
                    <a:pt x="637" y="1366"/>
                  </a:lnTo>
                  <a:lnTo>
                    <a:pt x="634" y="1369"/>
                  </a:lnTo>
                  <a:lnTo>
                    <a:pt x="630" y="1373"/>
                  </a:lnTo>
                  <a:lnTo>
                    <a:pt x="627" y="1379"/>
                  </a:lnTo>
                  <a:lnTo>
                    <a:pt x="621" y="1382"/>
                  </a:lnTo>
                  <a:lnTo>
                    <a:pt x="614" y="1388"/>
                  </a:lnTo>
                  <a:lnTo>
                    <a:pt x="614" y="1391"/>
                  </a:lnTo>
                  <a:lnTo>
                    <a:pt x="610" y="1391"/>
                  </a:lnTo>
                  <a:lnTo>
                    <a:pt x="602" y="1395"/>
                  </a:lnTo>
                  <a:lnTo>
                    <a:pt x="598" y="1395"/>
                  </a:lnTo>
                  <a:lnTo>
                    <a:pt x="595" y="1399"/>
                  </a:lnTo>
                  <a:lnTo>
                    <a:pt x="593" y="1398"/>
                  </a:lnTo>
                  <a:lnTo>
                    <a:pt x="591" y="1399"/>
                  </a:lnTo>
                  <a:lnTo>
                    <a:pt x="588" y="1399"/>
                  </a:lnTo>
                  <a:lnTo>
                    <a:pt x="585" y="1398"/>
                  </a:lnTo>
                  <a:lnTo>
                    <a:pt x="584" y="1399"/>
                  </a:lnTo>
                  <a:lnTo>
                    <a:pt x="581" y="1398"/>
                  </a:lnTo>
                  <a:lnTo>
                    <a:pt x="571" y="1402"/>
                  </a:lnTo>
                  <a:lnTo>
                    <a:pt x="570" y="1399"/>
                  </a:lnTo>
                  <a:lnTo>
                    <a:pt x="570" y="1395"/>
                  </a:lnTo>
                  <a:lnTo>
                    <a:pt x="568" y="1394"/>
                  </a:lnTo>
                  <a:lnTo>
                    <a:pt x="571" y="1385"/>
                  </a:lnTo>
                  <a:lnTo>
                    <a:pt x="571" y="1377"/>
                  </a:lnTo>
                  <a:lnTo>
                    <a:pt x="568" y="1369"/>
                  </a:lnTo>
                  <a:lnTo>
                    <a:pt x="570" y="1360"/>
                  </a:lnTo>
                  <a:lnTo>
                    <a:pt x="567" y="1357"/>
                  </a:lnTo>
                  <a:lnTo>
                    <a:pt x="542" y="1331"/>
                  </a:lnTo>
                  <a:lnTo>
                    <a:pt x="537" y="1333"/>
                  </a:lnTo>
                  <a:lnTo>
                    <a:pt x="531" y="1341"/>
                  </a:lnTo>
                  <a:lnTo>
                    <a:pt x="527" y="1344"/>
                  </a:lnTo>
                  <a:lnTo>
                    <a:pt x="513" y="1358"/>
                  </a:lnTo>
                  <a:lnTo>
                    <a:pt x="509" y="1356"/>
                  </a:lnTo>
                  <a:lnTo>
                    <a:pt x="506" y="1357"/>
                  </a:lnTo>
                  <a:lnTo>
                    <a:pt x="501" y="1356"/>
                  </a:lnTo>
                  <a:lnTo>
                    <a:pt x="498" y="1350"/>
                  </a:lnTo>
                  <a:lnTo>
                    <a:pt x="493" y="1350"/>
                  </a:lnTo>
                  <a:lnTo>
                    <a:pt x="493" y="1346"/>
                  </a:lnTo>
                  <a:lnTo>
                    <a:pt x="491" y="1346"/>
                  </a:lnTo>
                  <a:lnTo>
                    <a:pt x="479" y="1344"/>
                  </a:lnTo>
                  <a:lnTo>
                    <a:pt x="477" y="1337"/>
                  </a:lnTo>
                  <a:lnTo>
                    <a:pt x="477" y="1333"/>
                  </a:lnTo>
                  <a:lnTo>
                    <a:pt x="473" y="1324"/>
                  </a:lnTo>
                  <a:lnTo>
                    <a:pt x="467" y="1324"/>
                  </a:lnTo>
                  <a:lnTo>
                    <a:pt x="463" y="1328"/>
                  </a:lnTo>
                  <a:lnTo>
                    <a:pt x="460" y="1324"/>
                  </a:lnTo>
                  <a:lnTo>
                    <a:pt x="459" y="1323"/>
                  </a:lnTo>
                  <a:lnTo>
                    <a:pt x="446" y="1287"/>
                  </a:lnTo>
                  <a:lnTo>
                    <a:pt x="442" y="1279"/>
                  </a:lnTo>
                  <a:lnTo>
                    <a:pt x="441" y="1278"/>
                  </a:lnTo>
                  <a:lnTo>
                    <a:pt x="441" y="1275"/>
                  </a:lnTo>
                  <a:lnTo>
                    <a:pt x="439" y="1274"/>
                  </a:lnTo>
                  <a:lnTo>
                    <a:pt x="441" y="1273"/>
                  </a:lnTo>
                  <a:lnTo>
                    <a:pt x="439" y="1269"/>
                  </a:lnTo>
                  <a:lnTo>
                    <a:pt x="438" y="1266"/>
                  </a:lnTo>
                  <a:lnTo>
                    <a:pt x="438" y="1265"/>
                  </a:lnTo>
                  <a:lnTo>
                    <a:pt x="434" y="1270"/>
                  </a:lnTo>
                  <a:lnTo>
                    <a:pt x="435" y="1273"/>
                  </a:lnTo>
                  <a:lnTo>
                    <a:pt x="435" y="1275"/>
                  </a:lnTo>
                  <a:lnTo>
                    <a:pt x="432" y="1274"/>
                  </a:lnTo>
                  <a:lnTo>
                    <a:pt x="427" y="1275"/>
                  </a:lnTo>
                  <a:lnTo>
                    <a:pt x="423" y="1273"/>
                  </a:lnTo>
                  <a:lnTo>
                    <a:pt x="414" y="1270"/>
                  </a:lnTo>
                  <a:lnTo>
                    <a:pt x="410" y="1266"/>
                  </a:lnTo>
                  <a:lnTo>
                    <a:pt x="410" y="1262"/>
                  </a:lnTo>
                  <a:lnTo>
                    <a:pt x="404" y="1251"/>
                  </a:lnTo>
                  <a:lnTo>
                    <a:pt x="395" y="1249"/>
                  </a:lnTo>
                  <a:lnTo>
                    <a:pt x="44" y="1249"/>
                  </a:lnTo>
                  <a:lnTo>
                    <a:pt x="0" y="1249"/>
                  </a:lnTo>
                  <a:lnTo>
                    <a:pt x="3" y="1244"/>
                  </a:lnTo>
                  <a:lnTo>
                    <a:pt x="8" y="1244"/>
                  </a:lnTo>
                  <a:lnTo>
                    <a:pt x="9" y="1242"/>
                  </a:lnTo>
                  <a:lnTo>
                    <a:pt x="12" y="1240"/>
                  </a:lnTo>
                  <a:lnTo>
                    <a:pt x="19" y="1234"/>
                  </a:lnTo>
                  <a:lnTo>
                    <a:pt x="22" y="1231"/>
                  </a:lnTo>
                  <a:lnTo>
                    <a:pt x="29" y="1221"/>
                  </a:lnTo>
                  <a:lnTo>
                    <a:pt x="34" y="1220"/>
                  </a:lnTo>
                  <a:lnTo>
                    <a:pt x="37" y="1216"/>
                  </a:lnTo>
                  <a:lnTo>
                    <a:pt x="42" y="1204"/>
                  </a:lnTo>
                  <a:lnTo>
                    <a:pt x="50" y="1199"/>
                  </a:lnTo>
                  <a:lnTo>
                    <a:pt x="57" y="1194"/>
                  </a:lnTo>
                  <a:lnTo>
                    <a:pt x="55" y="1188"/>
                  </a:lnTo>
                  <a:lnTo>
                    <a:pt x="60" y="1180"/>
                  </a:lnTo>
                  <a:lnTo>
                    <a:pt x="57" y="1176"/>
                  </a:lnTo>
                  <a:lnTo>
                    <a:pt x="55" y="1175"/>
                  </a:lnTo>
                  <a:lnTo>
                    <a:pt x="60" y="1172"/>
                  </a:lnTo>
                  <a:lnTo>
                    <a:pt x="69" y="1171"/>
                  </a:lnTo>
                  <a:lnTo>
                    <a:pt x="71" y="1171"/>
                  </a:lnTo>
                  <a:lnTo>
                    <a:pt x="76" y="1163"/>
                  </a:lnTo>
                  <a:lnTo>
                    <a:pt x="76" y="1162"/>
                  </a:lnTo>
                  <a:lnTo>
                    <a:pt x="83" y="1159"/>
                  </a:lnTo>
                  <a:lnTo>
                    <a:pt x="85" y="1154"/>
                  </a:lnTo>
                  <a:lnTo>
                    <a:pt x="92" y="1146"/>
                  </a:lnTo>
                  <a:lnTo>
                    <a:pt x="94" y="1141"/>
                  </a:lnTo>
                  <a:lnTo>
                    <a:pt x="100" y="1141"/>
                  </a:lnTo>
                  <a:lnTo>
                    <a:pt x="105" y="1141"/>
                  </a:lnTo>
                  <a:lnTo>
                    <a:pt x="113" y="1137"/>
                  </a:lnTo>
                  <a:lnTo>
                    <a:pt x="113" y="1134"/>
                  </a:lnTo>
                  <a:lnTo>
                    <a:pt x="107" y="1133"/>
                  </a:lnTo>
                  <a:lnTo>
                    <a:pt x="107" y="1130"/>
                  </a:lnTo>
                  <a:lnTo>
                    <a:pt x="108" y="1118"/>
                  </a:lnTo>
                  <a:lnTo>
                    <a:pt x="111" y="1117"/>
                  </a:lnTo>
                  <a:lnTo>
                    <a:pt x="114" y="1120"/>
                  </a:lnTo>
                  <a:lnTo>
                    <a:pt x="117" y="1120"/>
                  </a:lnTo>
                  <a:lnTo>
                    <a:pt x="119" y="1118"/>
                  </a:lnTo>
                  <a:lnTo>
                    <a:pt x="121" y="1115"/>
                  </a:lnTo>
                  <a:lnTo>
                    <a:pt x="119" y="1113"/>
                  </a:lnTo>
                  <a:lnTo>
                    <a:pt x="117" y="1115"/>
                  </a:lnTo>
                  <a:lnTo>
                    <a:pt x="113" y="1110"/>
                  </a:lnTo>
                  <a:lnTo>
                    <a:pt x="113" y="1105"/>
                  </a:lnTo>
                  <a:lnTo>
                    <a:pt x="115" y="1100"/>
                  </a:lnTo>
                  <a:lnTo>
                    <a:pt x="124" y="1091"/>
                  </a:lnTo>
                  <a:lnTo>
                    <a:pt x="127" y="1085"/>
                  </a:lnTo>
                  <a:lnTo>
                    <a:pt x="130" y="1083"/>
                  </a:lnTo>
                  <a:lnTo>
                    <a:pt x="136" y="1079"/>
                  </a:lnTo>
                  <a:lnTo>
                    <a:pt x="142" y="1078"/>
                  </a:lnTo>
                  <a:lnTo>
                    <a:pt x="149" y="1072"/>
                  </a:lnTo>
                  <a:lnTo>
                    <a:pt x="152" y="1070"/>
                  </a:lnTo>
                  <a:lnTo>
                    <a:pt x="150" y="1066"/>
                  </a:lnTo>
                  <a:lnTo>
                    <a:pt x="152" y="1062"/>
                  </a:lnTo>
                  <a:lnTo>
                    <a:pt x="167" y="1057"/>
                  </a:lnTo>
                  <a:lnTo>
                    <a:pt x="174" y="1050"/>
                  </a:lnTo>
                  <a:lnTo>
                    <a:pt x="182" y="1047"/>
                  </a:lnTo>
                  <a:lnTo>
                    <a:pt x="188" y="1047"/>
                  </a:lnTo>
                  <a:lnTo>
                    <a:pt x="192" y="1043"/>
                  </a:lnTo>
                  <a:lnTo>
                    <a:pt x="196" y="1042"/>
                  </a:lnTo>
                  <a:lnTo>
                    <a:pt x="199" y="1034"/>
                  </a:lnTo>
                  <a:lnTo>
                    <a:pt x="200" y="1033"/>
                  </a:lnTo>
                  <a:lnTo>
                    <a:pt x="199" y="1026"/>
                  </a:lnTo>
                  <a:lnTo>
                    <a:pt x="203" y="1020"/>
                  </a:lnTo>
                  <a:lnTo>
                    <a:pt x="210" y="1016"/>
                  </a:lnTo>
                  <a:lnTo>
                    <a:pt x="214" y="1017"/>
                  </a:lnTo>
                  <a:lnTo>
                    <a:pt x="217" y="1012"/>
                  </a:lnTo>
                  <a:lnTo>
                    <a:pt x="224" y="1010"/>
                  </a:lnTo>
                  <a:lnTo>
                    <a:pt x="233" y="1004"/>
                  </a:lnTo>
                  <a:lnTo>
                    <a:pt x="247" y="989"/>
                  </a:lnTo>
                  <a:lnTo>
                    <a:pt x="256" y="988"/>
                  </a:lnTo>
                  <a:lnTo>
                    <a:pt x="271" y="981"/>
                  </a:lnTo>
                  <a:lnTo>
                    <a:pt x="275" y="981"/>
                  </a:lnTo>
                  <a:lnTo>
                    <a:pt x="282" y="981"/>
                  </a:lnTo>
                  <a:lnTo>
                    <a:pt x="290" y="976"/>
                  </a:lnTo>
                  <a:lnTo>
                    <a:pt x="300" y="971"/>
                  </a:lnTo>
                  <a:lnTo>
                    <a:pt x="306" y="963"/>
                  </a:lnTo>
                  <a:lnTo>
                    <a:pt x="311" y="961"/>
                  </a:lnTo>
                  <a:lnTo>
                    <a:pt x="314" y="961"/>
                  </a:lnTo>
                  <a:lnTo>
                    <a:pt x="317" y="961"/>
                  </a:lnTo>
                  <a:lnTo>
                    <a:pt x="319" y="959"/>
                  </a:lnTo>
                  <a:lnTo>
                    <a:pt x="331" y="950"/>
                  </a:lnTo>
                  <a:lnTo>
                    <a:pt x="335" y="946"/>
                  </a:lnTo>
                  <a:lnTo>
                    <a:pt x="342" y="939"/>
                  </a:lnTo>
                  <a:lnTo>
                    <a:pt x="356" y="933"/>
                  </a:lnTo>
                  <a:lnTo>
                    <a:pt x="363" y="923"/>
                  </a:lnTo>
                  <a:lnTo>
                    <a:pt x="367" y="921"/>
                  </a:lnTo>
                  <a:lnTo>
                    <a:pt x="370" y="921"/>
                  </a:lnTo>
                  <a:lnTo>
                    <a:pt x="375" y="923"/>
                  </a:lnTo>
                  <a:lnTo>
                    <a:pt x="382" y="923"/>
                  </a:lnTo>
                  <a:lnTo>
                    <a:pt x="392" y="918"/>
                  </a:lnTo>
                  <a:lnTo>
                    <a:pt x="401" y="930"/>
                  </a:lnTo>
                  <a:lnTo>
                    <a:pt x="410" y="936"/>
                  </a:lnTo>
                  <a:lnTo>
                    <a:pt x="413" y="936"/>
                  </a:lnTo>
                  <a:lnTo>
                    <a:pt x="416" y="936"/>
                  </a:lnTo>
                  <a:lnTo>
                    <a:pt x="420" y="933"/>
                  </a:lnTo>
                  <a:lnTo>
                    <a:pt x="423" y="931"/>
                  </a:lnTo>
                  <a:lnTo>
                    <a:pt x="431" y="934"/>
                  </a:lnTo>
                  <a:lnTo>
                    <a:pt x="434" y="931"/>
                  </a:lnTo>
                  <a:lnTo>
                    <a:pt x="435" y="923"/>
                  </a:lnTo>
                  <a:lnTo>
                    <a:pt x="442" y="923"/>
                  </a:lnTo>
                  <a:lnTo>
                    <a:pt x="445" y="922"/>
                  </a:lnTo>
                  <a:lnTo>
                    <a:pt x="448" y="922"/>
                  </a:lnTo>
                  <a:lnTo>
                    <a:pt x="452" y="917"/>
                  </a:lnTo>
                  <a:lnTo>
                    <a:pt x="460" y="911"/>
                  </a:lnTo>
                  <a:lnTo>
                    <a:pt x="468" y="910"/>
                  </a:lnTo>
                  <a:lnTo>
                    <a:pt x="479" y="905"/>
                  </a:lnTo>
                  <a:lnTo>
                    <a:pt x="493" y="900"/>
                  </a:lnTo>
                  <a:lnTo>
                    <a:pt x="498" y="897"/>
                  </a:lnTo>
                  <a:lnTo>
                    <a:pt x="503" y="896"/>
                  </a:lnTo>
                  <a:lnTo>
                    <a:pt x="516" y="888"/>
                  </a:lnTo>
                  <a:lnTo>
                    <a:pt x="520" y="883"/>
                  </a:lnTo>
                  <a:lnTo>
                    <a:pt x="518" y="879"/>
                  </a:lnTo>
                  <a:lnTo>
                    <a:pt x="516" y="877"/>
                  </a:lnTo>
                  <a:lnTo>
                    <a:pt x="517" y="874"/>
                  </a:lnTo>
                  <a:lnTo>
                    <a:pt x="523" y="872"/>
                  </a:lnTo>
                  <a:lnTo>
                    <a:pt x="528" y="867"/>
                  </a:lnTo>
                  <a:lnTo>
                    <a:pt x="537" y="864"/>
                  </a:lnTo>
                  <a:lnTo>
                    <a:pt x="539" y="861"/>
                  </a:lnTo>
                  <a:lnTo>
                    <a:pt x="543" y="852"/>
                  </a:lnTo>
                  <a:lnTo>
                    <a:pt x="552" y="847"/>
                  </a:lnTo>
                  <a:lnTo>
                    <a:pt x="556" y="842"/>
                  </a:lnTo>
                  <a:lnTo>
                    <a:pt x="562" y="838"/>
                  </a:lnTo>
                  <a:lnTo>
                    <a:pt x="563" y="834"/>
                  </a:lnTo>
                  <a:lnTo>
                    <a:pt x="570" y="834"/>
                  </a:lnTo>
                  <a:lnTo>
                    <a:pt x="577" y="829"/>
                  </a:lnTo>
                  <a:lnTo>
                    <a:pt x="581" y="829"/>
                  </a:lnTo>
                  <a:lnTo>
                    <a:pt x="581" y="821"/>
                  </a:lnTo>
                  <a:lnTo>
                    <a:pt x="584" y="811"/>
                  </a:lnTo>
                  <a:lnTo>
                    <a:pt x="582" y="807"/>
                  </a:lnTo>
                  <a:lnTo>
                    <a:pt x="582" y="805"/>
                  </a:lnTo>
                  <a:lnTo>
                    <a:pt x="593" y="794"/>
                  </a:lnTo>
                  <a:lnTo>
                    <a:pt x="601" y="789"/>
                  </a:lnTo>
                  <a:lnTo>
                    <a:pt x="613" y="784"/>
                  </a:lnTo>
                  <a:lnTo>
                    <a:pt x="623" y="779"/>
                  </a:lnTo>
                  <a:lnTo>
                    <a:pt x="623" y="772"/>
                  </a:lnTo>
                  <a:lnTo>
                    <a:pt x="626" y="769"/>
                  </a:lnTo>
                  <a:lnTo>
                    <a:pt x="627" y="762"/>
                  </a:lnTo>
                  <a:lnTo>
                    <a:pt x="628" y="759"/>
                  </a:lnTo>
                  <a:lnTo>
                    <a:pt x="633" y="759"/>
                  </a:lnTo>
                  <a:lnTo>
                    <a:pt x="635" y="754"/>
                  </a:lnTo>
                  <a:lnTo>
                    <a:pt x="641" y="752"/>
                  </a:lnTo>
                  <a:lnTo>
                    <a:pt x="645" y="754"/>
                  </a:lnTo>
                  <a:lnTo>
                    <a:pt x="655" y="754"/>
                  </a:lnTo>
                  <a:lnTo>
                    <a:pt x="664" y="757"/>
                  </a:lnTo>
                  <a:lnTo>
                    <a:pt x="670" y="761"/>
                  </a:lnTo>
                  <a:lnTo>
                    <a:pt x="674" y="767"/>
                  </a:lnTo>
                  <a:lnTo>
                    <a:pt x="678" y="768"/>
                  </a:lnTo>
                  <a:lnTo>
                    <a:pt x="687" y="769"/>
                  </a:lnTo>
                  <a:lnTo>
                    <a:pt x="691" y="768"/>
                  </a:lnTo>
                  <a:lnTo>
                    <a:pt x="695" y="762"/>
                  </a:lnTo>
                  <a:lnTo>
                    <a:pt x="701" y="762"/>
                  </a:lnTo>
                  <a:lnTo>
                    <a:pt x="701" y="761"/>
                  </a:lnTo>
                  <a:lnTo>
                    <a:pt x="701" y="757"/>
                  </a:lnTo>
                  <a:lnTo>
                    <a:pt x="708" y="751"/>
                  </a:lnTo>
                  <a:lnTo>
                    <a:pt x="708" y="748"/>
                  </a:lnTo>
                  <a:lnTo>
                    <a:pt x="711" y="745"/>
                  </a:lnTo>
                  <a:lnTo>
                    <a:pt x="714" y="745"/>
                  </a:lnTo>
                  <a:lnTo>
                    <a:pt x="722" y="739"/>
                  </a:lnTo>
                  <a:lnTo>
                    <a:pt x="733" y="730"/>
                  </a:lnTo>
                  <a:lnTo>
                    <a:pt x="739" y="727"/>
                  </a:lnTo>
                  <a:lnTo>
                    <a:pt x="741" y="723"/>
                  </a:lnTo>
                  <a:lnTo>
                    <a:pt x="741" y="720"/>
                  </a:lnTo>
                  <a:lnTo>
                    <a:pt x="736" y="710"/>
                  </a:lnTo>
                  <a:lnTo>
                    <a:pt x="736" y="703"/>
                  </a:lnTo>
                  <a:lnTo>
                    <a:pt x="731" y="695"/>
                  </a:lnTo>
                  <a:lnTo>
                    <a:pt x="730" y="692"/>
                  </a:lnTo>
                  <a:lnTo>
                    <a:pt x="731" y="687"/>
                  </a:lnTo>
                  <a:lnTo>
                    <a:pt x="730" y="682"/>
                  </a:lnTo>
                  <a:lnTo>
                    <a:pt x="733" y="678"/>
                  </a:lnTo>
                  <a:lnTo>
                    <a:pt x="741" y="674"/>
                  </a:lnTo>
                  <a:lnTo>
                    <a:pt x="749" y="677"/>
                  </a:lnTo>
                  <a:lnTo>
                    <a:pt x="755" y="678"/>
                  </a:lnTo>
                  <a:lnTo>
                    <a:pt x="761" y="678"/>
                  </a:lnTo>
                  <a:lnTo>
                    <a:pt x="769" y="673"/>
                  </a:lnTo>
                  <a:lnTo>
                    <a:pt x="770" y="669"/>
                  </a:lnTo>
                  <a:lnTo>
                    <a:pt x="774" y="669"/>
                  </a:lnTo>
                  <a:lnTo>
                    <a:pt x="777" y="669"/>
                  </a:lnTo>
                  <a:lnTo>
                    <a:pt x="787" y="665"/>
                  </a:lnTo>
                  <a:lnTo>
                    <a:pt x="799" y="665"/>
                  </a:lnTo>
                  <a:lnTo>
                    <a:pt x="802" y="665"/>
                  </a:lnTo>
                  <a:lnTo>
                    <a:pt x="806" y="669"/>
                  </a:lnTo>
                  <a:lnTo>
                    <a:pt x="817" y="686"/>
                  </a:lnTo>
                  <a:lnTo>
                    <a:pt x="819" y="687"/>
                  </a:lnTo>
                  <a:lnTo>
                    <a:pt x="824" y="686"/>
                  </a:lnTo>
                  <a:lnTo>
                    <a:pt x="833" y="686"/>
                  </a:lnTo>
                  <a:lnTo>
                    <a:pt x="841" y="678"/>
                  </a:lnTo>
                  <a:lnTo>
                    <a:pt x="842" y="674"/>
                  </a:lnTo>
                  <a:lnTo>
                    <a:pt x="847" y="672"/>
                  </a:lnTo>
                  <a:lnTo>
                    <a:pt x="853" y="672"/>
                  </a:lnTo>
                  <a:lnTo>
                    <a:pt x="858" y="665"/>
                  </a:lnTo>
                  <a:lnTo>
                    <a:pt x="865" y="665"/>
                  </a:lnTo>
                  <a:lnTo>
                    <a:pt x="870" y="660"/>
                  </a:lnTo>
                  <a:lnTo>
                    <a:pt x="870" y="658"/>
                  </a:lnTo>
                  <a:lnTo>
                    <a:pt x="874" y="652"/>
                  </a:lnTo>
                  <a:lnTo>
                    <a:pt x="876" y="647"/>
                  </a:lnTo>
                  <a:lnTo>
                    <a:pt x="880" y="643"/>
                  </a:lnTo>
                  <a:lnTo>
                    <a:pt x="887" y="643"/>
                  </a:lnTo>
                  <a:lnTo>
                    <a:pt x="890" y="645"/>
                  </a:lnTo>
                  <a:lnTo>
                    <a:pt x="897" y="647"/>
                  </a:lnTo>
                  <a:lnTo>
                    <a:pt x="904" y="647"/>
                  </a:lnTo>
                  <a:lnTo>
                    <a:pt x="916" y="651"/>
                  </a:lnTo>
                  <a:lnTo>
                    <a:pt x="926" y="647"/>
                  </a:lnTo>
                  <a:lnTo>
                    <a:pt x="933" y="645"/>
                  </a:lnTo>
                  <a:lnTo>
                    <a:pt x="947" y="658"/>
                  </a:lnTo>
                  <a:lnTo>
                    <a:pt x="951" y="664"/>
                  </a:lnTo>
                  <a:lnTo>
                    <a:pt x="950" y="669"/>
                  </a:lnTo>
                  <a:lnTo>
                    <a:pt x="962" y="674"/>
                  </a:lnTo>
                  <a:lnTo>
                    <a:pt x="969" y="685"/>
                  </a:lnTo>
                  <a:lnTo>
                    <a:pt x="982" y="697"/>
                  </a:lnTo>
                  <a:lnTo>
                    <a:pt x="990" y="701"/>
                  </a:lnTo>
                  <a:lnTo>
                    <a:pt x="994" y="701"/>
                  </a:lnTo>
                  <a:lnTo>
                    <a:pt x="997" y="698"/>
                  </a:lnTo>
                  <a:lnTo>
                    <a:pt x="1004" y="695"/>
                  </a:lnTo>
                  <a:lnTo>
                    <a:pt x="1010" y="690"/>
                  </a:lnTo>
                  <a:lnTo>
                    <a:pt x="1015" y="684"/>
                  </a:lnTo>
                  <a:lnTo>
                    <a:pt x="1022" y="678"/>
                  </a:lnTo>
                  <a:lnTo>
                    <a:pt x="1022" y="674"/>
                  </a:lnTo>
                  <a:lnTo>
                    <a:pt x="1026" y="669"/>
                  </a:lnTo>
                  <a:lnTo>
                    <a:pt x="1043" y="660"/>
                  </a:lnTo>
                  <a:lnTo>
                    <a:pt x="1055" y="652"/>
                  </a:lnTo>
                  <a:lnTo>
                    <a:pt x="1063" y="647"/>
                  </a:lnTo>
                  <a:lnTo>
                    <a:pt x="1066" y="647"/>
                  </a:lnTo>
                  <a:lnTo>
                    <a:pt x="1075" y="647"/>
                  </a:lnTo>
                  <a:lnTo>
                    <a:pt x="1077" y="647"/>
                  </a:lnTo>
                  <a:lnTo>
                    <a:pt x="1082" y="649"/>
                  </a:lnTo>
                  <a:lnTo>
                    <a:pt x="1090" y="651"/>
                  </a:lnTo>
                  <a:lnTo>
                    <a:pt x="1100" y="651"/>
                  </a:lnTo>
                  <a:lnTo>
                    <a:pt x="1104" y="656"/>
                  </a:lnTo>
                  <a:lnTo>
                    <a:pt x="1111" y="658"/>
                  </a:lnTo>
                  <a:lnTo>
                    <a:pt x="1119" y="656"/>
                  </a:lnTo>
                  <a:lnTo>
                    <a:pt x="1127" y="651"/>
                  </a:lnTo>
                  <a:lnTo>
                    <a:pt x="1129" y="647"/>
                  </a:lnTo>
                  <a:lnTo>
                    <a:pt x="1136" y="651"/>
                  </a:lnTo>
                  <a:lnTo>
                    <a:pt x="1140" y="655"/>
                  </a:lnTo>
                  <a:lnTo>
                    <a:pt x="1148" y="656"/>
                  </a:lnTo>
                  <a:lnTo>
                    <a:pt x="1157" y="645"/>
                  </a:lnTo>
                  <a:lnTo>
                    <a:pt x="1168" y="637"/>
                  </a:lnTo>
                  <a:lnTo>
                    <a:pt x="1176" y="633"/>
                  </a:lnTo>
                  <a:lnTo>
                    <a:pt x="1196" y="632"/>
                  </a:lnTo>
                  <a:lnTo>
                    <a:pt x="1200" y="630"/>
                  </a:lnTo>
                  <a:lnTo>
                    <a:pt x="1206" y="627"/>
                  </a:lnTo>
                  <a:lnTo>
                    <a:pt x="1212" y="616"/>
                  </a:lnTo>
                  <a:lnTo>
                    <a:pt x="1222" y="607"/>
                  </a:lnTo>
                  <a:lnTo>
                    <a:pt x="1223" y="603"/>
                  </a:lnTo>
                  <a:lnTo>
                    <a:pt x="1229" y="598"/>
                  </a:lnTo>
                  <a:lnTo>
                    <a:pt x="1231" y="597"/>
                  </a:lnTo>
                  <a:lnTo>
                    <a:pt x="1236" y="597"/>
                  </a:lnTo>
                  <a:lnTo>
                    <a:pt x="1245" y="585"/>
                  </a:lnTo>
                  <a:lnTo>
                    <a:pt x="1251" y="581"/>
                  </a:lnTo>
                  <a:lnTo>
                    <a:pt x="1260" y="580"/>
                  </a:lnTo>
                  <a:lnTo>
                    <a:pt x="1262" y="578"/>
                  </a:lnTo>
                  <a:lnTo>
                    <a:pt x="1268" y="580"/>
                  </a:lnTo>
                  <a:lnTo>
                    <a:pt x="1272" y="576"/>
                  </a:lnTo>
                  <a:lnTo>
                    <a:pt x="1275" y="571"/>
                  </a:lnTo>
                  <a:lnTo>
                    <a:pt x="1278" y="571"/>
                  </a:lnTo>
                  <a:lnTo>
                    <a:pt x="1287" y="571"/>
                  </a:lnTo>
                  <a:lnTo>
                    <a:pt x="1296" y="565"/>
                  </a:lnTo>
                  <a:lnTo>
                    <a:pt x="1300" y="565"/>
                  </a:lnTo>
                  <a:lnTo>
                    <a:pt x="1318" y="576"/>
                  </a:lnTo>
                  <a:lnTo>
                    <a:pt x="1323" y="576"/>
                  </a:lnTo>
                  <a:lnTo>
                    <a:pt x="1328" y="571"/>
                  </a:lnTo>
                  <a:lnTo>
                    <a:pt x="1329" y="566"/>
                  </a:lnTo>
                  <a:lnTo>
                    <a:pt x="1333" y="562"/>
                  </a:lnTo>
                  <a:lnTo>
                    <a:pt x="1339" y="561"/>
                  </a:lnTo>
                  <a:lnTo>
                    <a:pt x="1342" y="558"/>
                  </a:lnTo>
                  <a:lnTo>
                    <a:pt x="1347" y="558"/>
                  </a:lnTo>
                  <a:lnTo>
                    <a:pt x="1356" y="557"/>
                  </a:lnTo>
                  <a:lnTo>
                    <a:pt x="1372" y="548"/>
                  </a:lnTo>
                  <a:lnTo>
                    <a:pt x="1392" y="545"/>
                  </a:lnTo>
                  <a:lnTo>
                    <a:pt x="1397" y="540"/>
                  </a:lnTo>
                  <a:lnTo>
                    <a:pt x="1400" y="540"/>
                  </a:lnTo>
                  <a:lnTo>
                    <a:pt x="1404" y="540"/>
                  </a:lnTo>
                  <a:lnTo>
                    <a:pt x="1411" y="545"/>
                  </a:lnTo>
                  <a:lnTo>
                    <a:pt x="1432" y="549"/>
                  </a:lnTo>
                  <a:lnTo>
                    <a:pt x="1439" y="553"/>
                  </a:lnTo>
                  <a:lnTo>
                    <a:pt x="1443" y="556"/>
                  </a:lnTo>
                  <a:lnTo>
                    <a:pt x="1447" y="562"/>
                  </a:lnTo>
                  <a:lnTo>
                    <a:pt x="1452" y="565"/>
                  </a:lnTo>
                  <a:lnTo>
                    <a:pt x="1460" y="570"/>
                  </a:lnTo>
                  <a:lnTo>
                    <a:pt x="1471" y="574"/>
                  </a:lnTo>
                  <a:lnTo>
                    <a:pt x="1474" y="574"/>
                  </a:lnTo>
                  <a:lnTo>
                    <a:pt x="1479" y="568"/>
                  </a:lnTo>
                  <a:lnTo>
                    <a:pt x="1486" y="568"/>
                  </a:lnTo>
                  <a:lnTo>
                    <a:pt x="1497" y="562"/>
                  </a:lnTo>
                  <a:lnTo>
                    <a:pt x="1509" y="568"/>
                  </a:lnTo>
                  <a:lnTo>
                    <a:pt x="1521" y="569"/>
                  </a:lnTo>
                  <a:lnTo>
                    <a:pt x="1527" y="576"/>
                  </a:lnTo>
                  <a:lnTo>
                    <a:pt x="1528" y="576"/>
                  </a:lnTo>
                  <a:lnTo>
                    <a:pt x="1534" y="576"/>
                  </a:lnTo>
                  <a:lnTo>
                    <a:pt x="1545" y="569"/>
                  </a:lnTo>
                  <a:lnTo>
                    <a:pt x="1547" y="568"/>
                  </a:lnTo>
                  <a:lnTo>
                    <a:pt x="1549" y="569"/>
                  </a:lnTo>
                  <a:lnTo>
                    <a:pt x="1553" y="566"/>
                  </a:lnTo>
                  <a:lnTo>
                    <a:pt x="1563" y="566"/>
                  </a:lnTo>
                  <a:lnTo>
                    <a:pt x="1567" y="562"/>
                  </a:lnTo>
                  <a:lnTo>
                    <a:pt x="1570" y="562"/>
                  </a:lnTo>
                  <a:lnTo>
                    <a:pt x="1575" y="558"/>
                  </a:lnTo>
                  <a:lnTo>
                    <a:pt x="1581" y="557"/>
                  </a:lnTo>
                  <a:lnTo>
                    <a:pt x="1594" y="558"/>
                  </a:lnTo>
                  <a:lnTo>
                    <a:pt x="1605" y="568"/>
                  </a:lnTo>
                  <a:lnTo>
                    <a:pt x="1611" y="566"/>
                  </a:lnTo>
                  <a:lnTo>
                    <a:pt x="1620" y="570"/>
                  </a:lnTo>
                  <a:lnTo>
                    <a:pt x="1625" y="569"/>
                  </a:lnTo>
                  <a:lnTo>
                    <a:pt x="1627" y="568"/>
                  </a:lnTo>
                  <a:lnTo>
                    <a:pt x="1632" y="558"/>
                  </a:lnTo>
                  <a:lnTo>
                    <a:pt x="1638" y="553"/>
                  </a:lnTo>
                  <a:lnTo>
                    <a:pt x="1655" y="545"/>
                  </a:lnTo>
                  <a:lnTo>
                    <a:pt x="1660" y="544"/>
                  </a:lnTo>
                  <a:lnTo>
                    <a:pt x="1667" y="540"/>
                  </a:lnTo>
                  <a:lnTo>
                    <a:pt x="1682" y="529"/>
                  </a:lnTo>
                  <a:lnTo>
                    <a:pt x="1686" y="529"/>
                  </a:lnTo>
                  <a:lnTo>
                    <a:pt x="1691" y="536"/>
                  </a:lnTo>
                  <a:lnTo>
                    <a:pt x="1695" y="540"/>
                  </a:lnTo>
                  <a:lnTo>
                    <a:pt x="1699" y="540"/>
                  </a:lnTo>
                  <a:lnTo>
                    <a:pt x="1709" y="535"/>
                  </a:lnTo>
                  <a:lnTo>
                    <a:pt x="1713" y="533"/>
                  </a:lnTo>
                  <a:lnTo>
                    <a:pt x="1720" y="531"/>
                  </a:lnTo>
                  <a:lnTo>
                    <a:pt x="1727" y="523"/>
                  </a:lnTo>
                  <a:lnTo>
                    <a:pt x="1735" y="520"/>
                  </a:lnTo>
                  <a:lnTo>
                    <a:pt x="1741" y="514"/>
                  </a:lnTo>
                  <a:lnTo>
                    <a:pt x="1748" y="504"/>
                  </a:lnTo>
                  <a:lnTo>
                    <a:pt x="1756" y="501"/>
                  </a:lnTo>
                  <a:lnTo>
                    <a:pt x="1765" y="498"/>
                  </a:lnTo>
                  <a:lnTo>
                    <a:pt x="1773" y="495"/>
                  </a:lnTo>
                  <a:lnTo>
                    <a:pt x="1798" y="482"/>
                  </a:lnTo>
                  <a:lnTo>
                    <a:pt x="1807" y="482"/>
                  </a:lnTo>
                  <a:lnTo>
                    <a:pt x="1813" y="478"/>
                  </a:lnTo>
                  <a:lnTo>
                    <a:pt x="1817" y="473"/>
                  </a:lnTo>
                  <a:lnTo>
                    <a:pt x="1827" y="467"/>
                  </a:lnTo>
                  <a:lnTo>
                    <a:pt x="1830" y="462"/>
                  </a:lnTo>
                  <a:lnTo>
                    <a:pt x="1838" y="459"/>
                  </a:lnTo>
                  <a:lnTo>
                    <a:pt x="1846" y="456"/>
                  </a:lnTo>
                  <a:lnTo>
                    <a:pt x="1851" y="456"/>
                  </a:lnTo>
                  <a:lnTo>
                    <a:pt x="1859" y="454"/>
                  </a:lnTo>
                  <a:lnTo>
                    <a:pt x="1863" y="456"/>
                  </a:lnTo>
                  <a:lnTo>
                    <a:pt x="1871" y="456"/>
                  </a:lnTo>
                  <a:lnTo>
                    <a:pt x="1877" y="458"/>
                  </a:lnTo>
                  <a:lnTo>
                    <a:pt x="1888" y="456"/>
                  </a:lnTo>
                  <a:lnTo>
                    <a:pt x="1904" y="442"/>
                  </a:lnTo>
                  <a:lnTo>
                    <a:pt x="1917" y="433"/>
                  </a:lnTo>
                  <a:lnTo>
                    <a:pt x="1921" y="428"/>
                  </a:lnTo>
                  <a:lnTo>
                    <a:pt x="1921" y="420"/>
                  </a:lnTo>
                  <a:lnTo>
                    <a:pt x="1923" y="416"/>
                  </a:lnTo>
                  <a:lnTo>
                    <a:pt x="1932" y="414"/>
                  </a:lnTo>
                  <a:lnTo>
                    <a:pt x="1937" y="411"/>
                  </a:lnTo>
                  <a:lnTo>
                    <a:pt x="1945" y="406"/>
                  </a:lnTo>
                  <a:lnTo>
                    <a:pt x="1951" y="402"/>
                  </a:lnTo>
                  <a:lnTo>
                    <a:pt x="1959" y="400"/>
                  </a:lnTo>
                  <a:lnTo>
                    <a:pt x="1969" y="394"/>
                  </a:lnTo>
                  <a:lnTo>
                    <a:pt x="1977" y="394"/>
                  </a:lnTo>
                  <a:lnTo>
                    <a:pt x="1983" y="400"/>
                  </a:lnTo>
                  <a:lnTo>
                    <a:pt x="1994" y="404"/>
                  </a:lnTo>
                  <a:lnTo>
                    <a:pt x="1998" y="407"/>
                  </a:lnTo>
                  <a:lnTo>
                    <a:pt x="2001" y="411"/>
                  </a:lnTo>
                  <a:lnTo>
                    <a:pt x="2006" y="415"/>
                  </a:lnTo>
                  <a:lnTo>
                    <a:pt x="2016" y="409"/>
                  </a:lnTo>
                  <a:lnTo>
                    <a:pt x="2020" y="404"/>
                  </a:lnTo>
                  <a:lnTo>
                    <a:pt x="2036" y="400"/>
                  </a:lnTo>
                  <a:lnTo>
                    <a:pt x="2041" y="396"/>
                  </a:lnTo>
                  <a:lnTo>
                    <a:pt x="2045" y="394"/>
                  </a:lnTo>
                  <a:lnTo>
                    <a:pt x="2048" y="392"/>
                  </a:lnTo>
                  <a:lnTo>
                    <a:pt x="2050" y="384"/>
                  </a:lnTo>
                  <a:lnTo>
                    <a:pt x="2054" y="383"/>
                  </a:lnTo>
                  <a:lnTo>
                    <a:pt x="2059" y="383"/>
                  </a:lnTo>
                  <a:lnTo>
                    <a:pt x="2064" y="381"/>
                  </a:lnTo>
                  <a:lnTo>
                    <a:pt x="2070" y="379"/>
                  </a:lnTo>
                  <a:lnTo>
                    <a:pt x="2075" y="374"/>
                  </a:lnTo>
                  <a:lnTo>
                    <a:pt x="2076" y="369"/>
                  </a:lnTo>
                  <a:lnTo>
                    <a:pt x="2083" y="365"/>
                  </a:lnTo>
                  <a:lnTo>
                    <a:pt x="2087" y="362"/>
                  </a:lnTo>
                  <a:lnTo>
                    <a:pt x="2094" y="365"/>
                  </a:lnTo>
                  <a:lnTo>
                    <a:pt x="2104" y="362"/>
                  </a:lnTo>
                  <a:lnTo>
                    <a:pt x="2108" y="358"/>
                  </a:lnTo>
                  <a:lnTo>
                    <a:pt x="2111" y="361"/>
                  </a:lnTo>
                  <a:lnTo>
                    <a:pt x="2112" y="358"/>
                  </a:lnTo>
                  <a:lnTo>
                    <a:pt x="2119" y="358"/>
                  </a:lnTo>
                  <a:lnTo>
                    <a:pt x="2125" y="353"/>
                  </a:lnTo>
                  <a:lnTo>
                    <a:pt x="2131" y="353"/>
                  </a:lnTo>
                  <a:lnTo>
                    <a:pt x="2134" y="349"/>
                  </a:lnTo>
                  <a:lnTo>
                    <a:pt x="2136" y="338"/>
                  </a:lnTo>
                  <a:lnTo>
                    <a:pt x="2140" y="336"/>
                  </a:lnTo>
                  <a:lnTo>
                    <a:pt x="2145" y="336"/>
                  </a:lnTo>
                  <a:lnTo>
                    <a:pt x="2148" y="333"/>
                  </a:lnTo>
                  <a:lnTo>
                    <a:pt x="2155" y="333"/>
                  </a:lnTo>
                  <a:lnTo>
                    <a:pt x="2156" y="327"/>
                  </a:lnTo>
                  <a:lnTo>
                    <a:pt x="2159" y="327"/>
                  </a:lnTo>
                  <a:lnTo>
                    <a:pt x="2165" y="325"/>
                  </a:lnTo>
                  <a:lnTo>
                    <a:pt x="2169" y="327"/>
                  </a:lnTo>
                  <a:lnTo>
                    <a:pt x="2178" y="325"/>
                  </a:lnTo>
                  <a:lnTo>
                    <a:pt x="2180" y="322"/>
                  </a:lnTo>
                  <a:lnTo>
                    <a:pt x="2187" y="321"/>
                  </a:lnTo>
                  <a:lnTo>
                    <a:pt x="2194" y="325"/>
                  </a:lnTo>
                  <a:lnTo>
                    <a:pt x="2203" y="325"/>
                  </a:lnTo>
                  <a:lnTo>
                    <a:pt x="2206" y="321"/>
                  </a:lnTo>
                  <a:lnTo>
                    <a:pt x="2206" y="317"/>
                  </a:lnTo>
                  <a:lnTo>
                    <a:pt x="2208" y="316"/>
                  </a:lnTo>
                  <a:lnTo>
                    <a:pt x="2216" y="312"/>
                  </a:lnTo>
                  <a:lnTo>
                    <a:pt x="2219" y="307"/>
                  </a:lnTo>
                  <a:lnTo>
                    <a:pt x="2226" y="304"/>
                  </a:lnTo>
                  <a:lnTo>
                    <a:pt x="2226" y="300"/>
                  </a:lnTo>
                  <a:lnTo>
                    <a:pt x="2230" y="297"/>
                  </a:lnTo>
                  <a:lnTo>
                    <a:pt x="2233" y="290"/>
                  </a:lnTo>
                  <a:lnTo>
                    <a:pt x="2234" y="278"/>
                  </a:lnTo>
                  <a:lnTo>
                    <a:pt x="2240" y="272"/>
                  </a:lnTo>
                  <a:lnTo>
                    <a:pt x="2251" y="267"/>
                  </a:lnTo>
                  <a:lnTo>
                    <a:pt x="2254" y="267"/>
                  </a:lnTo>
                  <a:lnTo>
                    <a:pt x="2254" y="263"/>
                  </a:lnTo>
                  <a:lnTo>
                    <a:pt x="2264" y="259"/>
                  </a:lnTo>
                  <a:lnTo>
                    <a:pt x="2265" y="255"/>
                  </a:lnTo>
                  <a:lnTo>
                    <a:pt x="2268" y="255"/>
                  </a:lnTo>
                  <a:lnTo>
                    <a:pt x="2268" y="251"/>
                  </a:lnTo>
                  <a:lnTo>
                    <a:pt x="2271" y="251"/>
                  </a:lnTo>
                  <a:lnTo>
                    <a:pt x="2279" y="250"/>
                  </a:lnTo>
                  <a:lnTo>
                    <a:pt x="2282" y="249"/>
                  </a:lnTo>
                  <a:lnTo>
                    <a:pt x="2284" y="249"/>
                  </a:lnTo>
                  <a:lnTo>
                    <a:pt x="2289" y="246"/>
                  </a:lnTo>
                  <a:lnTo>
                    <a:pt x="2296" y="249"/>
                  </a:lnTo>
                  <a:lnTo>
                    <a:pt x="2304" y="249"/>
                  </a:lnTo>
                  <a:lnTo>
                    <a:pt x="2305" y="245"/>
                  </a:lnTo>
                  <a:lnTo>
                    <a:pt x="2307" y="245"/>
                  </a:lnTo>
                  <a:lnTo>
                    <a:pt x="2316" y="245"/>
                  </a:lnTo>
                  <a:lnTo>
                    <a:pt x="2321" y="241"/>
                  </a:lnTo>
                  <a:lnTo>
                    <a:pt x="2322" y="237"/>
                  </a:lnTo>
                  <a:lnTo>
                    <a:pt x="2326" y="233"/>
                  </a:lnTo>
                  <a:lnTo>
                    <a:pt x="2328" y="233"/>
                  </a:lnTo>
                  <a:lnTo>
                    <a:pt x="2332" y="229"/>
                  </a:lnTo>
                  <a:lnTo>
                    <a:pt x="2336" y="229"/>
                  </a:lnTo>
                  <a:lnTo>
                    <a:pt x="2344" y="233"/>
                  </a:lnTo>
                  <a:lnTo>
                    <a:pt x="2350" y="232"/>
                  </a:lnTo>
                  <a:lnTo>
                    <a:pt x="2353" y="229"/>
                  </a:lnTo>
                  <a:lnTo>
                    <a:pt x="2357" y="228"/>
                  </a:lnTo>
                  <a:lnTo>
                    <a:pt x="2365" y="229"/>
                  </a:lnTo>
                  <a:lnTo>
                    <a:pt x="2371" y="226"/>
                  </a:lnTo>
                  <a:lnTo>
                    <a:pt x="2375" y="229"/>
                  </a:lnTo>
                  <a:lnTo>
                    <a:pt x="2380" y="228"/>
                  </a:lnTo>
                  <a:lnTo>
                    <a:pt x="2385" y="223"/>
                  </a:lnTo>
                  <a:lnTo>
                    <a:pt x="2388" y="220"/>
                  </a:lnTo>
                  <a:lnTo>
                    <a:pt x="2393" y="218"/>
                  </a:lnTo>
                  <a:lnTo>
                    <a:pt x="2394" y="213"/>
                  </a:lnTo>
                  <a:lnTo>
                    <a:pt x="2399" y="209"/>
                  </a:lnTo>
                  <a:lnTo>
                    <a:pt x="2418" y="205"/>
                  </a:lnTo>
                  <a:lnTo>
                    <a:pt x="2428" y="197"/>
                  </a:lnTo>
                  <a:lnTo>
                    <a:pt x="2432" y="191"/>
                  </a:lnTo>
                  <a:lnTo>
                    <a:pt x="2441" y="188"/>
                  </a:lnTo>
                  <a:lnTo>
                    <a:pt x="2451" y="183"/>
                  </a:lnTo>
                  <a:lnTo>
                    <a:pt x="2453" y="175"/>
                  </a:lnTo>
                  <a:lnTo>
                    <a:pt x="2458" y="173"/>
                  </a:lnTo>
                  <a:lnTo>
                    <a:pt x="2465" y="175"/>
                  </a:lnTo>
                  <a:lnTo>
                    <a:pt x="2471" y="179"/>
                  </a:lnTo>
                  <a:lnTo>
                    <a:pt x="2475" y="179"/>
                  </a:lnTo>
                  <a:lnTo>
                    <a:pt x="2486" y="187"/>
                  </a:lnTo>
                  <a:lnTo>
                    <a:pt x="2490" y="184"/>
                  </a:lnTo>
                  <a:lnTo>
                    <a:pt x="2497" y="187"/>
                  </a:lnTo>
                  <a:lnTo>
                    <a:pt x="2503" y="184"/>
                  </a:lnTo>
                  <a:lnTo>
                    <a:pt x="2507" y="188"/>
                  </a:lnTo>
                  <a:lnTo>
                    <a:pt x="2510" y="188"/>
                  </a:lnTo>
                  <a:lnTo>
                    <a:pt x="2518" y="184"/>
                  </a:lnTo>
                  <a:lnTo>
                    <a:pt x="2521" y="184"/>
                  </a:lnTo>
                  <a:lnTo>
                    <a:pt x="2526" y="187"/>
                  </a:lnTo>
                  <a:lnTo>
                    <a:pt x="2542" y="187"/>
                  </a:lnTo>
                  <a:lnTo>
                    <a:pt x="2546" y="183"/>
                  </a:lnTo>
                  <a:lnTo>
                    <a:pt x="2547" y="179"/>
                  </a:lnTo>
                  <a:lnTo>
                    <a:pt x="2551" y="175"/>
                  </a:lnTo>
                  <a:lnTo>
                    <a:pt x="2558" y="170"/>
                  </a:lnTo>
                  <a:lnTo>
                    <a:pt x="2561" y="168"/>
                  </a:lnTo>
                  <a:lnTo>
                    <a:pt x="2567" y="166"/>
                  </a:lnTo>
                  <a:lnTo>
                    <a:pt x="2571" y="162"/>
                  </a:lnTo>
                  <a:lnTo>
                    <a:pt x="2575" y="156"/>
                  </a:lnTo>
                  <a:lnTo>
                    <a:pt x="2582" y="153"/>
                  </a:lnTo>
                  <a:lnTo>
                    <a:pt x="2590" y="138"/>
                  </a:lnTo>
                  <a:lnTo>
                    <a:pt x="2593" y="138"/>
                  </a:lnTo>
                  <a:lnTo>
                    <a:pt x="2601" y="129"/>
                  </a:lnTo>
                  <a:lnTo>
                    <a:pt x="2604" y="122"/>
                  </a:lnTo>
                  <a:lnTo>
                    <a:pt x="2600" y="120"/>
                  </a:lnTo>
                  <a:lnTo>
                    <a:pt x="2601" y="112"/>
                  </a:lnTo>
                  <a:lnTo>
                    <a:pt x="2613" y="104"/>
                  </a:lnTo>
                  <a:lnTo>
                    <a:pt x="2615" y="103"/>
                  </a:lnTo>
                  <a:lnTo>
                    <a:pt x="2620" y="103"/>
                  </a:lnTo>
                  <a:lnTo>
                    <a:pt x="2624" y="100"/>
                  </a:lnTo>
                  <a:lnTo>
                    <a:pt x="2640" y="91"/>
                  </a:lnTo>
                  <a:lnTo>
                    <a:pt x="2646" y="77"/>
                  </a:lnTo>
                  <a:lnTo>
                    <a:pt x="2649" y="76"/>
                  </a:lnTo>
                  <a:lnTo>
                    <a:pt x="2656" y="64"/>
                  </a:lnTo>
                  <a:lnTo>
                    <a:pt x="2656" y="55"/>
                  </a:lnTo>
                  <a:lnTo>
                    <a:pt x="2656" y="50"/>
                  </a:lnTo>
                  <a:lnTo>
                    <a:pt x="2673" y="48"/>
                  </a:lnTo>
                  <a:lnTo>
                    <a:pt x="2681" y="46"/>
                  </a:lnTo>
                  <a:lnTo>
                    <a:pt x="2686" y="42"/>
                  </a:lnTo>
                  <a:lnTo>
                    <a:pt x="2696" y="41"/>
                  </a:lnTo>
                  <a:lnTo>
                    <a:pt x="2731" y="27"/>
                  </a:lnTo>
                  <a:lnTo>
                    <a:pt x="2743" y="27"/>
                  </a:lnTo>
                  <a:lnTo>
                    <a:pt x="2748" y="23"/>
                  </a:lnTo>
                  <a:lnTo>
                    <a:pt x="2748" y="19"/>
                  </a:lnTo>
                  <a:lnTo>
                    <a:pt x="2746" y="14"/>
                  </a:lnTo>
                  <a:lnTo>
                    <a:pt x="2742" y="6"/>
                  </a:lnTo>
                  <a:lnTo>
                    <a:pt x="2739" y="1"/>
                  </a:lnTo>
                  <a:lnTo>
                    <a:pt x="2742" y="0"/>
                  </a:lnTo>
                  <a:lnTo>
                    <a:pt x="2753" y="0"/>
                  </a:lnTo>
                  <a:lnTo>
                    <a:pt x="2767" y="1"/>
                  </a:lnTo>
                  <a:lnTo>
                    <a:pt x="2771" y="10"/>
                  </a:lnTo>
                  <a:lnTo>
                    <a:pt x="2774" y="14"/>
                  </a:lnTo>
                  <a:lnTo>
                    <a:pt x="2789" y="13"/>
                  </a:lnTo>
                  <a:lnTo>
                    <a:pt x="2803" y="14"/>
                  </a:lnTo>
                  <a:lnTo>
                    <a:pt x="2806" y="23"/>
                  </a:lnTo>
                  <a:lnTo>
                    <a:pt x="2813" y="23"/>
                  </a:lnTo>
                  <a:lnTo>
                    <a:pt x="2816" y="27"/>
                  </a:lnTo>
                  <a:lnTo>
                    <a:pt x="2820" y="31"/>
                  </a:lnTo>
                  <a:lnTo>
                    <a:pt x="2823" y="37"/>
                  </a:lnTo>
                  <a:lnTo>
                    <a:pt x="2827" y="42"/>
                  </a:lnTo>
                  <a:lnTo>
                    <a:pt x="2835" y="42"/>
                  </a:lnTo>
                  <a:lnTo>
                    <a:pt x="2838" y="37"/>
                  </a:lnTo>
                  <a:lnTo>
                    <a:pt x="2845" y="31"/>
                  </a:lnTo>
                  <a:lnTo>
                    <a:pt x="2857" y="31"/>
                  </a:lnTo>
                  <a:lnTo>
                    <a:pt x="2863" y="27"/>
                  </a:lnTo>
                  <a:lnTo>
                    <a:pt x="2869" y="29"/>
                  </a:lnTo>
                  <a:lnTo>
                    <a:pt x="2881" y="26"/>
                  </a:lnTo>
                  <a:lnTo>
                    <a:pt x="2887" y="19"/>
                  </a:lnTo>
                  <a:lnTo>
                    <a:pt x="2895" y="14"/>
                  </a:lnTo>
                  <a:lnTo>
                    <a:pt x="2910" y="22"/>
                  </a:lnTo>
                  <a:lnTo>
                    <a:pt x="2914" y="19"/>
                  </a:lnTo>
                  <a:lnTo>
                    <a:pt x="2920" y="18"/>
                  </a:lnTo>
                  <a:lnTo>
                    <a:pt x="2923" y="14"/>
                  </a:lnTo>
                  <a:lnTo>
                    <a:pt x="2931" y="10"/>
                  </a:lnTo>
                  <a:lnTo>
                    <a:pt x="2935" y="9"/>
                  </a:lnTo>
                  <a:lnTo>
                    <a:pt x="2939" y="9"/>
                  </a:lnTo>
                  <a:lnTo>
                    <a:pt x="2942" y="6"/>
                  </a:lnTo>
                  <a:lnTo>
                    <a:pt x="2952" y="6"/>
                  </a:lnTo>
                  <a:lnTo>
                    <a:pt x="2960" y="10"/>
                  </a:lnTo>
                  <a:lnTo>
                    <a:pt x="2966" y="10"/>
                  </a:lnTo>
                  <a:lnTo>
                    <a:pt x="2973" y="9"/>
                  </a:lnTo>
                  <a:lnTo>
                    <a:pt x="2981" y="10"/>
                  </a:lnTo>
                  <a:lnTo>
                    <a:pt x="2989" y="6"/>
                  </a:lnTo>
                  <a:lnTo>
                    <a:pt x="2992" y="6"/>
                  </a:lnTo>
                  <a:lnTo>
                    <a:pt x="2997" y="10"/>
                  </a:lnTo>
                  <a:lnTo>
                    <a:pt x="3002" y="14"/>
                  </a:lnTo>
                  <a:lnTo>
                    <a:pt x="3005" y="18"/>
                  </a:lnTo>
                  <a:lnTo>
                    <a:pt x="3013" y="18"/>
                  </a:lnTo>
                  <a:lnTo>
                    <a:pt x="3016" y="19"/>
                  </a:lnTo>
                  <a:lnTo>
                    <a:pt x="3017" y="23"/>
                  </a:lnTo>
                  <a:lnTo>
                    <a:pt x="3019" y="33"/>
                  </a:lnTo>
                  <a:lnTo>
                    <a:pt x="3017" y="41"/>
                  </a:lnTo>
                  <a:lnTo>
                    <a:pt x="3020" y="46"/>
                  </a:lnTo>
                  <a:lnTo>
                    <a:pt x="3023" y="50"/>
                  </a:lnTo>
                  <a:lnTo>
                    <a:pt x="3025" y="55"/>
                  </a:lnTo>
                  <a:lnTo>
                    <a:pt x="3033" y="55"/>
                  </a:lnTo>
                  <a:lnTo>
                    <a:pt x="3039" y="62"/>
                  </a:lnTo>
                  <a:lnTo>
                    <a:pt x="3042" y="62"/>
                  </a:lnTo>
                  <a:lnTo>
                    <a:pt x="3049" y="63"/>
                  </a:lnTo>
                  <a:lnTo>
                    <a:pt x="3056" y="62"/>
                  </a:lnTo>
                  <a:lnTo>
                    <a:pt x="3060" y="59"/>
                  </a:lnTo>
                  <a:lnTo>
                    <a:pt x="3063" y="59"/>
                  </a:lnTo>
                  <a:lnTo>
                    <a:pt x="3066" y="58"/>
                  </a:lnTo>
                  <a:lnTo>
                    <a:pt x="3072" y="62"/>
                  </a:lnTo>
                  <a:lnTo>
                    <a:pt x="3080" y="55"/>
                  </a:lnTo>
                  <a:lnTo>
                    <a:pt x="3083" y="64"/>
                  </a:lnTo>
                  <a:lnTo>
                    <a:pt x="3092" y="75"/>
                  </a:lnTo>
                  <a:lnTo>
                    <a:pt x="3088" y="72"/>
                  </a:lnTo>
                  <a:lnTo>
                    <a:pt x="3081" y="76"/>
                  </a:lnTo>
                  <a:lnTo>
                    <a:pt x="3076" y="75"/>
                  </a:lnTo>
                  <a:lnTo>
                    <a:pt x="3074" y="75"/>
                  </a:lnTo>
                  <a:lnTo>
                    <a:pt x="3087" y="80"/>
                  </a:lnTo>
                  <a:lnTo>
                    <a:pt x="3088" y="87"/>
                  </a:lnTo>
                  <a:lnTo>
                    <a:pt x="3094" y="89"/>
                  </a:lnTo>
                  <a:lnTo>
                    <a:pt x="3092" y="93"/>
                  </a:lnTo>
                  <a:lnTo>
                    <a:pt x="3092" y="94"/>
                  </a:lnTo>
                  <a:lnTo>
                    <a:pt x="3095" y="97"/>
                  </a:lnTo>
                  <a:lnTo>
                    <a:pt x="3094" y="93"/>
                  </a:lnTo>
                  <a:lnTo>
                    <a:pt x="3095" y="91"/>
                  </a:lnTo>
                  <a:lnTo>
                    <a:pt x="3095" y="87"/>
                  </a:lnTo>
                  <a:lnTo>
                    <a:pt x="3091" y="84"/>
                  </a:lnTo>
                  <a:lnTo>
                    <a:pt x="3092" y="80"/>
                  </a:lnTo>
                  <a:lnTo>
                    <a:pt x="3091" y="77"/>
                  </a:lnTo>
                  <a:lnTo>
                    <a:pt x="3094" y="77"/>
                  </a:lnTo>
                  <a:lnTo>
                    <a:pt x="3103" y="91"/>
                  </a:lnTo>
                  <a:lnTo>
                    <a:pt x="3115" y="98"/>
                  </a:lnTo>
                  <a:lnTo>
                    <a:pt x="3122" y="100"/>
                  </a:lnTo>
                  <a:lnTo>
                    <a:pt x="3129" y="97"/>
                  </a:lnTo>
                  <a:lnTo>
                    <a:pt x="3131" y="93"/>
                  </a:lnTo>
                  <a:lnTo>
                    <a:pt x="3130" y="89"/>
                  </a:lnTo>
                  <a:lnTo>
                    <a:pt x="3131" y="84"/>
                  </a:lnTo>
                  <a:lnTo>
                    <a:pt x="3134" y="84"/>
                  </a:lnTo>
                  <a:lnTo>
                    <a:pt x="3138" y="87"/>
                  </a:lnTo>
                  <a:lnTo>
                    <a:pt x="3138" y="94"/>
                  </a:lnTo>
                  <a:lnTo>
                    <a:pt x="3135" y="98"/>
                  </a:lnTo>
                  <a:lnTo>
                    <a:pt x="3134" y="104"/>
                  </a:lnTo>
                  <a:lnTo>
                    <a:pt x="3133" y="106"/>
                  </a:lnTo>
                  <a:lnTo>
                    <a:pt x="3129" y="112"/>
                  </a:lnTo>
                  <a:lnTo>
                    <a:pt x="3115" y="116"/>
                  </a:lnTo>
                  <a:lnTo>
                    <a:pt x="3110" y="117"/>
                  </a:lnTo>
                  <a:lnTo>
                    <a:pt x="3108" y="121"/>
                  </a:lnTo>
                  <a:lnTo>
                    <a:pt x="3103" y="126"/>
                  </a:lnTo>
                  <a:lnTo>
                    <a:pt x="3097" y="133"/>
                  </a:lnTo>
                  <a:lnTo>
                    <a:pt x="3092" y="138"/>
                  </a:lnTo>
                  <a:lnTo>
                    <a:pt x="3092" y="143"/>
                  </a:lnTo>
                  <a:lnTo>
                    <a:pt x="3087" y="153"/>
                  </a:lnTo>
                  <a:lnTo>
                    <a:pt x="3088" y="162"/>
                  </a:lnTo>
                  <a:lnTo>
                    <a:pt x="3088" y="164"/>
                  </a:lnTo>
                  <a:lnTo>
                    <a:pt x="3089" y="173"/>
                  </a:lnTo>
                  <a:lnTo>
                    <a:pt x="3091" y="192"/>
                  </a:lnTo>
                  <a:lnTo>
                    <a:pt x="3092" y="193"/>
                  </a:lnTo>
                  <a:lnTo>
                    <a:pt x="3095" y="200"/>
                  </a:lnTo>
                  <a:lnTo>
                    <a:pt x="3103" y="201"/>
                  </a:lnTo>
                  <a:lnTo>
                    <a:pt x="3106" y="204"/>
                  </a:lnTo>
                  <a:lnTo>
                    <a:pt x="3115" y="210"/>
                  </a:lnTo>
                  <a:lnTo>
                    <a:pt x="3117" y="216"/>
                  </a:lnTo>
                  <a:lnTo>
                    <a:pt x="3117" y="259"/>
                  </a:lnTo>
                  <a:lnTo>
                    <a:pt x="3120" y="271"/>
                  </a:lnTo>
                  <a:lnTo>
                    <a:pt x="3126" y="282"/>
                  </a:lnTo>
                  <a:lnTo>
                    <a:pt x="3124" y="294"/>
                  </a:lnTo>
                  <a:lnTo>
                    <a:pt x="3127" y="299"/>
                  </a:lnTo>
                  <a:lnTo>
                    <a:pt x="3127" y="312"/>
                  </a:lnTo>
                  <a:lnTo>
                    <a:pt x="3130" y="333"/>
                  </a:lnTo>
                  <a:lnTo>
                    <a:pt x="3129" y="353"/>
                  </a:lnTo>
                  <a:lnTo>
                    <a:pt x="3133" y="362"/>
                  </a:lnTo>
                  <a:lnTo>
                    <a:pt x="3140" y="370"/>
                  </a:lnTo>
                  <a:lnTo>
                    <a:pt x="3151" y="384"/>
                  </a:lnTo>
                  <a:lnTo>
                    <a:pt x="3154" y="407"/>
                  </a:lnTo>
                  <a:lnTo>
                    <a:pt x="3152" y="419"/>
                  </a:lnTo>
                  <a:lnTo>
                    <a:pt x="3155" y="420"/>
                  </a:lnTo>
                  <a:lnTo>
                    <a:pt x="3157" y="428"/>
                  </a:lnTo>
                  <a:lnTo>
                    <a:pt x="3157" y="432"/>
                  </a:lnTo>
                  <a:lnTo>
                    <a:pt x="3154" y="433"/>
                  </a:lnTo>
                  <a:lnTo>
                    <a:pt x="3148" y="428"/>
                  </a:lnTo>
                  <a:lnTo>
                    <a:pt x="3137" y="432"/>
                  </a:lnTo>
                  <a:lnTo>
                    <a:pt x="3135" y="432"/>
                  </a:lnTo>
                  <a:lnTo>
                    <a:pt x="3137" y="428"/>
                  </a:lnTo>
                  <a:lnTo>
                    <a:pt x="3135" y="427"/>
                  </a:lnTo>
                  <a:lnTo>
                    <a:pt x="3127" y="424"/>
                  </a:lnTo>
                  <a:lnTo>
                    <a:pt x="3122" y="428"/>
                  </a:lnTo>
                  <a:lnTo>
                    <a:pt x="3120" y="432"/>
                  </a:lnTo>
                  <a:lnTo>
                    <a:pt x="3119" y="437"/>
                  </a:lnTo>
                  <a:lnTo>
                    <a:pt x="3119" y="442"/>
                  </a:lnTo>
                  <a:lnTo>
                    <a:pt x="3131" y="451"/>
                  </a:lnTo>
                  <a:lnTo>
                    <a:pt x="3137" y="451"/>
                  </a:lnTo>
                  <a:lnTo>
                    <a:pt x="3141" y="451"/>
                  </a:lnTo>
                  <a:lnTo>
                    <a:pt x="3145" y="451"/>
                  </a:lnTo>
                  <a:lnTo>
                    <a:pt x="3144" y="446"/>
                  </a:lnTo>
                  <a:lnTo>
                    <a:pt x="3147" y="442"/>
                  </a:lnTo>
                  <a:lnTo>
                    <a:pt x="3149" y="442"/>
                  </a:lnTo>
                  <a:lnTo>
                    <a:pt x="3152" y="442"/>
                  </a:lnTo>
                  <a:lnTo>
                    <a:pt x="3154" y="442"/>
                  </a:lnTo>
                  <a:lnTo>
                    <a:pt x="3157" y="442"/>
                  </a:lnTo>
                  <a:lnTo>
                    <a:pt x="3159" y="456"/>
                  </a:lnTo>
                  <a:lnTo>
                    <a:pt x="3163" y="458"/>
                  </a:lnTo>
                  <a:lnTo>
                    <a:pt x="3168" y="459"/>
                  </a:lnTo>
                  <a:lnTo>
                    <a:pt x="3169" y="465"/>
                  </a:lnTo>
                  <a:lnTo>
                    <a:pt x="3166" y="469"/>
                  </a:lnTo>
                  <a:lnTo>
                    <a:pt x="3165" y="482"/>
                  </a:lnTo>
                  <a:lnTo>
                    <a:pt x="3162" y="486"/>
                  </a:lnTo>
                  <a:lnTo>
                    <a:pt x="3163" y="487"/>
                  </a:lnTo>
                  <a:lnTo>
                    <a:pt x="3163" y="491"/>
                  </a:lnTo>
                  <a:lnTo>
                    <a:pt x="3163" y="495"/>
                  </a:lnTo>
                  <a:lnTo>
                    <a:pt x="3160" y="501"/>
                  </a:lnTo>
                  <a:lnTo>
                    <a:pt x="3159" y="507"/>
                  </a:lnTo>
                  <a:lnTo>
                    <a:pt x="3159" y="510"/>
                  </a:lnTo>
                  <a:lnTo>
                    <a:pt x="3157" y="510"/>
                  </a:lnTo>
                  <a:lnTo>
                    <a:pt x="3155" y="510"/>
                  </a:lnTo>
                  <a:lnTo>
                    <a:pt x="3152" y="512"/>
                  </a:lnTo>
                  <a:lnTo>
                    <a:pt x="3148" y="516"/>
                  </a:lnTo>
                  <a:lnTo>
                    <a:pt x="3143" y="516"/>
                  </a:lnTo>
                  <a:lnTo>
                    <a:pt x="3140" y="518"/>
                  </a:lnTo>
                  <a:lnTo>
                    <a:pt x="3134" y="516"/>
                  </a:lnTo>
                  <a:lnTo>
                    <a:pt x="3130" y="518"/>
                  </a:lnTo>
                  <a:lnTo>
                    <a:pt x="3129" y="523"/>
                  </a:lnTo>
                  <a:lnTo>
                    <a:pt x="3130" y="526"/>
                  </a:lnTo>
                  <a:lnTo>
                    <a:pt x="3133" y="527"/>
                  </a:lnTo>
                  <a:lnTo>
                    <a:pt x="3134" y="526"/>
                  </a:lnTo>
                  <a:lnTo>
                    <a:pt x="3137" y="527"/>
                  </a:lnTo>
                  <a:lnTo>
                    <a:pt x="3138" y="527"/>
                  </a:lnTo>
                  <a:lnTo>
                    <a:pt x="3140" y="531"/>
                  </a:lnTo>
                  <a:lnTo>
                    <a:pt x="3143" y="531"/>
                  </a:lnTo>
                  <a:lnTo>
                    <a:pt x="3144" y="531"/>
                  </a:lnTo>
                  <a:lnTo>
                    <a:pt x="3144" y="533"/>
                  </a:lnTo>
                  <a:lnTo>
                    <a:pt x="3143" y="533"/>
                  </a:lnTo>
                  <a:lnTo>
                    <a:pt x="3144" y="543"/>
                  </a:lnTo>
                  <a:lnTo>
                    <a:pt x="3148" y="543"/>
                  </a:lnTo>
                  <a:lnTo>
                    <a:pt x="3143" y="548"/>
                  </a:lnTo>
                  <a:lnTo>
                    <a:pt x="3141" y="553"/>
                  </a:lnTo>
                  <a:lnTo>
                    <a:pt x="3143" y="556"/>
                  </a:lnTo>
                  <a:lnTo>
                    <a:pt x="3147" y="558"/>
                  </a:lnTo>
                  <a:lnTo>
                    <a:pt x="3143" y="558"/>
                  </a:lnTo>
                  <a:lnTo>
                    <a:pt x="3137" y="562"/>
                  </a:lnTo>
                  <a:lnTo>
                    <a:pt x="3130" y="565"/>
                  </a:lnTo>
                  <a:lnTo>
                    <a:pt x="3127" y="568"/>
                  </a:lnTo>
                  <a:lnTo>
                    <a:pt x="3123" y="566"/>
                  </a:lnTo>
                  <a:lnTo>
                    <a:pt x="3108" y="568"/>
                  </a:lnTo>
                  <a:lnTo>
                    <a:pt x="3106" y="566"/>
                  </a:lnTo>
                  <a:lnTo>
                    <a:pt x="3108" y="558"/>
                  </a:lnTo>
                  <a:lnTo>
                    <a:pt x="3105" y="558"/>
                  </a:lnTo>
                  <a:lnTo>
                    <a:pt x="3105" y="562"/>
                  </a:lnTo>
                  <a:lnTo>
                    <a:pt x="3103" y="569"/>
                  </a:lnTo>
                  <a:lnTo>
                    <a:pt x="3098" y="570"/>
                  </a:lnTo>
                  <a:lnTo>
                    <a:pt x="3089" y="570"/>
                  </a:lnTo>
                  <a:lnTo>
                    <a:pt x="3088" y="571"/>
                  </a:lnTo>
                  <a:lnTo>
                    <a:pt x="3087" y="571"/>
                  </a:lnTo>
                  <a:lnTo>
                    <a:pt x="3084" y="574"/>
                  </a:lnTo>
                  <a:lnTo>
                    <a:pt x="3080" y="580"/>
                  </a:lnTo>
                  <a:lnTo>
                    <a:pt x="3077" y="581"/>
                  </a:lnTo>
                  <a:lnTo>
                    <a:pt x="3077" y="585"/>
                  </a:lnTo>
                  <a:lnTo>
                    <a:pt x="3078" y="581"/>
                  </a:lnTo>
                  <a:lnTo>
                    <a:pt x="3080" y="583"/>
                  </a:lnTo>
                  <a:lnTo>
                    <a:pt x="3080" y="589"/>
                  </a:lnTo>
                  <a:lnTo>
                    <a:pt x="3081" y="593"/>
                  </a:lnTo>
                  <a:lnTo>
                    <a:pt x="3083" y="591"/>
                  </a:lnTo>
                  <a:lnTo>
                    <a:pt x="3087" y="605"/>
                  </a:lnTo>
                  <a:lnTo>
                    <a:pt x="3088" y="606"/>
                  </a:lnTo>
                  <a:lnTo>
                    <a:pt x="3094" y="607"/>
                  </a:lnTo>
                  <a:lnTo>
                    <a:pt x="3095" y="611"/>
                  </a:lnTo>
                  <a:lnTo>
                    <a:pt x="3103" y="620"/>
                  </a:lnTo>
                  <a:lnTo>
                    <a:pt x="3101" y="623"/>
                  </a:lnTo>
                  <a:lnTo>
                    <a:pt x="3101" y="627"/>
                  </a:lnTo>
                  <a:lnTo>
                    <a:pt x="3095" y="627"/>
                  </a:lnTo>
                  <a:lnTo>
                    <a:pt x="3094" y="630"/>
                  </a:lnTo>
                  <a:lnTo>
                    <a:pt x="3098" y="632"/>
                  </a:lnTo>
                  <a:lnTo>
                    <a:pt x="3106" y="633"/>
                  </a:lnTo>
                  <a:lnTo>
                    <a:pt x="3106" y="632"/>
                  </a:lnTo>
                  <a:lnTo>
                    <a:pt x="3105" y="627"/>
                  </a:lnTo>
                  <a:lnTo>
                    <a:pt x="3106" y="624"/>
                  </a:lnTo>
                  <a:lnTo>
                    <a:pt x="3112" y="632"/>
                  </a:lnTo>
                  <a:lnTo>
                    <a:pt x="3115" y="632"/>
                  </a:lnTo>
                  <a:lnTo>
                    <a:pt x="3117" y="628"/>
                  </a:lnTo>
                  <a:lnTo>
                    <a:pt x="3113" y="623"/>
                  </a:lnTo>
                  <a:lnTo>
                    <a:pt x="3112" y="623"/>
                  </a:lnTo>
                  <a:lnTo>
                    <a:pt x="3110" y="619"/>
                  </a:lnTo>
                  <a:lnTo>
                    <a:pt x="3113" y="616"/>
                  </a:lnTo>
                  <a:lnTo>
                    <a:pt x="3113" y="615"/>
                  </a:lnTo>
                  <a:lnTo>
                    <a:pt x="3115" y="616"/>
                  </a:lnTo>
                  <a:lnTo>
                    <a:pt x="3116" y="615"/>
                  </a:lnTo>
                  <a:lnTo>
                    <a:pt x="3117" y="615"/>
                  </a:lnTo>
                  <a:lnTo>
                    <a:pt x="3117" y="616"/>
                  </a:lnTo>
                  <a:lnTo>
                    <a:pt x="3119" y="619"/>
                  </a:lnTo>
                  <a:lnTo>
                    <a:pt x="3122" y="619"/>
                  </a:lnTo>
                  <a:lnTo>
                    <a:pt x="3123" y="616"/>
                  </a:lnTo>
                  <a:lnTo>
                    <a:pt x="3122" y="615"/>
                  </a:lnTo>
                  <a:lnTo>
                    <a:pt x="3123" y="611"/>
                  </a:lnTo>
                  <a:lnTo>
                    <a:pt x="3126" y="610"/>
                  </a:lnTo>
                  <a:lnTo>
                    <a:pt x="3127" y="615"/>
                  </a:lnTo>
                  <a:lnTo>
                    <a:pt x="3127" y="616"/>
                  </a:lnTo>
                  <a:lnTo>
                    <a:pt x="3129" y="616"/>
                  </a:lnTo>
                  <a:lnTo>
                    <a:pt x="3135" y="620"/>
                  </a:lnTo>
                  <a:lnTo>
                    <a:pt x="3133" y="623"/>
                  </a:lnTo>
                  <a:lnTo>
                    <a:pt x="3133" y="627"/>
                  </a:lnTo>
                  <a:lnTo>
                    <a:pt x="3131" y="628"/>
                  </a:lnTo>
                  <a:lnTo>
                    <a:pt x="3131" y="630"/>
                  </a:lnTo>
                  <a:lnTo>
                    <a:pt x="3127" y="633"/>
                  </a:lnTo>
                  <a:lnTo>
                    <a:pt x="3129" y="637"/>
                  </a:lnTo>
                  <a:lnTo>
                    <a:pt x="3131" y="640"/>
                  </a:lnTo>
                  <a:lnTo>
                    <a:pt x="3134" y="641"/>
                  </a:lnTo>
                  <a:lnTo>
                    <a:pt x="3138" y="647"/>
                  </a:lnTo>
                  <a:lnTo>
                    <a:pt x="3137" y="649"/>
                  </a:lnTo>
                  <a:lnTo>
                    <a:pt x="3138" y="649"/>
                  </a:lnTo>
                  <a:lnTo>
                    <a:pt x="3138" y="651"/>
                  </a:lnTo>
                  <a:lnTo>
                    <a:pt x="3133" y="655"/>
                  </a:lnTo>
                  <a:lnTo>
                    <a:pt x="3133" y="658"/>
                  </a:lnTo>
                  <a:lnTo>
                    <a:pt x="3134" y="660"/>
                  </a:lnTo>
                  <a:lnTo>
                    <a:pt x="3135" y="662"/>
                  </a:lnTo>
                  <a:lnTo>
                    <a:pt x="3134" y="665"/>
                  </a:lnTo>
                  <a:lnTo>
                    <a:pt x="3137" y="668"/>
                  </a:lnTo>
                  <a:lnTo>
                    <a:pt x="3147" y="662"/>
                  </a:lnTo>
                  <a:lnTo>
                    <a:pt x="3147" y="664"/>
                  </a:lnTo>
                  <a:lnTo>
                    <a:pt x="3145" y="668"/>
                  </a:lnTo>
                  <a:lnTo>
                    <a:pt x="3145" y="669"/>
                  </a:lnTo>
                  <a:lnTo>
                    <a:pt x="3144" y="672"/>
                  </a:lnTo>
                  <a:lnTo>
                    <a:pt x="3147" y="674"/>
                  </a:lnTo>
                  <a:lnTo>
                    <a:pt x="3145" y="672"/>
                  </a:lnTo>
                  <a:lnTo>
                    <a:pt x="3147" y="669"/>
                  </a:lnTo>
                  <a:lnTo>
                    <a:pt x="3147" y="668"/>
                  </a:lnTo>
                  <a:lnTo>
                    <a:pt x="3151" y="660"/>
                  </a:lnTo>
                  <a:lnTo>
                    <a:pt x="3152" y="649"/>
                  </a:lnTo>
                  <a:lnTo>
                    <a:pt x="3152" y="647"/>
                  </a:lnTo>
                  <a:lnTo>
                    <a:pt x="3148" y="641"/>
                  </a:lnTo>
                  <a:lnTo>
                    <a:pt x="3149" y="640"/>
                  </a:lnTo>
                  <a:lnTo>
                    <a:pt x="3149" y="637"/>
                  </a:lnTo>
                  <a:lnTo>
                    <a:pt x="3152" y="633"/>
                  </a:lnTo>
                  <a:lnTo>
                    <a:pt x="3152" y="628"/>
                  </a:lnTo>
                  <a:lnTo>
                    <a:pt x="3151" y="627"/>
                  </a:lnTo>
                  <a:lnTo>
                    <a:pt x="3155" y="624"/>
                  </a:lnTo>
                  <a:lnTo>
                    <a:pt x="3155" y="619"/>
                  </a:lnTo>
                  <a:lnTo>
                    <a:pt x="3162" y="616"/>
                  </a:lnTo>
                  <a:lnTo>
                    <a:pt x="3165" y="619"/>
                  </a:lnTo>
                  <a:lnTo>
                    <a:pt x="3165" y="620"/>
                  </a:lnTo>
                  <a:lnTo>
                    <a:pt x="3168" y="620"/>
                  </a:lnTo>
                  <a:lnTo>
                    <a:pt x="3170" y="616"/>
                  </a:lnTo>
                  <a:lnTo>
                    <a:pt x="3172" y="616"/>
                  </a:lnTo>
                  <a:lnTo>
                    <a:pt x="3172" y="615"/>
                  </a:lnTo>
                  <a:lnTo>
                    <a:pt x="3170" y="615"/>
                  </a:lnTo>
                  <a:lnTo>
                    <a:pt x="3170" y="611"/>
                  </a:lnTo>
                  <a:lnTo>
                    <a:pt x="3174" y="610"/>
                  </a:lnTo>
                  <a:lnTo>
                    <a:pt x="3179" y="605"/>
                  </a:lnTo>
                  <a:lnTo>
                    <a:pt x="3190" y="602"/>
                  </a:lnTo>
                  <a:lnTo>
                    <a:pt x="3191" y="598"/>
                  </a:lnTo>
                  <a:lnTo>
                    <a:pt x="3194" y="605"/>
                  </a:lnTo>
                  <a:lnTo>
                    <a:pt x="3202" y="607"/>
                  </a:lnTo>
                  <a:lnTo>
                    <a:pt x="3205" y="607"/>
                  </a:lnTo>
                  <a:lnTo>
                    <a:pt x="3209" y="603"/>
                  </a:lnTo>
                  <a:lnTo>
                    <a:pt x="3213" y="594"/>
                  </a:lnTo>
                  <a:lnTo>
                    <a:pt x="3218" y="594"/>
                  </a:lnTo>
                  <a:lnTo>
                    <a:pt x="3223" y="597"/>
                  </a:lnTo>
                  <a:lnTo>
                    <a:pt x="3227" y="607"/>
                  </a:lnTo>
                  <a:lnTo>
                    <a:pt x="3233" y="611"/>
                  </a:lnTo>
                  <a:lnTo>
                    <a:pt x="3229" y="628"/>
                  </a:lnTo>
                  <a:lnTo>
                    <a:pt x="3230" y="633"/>
                  </a:lnTo>
                  <a:lnTo>
                    <a:pt x="3229" y="643"/>
                  </a:lnTo>
                  <a:lnTo>
                    <a:pt x="3230" y="651"/>
                  </a:lnTo>
                  <a:lnTo>
                    <a:pt x="3240" y="658"/>
                  </a:lnTo>
                  <a:lnTo>
                    <a:pt x="3247" y="660"/>
                  </a:lnTo>
                  <a:lnTo>
                    <a:pt x="3249" y="665"/>
                  </a:lnTo>
                  <a:lnTo>
                    <a:pt x="3245" y="684"/>
                  </a:lnTo>
                  <a:lnTo>
                    <a:pt x="3244" y="695"/>
                  </a:lnTo>
                  <a:lnTo>
                    <a:pt x="3244" y="699"/>
                  </a:lnTo>
                  <a:lnTo>
                    <a:pt x="3247" y="701"/>
                  </a:lnTo>
                  <a:lnTo>
                    <a:pt x="3244" y="710"/>
                  </a:lnTo>
                  <a:lnTo>
                    <a:pt x="3245" y="710"/>
                  </a:lnTo>
                  <a:lnTo>
                    <a:pt x="3243" y="712"/>
                  </a:lnTo>
                  <a:lnTo>
                    <a:pt x="3241" y="717"/>
                  </a:lnTo>
                  <a:lnTo>
                    <a:pt x="3238" y="718"/>
                  </a:lnTo>
                  <a:lnTo>
                    <a:pt x="3234" y="722"/>
                  </a:lnTo>
                  <a:lnTo>
                    <a:pt x="3230" y="723"/>
                  </a:lnTo>
                  <a:lnTo>
                    <a:pt x="3223" y="723"/>
                  </a:lnTo>
                  <a:lnTo>
                    <a:pt x="3213" y="739"/>
                  </a:lnTo>
                  <a:lnTo>
                    <a:pt x="3207" y="743"/>
                  </a:lnTo>
                  <a:lnTo>
                    <a:pt x="3201" y="754"/>
                  </a:lnTo>
                  <a:lnTo>
                    <a:pt x="3197" y="754"/>
                  </a:lnTo>
                  <a:lnTo>
                    <a:pt x="3190" y="748"/>
                  </a:lnTo>
                  <a:lnTo>
                    <a:pt x="3183" y="736"/>
                  </a:lnTo>
                  <a:lnTo>
                    <a:pt x="3183" y="731"/>
                  </a:lnTo>
                  <a:lnTo>
                    <a:pt x="3174" y="720"/>
                  </a:lnTo>
                  <a:lnTo>
                    <a:pt x="3169" y="710"/>
                  </a:lnTo>
                  <a:lnTo>
                    <a:pt x="3163" y="710"/>
                  </a:lnTo>
                  <a:lnTo>
                    <a:pt x="3162" y="710"/>
                  </a:lnTo>
                  <a:lnTo>
                    <a:pt x="3160" y="709"/>
                  </a:lnTo>
                  <a:lnTo>
                    <a:pt x="3158" y="707"/>
                  </a:lnTo>
                  <a:lnTo>
                    <a:pt x="3155" y="710"/>
                  </a:lnTo>
                  <a:lnTo>
                    <a:pt x="3158" y="714"/>
                  </a:lnTo>
                  <a:lnTo>
                    <a:pt x="3163" y="714"/>
                  </a:lnTo>
                  <a:lnTo>
                    <a:pt x="3165" y="718"/>
                  </a:lnTo>
                  <a:lnTo>
                    <a:pt x="3165" y="723"/>
                  </a:lnTo>
                  <a:lnTo>
                    <a:pt x="3166" y="723"/>
                  </a:lnTo>
                  <a:lnTo>
                    <a:pt x="3163" y="727"/>
                  </a:lnTo>
                  <a:lnTo>
                    <a:pt x="3165" y="731"/>
                  </a:lnTo>
                  <a:lnTo>
                    <a:pt x="3169" y="735"/>
                  </a:lnTo>
                  <a:lnTo>
                    <a:pt x="3168" y="740"/>
                  </a:lnTo>
                  <a:lnTo>
                    <a:pt x="3168" y="743"/>
                  </a:lnTo>
                  <a:lnTo>
                    <a:pt x="3170" y="745"/>
                  </a:lnTo>
                  <a:lnTo>
                    <a:pt x="3169" y="754"/>
                  </a:lnTo>
                  <a:lnTo>
                    <a:pt x="3173" y="754"/>
                  </a:lnTo>
                  <a:lnTo>
                    <a:pt x="3176" y="754"/>
                  </a:lnTo>
                  <a:lnTo>
                    <a:pt x="3177" y="754"/>
                  </a:lnTo>
                  <a:lnTo>
                    <a:pt x="3177" y="759"/>
                  </a:lnTo>
                  <a:lnTo>
                    <a:pt x="3173" y="762"/>
                  </a:lnTo>
                  <a:lnTo>
                    <a:pt x="3170" y="769"/>
                  </a:lnTo>
                  <a:lnTo>
                    <a:pt x="3169" y="776"/>
                  </a:lnTo>
                  <a:lnTo>
                    <a:pt x="3169" y="785"/>
                  </a:lnTo>
                  <a:lnTo>
                    <a:pt x="3172" y="797"/>
                  </a:lnTo>
                  <a:lnTo>
                    <a:pt x="3179" y="810"/>
                  </a:lnTo>
                  <a:lnTo>
                    <a:pt x="3184" y="815"/>
                  </a:lnTo>
                  <a:lnTo>
                    <a:pt x="3194" y="821"/>
                  </a:lnTo>
                  <a:lnTo>
                    <a:pt x="3193" y="823"/>
                  </a:lnTo>
                  <a:lnTo>
                    <a:pt x="3184" y="823"/>
                  </a:lnTo>
                  <a:lnTo>
                    <a:pt x="3173" y="817"/>
                  </a:lnTo>
                  <a:lnTo>
                    <a:pt x="3162" y="814"/>
                  </a:lnTo>
                  <a:lnTo>
                    <a:pt x="3158" y="817"/>
                  </a:lnTo>
                  <a:lnTo>
                    <a:pt x="3157" y="826"/>
                  </a:lnTo>
                  <a:lnTo>
                    <a:pt x="3159" y="834"/>
                  </a:lnTo>
                  <a:lnTo>
                    <a:pt x="3162" y="838"/>
                  </a:lnTo>
                  <a:lnTo>
                    <a:pt x="3168" y="839"/>
                  </a:lnTo>
                  <a:lnTo>
                    <a:pt x="3170" y="839"/>
                  </a:lnTo>
                  <a:lnTo>
                    <a:pt x="3176" y="838"/>
                  </a:lnTo>
                  <a:lnTo>
                    <a:pt x="3179" y="832"/>
                  </a:lnTo>
                  <a:lnTo>
                    <a:pt x="3183" y="832"/>
                  </a:lnTo>
                  <a:lnTo>
                    <a:pt x="3184" y="829"/>
                  </a:lnTo>
                  <a:lnTo>
                    <a:pt x="3187" y="830"/>
                  </a:lnTo>
                  <a:lnTo>
                    <a:pt x="3182" y="839"/>
                  </a:lnTo>
                  <a:lnTo>
                    <a:pt x="3176" y="839"/>
                  </a:lnTo>
                  <a:lnTo>
                    <a:pt x="3173" y="843"/>
                  </a:lnTo>
                  <a:lnTo>
                    <a:pt x="3163" y="846"/>
                  </a:lnTo>
                  <a:lnTo>
                    <a:pt x="3162" y="847"/>
                  </a:lnTo>
                  <a:lnTo>
                    <a:pt x="3163" y="851"/>
                  </a:lnTo>
                  <a:lnTo>
                    <a:pt x="3163" y="855"/>
                  </a:lnTo>
                  <a:lnTo>
                    <a:pt x="3154" y="863"/>
                  </a:lnTo>
                  <a:lnTo>
                    <a:pt x="3155" y="866"/>
                  </a:lnTo>
                  <a:lnTo>
                    <a:pt x="3158" y="864"/>
                  </a:lnTo>
                  <a:lnTo>
                    <a:pt x="3163" y="866"/>
                  </a:lnTo>
                  <a:lnTo>
                    <a:pt x="3169" y="864"/>
                  </a:lnTo>
                  <a:lnTo>
                    <a:pt x="3177" y="868"/>
                  </a:lnTo>
                  <a:lnTo>
                    <a:pt x="3174" y="869"/>
                  </a:lnTo>
                  <a:lnTo>
                    <a:pt x="3169" y="874"/>
                  </a:lnTo>
                  <a:lnTo>
                    <a:pt x="3165" y="879"/>
                  </a:lnTo>
                  <a:lnTo>
                    <a:pt x="3165" y="885"/>
                  </a:lnTo>
                  <a:lnTo>
                    <a:pt x="3159" y="889"/>
                  </a:lnTo>
                  <a:lnTo>
                    <a:pt x="3159" y="892"/>
                  </a:lnTo>
                  <a:lnTo>
                    <a:pt x="3162" y="901"/>
                  </a:lnTo>
                  <a:lnTo>
                    <a:pt x="3160" y="904"/>
                  </a:lnTo>
                  <a:lnTo>
                    <a:pt x="3160" y="898"/>
                  </a:lnTo>
                  <a:lnTo>
                    <a:pt x="3159" y="900"/>
                  </a:lnTo>
                  <a:lnTo>
                    <a:pt x="3159" y="908"/>
                  </a:lnTo>
                  <a:lnTo>
                    <a:pt x="3158" y="909"/>
                  </a:lnTo>
                  <a:lnTo>
                    <a:pt x="3159" y="913"/>
                  </a:lnTo>
                  <a:lnTo>
                    <a:pt x="3159" y="914"/>
                  </a:lnTo>
                  <a:lnTo>
                    <a:pt x="3158" y="914"/>
                  </a:lnTo>
                  <a:lnTo>
                    <a:pt x="3158" y="917"/>
                  </a:lnTo>
                  <a:lnTo>
                    <a:pt x="3157" y="917"/>
                  </a:lnTo>
                  <a:lnTo>
                    <a:pt x="3157" y="918"/>
                  </a:lnTo>
                  <a:lnTo>
                    <a:pt x="3159" y="921"/>
                  </a:lnTo>
                  <a:lnTo>
                    <a:pt x="3152" y="923"/>
                  </a:lnTo>
                  <a:lnTo>
                    <a:pt x="3151" y="933"/>
                  </a:lnTo>
                  <a:lnTo>
                    <a:pt x="3162" y="934"/>
                  </a:lnTo>
                  <a:lnTo>
                    <a:pt x="3162" y="928"/>
                  </a:lnTo>
                  <a:lnTo>
                    <a:pt x="3160" y="928"/>
                  </a:lnTo>
                  <a:lnTo>
                    <a:pt x="3155" y="928"/>
                  </a:lnTo>
                  <a:lnTo>
                    <a:pt x="3160" y="923"/>
                  </a:lnTo>
                  <a:lnTo>
                    <a:pt x="3163" y="922"/>
                  </a:lnTo>
                  <a:lnTo>
                    <a:pt x="3165" y="917"/>
                  </a:lnTo>
                  <a:lnTo>
                    <a:pt x="3169" y="913"/>
                  </a:lnTo>
                  <a:lnTo>
                    <a:pt x="3169" y="909"/>
                  </a:lnTo>
                  <a:lnTo>
                    <a:pt x="3170" y="908"/>
                  </a:lnTo>
                  <a:lnTo>
                    <a:pt x="3179" y="908"/>
                  </a:lnTo>
                  <a:lnTo>
                    <a:pt x="3180" y="905"/>
                  </a:lnTo>
                  <a:lnTo>
                    <a:pt x="3179" y="905"/>
                  </a:lnTo>
                  <a:lnTo>
                    <a:pt x="3184" y="905"/>
                  </a:lnTo>
                  <a:lnTo>
                    <a:pt x="3187" y="900"/>
                  </a:lnTo>
                  <a:lnTo>
                    <a:pt x="3194" y="892"/>
                  </a:lnTo>
                  <a:lnTo>
                    <a:pt x="3195" y="891"/>
                  </a:lnTo>
                  <a:lnTo>
                    <a:pt x="3194" y="888"/>
                  </a:lnTo>
                  <a:lnTo>
                    <a:pt x="3194" y="885"/>
                  </a:lnTo>
                  <a:lnTo>
                    <a:pt x="3190" y="881"/>
                  </a:lnTo>
                  <a:lnTo>
                    <a:pt x="3194" y="877"/>
                  </a:lnTo>
                  <a:lnTo>
                    <a:pt x="3195" y="877"/>
                  </a:lnTo>
                  <a:lnTo>
                    <a:pt x="3198" y="874"/>
                  </a:lnTo>
                  <a:lnTo>
                    <a:pt x="3199" y="867"/>
                  </a:lnTo>
                  <a:lnTo>
                    <a:pt x="3199" y="860"/>
                  </a:lnTo>
                  <a:lnTo>
                    <a:pt x="3195" y="852"/>
                  </a:lnTo>
                  <a:lnTo>
                    <a:pt x="3197" y="849"/>
                  </a:lnTo>
                  <a:lnTo>
                    <a:pt x="3195" y="847"/>
                  </a:lnTo>
                  <a:lnTo>
                    <a:pt x="3201" y="846"/>
                  </a:lnTo>
                  <a:lnTo>
                    <a:pt x="3204" y="830"/>
                  </a:lnTo>
                  <a:lnTo>
                    <a:pt x="3204" y="821"/>
                  </a:lnTo>
                  <a:lnTo>
                    <a:pt x="3202" y="821"/>
                  </a:lnTo>
                  <a:lnTo>
                    <a:pt x="3204" y="819"/>
                  </a:lnTo>
                  <a:lnTo>
                    <a:pt x="3204" y="817"/>
                  </a:lnTo>
                  <a:lnTo>
                    <a:pt x="3198" y="814"/>
                  </a:lnTo>
                  <a:lnTo>
                    <a:pt x="3204" y="811"/>
                  </a:lnTo>
                  <a:lnTo>
                    <a:pt x="3207" y="807"/>
                  </a:lnTo>
                  <a:lnTo>
                    <a:pt x="3219" y="805"/>
                  </a:lnTo>
                  <a:lnTo>
                    <a:pt x="3224" y="801"/>
                  </a:lnTo>
                  <a:lnTo>
                    <a:pt x="3240" y="798"/>
                  </a:lnTo>
                  <a:lnTo>
                    <a:pt x="3245" y="798"/>
                  </a:lnTo>
                  <a:lnTo>
                    <a:pt x="3249" y="794"/>
                  </a:lnTo>
                  <a:lnTo>
                    <a:pt x="3255" y="792"/>
                  </a:lnTo>
                  <a:lnTo>
                    <a:pt x="3257" y="789"/>
                  </a:lnTo>
                  <a:lnTo>
                    <a:pt x="3258" y="789"/>
                  </a:lnTo>
                  <a:lnTo>
                    <a:pt x="3263" y="785"/>
                  </a:lnTo>
                  <a:lnTo>
                    <a:pt x="3263" y="781"/>
                  </a:lnTo>
                  <a:lnTo>
                    <a:pt x="3274" y="784"/>
                  </a:lnTo>
                  <a:lnTo>
                    <a:pt x="3276" y="781"/>
                  </a:lnTo>
                  <a:lnTo>
                    <a:pt x="3280" y="780"/>
                  </a:lnTo>
                  <a:lnTo>
                    <a:pt x="3287" y="781"/>
                  </a:lnTo>
                  <a:lnTo>
                    <a:pt x="3294" y="780"/>
                  </a:lnTo>
                  <a:lnTo>
                    <a:pt x="3299" y="779"/>
                  </a:lnTo>
                  <a:lnTo>
                    <a:pt x="3301" y="776"/>
                  </a:lnTo>
                  <a:lnTo>
                    <a:pt x="3302" y="774"/>
                  </a:lnTo>
                  <a:lnTo>
                    <a:pt x="3305" y="776"/>
                  </a:lnTo>
                  <a:lnTo>
                    <a:pt x="3307" y="781"/>
                  </a:lnTo>
                  <a:lnTo>
                    <a:pt x="3312" y="789"/>
                  </a:lnTo>
                  <a:lnTo>
                    <a:pt x="3319" y="806"/>
                  </a:lnTo>
                  <a:lnTo>
                    <a:pt x="3321" y="814"/>
                  </a:lnTo>
                  <a:lnTo>
                    <a:pt x="3321" y="834"/>
                  </a:lnTo>
                  <a:lnTo>
                    <a:pt x="3323" y="836"/>
                  </a:lnTo>
                  <a:lnTo>
                    <a:pt x="3324" y="846"/>
                  </a:lnTo>
                  <a:lnTo>
                    <a:pt x="3322" y="852"/>
                  </a:lnTo>
                  <a:lnTo>
                    <a:pt x="3318" y="855"/>
                  </a:lnTo>
                  <a:lnTo>
                    <a:pt x="3319" y="863"/>
                  </a:lnTo>
                  <a:lnTo>
                    <a:pt x="3315" y="864"/>
                  </a:lnTo>
                  <a:lnTo>
                    <a:pt x="3307" y="863"/>
                  </a:lnTo>
                  <a:lnTo>
                    <a:pt x="3305" y="866"/>
                  </a:lnTo>
                  <a:lnTo>
                    <a:pt x="3298" y="863"/>
                  </a:lnTo>
                  <a:lnTo>
                    <a:pt x="3286" y="868"/>
                  </a:lnTo>
                  <a:lnTo>
                    <a:pt x="3283" y="873"/>
                  </a:lnTo>
                  <a:lnTo>
                    <a:pt x="3272" y="879"/>
                  </a:lnTo>
                  <a:lnTo>
                    <a:pt x="3272" y="883"/>
                  </a:lnTo>
                  <a:lnTo>
                    <a:pt x="3269" y="883"/>
                  </a:lnTo>
                  <a:lnTo>
                    <a:pt x="3268" y="888"/>
                  </a:lnTo>
                  <a:lnTo>
                    <a:pt x="3266" y="892"/>
                  </a:lnTo>
                  <a:lnTo>
                    <a:pt x="3270" y="896"/>
                  </a:lnTo>
                  <a:lnTo>
                    <a:pt x="3277" y="897"/>
                  </a:lnTo>
                  <a:lnTo>
                    <a:pt x="3282" y="894"/>
                  </a:lnTo>
                  <a:lnTo>
                    <a:pt x="3286" y="896"/>
                  </a:lnTo>
                  <a:lnTo>
                    <a:pt x="3290" y="896"/>
                  </a:lnTo>
                  <a:lnTo>
                    <a:pt x="3293" y="885"/>
                  </a:lnTo>
                  <a:lnTo>
                    <a:pt x="3290" y="879"/>
                  </a:lnTo>
                  <a:lnTo>
                    <a:pt x="3294" y="879"/>
                  </a:lnTo>
                  <a:lnTo>
                    <a:pt x="3298" y="877"/>
                  </a:lnTo>
                  <a:lnTo>
                    <a:pt x="3299" y="873"/>
                  </a:lnTo>
                  <a:lnTo>
                    <a:pt x="3299" y="869"/>
                  </a:lnTo>
                  <a:lnTo>
                    <a:pt x="3299" y="868"/>
                  </a:lnTo>
                  <a:lnTo>
                    <a:pt x="3304" y="869"/>
                  </a:lnTo>
                  <a:lnTo>
                    <a:pt x="3307" y="868"/>
                  </a:lnTo>
                  <a:lnTo>
                    <a:pt x="3309" y="869"/>
                  </a:lnTo>
                  <a:lnTo>
                    <a:pt x="3312" y="869"/>
                  </a:lnTo>
                  <a:lnTo>
                    <a:pt x="3316" y="869"/>
                  </a:lnTo>
                  <a:lnTo>
                    <a:pt x="3319" y="874"/>
                  </a:lnTo>
                  <a:lnTo>
                    <a:pt x="3321" y="883"/>
                  </a:lnTo>
                  <a:lnTo>
                    <a:pt x="3323" y="881"/>
                  </a:lnTo>
                  <a:lnTo>
                    <a:pt x="3327" y="879"/>
                  </a:lnTo>
                  <a:lnTo>
                    <a:pt x="3330" y="879"/>
                  </a:lnTo>
                  <a:lnTo>
                    <a:pt x="3330" y="881"/>
                  </a:lnTo>
                  <a:lnTo>
                    <a:pt x="3330" y="883"/>
                  </a:lnTo>
                  <a:lnTo>
                    <a:pt x="3323" y="892"/>
                  </a:lnTo>
                  <a:close/>
                  <a:moveTo>
                    <a:pt x="2614" y="2304"/>
                  </a:moveTo>
                  <a:lnTo>
                    <a:pt x="2589" y="2337"/>
                  </a:lnTo>
                  <a:lnTo>
                    <a:pt x="2582" y="2348"/>
                  </a:lnTo>
                  <a:lnTo>
                    <a:pt x="2581" y="2357"/>
                  </a:lnTo>
                  <a:lnTo>
                    <a:pt x="2578" y="2364"/>
                  </a:lnTo>
                  <a:lnTo>
                    <a:pt x="2579" y="2368"/>
                  </a:lnTo>
                  <a:lnTo>
                    <a:pt x="2582" y="2368"/>
                  </a:lnTo>
                  <a:lnTo>
                    <a:pt x="2584" y="2368"/>
                  </a:lnTo>
                  <a:lnTo>
                    <a:pt x="2588" y="2374"/>
                  </a:lnTo>
                  <a:lnTo>
                    <a:pt x="2588" y="2376"/>
                  </a:lnTo>
                  <a:lnTo>
                    <a:pt x="2584" y="2382"/>
                  </a:lnTo>
                  <a:lnTo>
                    <a:pt x="2572" y="2393"/>
                  </a:lnTo>
                  <a:lnTo>
                    <a:pt x="2561" y="2390"/>
                  </a:lnTo>
                  <a:lnTo>
                    <a:pt x="2540" y="2394"/>
                  </a:lnTo>
                  <a:lnTo>
                    <a:pt x="2539" y="2393"/>
                  </a:lnTo>
                  <a:lnTo>
                    <a:pt x="2540" y="2390"/>
                  </a:lnTo>
                  <a:lnTo>
                    <a:pt x="2539" y="2386"/>
                  </a:lnTo>
                  <a:lnTo>
                    <a:pt x="2526" y="2379"/>
                  </a:lnTo>
                  <a:lnTo>
                    <a:pt x="2526" y="2376"/>
                  </a:lnTo>
                  <a:lnTo>
                    <a:pt x="2521" y="2364"/>
                  </a:lnTo>
                  <a:lnTo>
                    <a:pt x="2510" y="2349"/>
                  </a:lnTo>
                  <a:lnTo>
                    <a:pt x="2505" y="2345"/>
                  </a:lnTo>
                  <a:lnTo>
                    <a:pt x="2494" y="2340"/>
                  </a:lnTo>
                  <a:lnTo>
                    <a:pt x="2493" y="2335"/>
                  </a:lnTo>
                  <a:lnTo>
                    <a:pt x="2493" y="2327"/>
                  </a:lnTo>
                  <a:lnTo>
                    <a:pt x="2494" y="2323"/>
                  </a:lnTo>
                  <a:lnTo>
                    <a:pt x="2501" y="2316"/>
                  </a:lnTo>
                  <a:lnTo>
                    <a:pt x="2504" y="2303"/>
                  </a:lnTo>
                  <a:lnTo>
                    <a:pt x="2505" y="2303"/>
                  </a:lnTo>
                  <a:lnTo>
                    <a:pt x="2507" y="2304"/>
                  </a:lnTo>
                  <a:lnTo>
                    <a:pt x="2508" y="2303"/>
                  </a:lnTo>
                  <a:lnTo>
                    <a:pt x="2516" y="2290"/>
                  </a:lnTo>
                  <a:lnTo>
                    <a:pt x="2519" y="2286"/>
                  </a:lnTo>
                  <a:lnTo>
                    <a:pt x="2525" y="2286"/>
                  </a:lnTo>
                  <a:lnTo>
                    <a:pt x="2532" y="2282"/>
                  </a:lnTo>
                  <a:lnTo>
                    <a:pt x="2535" y="2282"/>
                  </a:lnTo>
                  <a:lnTo>
                    <a:pt x="2539" y="2282"/>
                  </a:lnTo>
                  <a:lnTo>
                    <a:pt x="2560" y="2274"/>
                  </a:lnTo>
                  <a:lnTo>
                    <a:pt x="2563" y="2274"/>
                  </a:lnTo>
                  <a:lnTo>
                    <a:pt x="2563" y="2277"/>
                  </a:lnTo>
                  <a:lnTo>
                    <a:pt x="2560" y="2278"/>
                  </a:lnTo>
                  <a:lnTo>
                    <a:pt x="2560" y="2282"/>
                  </a:lnTo>
                  <a:lnTo>
                    <a:pt x="2560" y="2285"/>
                  </a:lnTo>
                  <a:lnTo>
                    <a:pt x="2560" y="2289"/>
                  </a:lnTo>
                  <a:lnTo>
                    <a:pt x="2546" y="2297"/>
                  </a:lnTo>
                  <a:lnTo>
                    <a:pt x="2542" y="2300"/>
                  </a:lnTo>
                  <a:lnTo>
                    <a:pt x="2539" y="2300"/>
                  </a:lnTo>
                  <a:lnTo>
                    <a:pt x="2538" y="2304"/>
                  </a:lnTo>
                  <a:lnTo>
                    <a:pt x="2540" y="2308"/>
                  </a:lnTo>
                  <a:lnTo>
                    <a:pt x="2539" y="2311"/>
                  </a:lnTo>
                  <a:lnTo>
                    <a:pt x="2540" y="2312"/>
                  </a:lnTo>
                  <a:lnTo>
                    <a:pt x="2542" y="2312"/>
                  </a:lnTo>
                  <a:lnTo>
                    <a:pt x="2543" y="2311"/>
                  </a:lnTo>
                  <a:lnTo>
                    <a:pt x="2542" y="2304"/>
                  </a:lnTo>
                  <a:lnTo>
                    <a:pt x="2546" y="2300"/>
                  </a:lnTo>
                  <a:lnTo>
                    <a:pt x="2557" y="2295"/>
                  </a:lnTo>
                  <a:lnTo>
                    <a:pt x="2564" y="2289"/>
                  </a:lnTo>
                  <a:lnTo>
                    <a:pt x="2568" y="2289"/>
                  </a:lnTo>
                  <a:lnTo>
                    <a:pt x="2570" y="2289"/>
                  </a:lnTo>
                  <a:lnTo>
                    <a:pt x="2565" y="2285"/>
                  </a:lnTo>
                  <a:lnTo>
                    <a:pt x="2567" y="2278"/>
                  </a:lnTo>
                  <a:lnTo>
                    <a:pt x="2574" y="2274"/>
                  </a:lnTo>
                  <a:lnTo>
                    <a:pt x="2584" y="2274"/>
                  </a:lnTo>
                  <a:lnTo>
                    <a:pt x="2584" y="2277"/>
                  </a:lnTo>
                  <a:lnTo>
                    <a:pt x="2588" y="2282"/>
                  </a:lnTo>
                  <a:lnTo>
                    <a:pt x="2589" y="2286"/>
                  </a:lnTo>
                  <a:lnTo>
                    <a:pt x="2592" y="2286"/>
                  </a:lnTo>
                  <a:lnTo>
                    <a:pt x="2593" y="2289"/>
                  </a:lnTo>
                  <a:lnTo>
                    <a:pt x="2592" y="2293"/>
                  </a:lnTo>
                  <a:lnTo>
                    <a:pt x="2586" y="2297"/>
                  </a:lnTo>
                  <a:lnTo>
                    <a:pt x="2585" y="2300"/>
                  </a:lnTo>
                  <a:lnTo>
                    <a:pt x="2576" y="2307"/>
                  </a:lnTo>
                  <a:lnTo>
                    <a:pt x="2572" y="2311"/>
                  </a:lnTo>
                  <a:lnTo>
                    <a:pt x="2574" y="2312"/>
                  </a:lnTo>
                  <a:lnTo>
                    <a:pt x="2575" y="2312"/>
                  </a:lnTo>
                  <a:lnTo>
                    <a:pt x="2571" y="2316"/>
                  </a:lnTo>
                  <a:lnTo>
                    <a:pt x="2568" y="2319"/>
                  </a:lnTo>
                  <a:lnTo>
                    <a:pt x="2570" y="2319"/>
                  </a:lnTo>
                  <a:lnTo>
                    <a:pt x="2570" y="2318"/>
                  </a:lnTo>
                  <a:lnTo>
                    <a:pt x="2576" y="2316"/>
                  </a:lnTo>
                  <a:lnTo>
                    <a:pt x="2576" y="2312"/>
                  </a:lnTo>
                  <a:lnTo>
                    <a:pt x="2579" y="2308"/>
                  </a:lnTo>
                  <a:lnTo>
                    <a:pt x="2586" y="2308"/>
                  </a:lnTo>
                  <a:lnTo>
                    <a:pt x="2595" y="2300"/>
                  </a:lnTo>
                  <a:lnTo>
                    <a:pt x="2600" y="2297"/>
                  </a:lnTo>
                  <a:lnTo>
                    <a:pt x="2596" y="2304"/>
                  </a:lnTo>
                  <a:lnTo>
                    <a:pt x="2595" y="2308"/>
                  </a:lnTo>
                  <a:lnTo>
                    <a:pt x="2598" y="2312"/>
                  </a:lnTo>
                  <a:lnTo>
                    <a:pt x="2596" y="2312"/>
                  </a:lnTo>
                  <a:lnTo>
                    <a:pt x="2589" y="2312"/>
                  </a:lnTo>
                  <a:lnTo>
                    <a:pt x="2585" y="2316"/>
                  </a:lnTo>
                  <a:lnTo>
                    <a:pt x="2585" y="2323"/>
                  </a:lnTo>
                  <a:lnTo>
                    <a:pt x="2588" y="2327"/>
                  </a:lnTo>
                  <a:lnTo>
                    <a:pt x="2588" y="2331"/>
                  </a:lnTo>
                  <a:lnTo>
                    <a:pt x="2585" y="2335"/>
                  </a:lnTo>
                  <a:lnTo>
                    <a:pt x="2589" y="2331"/>
                  </a:lnTo>
                  <a:lnTo>
                    <a:pt x="2590" y="2327"/>
                  </a:lnTo>
                  <a:lnTo>
                    <a:pt x="2586" y="2319"/>
                  </a:lnTo>
                  <a:lnTo>
                    <a:pt x="2586" y="2318"/>
                  </a:lnTo>
                  <a:lnTo>
                    <a:pt x="2589" y="2316"/>
                  </a:lnTo>
                  <a:lnTo>
                    <a:pt x="2598" y="2318"/>
                  </a:lnTo>
                  <a:lnTo>
                    <a:pt x="2601" y="2316"/>
                  </a:lnTo>
                  <a:lnTo>
                    <a:pt x="2604" y="2312"/>
                  </a:lnTo>
                  <a:lnTo>
                    <a:pt x="2607" y="2299"/>
                  </a:lnTo>
                  <a:lnTo>
                    <a:pt x="2614" y="2295"/>
                  </a:lnTo>
                  <a:lnTo>
                    <a:pt x="2617" y="2295"/>
                  </a:lnTo>
                  <a:lnTo>
                    <a:pt x="2617" y="2299"/>
                  </a:lnTo>
                  <a:lnTo>
                    <a:pt x="2614" y="2304"/>
                  </a:lnTo>
                  <a:close/>
                  <a:moveTo>
                    <a:pt x="2499" y="2300"/>
                  </a:moveTo>
                  <a:lnTo>
                    <a:pt x="2500" y="2304"/>
                  </a:lnTo>
                  <a:lnTo>
                    <a:pt x="2497" y="2312"/>
                  </a:lnTo>
                  <a:lnTo>
                    <a:pt x="2491" y="2322"/>
                  </a:lnTo>
                  <a:lnTo>
                    <a:pt x="2490" y="2327"/>
                  </a:lnTo>
                  <a:lnTo>
                    <a:pt x="2491" y="2333"/>
                  </a:lnTo>
                  <a:lnTo>
                    <a:pt x="2490" y="2333"/>
                  </a:lnTo>
                  <a:lnTo>
                    <a:pt x="2489" y="2327"/>
                  </a:lnTo>
                  <a:lnTo>
                    <a:pt x="2486" y="2323"/>
                  </a:lnTo>
                  <a:lnTo>
                    <a:pt x="2486" y="2316"/>
                  </a:lnTo>
                  <a:lnTo>
                    <a:pt x="2482" y="2308"/>
                  </a:lnTo>
                  <a:lnTo>
                    <a:pt x="2483" y="2304"/>
                  </a:lnTo>
                  <a:lnTo>
                    <a:pt x="2496" y="2299"/>
                  </a:lnTo>
                  <a:lnTo>
                    <a:pt x="2499" y="2300"/>
                  </a:lnTo>
                  <a:close/>
                  <a:moveTo>
                    <a:pt x="3322" y="1128"/>
                  </a:moveTo>
                  <a:lnTo>
                    <a:pt x="3323" y="1128"/>
                  </a:lnTo>
                  <a:lnTo>
                    <a:pt x="3322" y="1137"/>
                  </a:lnTo>
                  <a:lnTo>
                    <a:pt x="3316" y="1145"/>
                  </a:lnTo>
                  <a:lnTo>
                    <a:pt x="3311" y="1149"/>
                  </a:lnTo>
                  <a:lnTo>
                    <a:pt x="3313" y="1141"/>
                  </a:lnTo>
                  <a:lnTo>
                    <a:pt x="3315" y="1141"/>
                  </a:lnTo>
                  <a:lnTo>
                    <a:pt x="3318" y="1140"/>
                  </a:lnTo>
                  <a:lnTo>
                    <a:pt x="3319" y="1134"/>
                  </a:lnTo>
                  <a:lnTo>
                    <a:pt x="3315" y="1135"/>
                  </a:lnTo>
                  <a:lnTo>
                    <a:pt x="3316" y="1133"/>
                  </a:lnTo>
                  <a:lnTo>
                    <a:pt x="3308" y="1128"/>
                  </a:lnTo>
                  <a:lnTo>
                    <a:pt x="3313" y="1132"/>
                  </a:lnTo>
                  <a:lnTo>
                    <a:pt x="3318" y="1132"/>
                  </a:lnTo>
                  <a:lnTo>
                    <a:pt x="3322" y="1128"/>
                  </a:lnTo>
                  <a:close/>
                  <a:moveTo>
                    <a:pt x="3255" y="1270"/>
                  </a:moveTo>
                  <a:lnTo>
                    <a:pt x="3254" y="1274"/>
                  </a:lnTo>
                  <a:lnTo>
                    <a:pt x="3249" y="1275"/>
                  </a:lnTo>
                  <a:lnTo>
                    <a:pt x="3251" y="1275"/>
                  </a:lnTo>
                  <a:lnTo>
                    <a:pt x="3249" y="1278"/>
                  </a:lnTo>
                  <a:lnTo>
                    <a:pt x="3247" y="1278"/>
                  </a:lnTo>
                  <a:lnTo>
                    <a:pt x="3244" y="1282"/>
                  </a:lnTo>
                  <a:lnTo>
                    <a:pt x="3244" y="1284"/>
                  </a:lnTo>
                  <a:lnTo>
                    <a:pt x="3240" y="1286"/>
                  </a:lnTo>
                  <a:lnTo>
                    <a:pt x="3240" y="1284"/>
                  </a:lnTo>
                  <a:lnTo>
                    <a:pt x="3240" y="1279"/>
                  </a:lnTo>
                  <a:lnTo>
                    <a:pt x="3245" y="1274"/>
                  </a:lnTo>
                  <a:lnTo>
                    <a:pt x="3254" y="1270"/>
                  </a:lnTo>
                  <a:lnTo>
                    <a:pt x="3255" y="1270"/>
                  </a:lnTo>
                  <a:close/>
                  <a:moveTo>
                    <a:pt x="3279" y="1308"/>
                  </a:moveTo>
                  <a:lnTo>
                    <a:pt x="3280" y="1308"/>
                  </a:lnTo>
                  <a:lnTo>
                    <a:pt x="3279" y="1315"/>
                  </a:lnTo>
                  <a:lnTo>
                    <a:pt x="3274" y="1321"/>
                  </a:lnTo>
                  <a:lnTo>
                    <a:pt x="3274" y="1319"/>
                  </a:lnTo>
                  <a:lnTo>
                    <a:pt x="3276" y="1315"/>
                  </a:lnTo>
                  <a:lnTo>
                    <a:pt x="3270" y="1311"/>
                  </a:lnTo>
                  <a:lnTo>
                    <a:pt x="3274" y="1311"/>
                  </a:lnTo>
                  <a:lnTo>
                    <a:pt x="3277" y="1308"/>
                  </a:lnTo>
                  <a:lnTo>
                    <a:pt x="3279" y="1311"/>
                  </a:lnTo>
                  <a:lnTo>
                    <a:pt x="3279" y="1308"/>
                  </a:lnTo>
                  <a:close/>
                  <a:moveTo>
                    <a:pt x="3290" y="1286"/>
                  </a:moveTo>
                  <a:lnTo>
                    <a:pt x="3291" y="1287"/>
                  </a:lnTo>
                  <a:lnTo>
                    <a:pt x="3288" y="1291"/>
                  </a:lnTo>
                  <a:lnTo>
                    <a:pt x="3288" y="1292"/>
                  </a:lnTo>
                  <a:lnTo>
                    <a:pt x="3287" y="1295"/>
                  </a:lnTo>
                  <a:lnTo>
                    <a:pt x="3284" y="1295"/>
                  </a:lnTo>
                  <a:lnTo>
                    <a:pt x="3283" y="1288"/>
                  </a:lnTo>
                  <a:lnTo>
                    <a:pt x="3286" y="1287"/>
                  </a:lnTo>
                  <a:lnTo>
                    <a:pt x="3286" y="1288"/>
                  </a:lnTo>
                  <a:lnTo>
                    <a:pt x="3288" y="1288"/>
                  </a:lnTo>
                  <a:lnTo>
                    <a:pt x="3290" y="1286"/>
                  </a:lnTo>
                  <a:close/>
                  <a:moveTo>
                    <a:pt x="3324" y="1088"/>
                  </a:moveTo>
                  <a:lnTo>
                    <a:pt x="3323" y="1087"/>
                  </a:lnTo>
                  <a:lnTo>
                    <a:pt x="3324" y="1084"/>
                  </a:lnTo>
                  <a:lnTo>
                    <a:pt x="3324" y="1087"/>
                  </a:lnTo>
                  <a:lnTo>
                    <a:pt x="3326" y="1087"/>
                  </a:lnTo>
                  <a:lnTo>
                    <a:pt x="3326" y="1079"/>
                  </a:lnTo>
                  <a:lnTo>
                    <a:pt x="3322" y="1083"/>
                  </a:lnTo>
                  <a:lnTo>
                    <a:pt x="3324" y="1079"/>
                  </a:lnTo>
                  <a:lnTo>
                    <a:pt x="3326" y="1079"/>
                  </a:lnTo>
                  <a:lnTo>
                    <a:pt x="3327" y="1079"/>
                  </a:lnTo>
                  <a:lnTo>
                    <a:pt x="3326" y="1088"/>
                  </a:lnTo>
                  <a:lnTo>
                    <a:pt x="3324" y="1088"/>
                  </a:lnTo>
                  <a:close/>
                </a:path>
              </a:pathLst>
            </a:custGeom>
            <a:solidFill>
              <a:srgbClr val="BD81B9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425" name="Freeform 424"/>
            <p:cNvSpPr>
              <a:spLocks noEditPoints="1"/>
            </p:cNvSpPr>
            <p:nvPr/>
          </p:nvSpPr>
          <p:spPr bwMode="auto">
            <a:xfrm>
              <a:off x="4921180" y="2549975"/>
              <a:ext cx="639562" cy="846336"/>
            </a:xfrm>
            <a:custGeom>
              <a:avLst/>
              <a:gdLst>
                <a:gd name="T0" fmla="*/ 3171 w 3208"/>
                <a:gd name="T1" fmla="*/ 1568 h 3136"/>
                <a:gd name="T2" fmla="*/ 2844 w 3208"/>
                <a:gd name="T3" fmla="*/ 1629 h 3136"/>
                <a:gd name="T4" fmla="*/ 2772 w 3208"/>
                <a:gd name="T5" fmla="*/ 1694 h 3136"/>
                <a:gd name="T6" fmla="*/ 2698 w 3208"/>
                <a:gd name="T7" fmla="*/ 1688 h 3136"/>
                <a:gd name="T8" fmla="*/ 2492 w 3208"/>
                <a:gd name="T9" fmla="*/ 1796 h 3136"/>
                <a:gd name="T10" fmla="*/ 2389 w 3208"/>
                <a:gd name="T11" fmla="*/ 1747 h 3136"/>
                <a:gd name="T12" fmla="*/ 2349 w 3208"/>
                <a:gd name="T13" fmla="*/ 1834 h 3136"/>
                <a:gd name="T14" fmla="*/ 2331 w 3208"/>
                <a:gd name="T15" fmla="*/ 1871 h 3136"/>
                <a:gd name="T16" fmla="*/ 2040 w 3208"/>
                <a:gd name="T17" fmla="*/ 1998 h 3136"/>
                <a:gd name="T18" fmla="*/ 1829 w 3208"/>
                <a:gd name="T19" fmla="*/ 2111 h 3136"/>
                <a:gd name="T20" fmla="*/ 1626 w 3208"/>
                <a:gd name="T21" fmla="*/ 2170 h 3136"/>
                <a:gd name="T22" fmla="*/ 1460 w 3208"/>
                <a:gd name="T23" fmla="*/ 2413 h 3136"/>
                <a:gd name="T24" fmla="*/ 1412 w 3208"/>
                <a:gd name="T25" fmla="*/ 2395 h 3136"/>
                <a:gd name="T26" fmla="*/ 1337 w 3208"/>
                <a:gd name="T27" fmla="*/ 2560 h 3136"/>
                <a:gd name="T28" fmla="*/ 1271 w 3208"/>
                <a:gd name="T29" fmla="*/ 2668 h 3136"/>
                <a:gd name="T30" fmla="*/ 1084 w 3208"/>
                <a:gd name="T31" fmla="*/ 2836 h 3136"/>
                <a:gd name="T32" fmla="*/ 1021 w 3208"/>
                <a:gd name="T33" fmla="*/ 2945 h 3136"/>
                <a:gd name="T34" fmla="*/ 908 w 3208"/>
                <a:gd name="T35" fmla="*/ 3036 h 3136"/>
                <a:gd name="T36" fmla="*/ 910 w 3208"/>
                <a:gd name="T37" fmla="*/ 3111 h 3136"/>
                <a:gd name="T38" fmla="*/ 807 w 3208"/>
                <a:gd name="T39" fmla="*/ 2998 h 3136"/>
                <a:gd name="T40" fmla="*/ 799 w 3208"/>
                <a:gd name="T41" fmla="*/ 2884 h 3136"/>
                <a:gd name="T42" fmla="*/ 623 w 3208"/>
                <a:gd name="T43" fmla="*/ 2613 h 3136"/>
                <a:gd name="T44" fmla="*/ 340 w 3208"/>
                <a:gd name="T45" fmla="*/ 2413 h 3136"/>
                <a:gd name="T46" fmla="*/ 172 w 3208"/>
                <a:gd name="T47" fmla="*/ 2222 h 3136"/>
                <a:gd name="T48" fmla="*/ 145 w 3208"/>
                <a:gd name="T49" fmla="*/ 2050 h 3136"/>
                <a:gd name="T50" fmla="*/ 156 w 3208"/>
                <a:gd name="T51" fmla="*/ 1879 h 3136"/>
                <a:gd name="T52" fmla="*/ 132 w 3208"/>
                <a:gd name="T53" fmla="*/ 1766 h 3136"/>
                <a:gd name="T54" fmla="*/ 127 w 3208"/>
                <a:gd name="T55" fmla="*/ 1605 h 3136"/>
                <a:gd name="T56" fmla="*/ 71 w 3208"/>
                <a:gd name="T57" fmla="*/ 1332 h 3136"/>
                <a:gd name="T58" fmla="*/ 122 w 3208"/>
                <a:gd name="T59" fmla="*/ 1091 h 3136"/>
                <a:gd name="T60" fmla="*/ 317 w 3208"/>
                <a:gd name="T61" fmla="*/ 932 h 3136"/>
                <a:gd name="T62" fmla="*/ 566 w 3208"/>
                <a:gd name="T63" fmla="*/ 368 h 3136"/>
                <a:gd name="T64" fmla="*/ 797 w 3208"/>
                <a:gd name="T65" fmla="*/ 355 h 3136"/>
                <a:gd name="T66" fmla="*/ 829 w 3208"/>
                <a:gd name="T67" fmla="*/ 366 h 3136"/>
                <a:gd name="T68" fmla="*/ 907 w 3208"/>
                <a:gd name="T69" fmla="*/ 352 h 3136"/>
                <a:gd name="T70" fmla="*/ 905 w 3208"/>
                <a:gd name="T71" fmla="*/ 315 h 3136"/>
                <a:gd name="T72" fmla="*/ 928 w 3208"/>
                <a:gd name="T73" fmla="*/ 295 h 3136"/>
                <a:gd name="T74" fmla="*/ 946 w 3208"/>
                <a:gd name="T75" fmla="*/ 275 h 3136"/>
                <a:gd name="T76" fmla="*/ 963 w 3208"/>
                <a:gd name="T77" fmla="*/ 251 h 3136"/>
                <a:gd name="T78" fmla="*/ 974 w 3208"/>
                <a:gd name="T79" fmla="*/ 233 h 3136"/>
                <a:gd name="T80" fmla="*/ 1010 w 3208"/>
                <a:gd name="T81" fmla="*/ 224 h 3136"/>
                <a:gd name="T82" fmla="*/ 1065 w 3208"/>
                <a:gd name="T83" fmla="*/ 201 h 3136"/>
                <a:gd name="T84" fmla="*/ 1181 w 3208"/>
                <a:gd name="T85" fmla="*/ 124 h 3136"/>
                <a:gd name="T86" fmla="*/ 1248 w 3208"/>
                <a:gd name="T87" fmla="*/ 14 h 3136"/>
                <a:gd name="T88" fmla="*/ 1722 w 3208"/>
                <a:gd name="T89" fmla="*/ 88 h 3136"/>
                <a:gd name="T90" fmla="*/ 1859 w 3208"/>
                <a:gd name="T91" fmla="*/ 142 h 3136"/>
                <a:gd name="T92" fmla="*/ 1961 w 3208"/>
                <a:gd name="T93" fmla="*/ 150 h 3136"/>
                <a:gd name="T94" fmla="*/ 2029 w 3208"/>
                <a:gd name="T95" fmla="*/ 195 h 3136"/>
                <a:gd name="T96" fmla="*/ 2186 w 3208"/>
                <a:gd name="T97" fmla="*/ 184 h 3136"/>
                <a:gd name="T98" fmla="*/ 2336 w 3208"/>
                <a:gd name="T99" fmla="*/ 253 h 3136"/>
                <a:gd name="T100" fmla="*/ 2435 w 3208"/>
                <a:gd name="T101" fmla="*/ 337 h 3136"/>
                <a:gd name="T102" fmla="*/ 2640 w 3208"/>
                <a:gd name="T103" fmla="*/ 412 h 3136"/>
                <a:gd name="T104" fmla="*/ 2776 w 3208"/>
                <a:gd name="T105" fmla="*/ 543 h 3136"/>
                <a:gd name="T106" fmla="*/ 2942 w 3208"/>
                <a:gd name="T107" fmla="*/ 640 h 3136"/>
                <a:gd name="T108" fmla="*/ 2994 w 3208"/>
                <a:gd name="T109" fmla="*/ 804 h 3136"/>
                <a:gd name="T110" fmla="*/ 3033 w 3208"/>
                <a:gd name="T111" fmla="*/ 970 h 3136"/>
                <a:gd name="T112" fmla="*/ 3130 w 3208"/>
                <a:gd name="T113" fmla="*/ 1175 h 3136"/>
                <a:gd name="T114" fmla="*/ 3096 w 3208"/>
                <a:gd name="T115" fmla="*/ 1326 h 3136"/>
                <a:gd name="T116" fmla="*/ 3174 w 3208"/>
                <a:gd name="T117" fmla="*/ 1436 h 3136"/>
                <a:gd name="T118" fmla="*/ 1416 w 3208"/>
                <a:gd name="T119" fmla="*/ 2392 h 3136"/>
                <a:gd name="T120" fmla="*/ 1388 w 3208"/>
                <a:gd name="T121" fmla="*/ 2319 h 3136"/>
                <a:gd name="T122" fmla="*/ 1848 w 3208"/>
                <a:gd name="T123" fmla="*/ 2102 h 31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208"/>
                <a:gd name="T187" fmla="*/ 0 h 3136"/>
                <a:gd name="T188" fmla="*/ 3208 w 3208"/>
                <a:gd name="T189" fmla="*/ 3136 h 31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208" h="3136">
                  <a:moveTo>
                    <a:pt x="3208" y="1522"/>
                  </a:moveTo>
                  <a:lnTo>
                    <a:pt x="3208" y="1526"/>
                  </a:lnTo>
                  <a:lnTo>
                    <a:pt x="3204" y="1531"/>
                  </a:lnTo>
                  <a:lnTo>
                    <a:pt x="3200" y="1535"/>
                  </a:lnTo>
                  <a:lnTo>
                    <a:pt x="3199" y="1534"/>
                  </a:lnTo>
                  <a:lnTo>
                    <a:pt x="3201" y="1527"/>
                  </a:lnTo>
                  <a:lnTo>
                    <a:pt x="3201" y="1526"/>
                  </a:lnTo>
                  <a:lnTo>
                    <a:pt x="3197" y="1527"/>
                  </a:lnTo>
                  <a:lnTo>
                    <a:pt x="3194" y="1534"/>
                  </a:lnTo>
                  <a:lnTo>
                    <a:pt x="3191" y="1534"/>
                  </a:lnTo>
                  <a:lnTo>
                    <a:pt x="3193" y="1535"/>
                  </a:lnTo>
                  <a:lnTo>
                    <a:pt x="3187" y="1538"/>
                  </a:lnTo>
                  <a:lnTo>
                    <a:pt x="3183" y="1538"/>
                  </a:lnTo>
                  <a:lnTo>
                    <a:pt x="3176" y="1542"/>
                  </a:lnTo>
                  <a:lnTo>
                    <a:pt x="3171" y="1542"/>
                  </a:lnTo>
                  <a:lnTo>
                    <a:pt x="3166" y="1548"/>
                  </a:lnTo>
                  <a:lnTo>
                    <a:pt x="3162" y="1550"/>
                  </a:lnTo>
                  <a:lnTo>
                    <a:pt x="3155" y="1548"/>
                  </a:lnTo>
                  <a:lnTo>
                    <a:pt x="3157" y="1552"/>
                  </a:lnTo>
                  <a:lnTo>
                    <a:pt x="3149" y="1553"/>
                  </a:lnTo>
                  <a:lnTo>
                    <a:pt x="3147" y="1558"/>
                  </a:lnTo>
                  <a:lnTo>
                    <a:pt x="3149" y="1561"/>
                  </a:lnTo>
                  <a:lnTo>
                    <a:pt x="3146" y="1564"/>
                  </a:lnTo>
                  <a:lnTo>
                    <a:pt x="3144" y="1567"/>
                  </a:lnTo>
                  <a:lnTo>
                    <a:pt x="3137" y="1568"/>
                  </a:lnTo>
                  <a:lnTo>
                    <a:pt x="3133" y="1568"/>
                  </a:lnTo>
                  <a:lnTo>
                    <a:pt x="3126" y="1571"/>
                  </a:lnTo>
                  <a:lnTo>
                    <a:pt x="3130" y="1572"/>
                  </a:lnTo>
                  <a:lnTo>
                    <a:pt x="3141" y="1571"/>
                  </a:lnTo>
                  <a:lnTo>
                    <a:pt x="3151" y="1572"/>
                  </a:lnTo>
                  <a:lnTo>
                    <a:pt x="3164" y="1575"/>
                  </a:lnTo>
                  <a:lnTo>
                    <a:pt x="3166" y="1572"/>
                  </a:lnTo>
                  <a:lnTo>
                    <a:pt x="3171" y="1568"/>
                  </a:lnTo>
                  <a:lnTo>
                    <a:pt x="3171" y="1556"/>
                  </a:lnTo>
                  <a:lnTo>
                    <a:pt x="3175" y="1550"/>
                  </a:lnTo>
                  <a:lnTo>
                    <a:pt x="3177" y="1550"/>
                  </a:lnTo>
                  <a:lnTo>
                    <a:pt x="3186" y="1550"/>
                  </a:lnTo>
                  <a:lnTo>
                    <a:pt x="3191" y="1553"/>
                  </a:lnTo>
                  <a:lnTo>
                    <a:pt x="3197" y="1553"/>
                  </a:lnTo>
                  <a:lnTo>
                    <a:pt x="3196" y="1563"/>
                  </a:lnTo>
                  <a:lnTo>
                    <a:pt x="3186" y="1575"/>
                  </a:lnTo>
                  <a:lnTo>
                    <a:pt x="3161" y="1612"/>
                  </a:lnTo>
                  <a:lnTo>
                    <a:pt x="3157" y="1615"/>
                  </a:lnTo>
                  <a:lnTo>
                    <a:pt x="3152" y="1617"/>
                  </a:lnTo>
                  <a:lnTo>
                    <a:pt x="3149" y="1617"/>
                  </a:lnTo>
                  <a:lnTo>
                    <a:pt x="3121" y="1613"/>
                  </a:lnTo>
                  <a:lnTo>
                    <a:pt x="3083" y="1617"/>
                  </a:lnTo>
                  <a:lnTo>
                    <a:pt x="3057" y="1623"/>
                  </a:lnTo>
                  <a:lnTo>
                    <a:pt x="3001" y="1646"/>
                  </a:lnTo>
                  <a:lnTo>
                    <a:pt x="2968" y="1655"/>
                  </a:lnTo>
                  <a:lnTo>
                    <a:pt x="2956" y="1656"/>
                  </a:lnTo>
                  <a:lnTo>
                    <a:pt x="2950" y="1658"/>
                  </a:lnTo>
                  <a:lnTo>
                    <a:pt x="2933" y="1662"/>
                  </a:lnTo>
                  <a:lnTo>
                    <a:pt x="2911" y="1664"/>
                  </a:lnTo>
                  <a:lnTo>
                    <a:pt x="2886" y="1665"/>
                  </a:lnTo>
                  <a:lnTo>
                    <a:pt x="2866" y="1674"/>
                  </a:lnTo>
                  <a:lnTo>
                    <a:pt x="2856" y="1672"/>
                  </a:lnTo>
                  <a:lnTo>
                    <a:pt x="2847" y="1665"/>
                  </a:lnTo>
                  <a:lnTo>
                    <a:pt x="2842" y="1656"/>
                  </a:lnTo>
                  <a:lnTo>
                    <a:pt x="2841" y="1646"/>
                  </a:lnTo>
                  <a:lnTo>
                    <a:pt x="2837" y="1646"/>
                  </a:lnTo>
                  <a:lnTo>
                    <a:pt x="2833" y="1642"/>
                  </a:lnTo>
                  <a:lnTo>
                    <a:pt x="2833" y="1638"/>
                  </a:lnTo>
                  <a:lnTo>
                    <a:pt x="2834" y="1635"/>
                  </a:lnTo>
                  <a:lnTo>
                    <a:pt x="2845" y="1631"/>
                  </a:lnTo>
                  <a:lnTo>
                    <a:pt x="2844" y="1629"/>
                  </a:lnTo>
                  <a:lnTo>
                    <a:pt x="2839" y="1625"/>
                  </a:lnTo>
                  <a:lnTo>
                    <a:pt x="2840" y="1629"/>
                  </a:lnTo>
                  <a:lnTo>
                    <a:pt x="2840" y="1631"/>
                  </a:lnTo>
                  <a:lnTo>
                    <a:pt x="2833" y="1631"/>
                  </a:lnTo>
                  <a:lnTo>
                    <a:pt x="2830" y="1634"/>
                  </a:lnTo>
                  <a:lnTo>
                    <a:pt x="2826" y="1643"/>
                  </a:lnTo>
                  <a:lnTo>
                    <a:pt x="2823" y="1639"/>
                  </a:lnTo>
                  <a:lnTo>
                    <a:pt x="2822" y="1643"/>
                  </a:lnTo>
                  <a:lnTo>
                    <a:pt x="2823" y="1647"/>
                  </a:lnTo>
                  <a:lnTo>
                    <a:pt x="2829" y="1647"/>
                  </a:lnTo>
                  <a:lnTo>
                    <a:pt x="2833" y="1651"/>
                  </a:lnTo>
                  <a:lnTo>
                    <a:pt x="2834" y="1656"/>
                  </a:lnTo>
                  <a:lnTo>
                    <a:pt x="2833" y="1660"/>
                  </a:lnTo>
                  <a:lnTo>
                    <a:pt x="2829" y="1665"/>
                  </a:lnTo>
                  <a:lnTo>
                    <a:pt x="2826" y="1665"/>
                  </a:lnTo>
                  <a:lnTo>
                    <a:pt x="2826" y="1664"/>
                  </a:lnTo>
                  <a:lnTo>
                    <a:pt x="2823" y="1665"/>
                  </a:lnTo>
                  <a:lnTo>
                    <a:pt x="2819" y="1669"/>
                  </a:lnTo>
                  <a:lnTo>
                    <a:pt x="2816" y="1676"/>
                  </a:lnTo>
                  <a:lnTo>
                    <a:pt x="2812" y="1680"/>
                  </a:lnTo>
                  <a:lnTo>
                    <a:pt x="2817" y="1680"/>
                  </a:lnTo>
                  <a:lnTo>
                    <a:pt x="2825" y="1674"/>
                  </a:lnTo>
                  <a:lnTo>
                    <a:pt x="2833" y="1674"/>
                  </a:lnTo>
                  <a:lnTo>
                    <a:pt x="2836" y="1669"/>
                  </a:lnTo>
                  <a:lnTo>
                    <a:pt x="2839" y="1669"/>
                  </a:lnTo>
                  <a:lnTo>
                    <a:pt x="2842" y="1669"/>
                  </a:lnTo>
                  <a:lnTo>
                    <a:pt x="2844" y="1672"/>
                  </a:lnTo>
                  <a:lnTo>
                    <a:pt x="2842" y="1676"/>
                  </a:lnTo>
                  <a:lnTo>
                    <a:pt x="2840" y="1677"/>
                  </a:lnTo>
                  <a:lnTo>
                    <a:pt x="2809" y="1688"/>
                  </a:lnTo>
                  <a:lnTo>
                    <a:pt x="2763" y="1699"/>
                  </a:lnTo>
                  <a:lnTo>
                    <a:pt x="2765" y="1696"/>
                  </a:lnTo>
                  <a:lnTo>
                    <a:pt x="2772" y="1694"/>
                  </a:lnTo>
                  <a:lnTo>
                    <a:pt x="2775" y="1692"/>
                  </a:lnTo>
                  <a:lnTo>
                    <a:pt x="2777" y="1688"/>
                  </a:lnTo>
                  <a:lnTo>
                    <a:pt x="2777" y="1684"/>
                  </a:lnTo>
                  <a:lnTo>
                    <a:pt x="2775" y="1684"/>
                  </a:lnTo>
                  <a:lnTo>
                    <a:pt x="2775" y="1688"/>
                  </a:lnTo>
                  <a:lnTo>
                    <a:pt x="2773" y="1691"/>
                  </a:lnTo>
                  <a:lnTo>
                    <a:pt x="2770" y="1691"/>
                  </a:lnTo>
                  <a:lnTo>
                    <a:pt x="2770" y="1676"/>
                  </a:lnTo>
                  <a:lnTo>
                    <a:pt x="2769" y="1674"/>
                  </a:lnTo>
                  <a:lnTo>
                    <a:pt x="2767" y="1680"/>
                  </a:lnTo>
                  <a:lnTo>
                    <a:pt x="2765" y="1680"/>
                  </a:lnTo>
                  <a:lnTo>
                    <a:pt x="2756" y="1662"/>
                  </a:lnTo>
                  <a:lnTo>
                    <a:pt x="2754" y="1665"/>
                  </a:lnTo>
                  <a:lnTo>
                    <a:pt x="2759" y="1679"/>
                  </a:lnTo>
                  <a:lnTo>
                    <a:pt x="2759" y="1684"/>
                  </a:lnTo>
                  <a:lnTo>
                    <a:pt x="2762" y="1688"/>
                  </a:lnTo>
                  <a:lnTo>
                    <a:pt x="2762" y="1691"/>
                  </a:lnTo>
                  <a:lnTo>
                    <a:pt x="2761" y="1692"/>
                  </a:lnTo>
                  <a:lnTo>
                    <a:pt x="2744" y="1699"/>
                  </a:lnTo>
                  <a:lnTo>
                    <a:pt x="2742" y="1702"/>
                  </a:lnTo>
                  <a:lnTo>
                    <a:pt x="2745" y="1702"/>
                  </a:lnTo>
                  <a:lnTo>
                    <a:pt x="2747" y="1706"/>
                  </a:lnTo>
                  <a:lnTo>
                    <a:pt x="2744" y="1709"/>
                  </a:lnTo>
                  <a:lnTo>
                    <a:pt x="2720" y="1714"/>
                  </a:lnTo>
                  <a:lnTo>
                    <a:pt x="2716" y="1714"/>
                  </a:lnTo>
                  <a:lnTo>
                    <a:pt x="2715" y="1710"/>
                  </a:lnTo>
                  <a:lnTo>
                    <a:pt x="2716" y="1706"/>
                  </a:lnTo>
                  <a:lnTo>
                    <a:pt x="2715" y="1702"/>
                  </a:lnTo>
                  <a:lnTo>
                    <a:pt x="2710" y="1705"/>
                  </a:lnTo>
                  <a:lnTo>
                    <a:pt x="2702" y="1701"/>
                  </a:lnTo>
                  <a:lnTo>
                    <a:pt x="2701" y="1694"/>
                  </a:lnTo>
                  <a:lnTo>
                    <a:pt x="2697" y="1691"/>
                  </a:lnTo>
                  <a:lnTo>
                    <a:pt x="2698" y="1688"/>
                  </a:lnTo>
                  <a:lnTo>
                    <a:pt x="2701" y="1688"/>
                  </a:lnTo>
                  <a:lnTo>
                    <a:pt x="2701" y="1684"/>
                  </a:lnTo>
                  <a:lnTo>
                    <a:pt x="2697" y="1688"/>
                  </a:lnTo>
                  <a:lnTo>
                    <a:pt x="2697" y="1694"/>
                  </a:lnTo>
                  <a:lnTo>
                    <a:pt x="2695" y="1696"/>
                  </a:lnTo>
                  <a:lnTo>
                    <a:pt x="2694" y="1699"/>
                  </a:lnTo>
                  <a:lnTo>
                    <a:pt x="2688" y="1694"/>
                  </a:lnTo>
                  <a:lnTo>
                    <a:pt x="2687" y="1694"/>
                  </a:lnTo>
                  <a:lnTo>
                    <a:pt x="2687" y="1701"/>
                  </a:lnTo>
                  <a:lnTo>
                    <a:pt x="2690" y="1702"/>
                  </a:lnTo>
                  <a:lnTo>
                    <a:pt x="2690" y="1705"/>
                  </a:lnTo>
                  <a:lnTo>
                    <a:pt x="2678" y="1714"/>
                  </a:lnTo>
                  <a:lnTo>
                    <a:pt x="2673" y="1718"/>
                  </a:lnTo>
                  <a:lnTo>
                    <a:pt x="2665" y="1721"/>
                  </a:lnTo>
                  <a:lnTo>
                    <a:pt x="2656" y="1721"/>
                  </a:lnTo>
                  <a:lnTo>
                    <a:pt x="2656" y="1722"/>
                  </a:lnTo>
                  <a:lnTo>
                    <a:pt x="2653" y="1725"/>
                  </a:lnTo>
                  <a:lnTo>
                    <a:pt x="2653" y="1726"/>
                  </a:lnTo>
                  <a:lnTo>
                    <a:pt x="2663" y="1727"/>
                  </a:lnTo>
                  <a:lnTo>
                    <a:pt x="2673" y="1726"/>
                  </a:lnTo>
                  <a:lnTo>
                    <a:pt x="2677" y="1725"/>
                  </a:lnTo>
                  <a:lnTo>
                    <a:pt x="2684" y="1717"/>
                  </a:lnTo>
                  <a:lnTo>
                    <a:pt x="2695" y="1713"/>
                  </a:lnTo>
                  <a:lnTo>
                    <a:pt x="2701" y="1714"/>
                  </a:lnTo>
                  <a:lnTo>
                    <a:pt x="2699" y="1718"/>
                  </a:lnTo>
                  <a:lnTo>
                    <a:pt x="2697" y="1721"/>
                  </a:lnTo>
                  <a:lnTo>
                    <a:pt x="2670" y="1729"/>
                  </a:lnTo>
                  <a:lnTo>
                    <a:pt x="2652" y="1733"/>
                  </a:lnTo>
                  <a:lnTo>
                    <a:pt x="2623" y="1747"/>
                  </a:lnTo>
                  <a:lnTo>
                    <a:pt x="2605" y="1751"/>
                  </a:lnTo>
                  <a:lnTo>
                    <a:pt x="2541" y="1778"/>
                  </a:lnTo>
                  <a:lnTo>
                    <a:pt x="2495" y="1794"/>
                  </a:lnTo>
                  <a:lnTo>
                    <a:pt x="2492" y="1796"/>
                  </a:lnTo>
                  <a:lnTo>
                    <a:pt x="2470" y="1804"/>
                  </a:lnTo>
                  <a:lnTo>
                    <a:pt x="2448" y="1816"/>
                  </a:lnTo>
                  <a:lnTo>
                    <a:pt x="2446" y="1818"/>
                  </a:lnTo>
                  <a:lnTo>
                    <a:pt x="2443" y="1825"/>
                  </a:lnTo>
                  <a:lnTo>
                    <a:pt x="2443" y="1830"/>
                  </a:lnTo>
                  <a:lnTo>
                    <a:pt x="2441" y="1833"/>
                  </a:lnTo>
                  <a:lnTo>
                    <a:pt x="2432" y="1834"/>
                  </a:lnTo>
                  <a:lnTo>
                    <a:pt x="2421" y="1843"/>
                  </a:lnTo>
                  <a:lnTo>
                    <a:pt x="2407" y="1845"/>
                  </a:lnTo>
                  <a:lnTo>
                    <a:pt x="2405" y="1845"/>
                  </a:lnTo>
                  <a:lnTo>
                    <a:pt x="2403" y="1843"/>
                  </a:lnTo>
                  <a:lnTo>
                    <a:pt x="2399" y="1838"/>
                  </a:lnTo>
                  <a:lnTo>
                    <a:pt x="2397" y="1829"/>
                  </a:lnTo>
                  <a:lnTo>
                    <a:pt x="2396" y="1812"/>
                  </a:lnTo>
                  <a:lnTo>
                    <a:pt x="2393" y="1792"/>
                  </a:lnTo>
                  <a:lnTo>
                    <a:pt x="2395" y="1789"/>
                  </a:lnTo>
                  <a:lnTo>
                    <a:pt x="2405" y="1781"/>
                  </a:lnTo>
                  <a:lnTo>
                    <a:pt x="2403" y="1781"/>
                  </a:lnTo>
                  <a:lnTo>
                    <a:pt x="2393" y="1786"/>
                  </a:lnTo>
                  <a:lnTo>
                    <a:pt x="2389" y="1778"/>
                  </a:lnTo>
                  <a:lnTo>
                    <a:pt x="2389" y="1776"/>
                  </a:lnTo>
                  <a:lnTo>
                    <a:pt x="2395" y="1763"/>
                  </a:lnTo>
                  <a:lnTo>
                    <a:pt x="2396" y="1754"/>
                  </a:lnTo>
                  <a:lnTo>
                    <a:pt x="2395" y="1751"/>
                  </a:lnTo>
                  <a:lnTo>
                    <a:pt x="2392" y="1754"/>
                  </a:lnTo>
                  <a:lnTo>
                    <a:pt x="2391" y="1751"/>
                  </a:lnTo>
                  <a:lnTo>
                    <a:pt x="2393" y="1744"/>
                  </a:lnTo>
                  <a:lnTo>
                    <a:pt x="2392" y="1741"/>
                  </a:lnTo>
                  <a:lnTo>
                    <a:pt x="2389" y="1741"/>
                  </a:lnTo>
                  <a:lnTo>
                    <a:pt x="2385" y="1741"/>
                  </a:lnTo>
                  <a:lnTo>
                    <a:pt x="2386" y="1743"/>
                  </a:lnTo>
                  <a:lnTo>
                    <a:pt x="2389" y="1744"/>
                  </a:lnTo>
                  <a:lnTo>
                    <a:pt x="2389" y="1747"/>
                  </a:lnTo>
                  <a:lnTo>
                    <a:pt x="2386" y="1749"/>
                  </a:lnTo>
                  <a:lnTo>
                    <a:pt x="2386" y="1750"/>
                  </a:lnTo>
                  <a:lnTo>
                    <a:pt x="2392" y="1759"/>
                  </a:lnTo>
                  <a:lnTo>
                    <a:pt x="2391" y="1767"/>
                  </a:lnTo>
                  <a:lnTo>
                    <a:pt x="2386" y="1769"/>
                  </a:lnTo>
                  <a:lnTo>
                    <a:pt x="2386" y="1776"/>
                  </a:lnTo>
                  <a:lnTo>
                    <a:pt x="2382" y="1778"/>
                  </a:lnTo>
                  <a:lnTo>
                    <a:pt x="2378" y="1780"/>
                  </a:lnTo>
                  <a:lnTo>
                    <a:pt x="2375" y="1778"/>
                  </a:lnTo>
                  <a:lnTo>
                    <a:pt x="2370" y="1772"/>
                  </a:lnTo>
                  <a:lnTo>
                    <a:pt x="2363" y="1767"/>
                  </a:lnTo>
                  <a:lnTo>
                    <a:pt x="2356" y="1766"/>
                  </a:lnTo>
                  <a:lnTo>
                    <a:pt x="2352" y="1767"/>
                  </a:lnTo>
                  <a:lnTo>
                    <a:pt x="2349" y="1767"/>
                  </a:lnTo>
                  <a:lnTo>
                    <a:pt x="2349" y="1771"/>
                  </a:lnTo>
                  <a:lnTo>
                    <a:pt x="2347" y="1772"/>
                  </a:lnTo>
                  <a:lnTo>
                    <a:pt x="2357" y="1784"/>
                  </a:lnTo>
                  <a:lnTo>
                    <a:pt x="2366" y="1792"/>
                  </a:lnTo>
                  <a:lnTo>
                    <a:pt x="2385" y="1803"/>
                  </a:lnTo>
                  <a:lnTo>
                    <a:pt x="2386" y="1808"/>
                  </a:lnTo>
                  <a:lnTo>
                    <a:pt x="2386" y="1820"/>
                  </a:lnTo>
                  <a:lnTo>
                    <a:pt x="2381" y="1822"/>
                  </a:lnTo>
                  <a:lnTo>
                    <a:pt x="2377" y="1834"/>
                  </a:lnTo>
                  <a:lnTo>
                    <a:pt x="2372" y="1834"/>
                  </a:lnTo>
                  <a:lnTo>
                    <a:pt x="2357" y="1826"/>
                  </a:lnTo>
                  <a:lnTo>
                    <a:pt x="2346" y="1826"/>
                  </a:lnTo>
                  <a:lnTo>
                    <a:pt x="2343" y="1826"/>
                  </a:lnTo>
                  <a:lnTo>
                    <a:pt x="2342" y="1816"/>
                  </a:lnTo>
                  <a:lnTo>
                    <a:pt x="2339" y="1816"/>
                  </a:lnTo>
                  <a:lnTo>
                    <a:pt x="2339" y="1822"/>
                  </a:lnTo>
                  <a:lnTo>
                    <a:pt x="2338" y="1825"/>
                  </a:lnTo>
                  <a:lnTo>
                    <a:pt x="2342" y="1830"/>
                  </a:lnTo>
                  <a:lnTo>
                    <a:pt x="2349" y="1834"/>
                  </a:lnTo>
                  <a:lnTo>
                    <a:pt x="2356" y="1833"/>
                  </a:lnTo>
                  <a:lnTo>
                    <a:pt x="2370" y="1838"/>
                  </a:lnTo>
                  <a:lnTo>
                    <a:pt x="2370" y="1842"/>
                  </a:lnTo>
                  <a:lnTo>
                    <a:pt x="2361" y="1841"/>
                  </a:lnTo>
                  <a:lnTo>
                    <a:pt x="2360" y="1841"/>
                  </a:lnTo>
                  <a:lnTo>
                    <a:pt x="2360" y="1842"/>
                  </a:lnTo>
                  <a:lnTo>
                    <a:pt x="2368" y="1845"/>
                  </a:lnTo>
                  <a:lnTo>
                    <a:pt x="2381" y="1843"/>
                  </a:lnTo>
                  <a:lnTo>
                    <a:pt x="2385" y="1845"/>
                  </a:lnTo>
                  <a:lnTo>
                    <a:pt x="2383" y="1848"/>
                  </a:lnTo>
                  <a:lnTo>
                    <a:pt x="2381" y="1849"/>
                  </a:lnTo>
                  <a:lnTo>
                    <a:pt x="2363" y="1856"/>
                  </a:lnTo>
                  <a:lnTo>
                    <a:pt x="2361" y="1865"/>
                  </a:lnTo>
                  <a:lnTo>
                    <a:pt x="2349" y="1866"/>
                  </a:lnTo>
                  <a:lnTo>
                    <a:pt x="2339" y="1867"/>
                  </a:lnTo>
                  <a:lnTo>
                    <a:pt x="2338" y="1867"/>
                  </a:lnTo>
                  <a:lnTo>
                    <a:pt x="2336" y="1866"/>
                  </a:lnTo>
                  <a:lnTo>
                    <a:pt x="2333" y="1867"/>
                  </a:lnTo>
                  <a:lnTo>
                    <a:pt x="2330" y="1856"/>
                  </a:lnTo>
                  <a:lnTo>
                    <a:pt x="2325" y="1853"/>
                  </a:lnTo>
                  <a:lnTo>
                    <a:pt x="2311" y="1845"/>
                  </a:lnTo>
                  <a:lnTo>
                    <a:pt x="2303" y="1830"/>
                  </a:lnTo>
                  <a:lnTo>
                    <a:pt x="2302" y="1830"/>
                  </a:lnTo>
                  <a:lnTo>
                    <a:pt x="2302" y="1833"/>
                  </a:lnTo>
                  <a:lnTo>
                    <a:pt x="2302" y="1838"/>
                  </a:lnTo>
                  <a:lnTo>
                    <a:pt x="2300" y="1838"/>
                  </a:lnTo>
                  <a:lnTo>
                    <a:pt x="2293" y="1834"/>
                  </a:lnTo>
                  <a:lnTo>
                    <a:pt x="2300" y="1842"/>
                  </a:lnTo>
                  <a:lnTo>
                    <a:pt x="2311" y="1851"/>
                  </a:lnTo>
                  <a:lnTo>
                    <a:pt x="2318" y="1853"/>
                  </a:lnTo>
                  <a:lnTo>
                    <a:pt x="2322" y="1856"/>
                  </a:lnTo>
                  <a:lnTo>
                    <a:pt x="2332" y="1871"/>
                  </a:lnTo>
                  <a:lnTo>
                    <a:pt x="2331" y="1871"/>
                  </a:lnTo>
                  <a:lnTo>
                    <a:pt x="2310" y="1878"/>
                  </a:lnTo>
                  <a:lnTo>
                    <a:pt x="2300" y="1881"/>
                  </a:lnTo>
                  <a:lnTo>
                    <a:pt x="2285" y="1883"/>
                  </a:lnTo>
                  <a:lnTo>
                    <a:pt x="2246" y="1898"/>
                  </a:lnTo>
                  <a:lnTo>
                    <a:pt x="2235" y="1904"/>
                  </a:lnTo>
                  <a:lnTo>
                    <a:pt x="2214" y="1913"/>
                  </a:lnTo>
                  <a:lnTo>
                    <a:pt x="2202" y="1920"/>
                  </a:lnTo>
                  <a:lnTo>
                    <a:pt x="2161" y="1937"/>
                  </a:lnTo>
                  <a:lnTo>
                    <a:pt x="2115" y="1961"/>
                  </a:lnTo>
                  <a:lnTo>
                    <a:pt x="2073" y="1986"/>
                  </a:lnTo>
                  <a:lnTo>
                    <a:pt x="2057" y="1991"/>
                  </a:lnTo>
                  <a:lnTo>
                    <a:pt x="2053" y="1991"/>
                  </a:lnTo>
                  <a:lnTo>
                    <a:pt x="2053" y="1987"/>
                  </a:lnTo>
                  <a:lnTo>
                    <a:pt x="2053" y="1986"/>
                  </a:lnTo>
                  <a:lnTo>
                    <a:pt x="2060" y="1983"/>
                  </a:lnTo>
                  <a:lnTo>
                    <a:pt x="2076" y="1968"/>
                  </a:lnTo>
                  <a:lnTo>
                    <a:pt x="2082" y="1968"/>
                  </a:lnTo>
                  <a:lnTo>
                    <a:pt x="2089" y="1968"/>
                  </a:lnTo>
                  <a:lnTo>
                    <a:pt x="2097" y="1968"/>
                  </a:lnTo>
                  <a:lnTo>
                    <a:pt x="2098" y="1968"/>
                  </a:lnTo>
                  <a:lnTo>
                    <a:pt x="2098" y="1965"/>
                  </a:lnTo>
                  <a:lnTo>
                    <a:pt x="2098" y="1968"/>
                  </a:lnTo>
                  <a:lnTo>
                    <a:pt x="2096" y="1968"/>
                  </a:lnTo>
                  <a:lnTo>
                    <a:pt x="2087" y="1967"/>
                  </a:lnTo>
                  <a:lnTo>
                    <a:pt x="2082" y="1965"/>
                  </a:lnTo>
                  <a:lnTo>
                    <a:pt x="2076" y="1965"/>
                  </a:lnTo>
                  <a:lnTo>
                    <a:pt x="2068" y="1968"/>
                  </a:lnTo>
                  <a:lnTo>
                    <a:pt x="2060" y="1977"/>
                  </a:lnTo>
                  <a:lnTo>
                    <a:pt x="2051" y="1980"/>
                  </a:lnTo>
                  <a:lnTo>
                    <a:pt x="2047" y="1983"/>
                  </a:lnTo>
                  <a:lnTo>
                    <a:pt x="2044" y="1983"/>
                  </a:lnTo>
                  <a:lnTo>
                    <a:pt x="2040" y="1987"/>
                  </a:lnTo>
                  <a:lnTo>
                    <a:pt x="2040" y="1998"/>
                  </a:lnTo>
                  <a:lnTo>
                    <a:pt x="2037" y="2003"/>
                  </a:lnTo>
                  <a:lnTo>
                    <a:pt x="2001" y="2022"/>
                  </a:lnTo>
                  <a:lnTo>
                    <a:pt x="1978" y="2036"/>
                  </a:lnTo>
                  <a:lnTo>
                    <a:pt x="1972" y="2036"/>
                  </a:lnTo>
                  <a:lnTo>
                    <a:pt x="1965" y="2032"/>
                  </a:lnTo>
                  <a:lnTo>
                    <a:pt x="1950" y="2032"/>
                  </a:lnTo>
                  <a:lnTo>
                    <a:pt x="1944" y="2028"/>
                  </a:lnTo>
                  <a:lnTo>
                    <a:pt x="1942" y="2028"/>
                  </a:lnTo>
                  <a:lnTo>
                    <a:pt x="1933" y="2030"/>
                  </a:lnTo>
                  <a:lnTo>
                    <a:pt x="1932" y="2036"/>
                  </a:lnTo>
                  <a:lnTo>
                    <a:pt x="1934" y="2042"/>
                  </a:lnTo>
                  <a:lnTo>
                    <a:pt x="1936" y="2036"/>
                  </a:lnTo>
                  <a:lnTo>
                    <a:pt x="1940" y="2032"/>
                  </a:lnTo>
                  <a:lnTo>
                    <a:pt x="1953" y="2036"/>
                  </a:lnTo>
                  <a:lnTo>
                    <a:pt x="1954" y="2039"/>
                  </a:lnTo>
                  <a:lnTo>
                    <a:pt x="1956" y="2042"/>
                  </a:lnTo>
                  <a:lnTo>
                    <a:pt x="1956" y="2044"/>
                  </a:lnTo>
                  <a:lnTo>
                    <a:pt x="1946" y="2052"/>
                  </a:lnTo>
                  <a:lnTo>
                    <a:pt x="1921" y="2065"/>
                  </a:lnTo>
                  <a:lnTo>
                    <a:pt x="1879" y="2083"/>
                  </a:lnTo>
                  <a:lnTo>
                    <a:pt x="1854" y="2097"/>
                  </a:lnTo>
                  <a:lnTo>
                    <a:pt x="1852" y="2097"/>
                  </a:lnTo>
                  <a:lnTo>
                    <a:pt x="1852" y="2091"/>
                  </a:lnTo>
                  <a:lnTo>
                    <a:pt x="1851" y="2089"/>
                  </a:lnTo>
                  <a:lnTo>
                    <a:pt x="1847" y="2085"/>
                  </a:lnTo>
                  <a:lnTo>
                    <a:pt x="1850" y="2091"/>
                  </a:lnTo>
                  <a:lnTo>
                    <a:pt x="1847" y="2097"/>
                  </a:lnTo>
                  <a:lnTo>
                    <a:pt x="1843" y="2097"/>
                  </a:lnTo>
                  <a:lnTo>
                    <a:pt x="1836" y="2097"/>
                  </a:lnTo>
                  <a:lnTo>
                    <a:pt x="1832" y="2097"/>
                  </a:lnTo>
                  <a:lnTo>
                    <a:pt x="1830" y="2100"/>
                  </a:lnTo>
                  <a:lnTo>
                    <a:pt x="1830" y="2107"/>
                  </a:lnTo>
                  <a:lnTo>
                    <a:pt x="1829" y="2111"/>
                  </a:lnTo>
                  <a:lnTo>
                    <a:pt x="1776" y="2141"/>
                  </a:lnTo>
                  <a:lnTo>
                    <a:pt x="1771" y="2145"/>
                  </a:lnTo>
                  <a:lnTo>
                    <a:pt x="1769" y="2145"/>
                  </a:lnTo>
                  <a:lnTo>
                    <a:pt x="1769" y="2144"/>
                  </a:lnTo>
                  <a:lnTo>
                    <a:pt x="1782" y="2137"/>
                  </a:lnTo>
                  <a:lnTo>
                    <a:pt x="1786" y="2133"/>
                  </a:lnTo>
                  <a:lnTo>
                    <a:pt x="1779" y="2136"/>
                  </a:lnTo>
                  <a:lnTo>
                    <a:pt x="1779" y="2128"/>
                  </a:lnTo>
                  <a:lnTo>
                    <a:pt x="1772" y="2136"/>
                  </a:lnTo>
                  <a:lnTo>
                    <a:pt x="1755" y="2145"/>
                  </a:lnTo>
                  <a:lnTo>
                    <a:pt x="1754" y="2154"/>
                  </a:lnTo>
                  <a:lnTo>
                    <a:pt x="1749" y="2160"/>
                  </a:lnTo>
                  <a:lnTo>
                    <a:pt x="1743" y="2160"/>
                  </a:lnTo>
                  <a:lnTo>
                    <a:pt x="1737" y="2160"/>
                  </a:lnTo>
                  <a:lnTo>
                    <a:pt x="1729" y="2158"/>
                  </a:lnTo>
                  <a:lnTo>
                    <a:pt x="1724" y="2160"/>
                  </a:lnTo>
                  <a:lnTo>
                    <a:pt x="1723" y="2162"/>
                  </a:lnTo>
                  <a:lnTo>
                    <a:pt x="1723" y="2166"/>
                  </a:lnTo>
                  <a:lnTo>
                    <a:pt x="1729" y="2164"/>
                  </a:lnTo>
                  <a:lnTo>
                    <a:pt x="1729" y="2166"/>
                  </a:lnTo>
                  <a:lnTo>
                    <a:pt x="1727" y="2168"/>
                  </a:lnTo>
                  <a:lnTo>
                    <a:pt x="1688" y="2195"/>
                  </a:lnTo>
                  <a:lnTo>
                    <a:pt x="1674" y="2208"/>
                  </a:lnTo>
                  <a:lnTo>
                    <a:pt x="1669" y="2215"/>
                  </a:lnTo>
                  <a:lnTo>
                    <a:pt x="1663" y="2219"/>
                  </a:lnTo>
                  <a:lnTo>
                    <a:pt x="1659" y="2219"/>
                  </a:lnTo>
                  <a:lnTo>
                    <a:pt x="1657" y="2216"/>
                  </a:lnTo>
                  <a:lnTo>
                    <a:pt x="1649" y="2201"/>
                  </a:lnTo>
                  <a:lnTo>
                    <a:pt x="1643" y="2189"/>
                  </a:lnTo>
                  <a:lnTo>
                    <a:pt x="1641" y="2181"/>
                  </a:lnTo>
                  <a:lnTo>
                    <a:pt x="1638" y="2174"/>
                  </a:lnTo>
                  <a:lnTo>
                    <a:pt x="1630" y="2170"/>
                  </a:lnTo>
                  <a:lnTo>
                    <a:pt x="1626" y="2170"/>
                  </a:lnTo>
                  <a:lnTo>
                    <a:pt x="1613" y="2177"/>
                  </a:lnTo>
                  <a:lnTo>
                    <a:pt x="1611" y="2177"/>
                  </a:lnTo>
                  <a:lnTo>
                    <a:pt x="1608" y="2174"/>
                  </a:lnTo>
                  <a:lnTo>
                    <a:pt x="1611" y="2178"/>
                  </a:lnTo>
                  <a:lnTo>
                    <a:pt x="1613" y="2181"/>
                  </a:lnTo>
                  <a:lnTo>
                    <a:pt x="1627" y="2174"/>
                  </a:lnTo>
                  <a:lnTo>
                    <a:pt x="1632" y="2178"/>
                  </a:lnTo>
                  <a:lnTo>
                    <a:pt x="1633" y="2182"/>
                  </a:lnTo>
                  <a:lnTo>
                    <a:pt x="1636" y="2194"/>
                  </a:lnTo>
                  <a:lnTo>
                    <a:pt x="1634" y="2201"/>
                  </a:lnTo>
                  <a:lnTo>
                    <a:pt x="1636" y="2204"/>
                  </a:lnTo>
                  <a:lnTo>
                    <a:pt x="1638" y="2201"/>
                  </a:lnTo>
                  <a:lnTo>
                    <a:pt x="1640" y="2201"/>
                  </a:lnTo>
                  <a:lnTo>
                    <a:pt x="1641" y="2208"/>
                  </a:lnTo>
                  <a:lnTo>
                    <a:pt x="1648" y="2216"/>
                  </a:lnTo>
                  <a:lnTo>
                    <a:pt x="1648" y="2219"/>
                  </a:lnTo>
                  <a:lnTo>
                    <a:pt x="1646" y="2226"/>
                  </a:lnTo>
                  <a:lnTo>
                    <a:pt x="1638" y="2235"/>
                  </a:lnTo>
                  <a:lnTo>
                    <a:pt x="1622" y="2245"/>
                  </a:lnTo>
                  <a:lnTo>
                    <a:pt x="1612" y="2257"/>
                  </a:lnTo>
                  <a:lnTo>
                    <a:pt x="1602" y="2265"/>
                  </a:lnTo>
                  <a:lnTo>
                    <a:pt x="1576" y="2294"/>
                  </a:lnTo>
                  <a:lnTo>
                    <a:pt x="1531" y="2355"/>
                  </a:lnTo>
                  <a:lnTo>
                    <a:pt x="1520" y="2365"/>
                  </a:lnTo>
                  <a:lnTo>
                    <a:pt x="1506" y="2388"/>
                  </a:lnTo>
                  <a:lnTo>
                    <a:pt x="1491" y="2407"/>
                  </a:lnTo>
                  <a:lnTo>
                    <a:pt x="1489" y="2410"/>
                  </a:lnTo>
                  <a:lnTo>
                    <a:pt x="1480" y="2425"/>
                  </a:lnTo>
                  <a:lnTo>
                    <a:pt x="1474" y="2429"/>
                  </a:lnTo>
                  <a:lnTo>
                    <a:pt x="1470" y="2429"/>
                  </a:lnTo>
                  <a:lnTo>
                    <a:pt x="1464" y="2420"/>
                  </a:lnTo>
                  <a:lnTo>
                    <a:pt x="1463" y="2417"/>
                  </a:lnTo>
                  <a:lnTo>
                    <a:pt x="1460" y="2413"/>
                  </a:lnTo>
                  <a:lnTo>
                    <a:pt x="1462" y="2410"/>
                  </a:lnTo>
                  <a:lnTo>
                    <a:pt x="1453" y="2395"/>
                  </a:lnTo>
                  <a:lnTo>
                    <a:pt x="1439" y="2385"/>
                  </a:lnTo>
                  <a:lnTo>
                    <a:pt x="1428" y="2380"/>
                  </a:lnTo>
                  <a:lnTo>
                    <a:pt x="1427" y="2377"/>
                  </a:lnTo>
                  <a:lnTo>
                    <a:pt x="1425" y="2373"/>
                  </a:lnTo>
                  <a:lnTo>
                    <a:pt x="1423" y="2368"/>
                  </a:lnTo>
                  <a:lnTo>
                    <a:pt x="1423" y="2369"/>
                  </a:lnTo>
                  <a:lnTo>
                    <a:pt x="1423" y="2372"/>
                  </a:lnTo>
                  <a:lnTo>
                    <a:pt x="1422" y="2372"/>
                  </a:lnTo>
                  <a:lnTo>
                    <a:pt x="1419" y="2361"/>
                  </a:lnTo>
                  <a:lnTo>
                    <a:pt x="1417" y="2357"/>
                  </a:lnTo>
                  <a:lnTo>
                    <a:pt x="1420" y="2350"/>
                  </a:lnTo>
                  <a:lnTo>
                    <a:pt x="1420" y="2339"/>
                  </a:lnTo>
                  <a:lnTo>
                    <a:pt x="1417" y="2328"/>
                  </a:lnTo>
                  <a:lnTo>
                    <a:pt x="1412" y="2320"/>
                  </a:lnTo>
                  <a:lnTo>
                    <a:pt x="1403" y="2320"/>
                  </a:lnTo>
                  <a:lnTo>
                    <a:pt x="1394" y="2314"/>
                  </a:lnTo>
                  <a:lnTo>
                    <a:pt x="1387" y="2313"/>
                  </a:lnTo>
                  <a:lnTo>
                    <a:pt x="1375" y="2315"/>
                  </a:lnTo>
                  <a:lnTo>
                    <a:pt x="1369" y="2323"/>
                  </a:lnTo>
                  <a:lnTo>
                    <a:pt x="1364" y="2325"/>
                  </a:lnTo>
                  <a:lnTo>
                    <a:pt x="1356" y="2327"/>
                  </a:lnTo>
                  <a:lnTo>
                    <a:pt x="1344" y="2332"/>
                  </a:lnTo>
                  <a:lnTo>
                    <a:pt x="1339" y="2338"/>
                  </a:lnTo>
                  <a:lnTo>
                    <a:pt x="1348" y="2338"/>
                  </a:lnTo>
                  <a:lnTo>
                    <a:pt x="1369" y="2331"/>
                  </a:lnTo>
                  <a:lnTo>
                    <a:pt x="1394" y="2325"/>
                  </a:lnTo>
                  <a:lnTo>
                    <a:pt x="1398" y="2325"/>
                  </a:lnTo>
                  <a:lnTo>
                    <a:pt x="1399" y="2336"/>
                  </a:lnTo>
                  <a:lnTo>
                    <a:pt x="1405" y="2360"/>
                  </a:lnTo>
                  <a:lnTo>
                    <a:pt x="1405" y="2373"/>
                  </a:lnTo>
                  <a:lnTo>
                    <a:pt x="1412" y="2395"/>
                  </a:lnTo>
                  <a:lnTo>
                    <a:pt x="1413" y="2410"/>
                  </a:lnTo>
                  <a:lnTo>
                    <a:pt x="1413" y="2417"/>
                  </a:lnTo>
                  <a:lnTo>
                    <a:pt x="1416" y="2426"/>
                  </a:lnTo>
                  <a:lnTo>
                    <a:pt x="1420" y="2431"/>
                  </a:lnTo>
                  <a:lnTo>
                    <a:pt x="1425" y="2435"/>
                  </a:lnTo>
                  <a:lnTo>
                    <a:pt x="1442" y="2435"/>
                  </a:lnTo>
                  <a:lnTo>
                    <a:pt x="1447" y="2440"/>
                  </a:lnTo>
                  <a:lnTo>
                    <a:pt x="1453" y="2440"/>
                  </a:lnTo>
                  <a:lnTo>
                    <a:pt x="1455" y="2444"/>
                  </a:lnTo>
                  <a:lnTo>
                    <a:pt x="1460" y="2440"/>
                  </a:lnTo>
                  <a:lnTo>
                    <a:pt x="1462" y="2443"/>
                  </a:lnTo>
                  <a:lnTo>
                    <a:pt x="1463" y="2444"/>
                  </a:lnTo>
                  <a:lnTo>
                    <a:pt x="1460" y="2452"/>
                  </a:lnTo>
                  <a:lnTo>
                    <a:pt x="1462" y="2459"/>
                  </a:lnTo>
                  <a:lnTo>
                    <a:pt x="1460" y="2463"/>
                  </a:lnTo>
                  <a:lnTo>
                    <a:pt x="1419" y="2506"/>
                  </a:lnTo>
                  <a:lnTo>
                    <a:pt x="1408" y="2519"/>
                  </a:lnTo>
                  <a:lnTo>
                    <a:pt x="1394" y="2538"/>
                  </a:lnTo>
                  <a:lnTo>
                    <a:pt x="1391" y="2549"/>
                  </a:lnTo>
                  <a:lnTo>
                    <a:pt x="1391" y="2560"/>
                  </a:lnTo>
                  <a:lnTo>
                    <a:pt x="1388" y="2563"/>
                  </a:lnTo>
                  <a:lnTo>
                    <a:pt x="1378" y="2559"/>
                  </a:lnTo>
                  <a:lnTo>
                    <a:pt x="1367" y="2556"/>
                  </a:lnTo>
                  <a:lnTo>
                    <a:pt x="1359" y="2552"/>
                  </a:lnTo>
                  <a:lnTo>
                    <a:pt x="1359" y="2551"/>
                  </a:lnTo>
                  <a:lnTo>
                    <a:pt x="1362" y="2550"/>
                  </a:lnTo>
                  <a:lnTo>
                    <a:pt x="1369" y="2550"/>
                  </a:lnTo>
                  <a:lnTo>
                    <a:pt x="1374" y="2547"/>
                  </a:lnTo>
                  <a:lnTo>
                    <a:pt x="1364" y="2544"/>
                  </a:lnTo>
                  <a:lnTo>
                    <a:pt x="1359" y="2546"/>
                  </a:lnTo>
                  <a:lnTo>
                    <a:pt x="1352" y="2552"/>
                  </a:lnTo>
                  <a:lnTo>
                    <a:pt x="1345" y="2552"/>
                  </a:lnTo>
                  <a:lnTo>
                    <a:pt x="1337" y="2560"/>
                  </a:lnTo>
                  <a:lnTo>
                    <a:pt x="1321" y="2568"/>
                  </a:lnTo>
                  <a:lnTo>
                    <a:pt x="1316" y="2577"/>
                  </a:lnTo>
                  <a:lnTo>
                    <a:pt x="1309" y="2579"/>
                  </a:lnTo>
                  <a:lnTo>
                    <a:pt x="1310" y="2581"/>
                  </a:lnTo>
                  <a:lnTo>
                    <a:pt x="1316" y="2581"/>
                  </a:lnTo>
                  <a:lnTo>
                    <a:pt x="1317" y="2583"/>
                  </a:lnTo>
                  <a:lnTo>
                    <a:pt x="1306" y="2591"/>
                  </a:lnTo>
                  <a:lnTo>
                    <a:pt x="1298" y="2605"/>
                  </a:lnTo>
                  <a:lnTo>
                    <a:pt x="1292" y="2609"/>
                  </a:lnTo>
                  <a:lnTo>
                    <a:pt x="1289" y="2605"/>
                  </a:lnTo>
                  <a:lnTo>
                    <a:pt x="1279" y="2591"/>
                  </a:lnTo>
                  <a:lnTo>
                    <a:pt x="1264" y="2575"/>
                  </a:lnTo>
                  <a:lnTo>
                    <a:pt x="1264" y="2559"/>
                  </a:lnTo>
                  <a:lnTo>
                    <a:pt x="1262" y="2552"/>
                  </a:lnTo>
                  <a:lnTo>
                    <a:pt x="1260" y="2549"/>
                  </a:lnTo>
                  <a:lnTo>
                    <a:pt x="1260" y="2567"/>
                  </a:lnTo>
                  <a:lnTo>
                    <a:pt x="1263" y="2579"/>
                  </a:lnTo>
                  <a:lnTo>
                    <a:pt x="1270" y="2587"/>
                  </a:lnTo>
                  <a:lnTo>
                    <a:pt x="1278" y="2605"/>
                  </a:lnTo>
                  <a:lnTo>
                    <a:pt x="1288" y="2612"/>
                  </a:lnTo>
                  <a:lnTo>
                    <a:pt x="1296" y="2612"/>
                  </a:lnTo>
                  <a:lnTo>
                    <a:pt x="1305" y="2605"/>
                  </a:lnTo>
                  <a:lnTo>
                    <a:pt x="1325" y="2597"/>
                  </a:lnTo>
                  <a:lnTo>
                    <a:pt x="1339" y="2583"/>
                  </a:lnTo>
                  <a:lnTo>
                    <a:pt x="1345" y="2579"/>
                  </a:lnTo>
                  <a:lnTo>
                    <a:pt x="1353" y="2579"/>
                  </a:lnTo>
                  <a:lnTo>
                    <a:pt x="1353" y="2583"/>
                  </a:lnTo>
                  <a:lnTo>
                    <a:pt x="1350" y="2587"/>
                  </a:lnTo>
                  <a:lnTo>
                    <a:pt x="1331" y="2609"/>
                  </a:lnTo>
                  <a:lnTo>
                    <a:pt x="1307" y="2634"/>
                  </a:lnTo>
                  <a:lnTo>
                    <a:pt x="1298" y="2642"/>
                  </a:lnTo>
                  <a:lnTo>
                    <a:pt x="1293" y="2649"/>
                  </a:lnTo>
                  <a:lnTo>
                    <a:pt x="1271" y="2668"/>
                  </a:lnTo>
                  <a:lnTo>
                    <a:pt x="1262" y="2680"/>
                  </a:lnTo>
                  <a:lnTo>
                    <a:pt x="1239" y="2703"/>
                  </a:lnTo>
                  <a:lnTo>
                    <a:pt x="1237" y="2703"/>
                  </a:lnTo>
                  <a:lnTo>
                    <a:pt x="1232" y="2703"/>
                  </a:lnTo>
                  <a:lnTo>
                    <a:pt x="1232" y="2705"/>
                  </a:lnTo>
                  <a:lnTo>
                    <a:pt x="1234" y="2706"/>
                  </a:lnTo>
                  <a:lnTo>
                    <a:pt x="1232" y="2711"/>
                  </a:lnTo>
                  <a:lnTo>
                    <a:pt x="1220" y="2720"/>
                  </a:lnTo>
                  <a:lnTo>
                    <a:pt x="1217" y="2717"/>
                  </a:lnTo>
                  <a:lnTo>
                    <a:pt x="1214" y="2720"/>
                  </a:lnTo>
                  <a:lnTo>
                    <a:pt x="1210" y="2721"/>
                  </a:lnTo>
                  <a:lnTo>
                    <a:pt x="1212" y="2725"/>
                  </a:lnTo>
                  <a:lnTo>
                    <a:pt x="1210" y="2729"/>
                  </a:lnTo>
                  <a:lnTo>
                    <a:pt x="1193" y="2743"/>
                  </a:lnTo>
                  <a:lnTo>
                    <a:pt x="1189" y="2743"/>
                  </a:lnTo>
                  <a:lnTo>
                    <a:pt x="1185" y="2742"/>
                  </a:lnTo>
                  <a:lnTo>
                    <a:pt x="1184" y="2751"/>
                  </a:lnTo>
                  <a:lnTo>
                    <a:pt x="1168" y="2766"/>
                  </a:lnTo>
                  <a:lnTo>
                    <a:pt x="1128" y="2807"/>
                  </a:lnTo>
                  <a:lnTo>
                    <a:pt x="1123" y="2811"/>
                  </a:lnTo>
                  <a:lnTo>
                    <a:pt x="1118" y="2807"/>
                  </a:lnTo>
                  <a:lnTo>
                    <a:pt x="1117" y="2807"/>
                  </a:lnTo>
                  <a:lnTo>
                    <a:pt x="1115" y="2811"/>
                  </a:lnTo>
                  <a:lnTo>
                    <a:pt x="1117" y="2819"/>
                  </a:lnTo>
                  <a:lnTo>
                    <a:pt x="1117" y="2822"/>
                  </a:lnTo>
                  <a:lnTo>
                    <a:pt x="1106" y="2837"/>
                  </a:lnTo>
                  <a:lnTo>
                    <a:pt x="1103" y="2837"/>
                  </a:lnTo>
                  <a:lnTo>
                    <a:pt x="1096" y="2837"/>
                  </a:lnTo>
                  <a:lnTo>
                    <a:pt x="1093" y="2837"/>
                  </a:lnTo>
                  <a:lnTo>
                    <a:pt x="1093" y="2832"/>
                  </a:lnTo>
                  <a:lnTo>
                    <a:pt x="1096" y="2825"/>
                  </a:lnTo>
                  <a:lnTo>
                    <a:pt x="1088" y="2830"/>
                  </a:lnTo>
                  <a:lnTo>
                    <a:pt x="1084" y="2836"/>
                  </a:lnTo>
                  <a:lnTo>
                    <a:pt x="1082" y="2841"/>
                  </a:lnTo>
                  <a:lnTo>
                    <a:pt x="1085" y="2844"/>
                  </a:lnTo>
                  <a:lnTo>
                    <a:pt x="1090" y="2845"/>
                  </a:lnTo>
                  <a:lnTo>
                    <a:pt x="1092" y="2847"/>
                  </a:lnTo>
                  <a:lnTo>
                    <a:pt x="1084" y="2866"/>
                  </a:lnTo>
                  <a:lnTo>
                    <a:pt x="1081" y="2867"/>
                  </a:lnTo>
                  <a:lnTo>
                    <a:pt x="1074" y="2867"/>
                  </a:lnTo>
                  <a:lnTo>
                    <a:pt x="1061" y="2862"/>
                  </a:lnTo>
                  <a:lnTo>
                    <a:pt x="1056" y="2859"/>
                  </a:lnTo>
                  <a:lnTo>
                    <a:pt x="1043" y="2863"/>
                  </a:lnTo>
                  <a:lnTo>
                    <a:pt x="1029" y="2863"/>
                  </a:lnTo>
                  <a:lnTo>
                    <a:pt x="1028" y="2858"/>
                  </a:lnTo>
                  <a:lnTo>
                    <a:pt x="1029" y="2841"/>
                  </a:lnTo>
                  <a:lnTo>
                    <a:pt x="1027" y="2845"/>
                  </a:lnTo>
                  <a:lnTo>
                    <a:pt x="1024" y="2854"/>
                  </a:lnTo>
                  <a:lnTo>
                    <a:pt x="1025" y="2863"/>
                  </a:lnTo>
                  <a:lnTo>
                    <a:pt x="1018" y="2871"/>
                  </a:lnTo>
                  <a:lnTo>
                    <a:pt x="1022" y="2874"/>
                  </a:lnTo>
                  <a:lnTo>
                    <a:pt x="1028" y="2870"/>
                  </a:lnTo>
                  <a:lnTo>
                    <a:pt x="1035" y="2870"/>
                  </a:lnTo>
                  <a:lnTo>
                    <a:pt x="1056" y="2874"/>
                  </a:lnTo>
                  <a:lnTo>
                    <a:pt x="1063" y="2878"/>
                  </a:lnTo>
                  <a:lnTo>
                    <a:pt x="1063" y="2886"/>
                  </a:lnTo>
                  <a:lnTo>
                    <a:pt x="1067" y="2890"/>
                  </a:lnTo>
                  <a:lnTo>
                    <a:pt x="1064" y="2896"/>
                  </a:lnTo>
                  <a:lnTo>
                    <a:pt x="1056" y="2900"/>
                  </a:lnTo>
                  <a:lnTo>
                    <a:pt x="1050" y="2904"/>
                  </a:lnTo>
                  <a:lnTo>
                    <a:pt x="1043" y="2908"/>
                  </a:lnTo>
                  <a:lnTo>
                    <a:pt x="1031" y="2919"/>
                  </a:lnTo>
                  <a:lnTo>
                    <a:pt x="1028" y="2925"/>
                  </a:lnTo>
                  <a:lnTo>
                    <a:pt x="1019" y="2933"/>
                  </a:lnTo>
                  <a:lnTo>
                    <a:pt x="1022" y="2941"/>
                  </a:lnTo>
                  <a:lnTo>
                    <a:pt x="1021" y="2945"/>
                  </a:lnTo>
                  <a:lnTo>
                    <a:pt x="1018" y="2957"/>
                  </a:lnTo>
                  <a:lnTo>
                    <a:pt x="1014" y="2961"/>
                  </a:lnTo>
                  <a:lnTo>
                    <a:pt x="1008" y="2965"/>
                  </a:lnTo>
                  <a:lnTo>
                    <a:pt x="1000" y="2967"/>
                  </a:lnTo>
                  <a:lnTo>
                    <a:pt x="992" y="2959"/>
                  </a:lnTo>
                  <a:lnTo>
                    <a:pt x="990" y="2971"/>
                  </a:lnTo>
                  <a:lnTo>
                    <a:pt x="985" y="2979"/>
                  </a:lnTo>
                  <a:lnTo>
                    <a:pt x="982" y="2991"/>
                  </a:lnTo>
                  <a:lnTo>
                    <a:pt x="974" y="3009"/>
                  </a:lnTo>
                  <a:lnTo>
                    <a:pt x="982" y="3002"/>
                  </a:lnTo>
                  <a:lnTo>
                    <a:pt x="983" y="3004"/>
                  </a:lnTo>
                  <a:lnTo>
                    <a:pt x="986" y="3006"/>
                  </a:lnTo>
                  <a:lnTo>
                    <a:pt x="990" y="2998"/>
                  </a:lnTo>
                  <a:lnTo>
                    <a:pt x="993" y="2998"/>
                  </a:lnTo>
                  <a:lnTo>
                    <a:pt x="996" y="2998"/>
                  </a:lnTo>
                  <a:lnTo>
                    <a:pt x="1000" y="2994"/>
                  </a:lnTo>
                  <a:lnTo>
                    <a:pt x="1002" y="2994"/>
                  </a:lnTo>
                  <a:lnTo>
                    <a:pt x="996" y="3018"/>
                  </a:lnTo>
                  <a:lnTo>
                    <a:pt x="996" y="3028"/>
                  </a:lnTo>
                  <a:lnTo>
                    <a:pt x="997" y="3036"/>
                  </a:lnTo>
                  <a:lnTo>
                    <a:pt x="996" y="3043"/>
                  </a:lnTo>
                  <a:lnTo>
                    <a:pt x="992" y="3045"/>
                  </a:lnTo>
                  <a:lnTo>
                    <a:pt x="989" y="3041"/>
                  </a:lnTo>
                  <a:lnTo>
                    <a:pt x="985" y="3043"/>
                  </a:lnTo>
                  <a:lnTo>
                    <a:pt x="980" y="3045"/>
                  </a:lnTo>
                  <a:lnTo>
                    <a:pt x="977" y="3051"/>
                  </a:lnTo>
                  <a:lnTo>
                    <a:pt x="969" y="3054"/>
                  </a:lnTo>
                  <a:lnTo>
                    <a:pt x="963" y="3057"/>
                  </a:lnTo>
                  <a:lnTo>
                    <a:pt x="958" y="3057"/>
                  </a:lnTo>
                  <a:lnTo>
                    <a:pt x="949" y="3054"/>
                  </a:lnTo>
                  <a:lnTo>
                    <a:pt x="940" y="3051"/>
                  </a:lnTo>
                  <a:lnTo>
                    <a:pt x="922" y="3049"/>
                  </a:lnTo>
                  <a:lnTo>
                    <a:pt x="908" y="3036"/>
                  </a:lnTo>
                  <a:lnTo>
                    <a:pt x="899" y="3032"/>
                  </a:lnTo>
                  <a:lnTo>
                    <a:pt x="903" y="3043"/>
                  </a:lnTo>
                  <a:lnTo>
                    <a:pt x="914" y="3049"/>
                  </a:lnTo>
                  <a:lnTo>
                    <a:pt x="933" y="3054"/>
                  </a:lnTo>
                  <a:lnTo>
                    <a:pt x="947" y="3064"/>
                  </a:lnTo>
                  <a:lnTo>
                    <a:pt x="963" y="3068"/>
                  </a:lnTo>
                  <a:lnTo>
                    <a:pt x="972" y="3066"/>
                  </a:lnTo>
                  <a:lnTo>
                    <a:pt x="974" y="3068"/>
                  </a:lnTo>
                  <a:lnTo>
                    <a:pt x="974" y="3069"/>
                  </a:lnTo>
                  <a:lnTo>
                    <a:pt x="971" y="3073"/>
                  </a:lnTo>
                  <a:lnTo>
                    <a:pt x="936" y="3106"/>
                  </a:lnTo>
                  <a:lnTo>
                    <a:pt x="933" y="3107"/>
                  </a:lnTo>
                  <a:lnTo>
                    <a:pt x="930" y="3103"/>
                  </a:lnTo>
                  <a:lnTo>
                    <a:pt x="926" y="3085"/>
                  </a:lnTo>
                  <a:lnTo>
                    <a:pt x="922" y="3081"/>
                  </a:lnTo>
                  <a:lnTo>
                    <a:pt x="900" y="3064"/>
                  </a:lnTo>
                  <a:lnTo>
                    <a:pt x="885" y="3044"/>
                  </a:lnTo>
                  <a:lnTo>
                    <a:pt x="883" y="3041"/>
                  </a:lnTo>
                  <a:lnTo>
                    <a:pt x="883" y="3036"/>
                  </a:lnTo>
                  <a:lnTo>
                    <a:pt x="878" y="3036"/>
                  </a:lnTo>
                  <a:lnTo>
                    <a:pt x="871" y="3045"/>
                  </a:lnTo>
                  <a:lnTo>
                    <a:pt x="871" y="3049"/>
                  </a:lnTo>
                  <a:lnTo>
                    <a:pt x="883" y="3054"/>
                  </a:lnTo>
                  <a:lnTo>
                    <a:pt x="900" y="3083"/>
                  </a:lnTo>
                  <a:lnTo>
                    <a:pt x="907" y="3090"/>
                  </a:lnTo>
                  <a:lnTo>
                    <a:pt x="914" y="3099"/>
                  </a:lnTo>
                  <a:lnTo>
                    <a:pt x="919" y="3099"/>
                  </a:lnTo>
                  <a:lnTo>
                    <a:pt x="919" y="3102"/>
                  </a:lnTo>
                  <a:lnTo>
                    <a:pt x="921" y="3106"/>
                  </a:lnTo>
                  <a:lnTo>
                    <a:pt x="915" y="3113"/>
                  </a:lnTo>
                  <a:lnTo>
                    <a:pt x="914" y="3113"/>
                  </a:lnTo>
                  <a:lnTo>
                    <a:pt x="913" y="3111"/>
                  </a:lnTo>
                  <a:lnTo>
                    <a:pt x="910" y="3111"/>
                  </a:lnTo>
                  <a:lnTo>
                    <a:pt x="904" y="3114"/>
                  </a:lnTo>
                  <a:lnTo>
                    <a:pt x="905" y="3114"/>
                  </a:lnTo>
                  <a:lnTo>
                    <a:pt x="910" y="3118"/>
                  </a:lnTo>
                  <a:lnTo>
                    <a:pt x="911" y="3118"/>
                  </a:lnTo>
                  <a:lnTo>
                    <a:pt x="904" y="3122"/>
                  </a:lnTo>
                  <a:lnTo>
                    <a:pt x="854" y="3128"/>
                  </a:lnTo>
                  <a:lnTo>
                    <a:pt x="816" y="3136"/>
                  </a:lnTo>
                  <a:lnTo>
                    <a:pt x="804" y="3136"/>
                  </a:lnTo>
                  <a:lnTo>
                    <a:pt x="801" y="3132"/>
                  </a:lnTo>
                  <a:lnTo>
                    <a:pt x="810" y="3128"/>
                  </a:lnTo>
                  <a:lnTo>
                    <a:pt x="805" y="3124"/>
                  </a:lnTo>
                  <a:lnTo>
                    <a:pt x="797" y="3111"/>
                  </a:lnTo>
                  <a:lnTo>
                    <a:pt x="793" y="3095"/>
                  </a:lnTo>
                  <a:lnTo>
                    <a:pt x="787" y="3089"/>
                  </a:lnTo>
                  <a:lnTo>
                    <a:pt x="787" y="3085"/>
                  </a:lnTo>
                  <a:lnTo>
                    <a:pt x="790" y="3073"/>
                  </a:lnTo>
                  <a:lnTo>
                    <a:pt x="796" y="3063"/>
                  </a:lnTo>
                  <a:lnTo>
                    <a:pt x="813" y="3051"/>
                  </a:lnTo>
                  <a:lnTo>
                    <a:pt x="814" y="3049"/>
                  </a:lnTo>
                  <a:lnTo>
                    <a:pt x="813" y="3036"/>
                  </a:lnTo>
                  <a:lnTo>
                    <a:pt x="815" y="3032"/>
                  </a:lnTo>
                  <a:lnTo>
                    <a:pt x="818" y="3031"/>
                  </a:lnTo>
                  <a:lnTo>
                    <a:pt x="835" y="3031"/>
                  </a:lnTo>
                  <a:lnTo>
                    <a:pt x="838" y="3028"/>
                  </a:lnTo>
                  <a:lnTo>
                    <a:pt x="839" y="3027"/>
                  </a:lnTo>
                  <a:lnTo>
                    <a:pt x="836" y="3020"/>
                  </a:lnTo>
                  <a:lnTo>
                    <a:pt x="828" y="3014"/>
                  </a:lnTo>
                  <a:lnTo>
                    <a:pt x="824" y="3008"/>
                  </a:lnTo>
                  <a:lnTo>
                    <a:pt x="819" y="2996"/>
                  </a:lnTo>
                  <a:lnTo>
                    <a:pt x="816" y="2996"/>
                  </a:lnTo>
                  <a:lnTo>
                    <a:pt x="813" y="3002"/>
                  </a:lnTo>
                  <a:lnTo>
                    <a:pt x="810" y="3002"/>
                  </a:lnTo>
                  <a:lnTo>
                    <a:pt x="807" y="2998"/>
                  </a:lnTo>
                  <a:lnTo>
                    <a:pt x="805" y="2990"/>
                  </a:lnTo>
                  <a:lnTo>
                    <a:pt x="804" y="2987"/>
                  </a:lnTo>
                  <a:lnTo>
                    <a:pt x="794" y="2986"/>
                  </a:lnTo>
                  <a:lnTo>
                    <a:pt x="787" y="2987"/>
                  </a:lnTo>
                  <a:lnTo>
                    <a:pt x="776" y="2995"/>
                  </a:lnTo>
                  <a:lnTo>
                    <a:pt x="773" y="2995"/>
                  </a:lnTo>
                  <a:lnTo>
                    <a:pt x="769" y="2990"/>
                  </a:lnTo>
                  <a:lnTo>
                    <a:pt x="761" y="2987"/>
                  </a:lnTo>
                  <a:lnTo>
                    <a:pt x="761" y="2983"/>
                  </a:lnTo>
                  <a:lnTo>
                    <a:pt x="762" y="2976"/>
                  </a:lnTo>
                  <a:lnTo>
                    <a:pt x="778" y="2976"/>
                  </a:lnTo>
                  <a:lnTo>
                    <a:pt x="779" y="2976"/>
                  </a:lnTo>
                  <a:lnTo>
                    <a:pt x="780" y="2973"/>
                  </a:lnTo>
                  <a:lnTo>
                    <a:pt x="779" y="2969"/>
                  </a:lnTo>
                  <a:lnTo>
                    <a:pt x="772" y="2964"/>
                  </a:lnTo>
                  <a:lnTo>
                    <a:pt x="769" y="2961"/>
                  </a:lnTo>
                  <a:lnTo>
                    <a:pt x="769" y="2953"/>
                  </a:lnTo>
                  <a:lnTo>
                    <a:pt x="775" y="2945"/>
                  </a:lnTo>
                  <a:lnTo>
                    <a:pt x="776" y="2939"/>
                  </a:lnTo>
                  <a:lnTo>
                    <a:pt x="773" y="2927"/>
                  </a:lnTo>
                  <a:lnTo>
                    <a:pt x="766" y="2920"/>
                  </a:lnTo>
                  <a:lnTo>
                    <a:pt x="766" y="2915"/>
                  </a:lnTo>
                  <a:lnTo>
                    <a:pt x="768" y="2912"/>
                  </a:lnTo>
                  <a:lnTo>
                    <a:pt x="772" y="2908"/>
                  </a:lnTo>
                  <a:lnTo>
                    <a:pt x="789" y="2904"/>
                  </a:lnTo>
                  <a:lnTo>
                    <a:pt x="789" y="2903"/>
                  </a:lnTo>
                  <a:lnTo>
                    <a:pt x="785" y="2897"/>
                  </a:lnTo>
                  <a:lnTo>
                    <a:pt x="787" y="2892"/>
                  </a:lnTo>
                  <a:lnTo>
                    <a:pt x="805" y="2892"/>
                  </a:lnTo>
                  <a:lnTo>
                    <a:pt x="810" y="2890"/>
                  </a:lnTo>
                  <a:lnTo>
                    <a:pt x="813" y="2886"/>
                  </a:lnTo>
                  <a:lnTo>
                    <a:pt x="810" y="2882"/>
                  </a:lnTo>
                  <a:lnTo>
                    <a:pt x="799" y="2884"/>
                  </a:lnTo>
                  <a:lnTo>
                    <a:pt x="796" y="2882"/>
                  </a:lnTo>
                  <a:lnTo>
                    <a:pt x="800" y="2875"/>
                  </a:lnTo>
                  <a:lnTo>
                    <a:pt x="797" y="2866"/>
                  </a:lnTo>
                  <a:lnTo>
                    <a:pt x="800" y="2862"/>
                  </a:lnTo>
                  <a:lnTo>
                    <a:pt x="799" y="2855"/>
                  </a:lnTo>
                  <a:lnTo>
                    <a:pt x="800" y="2849"/>
                  </a:lnTo>
                  <a:lnTo>
                    <a:pt x="799" y="2845"/>
                  </a:lnTo>
                  <a:lnTo>
                    <a:pt x="787" y="2832"/>
                  </a:lnTo>
                  <a:lnTo>
                    <a:pt x="789" y="2825"/>
                  </a:lnTo>
                  <a:lnTo>
                    <a:pt x="791" y="2821"/>
                  </a:lnTo>
                  <a:lnTo>
                    <a:pt x="791" y="2817"/>
                  </a:lnTo>
                  <a:lnTo>
                    <a:pt x="783" y="2799"/>
                  </a:lnTo>
                  <a:lnTo>
                    <a:pt x="780" y="2784"/>
                  </a:lnTo>
                  <a:lnTo>
                    <a:pt x="769" y="2759"/>
                  </a:lnTo>
                  <a:lnTo>
                    <a:pt x="762" y="2747"/>
                  </a:lnTo>
                  <a:lnTo>
                    <a:pt x="759" y="2743"/>
                  </a:lnTo>
                  <a:lnTo>
                    <a:pt x="747" y="2706"/>
                  </a:lnTo>
                  <a:lnTo>
                    <a:pt x="734" y="2703"/>
                  </a:lnTo>
                  <a:lnTo>
                    <a:pt x="723" y="2691"/>
                  </a:lnTo>
                  <a:lnTo>
                    <a:pt x="706" y="2688"/>
                  </a:lnTo>
                  <a:lnTo>
                    <a:pt x="700" y="2675"/>
                  </a:lnTo>
                  <a:lnTo>
                    <a:pt x="695" y="2668"/>
                  </a:lnTo>
                  <a:lnTo>
                    <a:pt x="687" y="2663"/>
                  </a:lnTo>
                  <a:lnTo>
                    <a:pt x="686" y="2658"/>
                  </a:lnTo>
                  <a:lnTo>
                    <a:pt x="680" y="2653"/>
                  </a:lnTo>
                  <a:lnTo>
                    <a:pt x="673" y="2650"/>
                  </a:lnTo>
                  <a:lnTo>
                    <a:pt x="665" y="2645"/>
                  </a:lnTo>
                  <a:lnTo>
                    <a:pt x="655" y="2643"/>
                  </a:lnTo>
                  <a:lnTo>
                    <a:pt x="651" y="2642"/>
                  </a:lnTo>
                  <a:lnTo>
                    <a:pt x="648" y="2631"/>
                  </a:lnTo>
                  <a:lnTo>
                    <a:pt x="643" y="2626"/>
                  </a:lnTo>
                  <a:lnTo>
                    <a:pt x="634" y="2619"/>
                  </a:lnTo>
                  <a:lnTo>
                    <a:pt x="623" y="2613"/>
                  </a:lnTo>
                  <a:lnTo>
                    <a:pt x="606" y="2613"/>
                  </a:lnTo>
                  <a:lnTo>
                    <a:pt x="604" y="2609"/>
                  </a:lnTo>
                  <a:lnTo>
                    <a:pt x="600" y="2605"/>
                  </a:lnTo>
                  <a:lnTo>
                    <a:pt x="597" y="2597"/>
                  </a:lnTo>
                  <a:lnTo>
                    <a:pt x="597" y="2583"/>
                  </a:lnTo>
                  <a:lnTo>
                    <a:pt x="595" y="2579"/>
                  </a:lnTo>
                  <a:lnTo>
                    <a:pt x="586" y="2568"/>
                  </a:lnTo>
                  <a:lnTo>
                    <a:pt x="572" y="2559"/>
                  </a:lnTo>
                  <a:lnTo>
                    <a:pt x="566" y="2551"/>
                  </a:lnTo>
                  <a:lnTo>
                    <a:pt x="562" y="2537"/>
                  </a:lnTo>
                  <a:lnTo>
                    <a:pt x="562" y="2530"/>
                  </a:lnTo>
                  <a:lnTo>
                    <a:pt x="565" y="2519"/>
                  </a:lnTo>
                  <a:lnTo>
                    <a:pt x="565" y="2514"/>
                  </a:lnTo>
                  <a:lnTo>
                    <a:pt x="555" y="2504"/>
                  </a:lnTo>
                  <a:lnTo>
                    <a:pt x="547" y="2497"/>
                  </a:lnTo>
                  <a:lnTo>
                    <a:pt x="541" y="2493"/>
                  </a:lnTo>
                  <a:lnTo>
                    <a:pt x="527" y="2492"/>
                  </a:lnTo>
                  <a:lnTo>
                    <a:pt x="513" y="2479"/>
                  </a:lnTo>
                  <a:lnTo>
                    <a:pt x="508" y="2475"/>
                  </a:lnTo>
                  <a:lnTo>
                    <a:pt x="490" y="2471"/>
                  </a:lnTo>
                  <a:lnTo>
                    <a:pt x="477" y="2462"/>
                  </a:lnTo>
                  <a:lnTo>
                    <a:pt x="468" y="2457"/>
                  </a:lnTo>
                  <a:lnTo>
                    <a:pt x="460" y="2451"/>
                  </a:lnTo>
                  <a:lnTo>
                    <a:pt x="451" y="2444"/>
                  </a:lnTo>
                  <a:lnTo>
                    <a:pt x="431" y="2440"/>
                  </a:lnTo>
                  <a:lnTo>
                    <a:pt x="410" y="2439"/>
                  </a:lnTo>
                  <a:lnTo>
                    <a:pt x="388" y="2431"/>
                  </a:lnTo>
                  <a:lnTo>
                    <a:pt x="369" y="2431"/>
                  </a:lnTo>
                  <a:lnTo>
                    <a:pt x="358" y="2430"/>
                  </a:lnTo>
                  <a:lnTo>
                    <a:pt x="354" y="2426"/>
                  </a:lnTo>
                  <a:lnTo>
                    <a:pt x="349" y="2418"/>
                  </a:lnTo>
                  <a:lnTo>
                    <a:pt x="345" y="2413"/>
                  </a:lnTo>
                  <a:lnTo>
                    <a:pt x="340" y="2413"/>
                  </a:lnTo>
                  <a:lnTo>
                    <a:pt x="331" y="2414"/>
                  </a:lnTo>
                  <a:lnTo>
                    <a:pt x="324" y="2414"/>
                  </a:lnTo>
                  <a:lnTo>
                    <a:pt x="301" y="2406"/>
                  </a:lnTo>
                  <a:lnTo>
                    <a:pt x="277" y="2392"/>
                  </a:lnTo>
                  <a:lnTo>
                    <a:pt x="276" y="2384"/>
                  </a:lnTo>
                  <a:lnTo>
                    <a:pt x="274" y="2382"/>
                  </a:lnTo>
                  <a:lnTo>
                    <a:pt x="263" y="2380"/>
                  </a:lnTo>
                  <a:lnTo>
                    <a:pt x="262" y="2376"/>
                  </a:lnTo>
                  <a:lnTo>
                    <a:pt x="262" y="2369"/>
                  </a:lnTo>
                  <a:lnTo>
                    <a:pt x="259" y="2365"/>
                  </a:lnTo>
                  <a:lnTo>
                    <a:pt x="245" y="2357"/>
                  </a:lnTo>
                  <a:lnTo>
                    <a:pt x="244" y="2355"/>
                  </a:lnTo>
                  <a:lnTo>
                    <a:pt x="244" y="2351"/>
                  </a:lnTo>
                  <a:lnTo>
                    <a:pt x="248" y="2347"/>
                  </a:lnTo>
                  <a:lnTo>
                    <a:pt x="249" y="2343"/>
                  </a:lnTo>
                  <a:lnTo>
                    <a:pt x="251" y="2338"/>
                  </a:lnTo>
                  <a:lnTo>
                    <a:pt x="255" y="2328"/>
                  </a:lnTo>
                  <a:lnTo>
                    <a:pt x="254" y="2327"/>
                  </a:lnTo>
                  <a:lnTo>
                    <a:pt x="252" y="2319"/>
                  </a:lnTo>
                  <a:lnTo>
                    <a:pt x="242" y="2294"/>
                  </a:lnTo>
                  <a:lnTo>
                    <a:pt x="244" y="2288"/>
                  </a:lnTo>
                  <a:lnTo>
                    <a:pt x="242" y="2280"/>
                  </a:lnTo>
                  <a:lnTo>
                    <a:pt x="234" y="2274"/>
                  </a:lnTo>
                  <a:lnTo>
                    <a:pt x="226" y="2265"/>
                  </a:lnTo>
                  <a:lnTo>
                    <a:pt x="221" y="2261"/>
                  </a:lnTo>
                  <a:lnTo>
                    <a:pt x="206" y="2257"/>
                  </a:lnTo>
                  <a:lnTo>
                    <a:pt x="203" y="2257"/>
                  </a:lnTo>
                  <a:lnTo>
                    <a:pt x="199" y="2245"/>
                  </a:lnTo>
                  <a:lnTo>
                    <a:pt x="195" y="2244"/>
                  </a:lnTo>
                  <a:lnTo>
                    <a:pt x="184" y="2243"/>
                  </a:lnTo>
                  <a:lnTo>
                    <a:pt x="177" y="2238"/>
                  </a:lnTo>
                  <a:lnTo>
                    <a:pt x="174" y="2231"/>
                  </a:lnTo>
                  <a:lnTo>
                    <a:pt x="172" y="2222"/>
                  </a:lnTo>
                  <a:lnTo>
                    <a:pt x="180" y="2211"/>
                  </a:lnTo>
                  <a:lnTo>
                    <a:pt x="180" y="2204"/>
                  </a:lnTo>
                  <a:lnTo>
                    <a:pt x="178" y="2197"/>
                  </a:lnTo>
                  <a:lnTo>
                    <a:pt x="169" y="2177"/>
                  </a:lnTo>
                  <a:lnTo>
                    <a:pt x="163" y="2166"/>
                  </a:lnTo>
                  <a:lnTo>
                    <a:pt x="160" y="2164"/>
                  </a:lnTo>
                  <a:lnTo>
                    <a:pt x="156" y="2162"/>
                  </a:lnTo>
                  <a:lnTo>
                    <a:pt x="149" y="2162"/>
                  </a:lnTo>
                  <a:lnTo>
                    <a:pt x="142" y="2166"/>
                  </a:lnTo>
                  <a:lnTo>
                    <a:pt x="138" y="2164"/>
                  </a:lnTo>
                  <a:lnTo>
                    <a:pt x="135" y="2162"/>
                  </a:lnTo>
                  <a:lnTo>
                    <a:pt x="135" y="2156"/>
                  </a:lnTo>
                  <a:lnTo>
                    <a:pt x="138" y="2154"/>
                  </a:lnTo>
                  <a:lnTo>
                    <a:pt x="145" y="2156"/>
                  </a:lnTo>
                  <a:lnTo>
                    <a:pt x="149" y="2156"/>
                  </a:lnTo>
                  <a:lnTo>
                    <a:pt x="153" y="2152"/>
                  </a:lnTo>
                  <a:lnTo>
                    <a:pt x="155" y="2149"/>
                  </a:lnTo>
                  <a:lnTo>
                    <a:pt x="153" y="2140"/>
                  </a:lnTo>
                  <a:lnTo>
                    <a:pt x="149" y="2133"/>
                  </a:lnTo>
                  <a:lnTo>
                    <a:pt x="146" y="2124"/>
                  </a:lnTo>
                  <a:lnTo>
                    <a:pt x="139" y="2107"/>
                  </a:lnTo>
                  <a:lnTo>
                    <a:pt x="139" y="2103"/>
                  </a:lnTo>
                  <a:lnTo>
                    <a:pt x="145" y="2099"/>
                  </a:lnTo>
                  <a:lnTo>
                    <a:pt x="146" y="2095"/>
                  </a:lnTo>
                  <a:lnTo>
                    <a:pt x="146" y="2092"/>
                  </a:lnTo>
                  <a:lnTo>
                    <a:pt x="142" y="2089"/>
                  </a:lnTo>
                  <a:lnTo>
                    <a:pt x="139" y="2085"/>
                  </a:lnTo>
                  <a:lnTo>
                    <a:pt x="139" y="2079"/>
                  </a:lnTo>
                  <a:lnTo>
                    <a:pt x="147" y="2066"/>
                  </a:lnTo>
                  <a:lnTo>
                    <a:pt x="150" y="2062"/>
                  </a:lnTo>
                  <a:lnTo>
                    <a:pt x="147" y="2057"/>
                  </a:lnTo>
                  <a:lnTo>
                    <a:pt x="145" y="2054"/>
                  </a:lnTo>
                  <a:lnTo>
                    <a:pt x="145" y="2050"/>
                  </a:lnTo>
                  <a:lnTo>
                    <a:pt x="147" y="2044"/>
                  </a:lnTo>
                  <a:lnTo>
                    <a:pt x="149" y="2036"/>
                  </a:lnTo>
                  <a:lnTo>
                    <a:pt x="152" y="2030"/>
                  </a:lnTo>
                  <a:lnTo>
                    <a:pt x="153" y="2022"/>
                  </a:lnTo>
                  <a:lnTo>
                    <a:pt x="160" y="2010"/>
                  </a:lnTo>
                  <a:lnTo>
                    <a:pt x="160" y="2003"/>
                  </a:lnTo>
                  <a:lnTo>
                    <a:pt x="153" y="1998"/>
                  </a:lnTo>
                  <a:lnTo>
                    <a:pt x="150" y="1995"/>
                  </a:lnTo>
                  <a:lnTo>
                    <a:pt x="150" y="1987"/>
                  </a:lnTo>
                  <a:lnTo>
                    <a:pt x="155" y="1977"/>
                  </a:lnTo>
                  <a:lnTo>
                    <a:pt x="155" y="1973"/>
                  </a:lnTo>
                  <a:lnTo>
                    <a:pt x="150" y="1968"/>
                  </a:lnTo>
                  <a:lnTo>
                    <a:pt x="156" y="1965"/>
                  </a:lnTo>
                  <a:lnTo>
                    <a:pt x="160" y="1953"/>
                  </a:lnTo>
                  <a:lnTo>
                    <a:pt x="159" y="1950"/>
                  </a:lnTo>
                  <a:lnTo>
                    <a:pt x="156" y="1953"/>
                  </a:lnTo>
                  <a:lnTo>
                    <a:pt x="153" y="1953"/>
                  </a:lnTo>
                  <a:lnTo>
                    <a:pt x="149" y="1945"/>
                  </a:lnTo>
                  <a:lnTo>
                    <a:pt x="142" y="1945"/>
                  </a:lnTo>
                  <a:lnTo>
                    <a:pt x="139" y="1942"/>
                  </a:lnTo>
                  <a:lnTo>
                    <a:pt x="138" y="1938"/>
                  </a:lnTo>
                  <a:lnTo>
                    <a:pt x="141" y="1926"/>
                  </a:lnTo>
                  <a:lnTo>
                    <a:pt x="139" y="1924"/>
                  </a:lnTo>
                  <a:lnTo>
                    <a:pt x="136" y="1924"/>
                  </a:lnTo>
                  <a:lnTo>
                    <a:pt x="135" y="1924"/>
                  </a:lnTo>
                  <a:lnTo>
                    <a:pt x="139" y="1920"/>
                  </a:lnTo>
                  <a:lnTo>
                    <a:pt x="142" y="1909"/>
                  </a:lnTo>
                  <a:lnTo>
                    <a:pt x="149" y="1905"/>
                  </a:lnTo>
                  <a:lnTo>
                    <a:pt x="156" y="1904"/>
                  </a:lnTo>
                  <a:lnTo>
                    <a:pt x="160" y="1898"/>
                  </a:lnTo>
                  <a:lnTo>
                    <a:pt x="160" y="1893"/>
                  </a:lnTo>
                  <a:lnTo>
                    <a:pt x="157" y="1883"/>
                  </a:lnTo>
                  <a:lnTo>
                    <a:pt x="156" y="1879"/>
                  </a:lnTo>
                  <a:lnTo>
                    <a:pt x="155" y="1875"/>
                  </a:lnTo>
                  <a:lnTo>
                    <a:pt x="153" y="1871"/>
                  </a:lnTo>
                  <a:lnTo>
                    <a:pt x="149" y="1871"/>
                  </a:lnTo>
                  <a:lnTo>
                    <a:pt x="145" y="1866"/>
                  </a:lnTo>
                  <a:lnTo>
                    <a:pt x="145" y="1863"/>
                  </a:lnTo>
                  <a:lnTo>
                    <a:pt x="146" y="1856"/>
                  </a:lnTo>
                  <a:lnTo>
                    <a:pt x="142" y="1853"/>
                  </a:lnTo>
                  <a:lnTo>
                    <a:pt x="142" y="1848"/>
                  </a:lnTo>
                  <a:lnTo>
                    <a:pt x="136" y="1841"/>
                  </a:lnTo>
                  <a:lnTo>
                    <a:pt x="136" y="1830"/>
                  </a:lnTo>
                  <a:lnTo>
                    <a:pt x="127" y="1825"/>
                  </a:lnTo>
                  <a:lnTo>
                    <a:pt x="120" y="1826"/>
                  </a:lnTo>
                  <a:lnTo>
                    <a:pt x="120" y="1825"/>
                  </a:lnTo>
                  <a:lnTo>
                    <a:pt x="122" y="1816"/>
                  </a:lnTo>
                  <a:lnTo>
                    <a:pt x="119" y="1811"/>
                  </a:lnTo>
                  <a:lnTo>
                    <a:pt x="125" y="1808"/>
                  </a:lnTo>
                  <a:lnTo>
                    <a:pt x="121" y="1800"/>
                  </a:lnTo>
                  <a:lnTo>
                    <a:pt x="128" y="1800"/>
                  </a:lnTo>
                  <a:lnTo>
                    <a:pt x="128" y="1799"/>
                  </a:lnTo>
                  <a:lnTo>
                    <a:pt x="127" y="1796"/>
                  </a:lnTo>
                  <a:lnTo>
                    <a:pt x="121" y="1796"/>
                  </a:lnTo>
                  <a:lnTo>
                    <a:pt x="120" y="1793"/>
                  </a:lnTo>
                  <a:lnTo>
                    <a:pt x="125" y="1792"/>
                  </a:lnTo>
                  <a:lnTo>
                    <a:pt x="124" y="1788"/>
                  </a:lnTo>
                  <a:lnTo>
                    <a:pt x="128" y="1786"/>
                  </a:lnTo>
                  <a:lnTo>
                    <a:pt x="128" y="1780"/>
                  </a:lnTo>
                  <a:lnTo>
                    <a:pt x="134" y="1776"/>
                  </a:lnTo>
                  <a:lnTo>
                    <a:pt x="135" y="1774"/>
                  </a:lnTo>
                  <a:lnTo>
                    <a:pt x="134" y="1772"/>
                  </a:lnTo>
                  <a:lnTo>
                    <a:pt x="130" y="1772"/>
                  </a:lnTo>
                  <a:lnTo>
                    <a:pt x="128" y="1771"/>
                  </a:lnTo>
                  <a:lnTo>
                    <a:pt x="128" y="1769"/>
                  </a:lnTo>
                  <a:lnTo>
                    <a:pt x="132" y="1766"/>
                  </a:lnTo>
                  <a:lnTo>
                    <a:pt x="132" y="1763"/>
                  </a:lnTo>
                  <a:lnTo>
                    <a:pt x="125" y="1759"/>
                  </a:lnTo>
                  <a:lnTo>
                    <a:pt x="124" y="1749"/>
                  </a:lnTo>
                  <a:lnTo>
                    <a:pt x="122" y="1747"/>
                  </a:lnTo>
                  <a:lnTo>
                    <a:pt x="119" y="1747"/>
                  </a:lnTo>
                  <a:lnTo>
                    <a:pt x="117" y="1744"/>
                  </a:lnTo>
                  <a:lnTo>
                    <a:pt x="117" y="1743"/>
                  </a:lnTo>
                  <a:lnTo>
                    <a:pt x="125" y="1741"/>
                  </a:lnTo>
                  <a:lnTo>
                    <a:pt x="128" y="1737"/>
                  </a:lnTo>
                  <a:lnTo>
                    <a:pt x="125" y="1729"/>
                  </a:lnTo>
                  <a:lnTo>
                    <a:pt x="130" y="1722"/>
                  </a:lnTo>
                  <a:lnTo>
                    <a:pt x="128" y="1718"/>
                  </a:lnTo>
                  <a:lnTo>
                    <a:pt x="127" y="1718"/>
                  </a:lnTo>
                  <a:lnTo>
                    <a:pt x="121" y="1721"/>
                  </a:lnTo>
                  <a:lnTo>
                    <a:pt x="119" y="1721"/>
                  </a:lnTo>
                  <a:lnTo>
                    <a:pt x="116" y="1718"/>
                  </a:lnTo>
                  <a:lnTo>
                    <a:pt x="121" y="1713"/>
                  </a:lnTo>
                  <a:lnTo>
                    <a:pt x="121" y="1710"/>
                  </a:lnTo>
                  <a:lnTo>
                    <a:pt x="132" y="1706"/>
                  </a:lnTo>
                  <a:lnTo>
                    <a:pt x="128" y="1700"/>
                  </a:lnTo>
                  <a:lnTo>
                    <a:pt x="130" y="1692"/>
                  </a:lnTo>
                  <a:lnTo>
                    <a:pt x="125" y="1684"/>
                  </a:lnTo>
                  <a:lnTo>
                    <a:pt x="132" y="1669"/>
                  </a:lnTo>
                  <a:lnTo>
                    <a:pt x="131" y="1662"/>
                  </a:lnTo>
                  <a:lnTo>
                    <a:pt x="136" y="1658"/>
                  </a:lnTo>
                  <a:lnTo>
                    <a:pt x="134" y="1655"/>
                  </a:lnTo>
                  <a:lnTo>
                    <a:pt x="134" y="1654"/>
                  </a:lnTo>
                  <a:lnTo>
                    <a:pt x="122" y="1655"/>
                  </a:lnTo>
                  <a:lnTo>
                    <a:pt x="125" y="1643"/>
                  </a:lnTo>
                  <a:lnTo>
                    <a:pt x="119" y="1634"/>
                  </a:lnTo>
                  <a:lnTo>
                    <a:pt x="122" y="1621"/>
                  </a:lnTo>
                  <a:lnTo>
                    <a:pt x="119" y="1612"/>
                  </a:lnTo>
                  <a:lnTo>
                    <a:pt x="127" y="1605"/>
                  </a:lnTo>
                  <a:lnTo>
                    <a:pt x="128" y="1594"/>
                  </a:lnTo>
                  <a:lnTo>
                    <a:pt x="121" y="1587"/>
                  </a:lnTo>
                  <a:lnTo>
                    <a:pt x="122" y="1584"/>
                  </a:lnTo>
                  <a:lnTo>
                    <a:pt x="120" y="1576"/>
                  </a:lnTo>
                  <a:lnTo>
                    <a:pt x="110" y="1580"/>
                  </a:lnTo>
                  <a:lnTo>
                    <a:pt x="99" y="1575"/>
                  </a:lnTo>
                  <a:lnTo>
                    <a:pt x="102" y="1568"/>
                  </a:lnTo>
                  <a:lnTo>
                    <a:pt x="94" y="1558"/>
                  </a:lnTo>
                  <a:lnTo>
                    <a:pt x="100" y="1558"/>
                  </a:lnTo>
                  <a:lnTo>
                    <a:pt x="99" y="1550"/>
                  </a:lnTo>
                  <a:lnTo>
                    <a:pt x="111" y="1526"/>
                  </a:lnTo>
                  <a:lnTo>
                    <a:pt x="110" y="1523"/>
                  </a:lnTo>
                  <a:lnTo>
                    <a:pt x="103" y="1523"/>
                  </a:lnTo>
                  <a:lnTo>
                    <a:pt x="102" y="1519"/>
                  </a:lnTo>
                  <a:lnTo>
                    <a:pt x="110" y="1515"/>
                  </a:lnTo>
                  <a:lnTo>
                    <a:pt x="109" y="1505"/>
                  </a:lnTo>
                  <a:lnTo>
                    <a:pt x="125" y="1493"/>
                  </a:lnTo>
                  <a:lnTo>
                    <a:pt x="130" y="1481"/>
                  </a:lnTo>
                  <a:lnTo>
                    <a:pt x="135" y="1471"/>
                  </a:lnTo>
                  <a:lnTo>
                    <a:pt x="128" y="1452"/>
                  </a:lnTo>
                  <a:lnTo>
                    <a:pt x="116" y="1441"/>
                  </a:lnTo>
                  <a:lnTo>
                    <a:pt x="116" y="1426"/>
                  </a:lnTo>
                  <a:lnTo>
                    <a:pt x="122" y="1419"/>
                  </a:lnTo>
                  <a:lnTo>
                    <a:pt x="113" y="1403"/>
                  </a:lnTo>
                  <a:lnTo>
                    <a:pt x="119" y="1397"/>
                  </a:lnTo>
                  <a:lnTo>
                    <a:pt x="109" y="1391"/>
                  </a:lnTo>
                  <a:lnTo>
                    <a:pt x="116" y="1376"/>
                  </a:lnTo>
                  <a:lnTo>
                    <a:pt x="97" y="1361"/>
                  </a:lnTo>
                  <a:lnTo>
                    <a:pt x="92" y="1349"/>
                  </a:lnTo>
                  <a:lnTo>
                    <a:pt x="82" y="1349"/>
                  </a:lnTo>
                  <a:lnTo>
                    <a:pt x="74" y="1343"/>
                  </a:lnTo>
                  <a:lnTo>
                    <a:pt x="70" y="1336"/>
                  </a:lnTo>
                  <a:lnTo>
                    <a:pt x="71" y="1332"/>
                  </a:lnTo>
                  <a:lnTo>
                    <a:pt x="67" y="1322"/>
                  </a:lnTo>
                  <a:lnTo>
                    <a:pt x="57" y="1328"/>
                  </a:lnTo>
                  <a:lnTo>
                    <a:pt x="50" y="1316"/>
                  </a:lnTo>
                  <a:lnTo>
                    <a:pt x="44" y="1314"/>
                  </a:lnTo>
                  <a:lnTo>
                    <a:pt x="35" y="1309"/>
                  </a:lnTo>
                  <a:lnTo>
                    <a:pt x="20" y="1302"/>
                  </a:lnTo>
                  <a:lnTo>
                    <a:pt x="19" y="1299"/>
                  </a:lnTo>
                  <a:lnTo>
                    <a:pt x="22" y="1291"/>
                  </a:lnTo>
                  <a:lnTo>
                    <a:pt x="13" y="1291"/>
                  </a:lnTo>
                  <a:lnTo>
                    <a:pt x="9" y="1284"/>
                  </a:lnTo>
                  <a:lnTo>
                    <a:pt x="10" y="1277"/>
                  </a:lnTo>
                  <a:lnTo>
                    <a:pt x="2" y="1265"/>
                  </a:lnTo>
                  <a:lnTo>
                    <a:pt x="6" y="1261"/>
                  </a:lnTo>
                  <a:lnTo>
                    <a:pt x="0" y="1254"/>
                  </a:lnTo>
                  <a:lnTo>
                    <a:pt x="21" y="1239"/>
                  </a:lnTo>
                  <a:lnTo>
                    <a:pt x="30" y="1223"/>
                  </a:lnTo>
                  <a:lnTo>
                    <a:pt x="36" y="1219"/>
                  </a:lnTo>
                  <a:lnTo>
                    <a:pt x="52" y="1216"/>
                  </a:lnTo>
                  <a:lnTo>
                    <a:pt x="52" y="1212"/>
                  </a:lnTo>
                  <a:lnTo>
                    <a:pt x="49" y="1208"/>
                  </a:lnTo>
                  <a:lnTo>
                    <a:pt x="57" y="1200"/>
                  </a:lnTo>
                  <a:lnTo>
                    <a:pt x="78" y="1198"/>
                  </a:lnTo>
                  <a:lnTo>
                    <a:pt x="91" y="1190"/>
                  </a:lnTo>
                  <a:lnTo>
                    <a:pt x="96" y="1167"/>
                  </a:lnTo>
                  <a:lnTo>
                    <a:pt x="94" y="1162"/>
                  </a:lnTo>
                  <a:lnTo>
                    <a:pt x="99" y="1153"/>
                  </a:lnTo>
                  <a:lnTo>
                    <a:pt x="92" y="1144"/>
                  </a:lnTo>
                  <a:lnTo>
                    <a:pt x="91" y="1137"/>
                  </a:lnTo>
                  <a:lnTo>
                    <a:pt x="95" y="1130"/>
                  </a:lnTo>
                  <a:lnTo>
                    <a:pt x="94" y="1127"/>
                  </a:lnTo>
                  <a:lnTo>
                    <a:pt x="102" y="1108"/>
                  </a:lnTo>
                  <a:lnTo>
                    <a:pt x="119" y="1095"/>
                  </a:lnTo>
                  <a:lnTo>
                    <a:pt x="122" y="1091"/>
                  </a:lnTo>
                  <a:lnTo>
                    <a:pt x="125" y="1078"/>
                  </a:lnTo>
                  <a:lnTo>
                    <a:pt x="106" y="1063"/>
                  </a:lnTo>
                  <a:lnTo>
                    <a:pt x="114" y="1037"/>
                  </a:lnTo>
                  <a:lnTo>
                    <a:pt x="119" y="1033"/>
                  </a:lnTo>
                  <a:lnTo>
                    <a:pt x="119" y="1024"/>
                  </a:lnTo>
                  <a:lnTo>
                    <a:pt x="122" y="1017"/>
                  </a:lnTo>
                  <a:lnTo>
                    <a:pt x="119" y="1001"/>
                  </a:lnTo>
                  <a:lnTo>
                    <a:pt x="120" y="988"/>
                  </a:lnTo>
                  <a:lnTo>
                    <a:pt x="130" y="984"/>
                  </a:lnTo>
                  <a:lnTo>
                    <a:pt x="130" y="979"/>
                  </a:lnTo>
                  <a:lnTo>
                    <a:pt x="131" y="972"/>
                  </a:lnTo>
                  <a:lnTo>
                    <a:pt x="160" y="954"/>
                  </a:lnTo>
                  <a:lnTo>
                    <a:pt x="164" y="944"/>
                  </a:lnTo>
                  <a:lnTo>
                    <a:pt x="175" y="936"/>
                  </a:lnTo>
                  <a:lnTo>
                    <a:pt x="185" y="927"/>
                  </a:lnTo>
                  <a:lnTo>
                    <a:pt x="192" y="926"/>
                  </a:lnTo>
                  <a:lnTo>
                    <a:pt x="200" y="921"/>
                  </a:lnTo>
                  <a:lnTo>
                    <a:pt x="209" y="902"/>
                  </a:lnTo>
                  <a:lnTo>
                    <a:pt x="234" y="895"/>
                  </a:lnTo>
                  <a:lnTo>
                    <a:pt x="244" y="895"/>
                  </a:lnTo>
                  <a:lnTo>
                    <a:pt x="256" y="901"/>
                  </a:lnTo>
                  <a:lnTo>
                    <a:pt x="269" y="899"/>
                  </a:lnTo>
                  <a:lnTo>
                    <a:pt x="270" y="902"/>
                  </a:lnTo>
                  <a:lnTo>
                    <a:pt x="274" y="901"/>
                  </a:lnTo>
                  <a:lnTo>
                    <a:pt x="274" y="916"/>
                  </a:lnTo>
                  <a:lnTo>
                    <a:pt x="285" y="924"/>
                  </a:lnTo>
                  <a:lnTo>
                    <a:pt x="283" y="927"/>
                  </a:lnTo>
                  <a:lnTo>
                    <a:pt x="301" y="932"/>
                  </a:lnTo>
                  <a:lnTo>
                    <a:pt x="302" y="938"/>
                  </a:lnTo>
                  <a:lnTo>
                    <a:pt x="310" y="934"/>
                  </a:lnTo>
                  <a:lnTo>
                    <a:pt x="312" y="927"/>
                  </a:lnTo>
                  <a:lnTo>
                    <a:pt x="315" y="932"/>
                  </a:lnTo>
                  <a:lnTo>
                    <a:pt x="317" y="932"/>
                  </a:lnTo>
                  <a:lnTo>
                    <a:pt x="319" y="921"/>
                  </a:lnTo>
                  <a:lnTo>
                    <a:pt x="321" y="913"/>
                  </a:lnTo>
                  <a:lnTo>
                    <a:pt x="330" y="909"/>
                  </a:lnTo>
                  <a:lnTo>
                    <a:pt x="330" y="901"/>
                  </a:lnTo>
                  <a:lnTo>
                    <a:pt x="341" y="909"/>
                  </a:lnTo>
                  <a:lnTo>
                    <a:pt x="344" y="909"/>
                  </a:lnTo>
                  <a:lnTo>
                    <a:pt x="341" y="905"/>
                  </a:lnTo>
                  <a:lnTo>
                    <a:pt x="349" y="904"/>
                  </a:lnTo>
                  <a:lnTo>
                    <a:pt x="360" y="909"/>
                  </a:lnTo>
                  <a:lnTo>
                    <a:pt x="362" y="905"/>
                  </a:lnTo>
                  <a:lnTo>
                    <a:pt x="387" y="902"/>
                  </a:lnTo>
                  <a:lnTo>
                    <a:pt x="387" y="895"/>
                  </a:lnTo>
                  <a:lnTo>
                    <a:pt x="419" y="882"/>
                  </a:lnTo>
                  <a:lnTo>
                    <a:pt x="429" y="882"/>
                  </a:lnTo>
                  <a:lnTo>
                    <a:pt x="430" y="887"/>
                  </a:lnTo>
                  <a:lnTo>
                    <a:pt x="441" y="883"/>
                  </a:lnTo>
                  <a:lnTo>
                    <a:pt x="451" y="885"/>
                  </a:lnTo>
                  <a:lnTo>
                    <a:pt x="454" y="879"/>
                  </a:lnTo>
                  <a:lnTo>
                    <a:pt x="472" y="868"/>
                  </a:lnTo>
                  <a:lnTo>
                    <a:pt x="474" y="864"/>
                  </a:lnTo>
                  <a:lnTo>
                    <a:pt x="495" y="859"/>
                  </a:lnTo>
                  <a:lnTo>
                    <a:pt x="500" y="846"/>
                  </a:lnTo>
                  <a:lnTo>
                    <a:pt x="509" y="846"/>
                  </a:lnTo>
                  <a:lnTo>
                    <a:pt x="537" y="830"/>
                  </a:lnTo>
                  <a:lnTo>
                    <a:pt x="541" y="815"/>
                  </a:lnTo>
                  <a:lnTo>
                    <a:pt x="541" y="804"/>
                  </a:lnTo>
                  <a:lnTo>
                    <a:pt x="531" y="797"/>
                  </a:lnTo>
                  <a:lnTo>
                    <a:pt x="531" y="773"/>
                  </a:lnTo>
                  <a:lnTo>
                    <a:pt x="536" y="750"/>
                  </a:lnTo>
                  <a:lnTo>
                    <a:pt x="537" y="742"/>
                  </a:lnTo>
                  <a:lnTo>
                    <a:pt x="543" y="676"/>
                  </a:lnTo>
                  <a:lnTo>
                    <a:pt x="544" y="663"/>
                  </a:lnTo>
                  <a:lnTo>
                    <a:pt x="566" y="368"/>
                  </a:lnTo>
                  <a:lnTo>
                    <a:pt x="566" y="360"/>
                  </a:lnTo>
                  <a:lnTo>
                    <a:pt x="568" y="355"/>
                  </a:lnTo>
                  <a:lnTo>
                    <a:pt x="686" y="358"/>
                  </a:lnTo>
                  <a:lnTo>
                    <a:pt x="712" y="360"/>
                  </a:lnTo>
                  <a:lnTo>
                    <a:pt x="726" y="360"/>
                  </a:lnTo>
                  <a:lnTo>
                    <a:pt x="757" y="360"/>
                  </a:lnTo>
                  <a:lnTo>
                    <a:pt x="773" y="347"/>
                  </a:lnTo>
                  <a:lnTo>
                    <a:pt x="775" y="347"/>
                  </a:lnTo>
                  <a:lnTo>
                    <a:pt x="776" y="347"/>
                  </a:lnTo>
                  <a:lnTo>
                    <a:pt x="778" y="347"/>
                  </a:lnTo>
                  <a:lnTo>
                    <a:pt x="779" y="345"/>
                  </a:lnTo>
                  <a:lnTo>
                    <a:pt x="780" y="345"/>
                  </a:lnTo>
                  <a:lnTo>
                    <a:pt x="782" y="345"/>
                  </a:lnTo>
                  <a:lnTo>
                    <a:pt x="783" y="345"/>
                  </a:lnTo>
                  <a:lnTo>
                    <a:pt x="785" y="345"/>
                  </a:lnTo>
                  <a:lnTo>
                    <a:pt x="786" y="345"/>
                  </a:lnTo>
                  <a:lnTo>
                    <a:pt x="786" y="347"/>
                  </a:lnTo>
                  <a:lnTo>
                    <a:pt x="787" y="347"/>
                  </a:lnTo>
                  <a:lnTo>
                    <a:pt x="786" y="347"/>
                  </a:lnTo>
                  <a:lnTo>
                    <a:pt x="786" y="349"/>
                  </a:lnTo>
                  <a:lnTo>
                    <a:pt x="787" y="349"/>
                  </a:lnTo>
                  <a:lnTo>
                    <a:pt x="789" y="347"/>
                  </a:lnTo>
                  <a:lnTo>
                    <a:pt x="789" y="349"/>
                  </a:lnTo>
                  <a:lnTo>
                    <a:pt x="790" y="349"/>
                  </a:lnTo>
                  <a:lnTo>
                    <a:pt x="791" y="349"/>
                  </a:lnTo>
                  <a:lnTo>
                    <a:pt x="791" y="350"/>
                  </a:lnTo>
                  <a:lnTo>
                    <a:pt x="791" y="352"/>
                  </a:lnTo>
                  <a:lnTo>
                    <a:pt x="793" y="352"/>
                  </a:lnTo>
                  <a:lnTo>
                    <a:pt x="794" y="352"/>
                  </a:lnTo>
                  <a:lnTo>
                    <a:pt x="796" y="352"/>
                  </a:lnTo>
                  <a:lnTo>
                    <a:pt x="796" y="353"/>
                  </a:lnTo>
                  <a:lnTo>
                    <a:pt x="797" y="353"/>
                  </a:lnTo>
                  <a:lnTo>
                    <a:pt x="797" y="355"/>
                  </a:lnTo>
                  <a:lnTo>
                    <a:pt x="799" y="355"/>
                  </a:lnTo>
                  <a:lnTo>
                    <a:pt x="799" y="356"/>
                  </a:lnTo>
                  <a:lnTo>
                    <a:pt x="800" y="356"/>
                  </a:lnTo>
                  <a:lnTo>
                    <a:pt x="801" y="356"/>
                  </a:lnTo>
                  <a:lnTo>
                    <a:pt x="801" y="355"/>
                  </a:lnTo>
                  <a:lnTo>
                    <a:pt x="803" y="355"/>
                  </a:lnTo>
                  <a:lnTo>
                    <a:pt x="804" y="355"/>
                  </a:lnTo>
                  <a:lnTo>
                    <a:pt x="805" y="355"/>
                  </a:lnTo>
                  <a:lnTo>
                    <a:pt x="807" y="355"/>
                  </a:lnTo>
                  <a:lnTo>
                    <a:pt x="808" y="355"/>
                  </a:lnTo>
                  <a:lnTo>
                    <a:pt x="810" y="355"/>
                  </a:lnTo>
                  <a:lnTo>
                    <a:pt x="811" y="355"/>
                  </a:lnTo>
                  <a:lnTo>
                    <a:pt x="813" y="355"/>
                  </a:lnTo>
                  <a:lnTo>
                    <a:pt x="814" y="355"/>
                  </a:lnTo>
                  <a:lnTo>
                    <a:pt x="814" y="356"/>
                  </a:lnTo>
                  <a:lnTo>
                    <a:pt x="815" y="356"/>
                  </a:lnTo>
                  <a:lnTo>
                    <a:pt x="816" y="356"/>
                  </a:lnTo>
                  <a:lnTo>
                    <a:pt x="816" y="358"/>
                  </a:lnTo>
                  <a:lnTo>
                    <a:pt x="818" y="358"/>
                  </a:lnTo>
                  <a:lnTo>
                    <a:pt x="819" y="358"/>
                  </a:lnTo>
                  <a:lnTo>
                    <a:pt x="818" y="360"/>
                  </a:lnTo>
                  <a:lnTo>
                    <a:pt x="819" y="360"/>
                  </a:lnTo>
                  <a:lnTo>
                    <a:pt x="821" y="360"/>
                  </a:lnTo>
                  <a:lnTo>
                    <a:pt x="822" y="360"/>
                  </a:lnTo>
                  <a:lnTo>
                    <a:pt x="822" y="362"/>
                  </a:lnTo>
                  <a:lnTo>
                    <a:pt x="824" y="362"/>
                  </a:lnTo>
                  <a:lnTo>
                    <a:pt x="824" y="363"/>
                  </a:lnTo>
                  <a:lnTo>
                    <a:pt x="825" y="363"/>
                  </a:lnTo>
                  <a:lnTo>
                    <a:pt x="825" y="365"/>
                  </a:lnTo>
                  <a:lnTo>
                    <a:pt x="826" y="365"/>
                  </a:lnTo>
                  <a:lnTo>
                    <a:pt x="828" y="365"/>
                  </a:lnTo>
                  <a:lnTo>
                    <a:pt x="829" y="365"/>
                  </a:lnTo>
                  <a:lnTo>
                    <a:pt x="829" y="366"/>
                  </a:lnTo>
                  <a:lnTo>
                    <a:pt x="830" y="366"/>
                  </a:lnTo>
                  <a:lnTo>
                    <a:pt x="832" y="366"/>
                  </a:lnTo>
                  <a:lnTo>
                    <a:pt x="832" y="365"/>
                  </a:lnTo>
                  <a:lnTo>
                    <a:pt x="833" y="365"/>
                  </a:lnTo>
                  <a:lnTo>
                    <a:pt x="835" y="365"/>
                  </a:lnTo>
                  <a:lnTo>
                    <a:pt x="836" y="363"/>
                  </a:lnTo>
                  <a:lnTo>
                    <a:pt x="838" y="363"/>
                  </a:lnTo>
                  <a:lnTo>
                    <a:pt x="886" y="381"/>
                  </a:lnTo>
                  <a:lnTo>
                    <a:pt x="908" y="385"/>
                  </a:lnTo>
                  <a:lnTo>
                    <a:pt x="911" y="381"/>
                  </a:lnTo>
                  <a:lnTo>
                    <a:pt x="915" y="373"/>
                  </a:lnTo>
                  <a:lnTo>
                    <a:pt x="915" y="372"/>
                  </a:lnTo>
                  <a:lnTo>
                    <a:pt x="915" y="369"/>
                  </a:lnTo>
                  <a:lnTo>
                    <a:pt x="917" y="369"/>
                  </a:lnTo>
                  <a:lnTo>
                    <a:pt x="918" y="369"/>
                  </a:lnTo>
                  <a:lnTo>
                    <a:pt x="918" y="368"/>
                  </a:lnTo>
                  <a:lnTo>
                    <a:pt x="919" y="366"/>
                  </a:lnTo>
                  <a:lnTo>
                    <a:pt x="919" y="365"/>
                  </a:lnTo>
                  <a:lnTo>
                    <a:pt x="918" y="365"/>
                  </a:lnTo>
                  <a:lnTo>
                    <a:pt x="918" y="363"/>
                  </a:lnTo>
                  <a:lnTo>
                    <a:pt x="919" y="362"/>
                  </a:lnTo>
                  <a:lnTo>
                    <a:pt x="918" y="360"/>
                  </a:lnTo>
                  <a:lnTo>
                    <a:pt x="917" y="360"/>
                  </a:lnTo>
                  <a:lnTo>
                    <a:pt x="915" y="360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3" y="358"/>
                  </a:lnTo>
                  <a:lnTo>
                    <a:pt x="913" y="356"/>
                  </a:lnTo>
                  <a:lnTo>
                    <a:pt x="911" y="356"/>
                  </a:lnTo>
                  <a:lnTo>
                    <a:pt x="910" y="356"/>
                  </a:lnTo>
                  <a:lnTo>
                    <a:pt x="910" y="353"/>
                  </a:lnTo>
                  <a:lnTo>
                    <a:pt x="908" y="353"/>
                  </a:lnTo>
                  <a:lnTo>
                    <a:pt x="907" y="352"/>
                  </a:lnTo>
                  <a:lnTo>
                    <a:pt x="905" y="352"/>
                  </a:lnTo>
                  <a:lnTo>
                    <a:pt x="904" y="350"/>
                  </a:lnTo>
                  <a:lnTo>
                    <a:pt x="903" y="347"/>
                  </a:lnTo>
                  <a:lnTo>
                    <a:pt x="901" y="345"/>
                  </a:lnTo>
                  <a:lnTo>
                    <a:pt x="903" y="345"/>
                  </a:lnTo>
                  <a:lnTo>
                    <a:pt x="903" y="344"/>
                  </a:lnTo>
                  <a:lnTo>
                    <a:pt x="903" y="343"/>
                  </a:lnTo>
                  <a:lnTo>
                    <a:pt x="904" y="343"/>
                  </a:lnTo>
                  <a:lnTo>
                    <a:pt x="904" y="341"/>
                  </a:lnTo>
                  <a:lnTo>
                    <a:pt x="904" y="340"/>
                  </a:lnTo>
                  <a:lnTo>
                    <a:pt x="903" y="340"/>
                  </a:lnTo>
                  <a:lnTo>
                    <a:pt x="903" y="337"/>
                  </a:lnTo>
                  <a:lnTo>
                    <a:pt x="901" y="337"/>
                  </a:lnTo>
                  <a:lnTo>
                    <a:pt x="901" y="336"/>
                  </a:lnTo>
                  <a:lnTo>
                    <a:pt x="901" y="333"/>
                  </a:lnTo>
                  <a:lnTo>
                    <a:pt x="903" y="333"/>
                  </a:lnTo>
                  <a:lnTo>
                    <a:pt x="903" y="332"/>
                  </a:lnTo>
                  <a:lnTo>
                    <a:pt x="901" y="332"/>
                  </a:lnTo>
                  <a:lnTo>
                    <a:pt x="901" y="331"/>
                  </a:lnTo>
                  <a:lnTo>
                    <a:pt x="901" y="330"/>
                  </a:lnTo>
                  <a:lnTo>
                    <a:pt x="901" y="328"/>
                  </a:lnTo>
                  <a:lnTo>
                    <a:pt x="901" y="327"/>
                  </a:lnTo>
                  <a:lnTo>
                    <a:pt x="901" y="324"/>
                  </a:lnTo>
                  <a:lnTo>
                    <a:pt x="901" y="323"/>
                  </a:lnTo>
                  <a:lnTo>
                    <a:pt x="901" y="320"/>
                  </a:lnTo>
                  <a:lnTo>
                    <a:pt x="901" y="319"/>
                  </a:lnTo>
                  <a:lnTo>
                    <a:pt x="901" y="316"/>
                  </a:lnTo>
                  <a:lnTo>
                    <a:pt x="901" y="315"/>
                  </a:lnTo>
                  <a:lnTo>
                    <a:pt x="901" y="316"/>
                  </a:lnTo>
                  <a:lnTo>
                    <a:pt x="903" y="316"/>
                  </a:lnTo>
                  <a:lnTo>
                    <a:pt x="903" y="315"/>
                  </a:lnTo>
                  <a:lnTo>
                    <a:pt x="904" y="315"/>
                  </a:lnTo>
                  <a:lnTo>
                    <a:pt x="905" y="315"/>
                  </a:lnTo>
                  <a:lnTo>
                    <a:pt x="907" y="315"/>
                  </a:lnTo>
                  <a:lnTo>
                    <a:pt x="907" y="316"/>
                  </a:lnTo>
                  <a:lnTo>
                    <a:pt x="908" y="316"/>
                  </a:lnTo>
                  <a:lnTo>
                    <a:pt x="910" y="316"/>
                  </a:lnTo>
                  <a:lnTo>
                    <a:pt x="910" y="315"/>
                  </a:lnTo>
                  <a:lnTo>
                    <a:pt x="911" y="315"/>
                  </a:lnTo>
                  <a:lnTo>
                    <a:pt x="913" y="315"/>
                  </a:lnTo>
                  <a:lnTo>
                    <a:pt x="914" y="315"/>
                  </a:lnTo>
                  <a:lnTo>
                    <a:pt x="915" y="315"/>
                  </a:lnTo>
                  <a:lnTo>
                    <a:pt x="915" y="313"/>
                  </a:lnTo>
                  <a:lnTo>
                    <a:pt x="917" y="313"/>
                  </a:lnTo>
                  <a:lnTo>
                    <a:pt x="917" y="311"/>
                  </a:lnTo>
                  <a:lnTo>
                    <a:pt x="917" y="310"/>
                  </a:lnTo>
                  <a:lnTo>
                    <a:pt x="918" y="310"/>
                  </a:lnTo>
                  <a:lnTo>
                    <a:pt x="918" y="308"/>
                  </a:lnTo>
                  <a:lnTo>
                    <a:pt x="919" y="307"/>
                  </a:lnTo>
                  <a:lnTo>
                    <a:pt x="919" y="306"/>
                  </a:lnTo>
                  <a:lnTo>
                    <a:pt x="921" y="304"/>
                  </a:lnTo>
                  <a:lnTo>
                    <a:pt x="922" y="302"/>
                  </a:lnTo>
                  <a:lnTo>
                    <a:pt x="924" y="302"/>
                  </a:lnTo>
                  <a:lnTo>
                    <a:pt x="925" y="302"/>
                  </a:lnTo>
                  <a:lnTo>
                    <a:pt x="925" y="300"/>
                  </a:lnTo>
                  <a:lnTo>
                    <a:pt x="925" y="298"/>
                  </a:lnTo>
                  <a:lnTo>
                    <a:pt x="926" y="298"/>
                  </a:lnTo>
                  <a:lnTo>
                    <a:pt x="928" y="298"/>
                  </a:lnTo>
                  <a:lnTo>
                    <a:pt x="928" y="296"/>
                  </a:lnTo>
                  <a:lnTo>
                    <a:pt x="928" y="295"/>
                  </a:lnTo>
                  <a:lnTo>
                    <a:pt x="928" y="296"/>
                  </a:lnTo>
                  <a:lnTo>
                    <a:pt x="929" y="296"/>
                  </a:lnTo>
                  <a:lnTo>
                    <a:pt x="929" y="295"/>
                  </a:lnTo>
                  <a:lnTo>
                    <a:pt x="928" y="295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9" y="295"/>
                  </a:lnTo>
                  <a:lnTo>
                    <a:pt x="929" y="294"/>
                  </a:lnTo>
                  <a:lnTo>
                    <a:pt x="929" y="293"/>
                  </a:lnTo>
                  <a:lnTo>
                    <a:pt x="930" y="293"/>
                  </a:lnTo>
                  <a:lnTo>
                    <a:pt x="932" y="293"/>
                  </a:lnTo>
                  <a:lnTo>
                    <a:pt x="933" y="293"/>
                  </a:lnTo>
                  <a:lnTo>
                    <a:pt x="935" y="293"/>
                  </a:lnTo>
                  <a:lnTo>
                    <a:pt x="935" y="291"/>
                  </a:lnTo>
                  <a:lnTo>
                    <a:pt x="936" y="291"/>
                  </a:lnTo>
                  <a:lnTo>
                    <a:pt x="936" y="288"/>
                  </a:lnTo>
                  <a:lnTo>
                    <a:pt x="935" y="288"/>
                  </a:lnTo>
                  <a:lnTo>
                    <a:pt x="936" y="288"/>
                  </a:lnTo>
                  <a:lnTo>
                    <a:pt x="938" y="288"/>
                  </a:lnTo>
                  <a:lnTo>
                    <a:pt x="938" y="287"/>
                  </a:lnTo>
                  <a:lnTo>
                    <a:pt x="936" y="287"/>
                  </a:lnTo>
                  <a:lnTo>
                    <a:pt x="938" y="287"/>
                  </a:lnTo>
                  <a:lnTo>
                    <a:pt x="938" y="285"/>
                  </a:lnTo>
                  <a:lnTo>
                    <a:pt x="939" y="285"/>
                  </a:lnTo>
                  <a:lnTo>
                    <a:pt x="940" y="285"/>
                  </a:lnTo>
                  <a:lnTo>
                    <a:pt x="940" y="283"/>
                  </a:lnTo>
                  <a:lnTo>
                    <a:pt x="942" y="283"/>
                  </a:lnTo>
                  <a:lnTo>
                    <a:pt x="942" y="282"/>
                  </a:lnTo>
                  <a:lnTo>
                    <a:pt x="940" y="282"/>
                  </a:lnTo>
                  <a:lnTo>
                    <a:pt x="940" y="279"/>
                  </a:lnTo>
                  <a:lnTo>
                    <a:pt x="942" y="279"/>
                  </a:lnTo>
                  <a:lnTo>
                    <a:pt x="943" y="279"/>
                  </a:lnTo>
                  <a:lnTo>
                    <a:pt x="942" y="279"/>
                  </a:lnTo>
                  <a:lnTo>
                    <a:pt x="940" y="278"/>
                  </a:lnTo>
                  <a:lnTo>
                    <a:pt x="942" y="278"/>
                  </a:lnTo>
                  <a:lnTo>
                    <a:pt x="942" y="275"/>
                  </a:lnTo>
                  <a:lnTo>
                    <a:pt x="943" y="275"/>
                  </a:lnTo>
                  <a:lnTo>
                    <a:pt x="944" y="275"/>
                  </a:lnTo>
                  <a:lnTo>
                    <a:pt x="946" y="275"/>
                  </a:lnTo>
                  <a:lnTo>
                    <a:pt x="947" y="275"/>
                  </a:lnTo>
                  <a:lnTo>
                    <a:pt x="949" y="275"/>
                  </a:lnTo>
                  <a:lnTo>
                    <a:pt x="949" y="274"/>
                  </a:lnTo>
                  <a:lnTo>
                    <a:pt x="950" y="274"/>
                  </a:lnTo>
                  <a:lnTo>
                    <a:pt x="949" y="274"/>
                  </a:lnTo>
                  <a:lnTo>
                    <a:pt x="949" y="273"/>
                  </a:lnTo>
                  <a:lnTo>
                    <a:pt x="950" y="271"/>
                  </a:lnTo>
                  <a:lnTo>
                    <a:pt x="949" y="271"/>
                  </a:lnTo>
                  <a:lnTo>
                    <a:pt x="949" y="270"/>
                  </a:lnTo>
                  <a:lnTo>
                    <a:pt x="950" y="270"/>
                  </a:lnTo>
                  <a:lnTo>
                    <a:pt x="949" y="269"/>
                  </a:lnTo>
                  <a:lnTo>
                    <a:pt x="950" y="269"/>
                  </a:lnTo>
                  <a:lnTo>
                    <a:pt x="951" y="269"/>
                  </a:lnTo>
                  <a:lnTo>
                    <a:pt x="951" y="266"/>
                  </a:lnTo>
                  <a:lnTo>
                    <a:pt x="953" y="266"/>
                  </a:lnTo>
                  <a:lnTo>
                    <a:pt x="953" y="265"/>
                  </a:lnTo>
                  <a:lnTo>
                    <a:pt x="954" y="265"/>
                  </a:lnTo>
                  <a:lnTo>
                    <a:pt x="953" y="265"/>
                  </a:lnTo>
                  <a:lnTo>
                    <a:pt x="953" y="262"/>
                  </a:lnTo>
                  <a:lnTo>
                    <a:pt x="954" y="262"/>
                  </a:lnTo>
                  <a:lnTo>
                    <a:pt x="955" y="262"/>
                  </a:lnTo>
                  <a:lnTo>
                    <a:pt x="955" y="260"/>
                  </a:lnTo>
                  <a:lnTo>
                    <a:pt x="954" y="260"/>
                  </a:lnTo>
                  <a:lnTo>
                    <a:pt x="955" y="260"/>
                  </a:lnTo>
                  <a:lnTo>
                    <a:pt x="957" y="258"/>
                  </a:lnTo>
                  <a:lnTo>
                    <a:pt x="958" y="257"/>
                  </a:lnTo>
                  <a:lnTo>
                    <a:pt x="958" y="256"/>
                  </a:lnTo>
                  <a:lnTo>
                    <a:pt x="960" y="256"/>
                  </a:lnTo>
                  <a:lnTo>
                    <a:pt x="960" y="253"/>
                  </a:lnTo>
                  <a:lnTo>
                    <a:pt x="963" y="253"/>
                  </a:lnTo>
                  <a:lnTo>
                    <a:pt x="961" y="253"/>
                  </a:lnTo>
                  <a:lnTo>
                    <a:pt x="961" y="251"/>
                  </a:lnTo>
                  <a:lnTo>
                    <a:pt x="963" y="251"/>
                  </a:lnTo>
                  <a:lnTo>
                    <a:pt x="964" y="253"/>
                  </a:lnTo>
                  <a:lnTo>
                    <a:pt x="964" y="251"/>
                  </a:lnTo>
                  <a:lnTo>
                    <a:pt x="964" y="249"/>
                  </a:lnTo>
                  <a:lnTo>
                    <a:pt x="965" y="249"/>
                  </a:lnTo>
                  <a:lnTo>
                    <a:pt x="965" y="251"/>
                  </a:lnTo>
                  <a:lnTo>
                    <a:pt x="965" y="249"/>
                  </a:lnTo>
                  <a:lnTo>
                    <a:pt x="967" y="249"/>
                  </a:lnTo>
                  <a:lnTo>
                    <a:pt x="968" y="249"/>
                  </a:lnTo>
                  <a:lnTo>
                    <a:pt x="968" y="248"/>
                  </a:lnTo>
                  <a:lnTo>
                    <a:pt x="968" y="246"/>
                  </a:lnTo>
                  <a:lnTo>
                    <a:pt x="967" y="246"/>
                  </a:lnTo>
                  <a:lnTo>
                    <a:pt x="968" y="246"/>
                  </a:lnTo>
                  <a:lnTo>
                    <a:pt x="968" y="244"/>
                  </a:lnTo>
                  <a:lnTo>
                    <a:pt x="968" y="243"/>
                  </a:lnTo>
                  <a:lnTo>
                    <a:pt x="968" y="240"/>
                  </a:lnTo>
                  <a:lnTo>
                    <a:pt x="968" y="237"/>
                  </a:lnTo>
                  <a:lnTo>
                    <a:pt x="969" y="237"/>
                  </a:lnTo>
                  <a:lnTo>
                    <a:pt x="971" y="237"/>
                  </a:lnTo>
                  <a:lnTo>
                    <a:pt x="969" y="237"/>
                  </a:lnTo>
                  <a:lnTo>
                    <a:pt x="968" y="237"/>
                  </a:lnTo>
                  <a:lnTo>
                    <a:pt x="969" y="237"/>
                  </a:lnTo>
                  <a:lnTo>
                    <a:pt x="969" y="236"/>
                  </a:lnTo>
                  <a:lnTo>
                    <a:pt x="969" y="237"/>
                  </a:lnTo>
                  <a:lnTo>
                    <a:pt x="971" y="237"/>
                  </a:lnTo>
                  <a:lnTo>
                    <a:pt x="971" y="236"/>
                  </a:lnTo>
                  <a:lnTo>
                    <a:pt x="971" y="234"/>
                  </a:lnTo>
                  <a:lnTo>
                    <a:pt x="972" y="234"/>
                  </a:lnTo>
                  <a:lnTo>
                    <a:pt x="972" y="236"/>
                  </a:lnTo>
                  <a:lnTo>
                    <a:pt x="974" y="236"/>
                  </a:lnTo>
                  <a:lnTo>
                    <a:pt x="974" y="234"/>
                  </a:lnTo>
                  <a:lnTo>
                    <a:pt x="972" y="234"/>
                  </a:lnTo>
                  <a:lnTo>
                    <a:pt x="974" y="234"/>
                  </a:lnTo>
                  <a:lnTo>
                    <a:pt x="974" y="233"/>
                  </a:lnTo>
                  <a:lnTo>
                    <a:pt x="972" y="233"/>
                  </a:lnTo>
                  <a:lnTo>
                    <a:pt x="972" y="231"/>
                  </a:lnTo>
                  <a:lnTo>
                    <a:pt x="974" y="231"/>
                  </a:lnTo>
                  <a:lnTo>
                    <a:pt x="975" y="231"/>
                  </a:lnTo>
                  <a:lnTo>
                    <a:pt x="977" y="231"/>
                  </a:lnTo>
                  <a:lnTo>
                    <a:pt x="978" y="231"/>
                  </a:lnTo>
                  <a:lnTo>
                    <a:pt x="980" y="231"/>
                  </a:lnTo>
                  <a:lnTo>
                    <a:pt x="982" y="231"/>
                  </a:lnTo>
                  <a:lnTo>
                    <a:pt x="983" y="231"/>
                  </a:lnTo>
                  <a:lnTo>
                    <a:pt x="985" y="231"/>
                  </a:lnTo>
                  <a:lnTo>
                    <a:pt x="985" y="229"/>
                  </a:lnTo>
                  <a:lnTo>
                    <a:pt x="986" y="229"/>
                  </a:lnTo>
                  <a:lnTo>
                    <a:pt x="988" y="229"/>
                  </a:lnTo>
                  <a:lnTo>
                    <a:pt x="989" y="229"/>
                  </a:lnTo>
                  <a:lnTo>
                    <a:pt x="990" y="229"/>
                  </a:lnTo>
                  <a:lnTo>
                    <a:pt x="990" y="226"/>
                  </a:lnTo>
                  <a:lnTo>
                    <a:pt x="992" y="229"/>
                  </a:lnTo>
                  <a:lnTo>
                    <a:pt x="992" y="226"/>
                  </a:lnTo>
                  <a:lnTo>
                    <a:pt x="993" y="226"/>
                  </a:lnTo>
                  <a:lnTo>
                    <a:pt x="994" y="226"/>
                  </a:lnTo>
                  <a:lnTo>
                    <a:pt x="996" y="226"/>
                  </a:lnTo>
                  <a:lnTo>
                    <a:pt x="997" y="226"/>
                  </a:lnTo>
                  <a:lnTo>
                    <a:pt x="999" y="226"/>
                  </a:lnTo>
                  <a:lnTo>
                    <a:pt x="999" y="225"/>
                  </a:lnTo>
                  <a:lnTo>
                    <a:pt x="1000" y="225"/>
                  </a:lnTo>
                  <a:lnTo>
                    <a:pt x="1002" y="225"/>
                  </a:lnTo>
                  <a:lnTo>
                    <a:pt x="1003" y="225"/>
                  </a:lnTo>
                  <a:lnTo>
                    <a:pt x="1004" y="224"/>
                  </a:lnTo>
                  <a:lnTo>
                    <a:pt x="1005" y="224"/>
                  </a:lnTo>
                  <a:lnTo>
                    <a:pt x="1008" y="224"/>
                  </a:lnTo>
                  <a:lnTo>
                    <a:pt x="1008" y="225"/>
                  </a:lnTo>
                  <a:lnTo>
                    <a:pt x="1010" y="225"/>
                  </a:lnTo>
                  <a:lnTo>
                    <a:pt x="1010" y="224"/>
                  </a:lnTo>
                  <a:lnTo>
                    <a:pt x="1010" y="223"/>
                  </a:lnTo>
                  <a:lnTo>
                    <a:pt x="1011" y="223"/>
                  </a:lnTo>
                  <a:lnTo>
                    <a:pt x="1013" y="223"/>
                  </a:lnTo>
                  <a:lnTo>
                    <a:pt x="1014" y="223"/>
                  </a:lnTo>
                  <a:lnTo>
                    <a:pt x="1015" y="223"/>
                  </a:lnTo>
                  <a:lnTo>
                    <a:pt x="1017" y="223"/>
                  </a:lnTo>
                  <a:lnTo>
                    <a:pt x="1018" y="223"/>
                  </a:lnTo>
                  <a:lnTo>
                    <a:pt x="1018" y="221"/>
                  </a:lnTo>
                  <a:lnTo>
                    <a:pt x="1019" y="221"/>
                  </a:lnTo>
                  <a:lnTo>
                    <a:pt x="1021" y="221"/>
                  </a:lnTo>
                  <a:lnTo>
                    <a:pt x="1022" y="221"/>
                  </a:lnTo>
                  <a:lnTo>
                    <a:pt x="1024" y="223"/>
                  </a:lnTo>
                  <a:lnTo>
                    <a:pt x="1025" y="223"/>
                  </a:lnTo>
                  <a:lnTo>
                    <a:pt x="1027" y="221"/>
                  </a:lnTo>
                  <a:lnTo>
                    <a:pt x="1027" y="220"/>
                  </a:lnTo>
                  <a:lnTo>
                    <a:pt x="1028" y="220"/>
                  </a:lnTo>
                  <a:lnTo>
                    <a:pt x="1029" y="220"/>
                  </a:lnTo>
                  <a:lnTo>
                    <a:pt x="1031" y="220"/>
                  </a:lnTo>
                  <a:lnTo>
                    <a:pt x="1031" y="217"/>
                  </a:lnTo>
                  <a:lnTo>
                    <a:pt x="1032" y="217"/>
                  </a:lnTo>
                  <a:lnTo>
                    <a:pt x="1033" y="217"/>
                  </a:lnTo>
                  <a:lnTo>
                    <a:pt x="1035" y="217"/>
                  </a:lnTo>
                  <a:lnTo>
                    <a:pt x="1033" y="217"/>
                  </a:lnTo>
                  <a:lnTo>
                    <a:pt x="1035" y="217"/>
                  </a:lnTo>
                  <a:lnTo>
                    <a:pt x="1035" y="215"/>
                  </a:lnTo>
                  <a:lnTo>
                    <a:pt x="1036" y="217"/>
                  </a:lnTo>
                  <a:lnTo>
                    <a:pt x="1042" y="215"/>
                  </a:lnTo>
                  <a:lnTo>
                    <a:pt x="1049" y="217"/>
                  </a:lnTo>
                  <a:lnTo>
                    <a:pt x="1054" y="215"/>
                  </a:lnTo>
                  <a:lnTo>
                    <a:pt x="1060" y="213"/>
                  </a:lnTo>
                  <a:lnTo>
                    <a:pt x="1061" y="208"/>
                  </a:lnTo>
                  <a:lnTo>
                    <a:pt x="1063" y="203"/>
                  </a:lnTo>
                  <a:lnTo>
                    <a:pt x="1065" y="201"/>
                  </a:lnTo>
                  <a:lnTo>
                    <a:pt x="1071" y="200"/>
                  </a:lnTo>
                  <a:lnTo>
                    <a:pt x="1078" y="203"/>
                  </a:lnTo>
                  <a:lnTo>
                    <a:pt x="1086" y="198"/>
                  </a:lnTo>
                  <a:lnTo>
                    <a:pt x="1088" y="199"/>
                  </a:lnTo>
                  <a:lnTo>
                    <a:pt x="1096" y="198"/>
                  </a:lnTo>
                  <a:lnTo>
                    <a:pt x="1098" y="195"/>
                  </a:lnTo>
                  <a:lnTo>
                    <a:pt x="1096" y="191"/>
                  </a:lnTo>
                  <a:lnTo>
                    <a:pt x="1100" y="189"/>
                  </a:lnTo>
                  <a:lnTo>
                    <a:pt x="1100" y="184"/>
                  </a:lnTo>
                  <a:lnTo>
                    <a:pt x="1107" y="182"/>
                  </a:lnTo>
                  <a:lnTo>
                    <a:pt x="1112" y="182"/>
                  </a:lnTo>
                  <a:lnTo>
                    <a:pt x="1117" y="182"/>
                  </a:lnTo>
                  <a:lnTo>
                    <a:pt x="1120" y="179"/>
                  </a:lnTo>
                  <a:lnTo>
                    <a:pt x="1120" y="173"/>
                  </a:lnTo>
                  <a:lnTo>
                    <a:pt x="1124" y="169"/>
                  </a:lnTo>
                  <a:lnTo>
                    <a:pt x="1124" y="173"/>
                  </a:lnTo>
                  <a:lnTo>
                    <a:pt x="1127" y="171"/>
                  </a:lnTo>
                  <a:lnTo>
                    <a:pt x="1128" y="171"/>
                  </a:lnTo>
                  <a:lnTo>
                    <a:pt x="1132" y="171"/>
                  </a:lnTo>
                  <a:lnTo>
                    <a:pt x="1135" y="166"/>
                  </a:lnTo>
                  <a:lnTo>
                    <a:pt x="1143" y="162"/>
                  </a:lnTo>
                  <a:lnTo>
                    <a:pt x="1145" y="153"/>
                  </a:lnTo>
                  <a:lnTo>
                    <a:pt x="1148" y="150"/>
                  </a:lnTo>
                  <a:lnTo>
                    <a:pt x="1152" y="142"/>
                  </a:lnTo>
                  <a:lnTo>
                    <a:pt x="1157" y="141"/>
                  </a:lnTo>
                  <a:lnTo>
                    <a:pt x="1156" y="137"/>
                  </a:lnTo>
                  <a:lnTo>
                    <a:pt x="1163" y="137"/>
                  </a:lnTo>
                  <a:lnTo>
                    <a:pt x="1167" y="137"/>
                  </a:lnTo>
                  <a:lnTo>
                    <a:pt x="1168" y="137"/>
                  </a:lnTo>
                  <a:lnTo>
                    <a:pt x="1173" y="129"/>
                  </a:lnTo>
                  <a:lnTo>
                    <a:pt x="1179" y="128"/>
                  </a:lnTo>
                  <a:lnTo>
                    <a:pt x="1182" y="126"/>
                  </a:lnTo>
                  <a:lnTo>
                    <a:pt x="1181" y="124"/>
                  </a:lnTo>
                  <a:lnTo>
                    <a:pt x="1182" y="122"/>
                  </a:lnTo>
                  <a:lnTo>
                    <a:pt x="1185" y="122"/>
                  </a:lnTo>
                  <a:lnTo>
                    <a:pt x="1184" y="119"/>
                  </a:lnTo>
                  <a:lnTo>
                    <a:pt x="1187" y="117"/>
                  </a:lnTo>
                  <a:lnTo>
                    <a:pt x="1188" y="113"/>
                  </a:lnTo>
                  <a:lnTo>
                    <a:pt x="1188" y="105"/>
                  </a:lnTo>
                  <a:lnTo>
                    <a:pt x="1190" y="96"/>
                  </a:lnTo>
                  <a:lnTo>
                    <a:pt x="1193" y="94"/>
                  </a:lnTo>
                  <a:lnTo>
                    <a:pt x="1199" y="84"/>
                  </a:lnTo>
                  <a:lnTo>
                    <a:pt x="1200" y="84"/>
                  </a:lnTo>
                  <a:lnTo>
                    <a:pt x="1202" y="84"/>
                  </a:lnTo>
                  <a:lnTo>
                    <a:pt x="1206" y="84"/>
                  </a:lnTo>
                  <a:lnTo>
                    <a:pt x="1212" y="88"/>
                  </a:lnTo>
                  <a:lnTo>
                    <a:pt x="1217" y="87"/>
                  </a:lnTo>
                  <a:lnTo>
                    <a:pt x="1218" y="75"/>
                  </a:lnTo>
                  <a:lnTo>
                    <a:pt x="1221" y="75"/>
                  </a:lnTo>
                  <a:lnTo>
                    <a:pt x="1220" y="74"/>
                  </a:lnTo>
                  <a:lnTo>
                    <a:pt x="1221" y="74"/>
                  </a:lnTo>
                  <a:lnTo>
                    <a:pt x="1221" y="71"/>
                  </a:lnTo>
                  <a:lnTo>
                    <a:pt x="1220" y="70"/>
                  </a:lnTo>
                  <a:lnTo>
                    <a:pt x="1221" y="62"/>
                  </a:lnTo>
                  <a:lnTo>
                    <a:pt x="1225" y="60"/>
                  </a:lnTo>
                  <a:lnTo>
                    <a:pt x="1227" y="62"/>
                  </a:lnTo>
                  <a:lnTo>
                    <a:pt x="1232" y="59"/>
                  </a:lnTo>
                  <a:lnTo>
                    <a:pt x="1232" y="52"/>
                  </a:lnTo>
                  <a:lnTo>
                    <a:pt x="1240" y="49"/>
                  </a:lnTo>
                  <a:lnTo>
                    <a:pt x="1239" y="46"/>
                  </a:lnTo>
                  <a:lnTo>
                    <a:pt x="1240" y="39"/>
                  </a:lnTo>
                  <a:lnTo>
                    <a:pt x="1248" y="37"/>
                  </a:lnTo>
                  <a:lnTo>
                    <a:pt x="1249" y="34"/>
                  </a:lnTo>
                  <a:lnTo>
                    <a:pt x="1246" y="20"/>
                  </a:lnTo>
                  <a:lnTo>
                    <a:pt x="1250" y="17"/>
                  </a:lnTo>
                  <a:lnTo>
                    <a:pt x="1248" y="14"/>
                  </a:lnTo>
                  <a:lnTo>
                    <a:pt x="1252" y="8"/>
                  </a:lnTo>
                  <a:lnTo>
                    <a:pt x="1252" y="4"/>
                  </a:lnTo>
                  <a:lnTo>
                    <a:pt x="1250" y="4"/>
                  </a:lnTo>
                  <a:lnTo>
                    <a:pt x="1248" y="2"/>
                  </a:lnTo>
                  <a:lnTo>
                    <a:pt x="1245" y="0"/>
                  </a:lnTo>
                  <a:lnTo>
                    <a:pt x="1289" y="0"/>
                  </a:lnTo>
                  <a:lnTo>
                    <a:pt x="1640" y="0"/>
                  </a:lnTo>
                  <a:lnTo>
                    <a:pt x="1649" y="2"/>
                  </a:lnTo>
                  <a:lnTo>
                    <a:pt x="1655" y="13"/>
                  </a:lnTo>
                  <a:lnTo>
                    <a:pt x="1655" y="17"/>
                  </a:lnTo>
                  <a:lnTo>
                    <a:pt x="1659" y="21"/>
                  </a:lnTo>
                  <a:lnTo>
                    <a:pt x="1668" y="24"/>
                  </a:lnTo>
                  <a:lnTo>
                    <a:pt x="1672" y="26"/>
                  </a:lnTo>
                  <a:lnTo>
                    <a:pt x="1677" y="25"/>
                  </a:lnTo>
                  <a:lnTo>
                    <a:pt x="1680" y="26"/>
                  </a:lnTo>
                  <a:lnTo>
                    <a:pt x="1680" y="24"/>
                  </a:lnTo>
                  <a:lnTo>
                    <a:pt x="1679" y="21"/>
                  </a:lnTo>
                  <a:lnTo>
                    <a:pt x="1683" y="16"/>
                  </a:lnTo>
                  <a:lnTo>
                    <a:pt x="1683" y="17"/>
                  </a:lnTo>
                  <a:lnTo>
                    <a:pt x="1684" y="20"/>
                  </a:lnTo>
                  <a:lnTo>
                    <a:pt x="1686" y="24"/>
                  </a:lnTo>
                  <a:lnTo>
                    <a:pt x="1684" y="25"/>
                  </a:lnTo>
                  <a:lnTo>
                    <a:pt x="1686" y="26"/>
                  </a:lnTo>
                  <a:lnTo>
                    <a:pt x="1686" y="29"/>
                  </a:lnTo>
                  <a:lnTo>
                    <a:pt x="1687" y="30"/>
                  </a:lnTo>
                  <a:lnTo>
                    <a:pt x="1691" y="38"/>
                  </a:lnTo>
                  <a:lnTo>
                    <a:pt x="1704" y="74"/>
                  </a:lnTo>
                  <a:lnTo>
                    <a:pt x="1705" y="75"/>
                  </a:lnTo>
                  <a:lnTo>
                    <a:pt x="1708" y="79"/>
                  </a:lnTo>
                  <a:lnTo>
                    <a:pt x="1712" y="75"/>
                  </a:lnTo>
                  <a:lnTo>
                    <a:pt x="1718" y="75"/>
                  </a:lnTo>
                  <a:lnTo>
                    <a:pt x="1722" y="84"/>
                  </a:lnTo>
                  <a:lnTo>
                    <a:pt x="1722" y="88"/>
                  </a:lnTo>
                  <a:lnTo>
                    <a:pt x="1724" y="95"/>
                  </a:lnTo>
                  <a:lnTo>
                    <a:pt x="1736" y="97"/>
                  </a:lnTo>
                  <a:lnTo>
                    <a:pt x="1738" y="97"/>
                  </a:lnTo>
                  <a:lnTo>
                    <a:pt x="1738" y="101"/>
                  </a:lnTo>
                  <a:lnTo>
                    <a:pt x="1743" y="101"/>
                  </a:lnTo>
                  <a:lnTo>
                    <a:pt x="1746" y="107"/>
                  </a:lnTo>
                  <a:lnTo>
                    <a:pt x="1751" y="108"/>
                  </a:lnTo>
                  <a:lnTo>
                    <a:pt x="1754" y="107"/>
                  </a:lnTo>
                  <a:lnTo>
                    <a:pt x="1758" y="109"/>
                  </a:lnTo>
                  <a:lnTo>
                    <a:pt x="1772" y="95"/>
                  </a:lnTo>
                  <a:lnTo>
                    <a:pt x="1776" y="92"/>
                  </a:lnTo>
                  <a:lnTo>
                    <a:pt x="1782" y="84"/>
                  </a:lnTo>
                  <a:lnTo>
                    <a:pt x="1787" y="82"/>
                  </a:lnTo>
                  <a:lnTo>
                    <a:pt x="1812" y="108"/>
                  </a:lnTo>
                  <a:lnTo>
                    <a:pt x="1815" y="111"/>
                  </a:lnTo>
                  <a:lnTo>
                    <a:pt x="1813" y="120"/>
                  </a:lnTo>
                  <a:lnTo>
                    <a:pt x="1816" y="128"/>
                  </a:lnTo>
                  <a:lnTo>
                    <a:pt x="1816" y="136"/>
                  </a:lnTo>
                  <a:lnTo>
                    <a:pt x="1813" y="145"/>
                  </a:lnTo>
                  <a:lnTo>
                    <a:pt x="1815" y="146"/>
                  </a:lnTo>
                  <a:lnTo>
                    <a:pt x="1815" y="150"/>
                  </a:lnTo>
                  <a:lnTo>
                    <a:pt x="1816" y="153"/>
                  </a:lnTo>
                  <a:lnTo>
                    <a:pt x="1826" y="149"/>
                  </a:lnTo>
                  <a:lnTo>
                    <a:pt x="1829" y="150"/>
                  </a:lnTo>
                  <a:lnTo>
                    <a:pt x="1830" y="149"/>
                  </a:lnTo>
                  <a:lnTo>
                    <a:pt x="1833" y="150"/>
                  </a:lnTo>
                  <a:lnTo>
                    <a:pt x="1836" y="150"/>
                  </a:lnTo>
                  <a:lnTo>
                    <a:pt x="1838" y="149"/>
                  </a:lnTo>
                  <a:lnTo>
                    <a:pt x="1840" y="150"/>
                  </a:lnTo>
                  <a:lnTo>
                    <a:pt x="1843" y="146"/>
                  </a:lnTo>
                  <a:lnTo>
                    <a:pt x="1847" y="146"/>
                  </a:lnTo>
                  <a:lnTo>
                    <a:pt x="1855" y="142"/>
                  </a:lnTo>
                  <a:lnTo>
                    <a:pt x="1859" y="142"/>
                  </a:lnTo>
                  <a:lnTo>
                    <a:pt x="1859" y="139"/>
                  </a:lnTo>
                  <a:lnTo>
                    <a:pt x="1866" y="133"/>
                  </a:lnTo>
                  <a:lnTo>
                    <a:pt x="1872" y="130"/>
                  </a:lnTo>
                  <a:lnTo>
                    <a:pt x="1875" y="124"/>
                  </a:lnTo>
                  <a:lnTo>
                    <a:pt x="1879" y="120"/>
                  </a:lnTo>
                  <a:lnTo>
                    <a:pt x="1882" y="117"/>
                  </a:lnTo>
                  <a:lnTo>
                    <a:pt x="1886" y="113"/>
                  </a:lnTo>
                  <a:lnTo>
                    <a:pt x="1892" y="105"/>
                  </a:lnTo>
                  <a:lnTo>
                    <a:pt x="1892" y="107"/>
                  </a:lnTo>
                  <a:lnTo>
                    <a:pt x="1896" y="101"/>
                  </a:lnTo>
                  <a:lnTo>
                    <a:pt x="1897" y="104"/>
                  </a:lnTo>
                  <a:lnTo>
                    <a:pt x="1901" y="101"/>
                  </a:lnTo>
                  <a:lnTo>
                    <a:pt x="1904" y="104"/>
                  </a:lnTo>
                  <a:lnTo>
                    <a:pt x="1905" y="109"/>
                  </a:lnTo>
                  <a:lnTo>
                    <a:pt x="1908" y="109"/>
                  </a:lnTo>
                  <a:lnTo>
                    <a:pt x="1908" y="111"/>
                  </a:lnTo>
                  <a:lnTo>
                    <a:pt x="1912" y="119"/>
                  </a:lnTo>
                  <a:lnTo>
                    <a:pt x="1915" y="117"/>
                  </a:lnTo>
                  <a:lnTo>
                    <a:pt x="1917" y="114"/>
                  </a:lnTo>
                  <a:lnTo>
                    <a:pt x="1919" y="114"/>
                  </a:lnTo>
                  <a:lnTo>
                    <a:pt x="1921" y="113"/>
                  </a:lnTo>
                  <a:lnTo>
                    <a:pt x="1921" y="114"/>
                  </a:lnTo>
                  <a:lnTo>
                    <a:pt x="1922" y="114"/>
                  </a:lnTo>
                  <a:lnTo>
                    <a:pt x="1931" y="122"/>
                  </a:lnTo>
                  <a:lnTo>
                    <a:pt x="1931" y="124"/>
                  </a:lnTo>
                  <a:lnTo>
                    <a:pt x="1933" y="126"/>
                  </a:lnTo>
                  <a:lnTo>
                    <a:pt x="1933" y="129"/>
                  </a:lnTo>
                  <a:lnTo>
                    <a:pt x="1939" y="133"/>
                  </a:lnTo>
                  <a:lnTo>
                    <a:pt x="1943" y="133"/>
                  </a:lnTo>
                  <a:lnTo>
                    <a:pt x="1946" y="137"/>
                  </a:lnTo>
                  <a:lnTo>
                    <a:pt x="1950" y="139"/>
                  </a:lnTo>
                  <a:lnTo>
                    <a:pt x="1958" y="150"/>
                  </a:lnTo>
                  <a:lnTo>
                    <a:pt x="1961" y="150"/>
                  </a:lnTo>
                  <a:lnTo>
                    <a:pt x="1962" y="156"/>
                  </a:lnTo>
                  <a:lnTo>
                    <a:pt x="1965" y="156"/>
                  </a:lnTo>
                  <a:lnTo>
                    <a:pt x="1969" y="153"/>
                  </a:lnTo>
                  <a:lnTo>
                    <a:pt x="1973" y="156"/>
                  </a:lnTo>
                  <a:lnTo>
                    <a:pt x="1975" y="159"/>
                  </a:lnTo>
                  <a:lnTo>
                    <a:pt x="1978" y="162"/>
                  </a:lnTo>
                  <a:lnTo>
                    <a:pt x="1979" y="159"/>
                  </a:lnTo>
                  <a:lnTo>
                    <a:pt x="1981" y="163"/>
                  </a:lnTo>
                  <a:lnTo>
                    <a:pt x="1984" y="162"/>
                  </a:lnTo>
                  <a:lnTo>
                    <a:pt x="1986" y="166"/>
                  </a:lnTo>
                  <a:lnTo>
                    <a:pt x="1986" y="169"/>
                  </a:lnTo>
                  <a:lnTo>
                    <a:pt x="1987" y="169"/>
                  </a:lnTo>
                  <a:lnTo>
                    <a:pt x="1984" y="173"/>
                  </a:lnTo>
                  <a:lnTo>
                    <a:pt x="1987" y="175"/>
                  </a:lnTo>
                  <a:lnTo>
                    <a:pt x="1987" y="178"/>
                  </a:lnTo>
                  <a:lnTo>
                    <a:pt x="1986" y="179"/>
                  </a:lnTo>
                  <a:lnTo>
                    <a:pt x="1986" y="181"/>
                  </a:lnTo>
                  <a:lnTo>
                    <a:pt x="1984" y="181"/>
                  </a:lnTo>
                  <a:lnTo>
                    <a:pt x="1984" y="182"/>
                  </a:lnTo>
                  <a:lnTo>
                    <a:pt x="1987" y="184"/>
                  </a:lnTo>
                  <a:lnTo>
                    <a:pt x="1989" y="188"/>
                  </a:lnTo>
                  <a:lnTo>
                    <a:pt x="1992" y="191"/>
                  </a:lnTo>
                  <a:lnTo>
                    <a:pt x="1994" y="189"/>
                  </a:lnTo>
                  <a:lnTo>
                    <a:pt x="1997" y="189"/>
                  </a:lnTo>
                  <a:lnTo>
                    <a:pt x="2000" y="188"/>
                  </a:lnTo>
                  <a:lnTo>
                    <a:pt x="2003" y="191"/>
                  </a:lnTo>
                  <a:lnTo>
                    <a:pt x="2006" y="189"/>
                  </a:lnTo>
                  <a:lnTo>
                    <a:pt x="2008" y="191"/>
                  </a:lnTo>
                  <a:lnTo>
                    <a:pt x="2011" y="191"/>
                  </a:lnTo>
                  <a:lnTo>
                    <a:pt x="2017" y="191"/>
                  </a:lnTo>
                  <a:lnTo>
                    <a:pt x="2021" y="191"/>
                  </a:lnTo>
                  <a:lnTo>
                    <a:pt x="2028" y="191"/>
                  </a:lnTo>
                  <a:lnTo>
                    <a:pt x="2029" y="195"/>
                  </a:lnTo>
                  <a:lnTo>
                    <a:pt x="2031" y="195"/>
                  </a:lnTo>
                  <a:lnTo>
                    <a:pt x="2033" y="191"/>
                  </a:lnTo>
                  <a:lnTo>
                    <a:pt x="2039" y="198"/>
                  </a:lnTo>
                  <a:lnTo>
                    <a:pt x="2042" y="195"/>
                  </a:lnTo>
                  <a:lnTo>
                    <a:pt x="2042" y="194"/>
                  </a:lnTo>
                  <a:lnTo>
                    <a:pt x="2043" y="195"/>
                  </a:lnTo>
                  <a:lnTo>
                    <a:pt x="2048" y="198"/>
                  </a:lnTo>
                  <a:lnTo>
                    <a:pt x="2064" y="194"/>
                  </a:lnTo>
                  <a:lnTo>
                    <a:pt x="2067" y="191"/>
                  </a:lnTo>
                  <a:lnTo>
                    <a:pt x="2069" y="191"/>
                  </a:lnTo>
                  <a:lnTo>
                    <a:pt x="2075" y="187"/>
                  </a:lnTo>
                  <a:lnTo>
                    <a:pt x="2082" y="178"/>
                  </a:lnTo>
                  <a:lnTo>
                    <a:pt x="2086" y="178"/>
                  </a:lnTo>
                  <a:lnTo>
                    <a:pt x="2101" y="169"/>
                  </a:lnTo>
                  <a:lnTo>
                    <a:pt x="2112" y="173"/>
                  </a:lnTo>
                  <a:lnTo>
                    <a:pt x="2114" y="173"/>
                  </a:lnTo>
                  <a:lnTo>
                    <a:pt x="2125" y="173"/>
                  </a:lnTo>
                  <a:lnTo>
                    <a:pt x="2129" y="173"/>
                  </a:lnTo>
                  <a:lnTo>
                    <a:pt x="2136" y="173"/>
                  </a:lnTo>
                  <a:lnTo>
                    <a:pt x="2137" y="169"/>
                  </a:lnTo>
                  <a:lnTo>
                    <a:pt x="2142" y="169"/>
                  </a:lnTo>
                  <a:lnTo>
                    <a:pt x="2145" y="169"/>
                  </a:lnTo>
                  <a:lnTo>
                    <a:pt x="2150" y="167"/>
                  </a:lnTo>
                  <a:lnTo>
                    <a:pt x="2154" y="166"/>
                  </a:lnTo>
                  <a:lnTo>
                    <a:pt x="2157" y="163"/>
                  </a:lnTo>
                  <a:lnTo>
                    <a:pt x="2160" y="164"/>
                  </a:lnTo>
                  <a:lnTo>
                    <a:pt x="2165" y="164"/>
                  </a:lnTo>
                  <a:lnTo>
                    <a:pt x="2167" y="169"/>
                  </a:lnTo>
                  <a:lnTo>
                    <a:pt x="2174" y="173"/>
                  </a:lnTo>
                  <a:lnTo>
                    <a:pt x="2175" y="178"/>
                  </a:lnTo>
                  <a:lnTo>
                    <a:pt x="2181" y="176"/>
                  </a:lnTo>
                  <a:lnTo>
                    <a:pt x="2182" y="179"/>
                  </a:lnTo>
                  <a:lnTo>
                    <a:pt x="2186" y="184"/>
                  </a:lnTo>
                  <a:lnTo>
                    <a:pt x="2191" y="184"/>
                  </a:lnTo>
                  <a:lnTo>
                    <a:pt x="2196" y="191"/>
                  </a:lnTo>
                  <a:lnTo>
                    <a:pt x="2200" y="191"/>
                  </a:lnTo>
                  <a:lnTo>
                    <a:pt x="2203" y="187"/>
                  </a:lnTo>
                  <a:lnTo>
                    <a:pt x="2208" y="184"/>
                  </a:lnTo>
                  <a:lnTo>
                    <a:pt x="2213" y="181"/>
                  </a:lnTo>
                  <a:lnTo>
                    <a:pt x="2217" y="186"/>
                  </a:lnTo>
                  <a:lnTo>
                    <a:pt x="2220" y="184"/>
                  </a:lnTo>
                  <a:lnTo>
                    <a:pt x="2232" y="184"/>
                  </a:lnTo>
                  <a:lnTo>
                    <a:pt x="2243" y="187"/>
                  </a:lnTo>
                  <a:lnTo>
                    <a:pt x="2250" y="188"/>
                  </a:lnTo>
                  <a:lnTo>
                    <a:pt x="2261" y="195"/>
                  </a:lnTo>
                  <a:lnTo>
                    <a:pt x="2263" y="194"/>
                  </a:lnTo>
                  <a:lnTo>
                    <a:pt x="2271" y="195"/>
                  </a:lnTo>
                  <a:lnTo>
                    <a:pt x="2274" y="198"/>
                  </a:lnTo>
                  <a:lnTo>
                    <a:pt x="2272" y="199"/>
                  </a:lnTo>
                  <a:lnTo>
                    <a:pt x="2274" y="200"/>
                  </a:lnTo>
                  <a:lnTo>
                    <a:pt x="2286" y="208"/>
                  </a:lnTo>
                  <a:lnTo>
                    <a:pt x="2297" y="208"/>
                  </a:lnTo>
                  <a:lnTo>
                    <a:pt x="2299" y="211"/>
                  </a:lnTo>
                  <a:lnTo>
                    <a:pt x="2296" y="215"/>
                  </a:lnTo>
                  <a:lnTo>
                    <a:pt x="2299" y="225"/>
                  </a:lnTo>
                  <a:lnTo>
                    <a:pt x="2295" y="226"/>
                  </a:lnTo>
                  <a:lnTo>
                    <a:pt x="2299" y="240"/>
                  </a:lnTo>
                  <a:lnTo>
                    <a:pt x="2303" y="244"/>
                  </a:lnTo>
                  <a:lnTo>
                    <a:pt x="2310" y="246"/>
                  </a:lnTo>
                  <a:lnTo>
                    <a:pt x="2318" y="256"/>
                  </a:lnTo>
                  <a:lnTo>
                    <a:pt x="2327" y="260"/>
                  </a:lnTo>
                  <a:lnTo>
                    <a:pt x="2328" y="258"/>
                  </a:lnTo>
                  <a:lnTo>
                    <a:pt x="2328" y="251"/>
                  </a:lnTo>
                  <a:lnTo>
                    <a:pt x="2331" y="249"/>
                  </a:lnTo>
                  <a:lnTo>
                    <a:pt x="2335" y="249"/>
                  </a:lnTo>
                  <a:lnTo>
                    <a:pt x="2336" y="253"/>
                  </a:lnTo>
                  <a:lnTo>
                    <a:pt x="2335" y="258"/>
                  </a:lnTo>
                  <a:lnTo>
                    <a:pt x="2341" y="262"/>
                  </a:lnTo>
                  <a:lnTo>
                    <a:pt x="2345" y="262"/>
                  </a:lnTo>
                  <a:lnTo>
                    <a:pt x="2350" y="266"/>
                  </a:lnTo>
                  <a:lnTo>
                    <a:pt x="2355" y="266"/>
                  </a:lnTo>
                  <a:lnTo>
                    <a:pt x="2360" y="260"/>
                  </a:lnTo>
                  <a:lnTo>
                    <a:pt x="2364" y="262"/>
                  </a:lnTo>
                  <a:lnTo>
                    <a:pt x="2371" y="258"/>
                  </a:lnTo>
                  <a:lnTo>
                    <a:pt x="2371" y="260"/>
                  </a:lnTo>
                  <a:lnTo>
                    <a:pt x="2377" y="262"/>
                  </a:lnTo>
                  <a:lnTo>
                    <a:pt x="2377" y="266"/>
                  </a:lnTo>
                  <a:lnTo>
                    <a:pt x="2372" y="269"/>
                  </a:lnTo>
                  <a:lnTo>
                    <a:pt x="2372" y="270"/>
                  </a:lnTo>
                  <a:lnTo>
                    <a:pt x="2380" y="273"/>
                  </a:lnTo>
                  <a:lnTo>
                    <a:pt x="2383" y="279"/>
                  </a:lnTo>
                  <a:lnTo>
                    <a:pt x="2388" y="279"/>
                  </a:lnTo>
                  <a:lnTo>
                    <a:pt x="2399" y="275"/>
                  </a:lnTo>
                  <a:lnTo>
                    <a:pt x="2407" y="274"/>
                  </a:lnTo>
                  <a:lnTo>
                    <a:pt x="2409" y="275"/>
                  </a:lnTo>
                  <a:lnTo>
                    <a:pt x="2405" y="287"/>
                  </a:lnTo>
                  <a:lnTo>
                    <a:pt x="2399" y="293"/>
                  </a:lnTo>
                  <a:lnTo>
                    <a:pt x="2399" y="300"/>
                  </a:lnTo>
                  <a:lnTo>
                    <a:pt x="2399" y="307"/>
                  </a:lnTo>
                  <a:lnTo>
                    <a:pt x="2403" y="308"/>
                  </a:lnTo>
                  <a:lnTo>
                    <a:pt x="2407" y="307"/>
                  </a:lnTo>
                  <a:lnTo>
                    <a:pt x="2417" y="315"/>
                  </a:lnTo>
                  <a:lnTo>
                    <a:pt x="2421" y="316"/>
                  </a:lnTo>
                  <a:lnTo>
                    <a:pt x="2425" y="315"/>
                  </a:lnTo>
                  <a:lnTo>
                    <a:pt x="2431" y="320"/>
                  </a:lnTo>
                  <a:lnTo>
                    <a:pt x="2431" y="323"/>
                  </a:lnTo>
                  <a:lnTo>
                    <a:pt x="2428" y="324"/>
                  </a:lnTo>
                  <a:lnTo>
                    <a:pt x="2428" y="330"/>
                  </a:lnTo>
                  <a:lnTo>
                    <a:pt x="2435" y="337"/>
                  </a:lnTo>
                  <a:lnTo>
                    <a:pt x="2437" y="344"/>
                  </a:lnTo>
                  <a:lnTo>
                    <a:pt x="2441" y="347"/>
                  </a:lnTo>
                  <a:lnTo>
                    <a:pt x="2449" y="355"/>
                  </a:lnTo>
                  <a:lnTo>
                    <a:pt x="2459" y="356"/>
                  </a:lnTo>
                  <a:lnTo>
                    <a:pt x="2462" y="360"/>
                  </a:lnTo>
                  <a:lnTo>
                    <a:pt x="2470" y="363"/>
                  </a:lnTo>
                  <a:lnTo>
                    <a:pt x="2476" y="365"/>
                  </a:lnTo>
                  <a:lnTo>
                    <a:pt x="2488" y="360"/>
                  </a:lnTo>
                  <a:lnTo>
                    <a:pt x="2496" y="352"/>
                  </a:lnTo>
                  <a:lnTo>
                    <a:pt x="2501" y="353"/>
                  </a:lnTo>
                  <a:lnTo>
                    <a:pt x="2506" y="362"/>
                  </a:lnTo>
                  <a:lnTo>
                    <a:pt x="2521" y="368"/>
                  </a:lnTo>
                  <a:lnTo>
                    <a:pt x="2535" y="365"/>
                  </a:lnTo>
                  <a:lnTo>
                    <a:pt x="2548" y="360"/>
                  </a:lnTo>
                  <a:lnTo>
                    <a:pt x="2553" y="362"/>
                  </a:lnTo>
                  <a:lnTo>
                    <a:pt x="2553" y="369"/>
                  </a:lnTo>
                  <a:lnTo>
                    <a:pt x="2556" y="372"/>
                  </a:lnTo>
                  <a:lnTo>
                    <a:pt x="2571" y="373"/>
                  </a:lnTo>
                  <a:lnTo>
                    <a:pt x="2587" y="372"/>
                  </a:lnTo>
                  <a:lnTo>
                    <a:pt x="2591" y="375"/>
                  </a:lnTo>
                  <a:lnTo>
                    <a:pt x="2591" y="381"/>
                  </a:lnTo>
                  <a:lnTo>
                    <a:pt x="2593" y="382"/>
                  </a:lnTo>
                  <a:lnTo>
                    <a:pt x="2599" y="387"/>
                  </a:lnTo>
                  <a:lnTo>
                    <a:pt x="2603" y="395"/>
                  </a:lnTo>
                  <a:lnTo>
                    <a:pt x="2607" y="395"/>
                  </a:lnTo>
                  <a:lnTo>
                    <a:pt x="2615" y="405"/>
                  </a:lnTo>
                  <a:lnTo>
                    <a:pt x="2616" y="407"/>
                  </a:lnTo>
                  <a:lnTo>
                    <a:pt x="2620" y="407"/>
                  </a:lnTo>
                  <a:lnTo>
                    <a:pt x="2626" y="408"/>
                  </a:lnTo>
                  <a:lnTo>
                    <a:pt x="2634" y="405"/>
                  </a:lnTo>
                  <a:lnTo>
                    <a:pt x="2637" y="407"/>
                  </a:lnTo>
                  <a:lnTo>
                    <a:pt x="2638" y="408"/>
                  </a:lnTo>
                  <a:lnTo>
                    <a:pt x="2640" y="412"/>
                  </a:lnTo>
                  <a:lnTo>
                    <a:pt x="2642" y="414"/>
                  </a:lnTo>
                  <a:lnTo>
                    <a:pt x="2644" y="416"/>
                  </a:lnTo>
                  <a:lnTo>
                    <a:pt x="2644" y="423"/>
                  </a:lnTo>
                  <a:lnTo>
                    <a:pt x="2648" y="427"/>
                  </a:lnTo>
                  <a:lnTo>
                    <a:pt x="2648" y="437"/>
                  </a:lnTo>
                  <a:lnTo>
                    <a:pt x="2651" y="440"/>
                  </a:lnTo>
                  <a:lnTo>
                    <a:pt x="2657" y="447"/>
                  </a:lnTo>
                  <a:lnTo>
                    <a:pt x="2669" y="448"/>
                  </a:lnTo>
                  <a:lnTo>
                    <a:pt x="2671" y="449"/>
                  </a:lnTo>
                  <a:lnTo>
                    <a:pt x="2673" y="456"/>
                  </a:lnTo>
                  <a:lnTo>
                    <a:pt x="2677" y="459"/>
                  </a:lnTo>
                  <a:lnTo>
                    <a:pt x="2684" y="459"/>
                  </a:lnTo>
                  <a:lnTo>
                    <a:pt x="2690" y="457"/>
                  </a:lnTo>
                  <a:lnTo>
                    <a:pt x="2695" y="457"/>
                  </a:lnTo>
                  <a:lnTo>
                    <a:pt x="2708" y="466"/>
                  </a:lnTo>
                  <a:lnTo>
                    <a:pt x="2715" y="474"/>
                  </a:lnTo>
                  <a:lnTo>
                    <a:pt x="2716" y="474"/>
                  </a:lnTo>
                  <a:lnTo>
                    <a:pt x="2717" y="476"/>
                  </a:lnTo>
                  <a:lnTo>
                    <a:pt x="2723" y="484"/>
                  </a:lnTo>
                  <a:lnTo>
                    <a:pt x="2724" y="494"/>
                  </a:lnTo>
                  <a:lnTo>
                    <a:pt x="2730" y="498"/>
                  </a:lnTo>
                  <a:lnTo>
                    <a:pt x="2740" y="511"/>
                  </a:lnTo>
                  <a:lnTo>
                    <a:pt x="2744" y="516"/>
                  </a:lnTo>
                  <a:lnTo>
                    <a:pt x="2750" y="523"/>
                  </a:lnTo>
                  <a:lnTo>
                    <a:pt x="2752" y="524"/>
                  </a:lnTo>
                  <a:lnTo>
                    <a:pt x="2756" y="524"/>
                  </a:lnTo>
                  <a:lnTo>
                    <a:pt x="2762" y="528"/>
                  </a:lnTo>
                  <a:lnTo>
                    <a:pt x="2765" y="531"/>
                  </a:lnTo>
                  <a:lnTo>
                    <a:pt x="2765" y="534"/>
                  </a:lnTo>
                  <a:lnTo>
                    <a:pt x="2769" y="534"/>
                  </a:lnTo>
                  <a:lnTo>
                    <a:pt x="2770" y="537"/>
                  </a:lnTo>
                  <a:lnTo>
                    <a:pt x="2773" y="541"/>
                  </a:lnTo>
                  <a:lnTo>
                    <a:pt x="2776" y="543"/>
                  </a:lnTo>
                  <a:lnTo>
                    <a:pt x="2780" y="543"/>
                  </a:lnTo>
                  <a:lnTo>
                    <a:pt x="2791" y="540"/>
                  </a:lnTo>
                  <a:lnTo>
                    <a:pt x="2794" y="544"/>
                  </a:lnTo>
                  <a:lnTo>
                    <a:pt x="2804" y="547"/>
                  </a:lnTo>
                  <a:lnTo>
                    <a:pt x="2815" y="547"/>
                  </a:lnTo>
                  <a:lnTo>
                    <a:pt x="2827" y="546"/>
                  </a:lnTo>
                  <a:lnTo>
                    <a:pt x="2833" y="543"/>
                  </a:lnTo>
                  <a:lnTo>
                    <a:pt x="2844" y="544"/>
                  </a:lnTo>
                  <a:lnTo>
                    <a:pt x="2848" y="553"/>
                  </a:lnTo>
                  <a:lnTo>
                    <a:pt x="2851" y="556"/>
                  </a:lnTo>
                  <a:lnTo>
                    <a:pt x="2854" y="565"/>
                  </a:lnTo>
                  <a:lnTo>
                    <a:pt x="2852" y="568"/>
                  </a:lnTo>
                  <a:lnTo>
                    <a:pt x="2855" y="573"/>
                  </a:lnTo>
                  <a:lnTo>
                    <a:pt x="2855" y="581"/>
                  </a:lnTo>
                  <a:lnTo>
                    <a:pt x="2861" y="591"/>
                  </a:lnTo>
                  <a:lnTo>
                    <a:pt x="2867" y="591"/>
                  </a:lnTo>
                  <a:lnTo>
                    <a:pt x="2876" y="598"/>
                  </a:lnTo>
                  <a:lnTo>
                    <a:pt x="2879" y="603"/>
                  </a:lnTo>
                  <a:lnTo>
                    <a:pt x="2886" y="603"/>
                  </a:lnTo>
                  <a:lnTo>
                    <a:pt x="2889" y="610"/>
                  </a:lnTo>
                  <a:lnTo>
                    <a:pt x="2889" y="616"/>
                  </a:lnTo>
                  <a:lnTo>
                    <a:pt x="2894" y="618"/>
                  </a:lnTo>
                  <a:lnTo>
                    <a:pt x="2898" y="621"/>
                  </a:lnTo>
                  <a:lnTo>
                    <a:pt x="2904" y="621"/>
                  </a:lnTo>
                  <a:lnTo>
                    <a:pt x="2912" y="622"/>
                  </a:lnTo>
                  <a:lnTo>
                    <a:pt x="2920" y="614"/>
                  </a:lnTo>
                  <a:lnTo>
                    <a:pt x="2925" y="614"/>
                  </a:lnTo>
                  <a:lnTo>
                    <a:pt x="2926" y="616"/>
                  </a:lnTo>
                  <a:lnTo>
                    <a:pt x="2926" y="622"/>
                  </a:lnTo>
                  <a:lnTo>
                    <a:pt x="2930" y="627"/>
                  </a:lnTo>
                  <a:lnTo>
                    <a:pt x="2930" y="631"/>
                  </a:lnTo>
                  <a:lnTo>
                    <a:pt x="2936" y="636"/>
                  </a:lnTo>
                  <a:lnTo>
                    <a:pt x="2942" y="640"/>
                  </a:lnTo>
                  <a:lnTo>
                    <a:pt x="2941" y="659"/>
                  </a:lnTo>
                  <a:lnTo>
                    <a:pt x="2947" y="671"/>
                  </a:lnTo>
                  <a:lnTo>
                    <a:pt x="2955" y="675"/>
                  </a:lnTo>
                  <a:lnTo>
                    <a:pt x="2955" y="676"/>
                  </a:lnTo>
                  <a:lnTo>
                    <a:pt x="2952" y="683"/>
                  </a:lnTo>
                  <a:lnTo>
                    <a:pt x="2954" y="685"/>
                  </a:lnTo>
                  <a:lnTo>
                    <a:pt x="2954" y="689"/>
                  </a:lnTo>
                  <a:lnTo>
                    <a:pt x="2955" y="709"/>
                  </a:lnTo>
                  <a:lnTo>
                    <a:pt x="2958" y="711"/>
                  </a:lnTo>
                  <a:lnTo>
                    <a:pt x="2968" y="711"/>
                  </a:lnTo>
                  <a:lnTo>
                    <a:pt x="2975" y="714"/>
                  </a:lnTo>
                  <a:lnTo>
                    <a:pt x="2977" y="717"/>
                  </a:lnTo>
                  <a:lnTo>
                    <a:pt x="2977" y="727"/>
                  </a:lnTo>
                  <a:lnTo>
                    <a:pt x="2975" y="731"/>
                  </a:lnTo>
                  <a:lnTo>
                    <a:pt x="2975" y="734"/>
                  </a:lnTo>
                  <a:lnTo>
                    <a:pt x="2972" y="739"/>
                  </a:lnTo>
                  <a:lnTo>
                    <a:pt x="2973" y="742"/>
                  </a:lnTo>
                  <a:lnTo>
                    <a:pt x="2975" y="742"/>
                  </a:lnTo>
                  <a:lnTo>
                    <a:pt x="2982" y="742"/>
                  </a:lnTo>
                  <a:lnTo>
                    <a:pt x="2987" y="746"/>
                  </a:lnTo>
                  <a:lnTo>
                    <a:pt x="2991" y="752"/>
                  </a:lnTo>
                  <a:lnTo>
                    <a:pt x="2997" y="756"/>
                  </a:lnTo>
                  <a:lnTo>
                    <a:pt x="2997" y="760"/>
                  </a:lnTo>
                  <a:lnTo>
                    <a:pt x="2996" y="764"/>
                  </a:lnTo>
                  <a:lnTo>
                    <a:pt x="2997" y="770"/>
                  </a:lnTo>
                  <a:lnTo>
                    <a:pt x="2996" y="776"/>
                  </a:lnTo>
                  <a:lnTo>
                    <a:pt x="2998" y="779"/>
                  </a:lnTo>
                  <a:lnTo>
                    <a:pt x="2997" y="783"/>
                  </a:lnTo>
                  <a:lnTo>
                    <a:pt x="2994" y="783"/>
                  </a:lnTo>
                  <a:lnTo>
                    <a:pt x="2993" y="785"/>
                  </a:lnTo>
                  <a:lnTo>
                    <a:pt x="2996" y="792"/>
                  </a:lnTo>
                  <a:lnTo>
                    <a:pt x="2994" y="797"/>
                  </a:lnTo>
                  <a:lnTo>
                    <a:pt x="2994" y="804"/>
                  </a:lnTo>
                  <a:lnTo>
                    <a:pt x="3014" y="810"/>
                  </a:lnTo>
                  <a:lnTo>
                    <a:pt x="3015" y="814"/>
                  </a:lnTo>
                  <a:lnTo>
                    <a:pt x="3016" y="820"/>
                  </a:lnTo>
                  <a:lnTo>
                    <a:pt x="3014" y="827"/>
                  </a:lnTo>
                  <a:lnTo>
                    <a:pt x="3021" y="830"/>
                  </a:lnTo>
                  <a:lnTo>
                    <a:pt x="3022" y="833"/>
                  </a:lnTo>
                  <a:lnTo>
                    <a:pt x="3030" y="834"/>
                  </a:lnTo>
                  <a:lnTo>
                    <a:pt x="3032" y="842"/>
                  </a:lnTo>
                  <a:lnTo>
                    <a:pt x="3032" y="845"/>
                  </a:lnTo>
                  <a:lnTo>
                    <a:pt x="3026" y="859"/>
                  </a:lnTo>
                  <a:lnTo>
                    <a:pt x="3026" y="860"/>
                  </a:lnTo>
                  <a:lnTo>
                    <a:pt x="3029" y="864"/>
                  </a:lnTo>
                  <a:lnTo>
                    <a:pt x="3033" y="868"/>
                  </a:lnTo>
                  <a:lnTo>
                    <a:pt x="3036" y="875"/>
                  </a:lnTo>
                  <a:lnTo>
                    <a:pt x="3039" y="876"/>
                  </a:lnTo>
                  <a:lnTo>
                    <a:pt x="3040" y="891"/>
                  </a:lnTo>
                  <a:lnTo>
                    <a:pt x="3043" y="895"/>
                  </a:lnTo>
                  <a:lnTo>
                    <a:pt x="3044" y="897"/>
                  </a:lnTo>
                  <a:lnTo>
                    <a:pt x="3050" y="897"/>
                  </a:lnTo>
                  <a:lnTo>
                    <a:pt x="3051" y="899"/>
                  </a:lnTo>
                  <a:lnTo>
                    <a:pt x="3050" y="902"/>
                  </a:lnTo>
                  <a:lnTo>
                    <a:pt x="3043" y="904"/>
                  </a:lnTo>
                  <a:lnTo>
                    <a:pt x="3036" y="913"/>
                  </a:lnTo>
                  <a:lnTo>
                    <a:pt x="3032" y="917"/>
                  </a:lnTo>
                  <a:lnTo>
                    <a:pt x="3030" y="920"/>
                  </a:lnTo>
                  <a:lnTo>
                    <a:pt x="3032" y="925"/>
                  </a:lnTo>
                  <a:lnTo>
                    <a:pt x="3039" y="934"/>
                  </a:lnTo>
                  <a:lnTo>
                    <a:pt x="3037" y="936"/>
                  </a:lnTo>
                  <a:lnTo>
                    <a:pt x="3033" y="938"/>
                  </a:lnTo>
                  <a:lnTo>
                    <a:pt x="3030" y="939"/>
                  </a:lnTo>
                  <a:lnTo>
                    <a:pt x="3030" y="950"/>
                  </a:lnTo>
                  <a:lnTo>
                    <a:pt x="3033" y="957"/>
                  </a:lnTo>
                  <a:lnTo>
                    <a:pt x="3033" y="970"/>
                  </a:lnTo>
                  <a:lnTo>
                    <a:pt x="3041" y="980"/>
                  </a:lnTo>
                  <a:lnTo>
                    <a:pt x="3044" y="988"/>
                  </a:lnTo>
                  <a:lnTo>
                    <a:pt x="3044" y="992"/>
                  </a:lnTo>
                  <a:lnTo>
                    <a:pt x="3046" y="999"/>
                  </a:lnTo>
                  <a:lnTo>
                    <a:pt x="3052" y="1003"/>
                  </a:lnTo>
                  <a:lnTo>
                    <a:pt x="3052" y="1013"/>
                  </a:lnTo>
                  <a:lnTo>
                    <a:pt x="3065" y="1024"/>
                  </a:lnTo>
                  <a:lnTo>
                    <a:pt x="3076" y="1025"/>
                  </a:lnTo>
                  <a:lnTo>
                    <a:pt x="3082" y="1024"/>
                  </a:lnTo>
                  <a:lnTo>
                    <a:pt x="3083" y="1025"/>
                  </a:lnTo>
                  <a:lnTo>
                    <a:pt x="3091" y="1041"/>
                  </a:lnTo>
                  <a:lnTo>
                    <a:pt x="3091" y="1048"/>
                  </a:lnTo>
                  <a:lnTo>
                    <a:pt x="3090" y="1055"/>
                  </a:lnTo>
                  <a:lnTo>
                    <a:pt x="3101" y="1069"/>
                  </a:lnTo>
                  <a:lnTo>
                    <a:pt x="3102" y="1070"/>
                  </a:lnTo>
                  <a:lnTo>
                    <a:pt x="3104" y="1073"/>
                  </a:lnTo>
                  <a:lnTo>
                    <a:pt x="3099" y="1078"/>
                  </a:lnTo>
                  <a:lnTo>
                    <a:pt x="3100" y="1086"/>
                  </a:lnTo>
                  <a:lnTo>
                    <a:pt x="3100" y="1092"/>
                  </a:lnTo>
                  <a:lnTo>
                    <a:pt x="3105" y="1100"/>
                  </a:lnTo>
                  <a:lnTo>
                    <a:pt x="3105" y="1104"/>
                  </a:lnTo>
                  <a:lnTo>
                    <a:pt x="3110" y="1107"/>
                  </a:lnTo>
                  <a:lnTo>
                    <a:pt x="3111" y="1111"/>
                  </a:lnTo>
                  <a:lnTo>
                    <a:pt x="3111" y="1115"/>
                  </a:lnTo>
                  <a:lnTo>
                    <a:pt x="3108" y="1119"/>
                  </a:lnTo>
                  <a:lnTo>
                    <a:pt x="3108" y="1121"/>
                  </a:lnTo>
                  <a:lnTo>
                    <a:pt x="3119" y="1130"/>
                  </a:lnTo>
                  <a:lnTo>
                    <a:pt x="3121" y="1140"/>
                  </a:lnTo>
                  <a:lnTo>
                    <a:pt x="3129" y="1144"/>
                  </a:lnTo>
                  <a:lnTo>
                    <a:pt x="3130" y="1145"/>
                  </a:lnTo>
                  <a:lnTo>
                    <a:pt x="3132" y="1163"/>
                  </a:lnTo>
                  <a:lnTo>
                    <a:pt x="3129" y="1170"/>
                  </a:lnTo>
                  <a:lnTo>
                    <a:pt x="3130" y="1175"/>
                  </a:lnTo>
                  <a:lnTo>
                    <a:pt x="3126" y="1182"/>
                  </a:lnTo>
                  <a:lnTo>
                    <a:pt x="3118" y="1185"/>
                  </a:lnTo>
                  <a:lnTo>
                    <a:pt x="3118" y="1186"/>
                  </a:lnTo>
                  <a:lnTo>
                    <a:pt x="3114" y="1190"/>
                  </a:lnTo>
                  <a:lnTo>
                    <a:pt x="3115" y="1202"/>
                  </a:lnTo>
                  <a:lnTo>
                    <a:pt x="3122" y="1205"/>
                  </a:lnTo>
                  <a:lnTo>
                    <a:pt x="3125" y="1212"/>
                  </a:lnTo>
                  <a:lnTo>
                    <a:pt x="3130" y="1219"/>
                  </a:lnTo>
                  <a:lnTo>
                    <a:pt x="3130" y="1227"/>
                  </a:lnTo>
                  <a:lnTo>
                    <a:pt x="3129" y="1228"/>
                  </a:lnTo>
                  <a:lnTo>
                    <a:pt x="3121" y="1228"/>
                  </a:lnTo>
                  <a:lnTo>
                    <a:pt x="3118" y="1228"/>
                  </a:lnTo>
                  <a:lnTo>
                    <a:pt x="3114" y="1228"/>
                  </a:lnTo>
                  <a:lnTo>
                    <a:pt x="3112" y="1230"/>
                  </a:lnTo>
                  <a:lnTo>
                    <a:pt x="3108" y="1228"/>
                  </a:lnTo>
                  <a:lnTo>
                    <a:pt x="3105" y="1233"/>
                  </a:lnTo>
                  <a:lnTo>
                    <a:pt x="3097" y="1239"/>
                  </a:lnTo>
                  <a:lnTo>
                    <a:pt x="3096" y="1245"/>
                  </a:lnTo>
                  <a:lnTo>
                    <a:pt x="3099" y="1250"/>
                  </a:lnTo>
                  <a:lnTo>
                    <a:pt x="3094" y="1261"/>
                  </a:lnTo>
                  <a:lnTo>
                    <a:pt x="3096" y="1265"/>
                  </a:lnTo>
                  <a:lnTo>
                    <a:pt x="3094" y="1269"/>
                  </a:lnTo>
                  <a:lnTo>
                    <a:pt x="3096" y="1277"/>
                  </a:lnTo>
                  <a:lnTo>
                    <a:pt x="3090" y="1286"/>
                  </a:lnTo>
                  <a:lnTo>
                    <a:pt x="3089" y="1291"/>
                  </a:lnTo>
                  <a:lnTo>
                    <a:pt x="3086" y="1295"/>
                  </a:lnTo>
                  <a:lnTo>
                    <a:pt x="3089" y="1304"/>
                  </a:lnTo>
                  <a:lnTo>
                    <a:pt x="3086" y="1310"/>
                  </a:lnTo>
                  <a:lnTo>
                    <a:pt x="3087" y="1312"/>
                  </a:lnTo>
                  <a:lnTo>
                    <a:pt x="3090" y="1314"/>
                  </a:lnTo>
                  <a:lnTo>
                    <a:pt x="3090" y="1320"/>
                  </a:lnTo>
                  <a:lnTo>
                    <a:pt x="3096" y="1322"/>
                  </a:lnTo>
                  <a:lnTo>
                    <a:pt x="3096" y="1326"/>
                  </a:lnTo>
                  <a:lnTo>
                    <a:pt x="3100" y="1328"/>
                  </a:lnTo>
                  <a:lnTo>
                    <a:pt x="3101" y="1328"/>
                  </a:lnTo>
                  <a:lnTo>
                    <a:pt x="3104" y="1331"/>
                  </a:lnTo>
                  <a:lnTo>
                    <a:pt x="3107" y="1328"/>
                  </a:lnTo>
                  <a:lnTo>
                    <a:pt x="3108" y="1332"/>
                  </a:lnTo>
                  <a:lnTo>
                    <a:pt x="3112" y="1332"/>
                  </a:lnTo>
                  <a:lnTo>
                    <a:pt x="3115" y="1331"/>
                  </a:lnTo>
                  <a:lnTo>
                    <a:pt x="3119" y="1335"/>
                  </a:lnTo>
                  <a:lnTo>
                    <a:pt x="3125" y="1336"/>
                  </a:lnTo>
                  <a:lnTo>
                    <a:pt x="3127" y="1336"/>
                  </a:lnTo>
                  <a:lnTo>
                    <a:pt x="3129" y="1339"/>
                  </a:lnTo>
                  <a:lnTo>
                    <a:pt x="3130" y="1343"/>
                  </a:lnTo>
                  <a:lnTo>
                    <a:pt x="3135" y="1344"/>
                  </a:lnTo>
                  <a:lnTo>
                    <a:pt x="3135" y="1351"/>
                  </a:lnTo>
                  <a:lnTo>
                    <a:pt x="3137" y="1361"/>
                  </a:lnTo>
                  <a:lnTo>
                    <a:pt x="3135" y="1369"/>
                  </a:lnTo>
                  <a:lnTo>
                    <a:pt x="3136" y="1373"/>
                  </a:lnTo>
                  <a:lnTo>
                    <a:pt x="3135" y="1379"/>
                  </a:lnTo>
                  <a:lnTo>
                    <a:pt x="3139" y="1381"/>
                  </a:lnTo>
                  <a:lnTo>
                    <a:pt x="3144" y="1389"/>
                  </a:lnTo>
                  <a:lnTo>
                    <a:pt x="3149" y="1389"/>
                  </a:lnTo>
                  <a:lnTo>
                    <a:pt x="3155" y="1396"/>
                  </a:lnTo>
                  <a:lnTo>
                    <a:pt x="3155" y="1397"/>
                  </a:lnTo>
                  <a:lnTo>
                    <a:pt x="3157" y="1399"/>
                  </a:lnTo>
                  <a:lnTo>
                    <a:pt x="3157" y="1403"/>
                  </a:lnTo>
                  <a:lnTo>
                    <a:pt x="3158" y="1407"/>
                  </a:lnTo>
                  <a:lnTo>
                    <a:pt x="3157" y="1414"/>
                  </a:lnTo>
                  <a:lnTo>
                    <a:pt x="3160" y="1419"/>
                  </a:lnTo>
                  <a:lnTo>
                    <a:pt x="3161" y="1424"/>
                  </a:lnTo>
                  <a:lnTo>
                    <a:pt x="3164" y="1426"/>
                  </a:lnTo>
                  <a:lnTo>
                    <a:pt x="3166" y="1432"/>
                  </a:lnTo>
                  <a:lnTo>
                    <a:pt x="3171" y="1432"/>
                  </a:lnTo>
                  <a:lnTo>
                    <a:pt x="3174" y="1436"/>
                  </a:lnTo>
                  <a:lnTo>
                    <a:pt x="3179" y="1434"/>
                  </a:lnTo>
                  <a:lnTo>
                    <a:pt x="3180" y="1440"/>
                  </a:lnTo>
                  <a:lnTo>
                    <a:pt x="3187" y="1441"/>
                  </a:lnTo>
                  <a:lnTo>
                    <a:pt x="3191" y="1452"/>
                  </a:lnTo>
                  <a:lnTo>
                    <a:pt x="3191" y="1459"/>
                  </a:lnTo>
                  <a:lnTo>
                    <a:pt x="3193" y="1464"/>
                  </a:lnTo>
                  <a:lnTo>
                    <a:pt x="3196" y="1466"/>
                  </a:lnTo>
                  <a:lnTo>
                    <a:pt x="3207" y="1475"/>
                  </a:lnTo>
                  <a:lnTo>
                    <a:pt x="3208" y="1477"/>
                  </a:lnTo>
                  <a:lnTo>
                    <a:pt x="3207" y="1483"/>
                  </a:lnTo>
                  <a:lnTo>
                    <a:pt x="3205" y="1486"/>
                  </a:lnTo>
                  <a:lnTo>
                    <a:pt x="3201" y="1489"/>
                  </a:lnTo>
                  <a:lnTo>
                    <a:pt x="3201" y="1493"/>
                  </a:lnTo>
                  <a:lnTo>
                    <a:pt x="3197" y="1493"/>
                  </a:lnTo>
                  <a:lnTo>
                    <a:pt x="3196" y="1501"/>
                  </a:lnTo>
                  <a:lnTo>
                    <a:pt x="3197" y="1505"/>
                  </a:lnTo>
                  <a:lnTo>
                    <a:pt x="3200" y="1508"/>
                  </a:lnTo>
                  <a:lnTo>
                    <a:pt x="3201" y="1513"/>
                  </a:lnTo>
                  <a:lnTo>
                    <a:pt x="3208" y="1522"/>
                  </a:lnTo>
                  <a:close/>
                  <a:moveTo>
                    <a:pt x="1444" y="2400"/>
                  </a:moveTo>
                  <a:lnTo>
                    <a:pt x="1447" y="2406"/>
                  </a:lnTo>
                  <a:lnTo>
                    <a:pt x="1438" y="2418"/>
                  </a:lnTo>
                  <a:lnTo>
                    <a:pt x="1437" y="2418"/>
                  </a:lnTo>
                  <a:lnTo>
                    <a:pt x="1435" y="2425"/>
                  </a:lnTo>
                  <a:lnTo>
                    <a:pt x="1428" y="2432"/>
                  </a:lnTo>
                  <a:lnTo>
                    <a:pt x="1424" y="2431"/>
                  </a:lnTo>
                  <a:lnTo>
                    <a:pt x="1422" y="2426"/>
                  </a:lnTo>
                  <a:lnTo>
                    <a:pt x="1417" y="2414"/>
                  </a:lnTo>
                  <a:lnTo>
                    <a:pt x="1417" y="2413"/>
                  </a:lnTo>
                  <a:lnTo>
                    <a:pt x="1417" y="2410"/>
                  </a:lnTo>
                  <a:lnTo>
                    <a:pt x="1417" y="2403"/>
                  </a:lnTo>
                  <a:lnTo>
                    <a:pt x="1414" y="2395"/>
                  </a:lnTo>
                  <a:lnTo>
                    <a:pt x="1416" y="2392"/>
                  </a:lnTo>
                  <a:lnTo>
                    <a:pt x="1430" y="2392"/>
                  </a:lnTo>
                  <a:lnTo>
                    <a:pt x="1437" y="2392"/>
                  </a:lnTo>
                  <a:lnTo>
                    <a:pt x="1444" y="2400"/>
                  </a:lnTo>
                  <a:close/>
                  <a:moveTo>
                    <a:pt x="1416" y="2339"/>
                  </a:moveTo>
                  <a:lnTo>
                    <a:pt x="1414" y="2351"/>
                  </a:lnTo>
                  <a:lnTo>
                    <a:pt x="1412" y="2355"/>
                  </a:lnTo>
                  <a:lnTo>
                    <a:pt x="1409" y="2355"/>
                  </a:lnTo>
                  <a:lnTo>
                    <a:pt x="1403" y="2343"/>
                  </a:lnTo>
                  <a:lnTo>
                    <a:pt x="1400" y="2332"/>
                  </a:lnTo>
                  <a:lnTo>
                    <a:pt x="1400" y="2325"/>
                  </a:lnTo>
                  <a:lnTo>
                    <a:pt x="1408" y="2325"/>
                  </a:lnTo>
                  <a:lnTo>
                    <a:pt x="1413" y="2328"/>
                  </a:lnTo>
                  <a:lnTo>
                    <a:pt x="1414" y="2331"/>
                  </a:lnTo>
                  <a:lnTo>
                    <a:pt x="1416" y="2339"/>
                  </a:lnTo>
                  <a:close/>
                  <a:moveTo>
                    <a:pt x="1348" y="2564"/>
                  </a:moveTo>
                  <a:lnTo>
                    <a:pt x="1348" y="2567"/>
                  </a:lnTo>
                  <a:lnTo>
                    <a:pt x="1345" y="2571"/>
                  </a:lnTo>
                  <a:lnTo>
                    <a:pt x="1325" y="2579"/>
                  </a:lnTo>
                  <a:lnTo>
                    <a:pt x="1323" y="2577"/>
                  </a:lnTo>
                  <a:lnTo>
                    <a:pt x="1323" y="2572"/>
                  </a:lnTo>
                  <a:lnTo>
                    <a:pt x="1335" y="2569"/>
                  </a:lnTo>
                  <a:lnTo>
                    <a:pt x="1346" y="2564"/>
                  </a:lnTo>
                  <a:lnTo>
                    <a:pt x="1348" y="2564"/>
                  </a:lnTo>
                  <a:close/>
                  <a:moveTo>
                    <a:pt x="1420" y="2381"/>
                  </a:moveTo>
                  <a:lnTo>
                    <a:pt x="1420" y="2382"/>
                  </a:lnTo>
                  <a:lnTo>
                    <a:pt x="1412" y="2377"/>
                  </a:lnTo>
                  <a:lnTo>
                    <a:pt x="1410" y="2368"/>
                  </a:lnTo>
                  <a:lnTo>
                    <a:pt x="1410" y="2364"/>
                  </a:lnTo>
                  <a:lnTo>
                    <a:pt x="1412" y="2360"/>
                  </a:lnTo>
                  <a:lnTo>
                    <a:pt x="1414" y="2358"/>
                  </a:lnTo>
                  <a:lnTo>
                    <a:pt x="1419" y="2368"/>
                  </a:lnTo>
                  <a:lnTo>
                    <a:pt x="1420" y="2381"/>
                  </a:lnTo>
                  <a:close/>
                  <a:moveTo>
                    <a:pt x="1388" y="2319"/>
                  </a:moveTo>
                  <a:lnTo>
                    <a:pt x="1381" y="2325"/>
                  </a:lnTo>
                  <a:lnTo>
                    <a:pt x="1370" y="2325"/>
                  </a:lnTo>
                  <a:lnTo>
                    <a:pt x="1375" y="2316"/>
                  </a:lnTo>
                  <a:lnTo>
                    <a:pt x="1377" y="2316"/>
                  </a:lnTo>
                  <a:lnTo>
                    <a:pt x="1380" y="2316"/>
                  </a:lnTo>
                  <a:lnTo>
                    <a:pt x="1388" y="2319"/>
                  </a:lnTo>
                  <a:close/>
                  <a:moveTo>
                    <a:pt x="2367" y="1778"/>
                  </a:moveTo>
                  <a:lnTo>
                    <a:pt x="2367" y="1780"/>
                  </a:lnTo>
                  <a:lnTo>
                    <a:pt x="2363" y="1781"/>
                  </a:lnTo>
                  <a:lnTo>
                    <a:pt x="2361" y="1781"/>
                  </a:lnTo>
                  <a:lnTo>
                    <a:pt x="2360" y="1778"/>
                  </a:lnTo>
                  <a:lnTo>
                    <a:pt x="2360" y="1776"/>
                  </a:lnTo>
                  <a:lnTo>
                    <a:pt x="2357" y="1769"/>
                  </a:lnTo>
                  <a:lnTo>
                    <a:pt x="2357" y="1767"/>
                  </a:lnTo>
                  <a:lnTo>
                    <a:pt x="2364" y="1771"/>
                  </a:lnTo>
                  <a:lnTo>
                    <a:pt x="2367" y="1778"/>
                  </a:lnTo>
                  <a:close/>
                  <a:moveTo>
                    <a:pt x="1330" y="2587"/>
                  </a:moveTo>
                  <a:lnTo>
                    <a:pt x="1331" y="2587"/>
                  </a:lnTo>
                  <a:lnTo>
                    <a:pt x="1324" y="2594"/>
                  </a:lnTo>
                  <a:lnTo>
                    <a:pt x="1317" y="2597"/>
                  </a:lnTo>
                  <a:lnTo>
                    <a:pt x="1313" y="2597"/>
                  </a:lnTo>
                  <a:lnTo>
                    <a:pt x="1317" y="2593"/>
                  </a:lnTo>
                  <a:lnTo>
                    <a:pt x="1330" y="2587"/>
                  </a:lnTo>
                  <a:close/>
                  <a:moveTo>
                    <a:pt x="961" y="3058"/>
                  </a:moveTo>
                  <a:lnTo>
                    <a:pt x="963" y="3058"/>
                  </a:lnTo>
                  <a:lnTo>
                    <a:pt x="949" y="3058"/>
                  </a:lnTo>
                  <a:lnTo>
                    <a:pt x="938" y="3053"/>
                  </a:lnTo>
                  <a:lnTo>
                    <a:pt x="936" y="3051"/>
                  </a:lnTo>
                  <a:lnTo>
                    <a:pt x="942" y="3053"/>
                  </a:lnTo>
                  <a:lnTo>
                    <a:pt x="947" y="3057"/>
                  </a:lnTo>
                  <a:lnTo>
                    <a:pt x="961" y="3058"/>
                  </a:lnTo>
                  <a:close/>
                  <a:moveTo>
                    <a:pt x="1847" y="2102"/>
                  </a:moveTo>
                  <a:lnTo>
                    <a:pt x="1848" y="2102"/>
                  </a:lnTo>
                  <a:lnTo>
                    <a:pt x="1840" y="2103"/>
                  </a:lnTo>
                  <a:lnTo>
                    <a:pt x="1836" y="2102"/>
                  </a:lnTo>
                  <a:lnTo>
                    <a:pt x="1843" y="2100"/>
                  </a:lnTo>
                  <a:lnTo>
                    <a:pt x="1846" y="2100"/>
                  </a:lnTo>
                  <a:lnTo>
                    <a:pt x="1847" y="2102"/>
                  </a:lnTo>
                  <a:close/>
                  <a:moveTo>
                    <a:pt x="1424" y="2388"/>
                  </a:moveTo>
                  <a:lnTo>
                    <a:pt x="1423" y="2388"/>
                  </a:lnTo>
                  <a:lnTo>
                    <a:pt x="1419" y="2388"/>
                  </a:lnTo>
                  <a:lnTo>
                    <a:pt x="1417" y="2388"/>
                  </a:lnTo>
                  <a:lnTo>
                    <a:pt x="1414" y="2385"/>
                  </a:lnTo>
                  <a:lnTo>
                    <a:pt x="1417" y="2384"/>
                  </a:lnTo>
                  <a:lnTo>
                    <a:pt x="1424" y="2388"/>
                  </a:lnTo>
                  <a:close/>
                </a:path>
              </a:pathLst>
            </a:custGeom>
            <a:solidFill>
              <a:srgbClr val="BD81B9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426" name="Freeform 425"/>
            <p:cNvSpPr>
              <a:spLocks noEditPoints="1"/>
            </p:cNvSpPr>
            <p:nvPr/>
          </p:nvSpPr>
          <p:spPr bwMode="auto">
            <a:xfrm>
              <a:off x="4603193" y="3841607"/>
              <a:ext cx="391552" cy="847416"/>
            </a:xfrm>
            <a:custGeom>
              <a:avLst/>
              <a:gdLst>
                <a:gd name="T0" fmla="*/ 1825 w 1964"/>
                <a:gd name="T1" fmla="*/ 2031 h 3140"/>
                <a:gd name="T2" fmla="*/ 1791 w 1964"/>
                <a:gd name="T3" fmla="*/ 2178 h 3140"/>
                <a:gd name="T4" fmla="*/ 1745 w 1964"/>
                <a:gd name="T5" fmla="*/ 2218 h 3140"/>
                <a:gd name="T6" fmla="*/ 1752 w 1964"/>
                <a:gd name="T7" fmla="*/ 2379 h 3140"/>
                <a:gd name="T8" fmla="*/ 1795 w 1964"/>
                <a:gd name="T9" fmla="*/ 2379 h 3140"/>
                <a:gd name="T10" fmla="*/ 1836 w 1964"/>
                <a:gd name="T11" fmla="*/ 2334 h 3140"/>
                <a:gd name="T12" fmla="*/ 1869 w 1964"/>
                <a:gd name="T13" fmla="*/ 2327 h 3140"/>
                <a:gd name="T14" fmla="*/ 1911 w 1964"/>
                <a:gd name="T15" fmla="*/ 2280 h 3140"/>
                <a:gd name="T16" fmla="*/ 1821 w 1964"/>
                <a:gd name="T17" fmla="*/ 2630 h 3140"/>
                <a:gd name="T18" fmla="*/ 1086 w 1964"/>
                <a:gd name="T19" fmla="*/ 3131 h 3140"/>
                <a:gd name="T20" fmla="*/ 921 w 1964"/>
                <a:gd name="T21" fmla="*/ 2834 h 3140"/>
                <a:gd name="T22" fmla="*/ 708 w 1964"/>
                <a:gd name="T23" fmla="*/ 2775 h 3140"/>
                <a:gd name="T24" fmla="*/ 619 w 1964"/>
                <a:gd name="T25" fmla="*/ 2444 h 3140"/>
                <a:gd name="T26" fmla="*/ 607 w 1964"/>
                <a:gd name="T27" fmla="*/ 2351 h 3140"/>
                <a:gd name="T28" fmla="*/ 619 w 1964"/>
                <a:gd name="T29" fmla="*/ 2289 h 3140"/>
                <a:gd name="T30" fmla="*/ 630 w 1964"/>
                <a:gd name="T31" fmla="*/ 2205 h 3140"/>
                <a:gd name="T32" fmla="*/ 608 w 1964"/>
                <a:gd name="T33" fmla="*/ 2149 h 3140"/>
                <a:gd name="T34" fmla="*/ 622 w 1964"/>
                <a:gd name="T35" fmla="*/ 2074 h 3140"/>
                <a:gd name="T36" fmla="*/ 586 w 1964"/>
                <a:gd name="T37" fmla="*/ 2026 h 3140"/>
                <a:gd name="T38" fmla="*/ 552 w 1964"/>
                <a:gd name="T39" fmla="*/ 1946 h 3140"/>
                <a:gd name="T40" fmla="*/ 574 w 1964"/>
                <a:gd name="T41" fmla="*/ 1900 h 3140"/>
                <a:gd name="T42" fmla="*/ 549 w 1964"/>
                <a:gd name="T43" fmla="*/ 1795 h 3140"/>
                <a:gd name="T44" fmla="*/ 474 w 1964"/>
                <a:gd name="T45" fmla="*/ 1712 h 3140"/>
                <a:gd name="T46" fmla="*/ 423 w 1964"/>
                <a:gd name="T47" fmla="*/ 1616 h 3140"/>
                <a:gd name="T48" fmla="*/ 274 w 1964"/>
                <a:gd name="T49" fmla="*/ 1478 h 3140"/>
                <a:gd name="T50" fmla="*/ 134 w 1964"/>
                <a:gd name="T51" fmla="*/ 1375 h 3140"/>
                <a:gd name="T52" fmla="*/ 93 w 1964"/>
                <a:gd name="T53" fmla="*/ 1269 h 3140"/>
                <a:gd name="T54" fmla="*/ 129 w 1964"/>
                <a:gd name="T55" fmla="*/ 1145 h 3140"/>
                <a:gd name="T56" fmla="*/ 170 w 1964"/>
                <a:gd name="T57" fmla="*/ 1055 h 3140"/>
                <a:gd name="T58" fmla="*/ 157 w 1964"/>
                <a:gd name="T59" fmla="*/ 921 h 3140"/>
                <a:gd name="T60" fmla="*/ 39 w 1964"/>
                <a:gd name="T61" fmla="*/ 507 h 3140"/>
                <a:gd name="T62" fmla="*/ 219 w 1964"/>
                <a:gd name="T63" fmla="*/ 397 h 3140"/>
                <a:gd name="T64" fmla="*/ 364 w 1964"/>
                <a:gd name="T65" fmla="*/ 348 h 3140"/>
                <a:gd name="T66" fmla="*/ 507 w 1964"/>
                <a:gd name="T67" fmla="*/ 344 h 3140"/>
                <a:gd name="T68" fmla="*/ 613 w 1964"/>
                <a:gd name="T69" fmla="*/ 335 h 3140"/>
                <a:gd name="T70" fmla="*/ 746 w 1964"/>
                <a:gd name="T71" fmla="*/ 272 h 3140"/>
                <a:gd name="T72" fmla="*/ 854 w 1964"/>
                <a:gd name="T73" fmla="*/ 250 h 3140"/>
                <a:gd name="T74" fmla="*/ 964 w 1964"/>
                <a:gd name="T75" fmla="*/ 263 h 3140"/>
                <a:gd name="T76" fmla="*/ 1066 w 1964"/>
                <a:gd name="T77" fmla="*/ 166 h 3140"/>
                <a:gd name="T78" fmla="*/ 1193 w 1964"/>
                <a:gd name="T79" fmla="*/ 115 h 3140"/>
                <a:gd name="T80" fmla="*/ 1331 w 1964"/>
                <a:gd name="T81" fmla="*/ 98 h 3140"/>
                <a:gd name="T82" fmla="*/ 1451 w 1964"/>
                <a:gd name="T83" fmla="*/ 28 h 3140"/>
                <a:gd name="T84" fmla="*/ 1558 w 1964"/>
                <a:gd name="T85" fmla="*/ 66 h 3140"/>
                <a:gd name="T86" fmla="*/ 1534 w 1964"/>
                <a:gd name="T87" fmla="*/ 101 h 3140"/>
                <a:gd name="T88" fmla="*/ 1494 w 1964"/>
                <a:gd name="T89" fmla="*/ 121 h 3140"/>
                <a:gd name="T90" fmla="*/ 1531 w 1964"/>
                <a:gd name="T91" fmla="*/ 144 h 3140"/>
                <a:gd name="T92" fmla="*/ 1547 w 1964"/>
                <a:gd name="T93" fmla="*/ 202 h 3140"/>
                <a:gd name="T94" fmla="*/ 1527 w 1964"/>
                <a:gd name="T95" fmla="*/ 227 h 3140"/>
                <a:gd name="T96" fmla="*/ 1541 w 1964"/>
                <a:gd name="T97" fmla="*/ 290 h 3140"/>
                <a:gd name="T98" fmla="*/ 1701 w 1964"/>
                <a:gd name="T99" fmla="*/ 551 h 3140"/>
                <a:gd name="T100" fmla="*/ 1736 w 1964"/>
                <a:gd name="T101" fmla="*/ 767 h 3140"/>
                <a:gd name="T102" fmla="*/ 1750 w 1964"/>
                <a:gd name="T103" fmla="*/ 993 h 3140"/>
                <a:gd name="T104" fmla="*/ 1767 w 1964"/>
                <a:gd name="T105" fmla="*/ 1005 h 3140"/>
                <a:gd name="T106" fmla="*/ 1814 w 1964"/>
                <a:gd name="T107" fmla="*/ 979 h 3140"/>
                <a:gd name="T108" fmla="*/ 1904 w 1964"/>
                <a:gd name="T109" fmla="*/ 1000 h 3140"/>
                <a:gd name="T110" fmla="*/ 1904 w 1964"/>
                <a:gd name="T111" fmla="*/ 1048 h 3140"/>
                <a:gd name="T112" fmla="*/ 1900 w 1964"/>
                <a:gd name="T113" fmla="*/ 1523 h 3140"/>
                <a:gd name="T114" fmla="*/ 1955 w 1964"/>
                <a:gd name="T115" fmla="*/ 1580 h 3140"/>
                <a:gd name="T116" fmla="*/ 1825 w 1964"/>
                <a:gd name="T117" fmla="*/ 625 h 3140"/>
                <a:gd name="T118" fmla="*/ 1837 w 1964"/>
                <a:gd name="T119" fmla="*/ 440 h 3140"/>
                <a:gd name="T120" fmla="*/ 1832 w 1964"/>
                <a:gd name="T121" fmla="*/ 713 h 3140"/>
                <a:gd name="T122" fmla="*/ 1823 w 1964"/>
                <a:gd name="T123" fmla="*/ 818 h 3140"/>
                <a:gd name="T124" fmla="*/ 1752 w 1964"/>
                <a:gd name="T125" fmla="*/ 539 h 31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964"/>
                <a:gd name="T190" fmla="*/ 0 h 3140"/>
                <a:gd name="T191" fmla="*/ 1964 w 1964"/>
                <a:gd name="T192" fmla="*/ 3140 h 31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964" h="3140">
                  <a:moveTo>
                    <a:pt x="1962" y="1581"/>
                  </a:moveTo>
                  <a:lnTo>
                    <a:pt x="1964" y="1581"/>
                  </a:lnTo>
                  <a:lnTo>
                    <a:pt x="1961" y="1599"/>
                  </a:lnTo>
                  <a:lnTo>
                    <a:pt x="1957" y="1614"/>
                  </a:lnTo>
                  <a:lnTo>
                    <a:pt x="1940" y="1643"/>
                  </a:lnTo>
                  <a:lnTo>
                    <a:pt x="1914" y="1680"/>
                  </a:lnTo>
                  <a:lnTo>
                    <a:pt x="1907" y="1693"/>
                  </a:lnTo>
                  <a:lnTo>
                    <a:pt x="1899" y="1705"/>
                  </a:lnTo>
                  <a:lnTo>
                    <a:pt x="1889" y="1722"/>
                  </a:lnTo>
                  <a:lnTo>
                    <a:pt x="1885" y="1733"/>
                  </a:lnTo>
                  <a:lnTo>
                    <a:pt x="1878" y="1763"/>
                  </a:lnTo>
                  <a:lnTo>
                    <a:pt x="1869" y="1781"/>
                  </a:lnTo>
                  <a:lnTo>
                    <a:pt x="1869" y="1790"/>
                  </a:lnTo>
                  <a:lnTo>
                    <a:pt x="1872" y="1811"/>
                  </a:lnTo>
                  <a:lnTo>
                    <a:pt x="1872" y="1823"/>
                  </a:lnTo>
                  <a:lnTo>
                    <a:pt x="1874" y="1826"/>
                  </a:lnTo>
                  <a:lnTo>
                    <a:pt x="1876" y="1832"/>
                  </a:lnTo>
                  <a:lnTo>
                    <a:pt x="1878" y="1842"/>
                  </a:lnTo>
                  <a:lnTo>
                    <a:pt x="1875" y="1858"/>
                  </a:lnTo>
                  <a:lnTo>
                    <a:pt x="1876" y="1878"/>
                  </a:lnTo>
                  <a:lnTo>
                    <a:pt x="1875" y="1887"/>
                  </a:lnTo>
                  <a:lnTo>
                    <a:pt x="1871" y="1902"/>
                  </a:lnTo>
                  <a:lnTo>
                    <a:pt x="1871" y="1907"/>
                  </a:lnTo>
                  <a:lnTo>
                    <a:pt x="1858" y="1936"/>
                  </a:lnTo>
                  <a:lnTo>
                    <a:pt x="1841" y="1978"/>
                  </a:lnTo>
                  <a:lnTo>
                    <a:pt x="1839" y="1989"/>
                  </a:lnTo>
                  <a:lnTo>
                    <a:pt x="1839" y="1995"/>
                  </a:lnTo>
                  <a:lnTo>
                    <a:pt x="1836" y="2008"/>
                  </a:lnTo>
                  <a:lnTo>
                    <a:pt x="1829" y="2023"/>
                  </a:lnTo>
                  <a:lnTo>
                    <a:pt x="1825" y="2031"/>
                  </a:lnTo>
                  <a:lnTo>
                    <a:pt x="1821" y="2042"/>
                  </a:lnTo>
                  <a:lnTo>
                    <a:pt x="1819" y="2049"/>
                  </a:lnTo>
                  <a:lnTo>
                    <a:pt x="1821" y="2061"/>
                  </a:lnTo>
                  <a:lnTo>
                    <a:pt x="1818" y="2098"/>
                  </a:lnTo>
                  <a:lnTo>
                    <a:pt x="1818" y="2114"/>
                  </a:lnTo>
                  <a:lnTo>
                    <a:pt x="1816" y="2123"/>
                  </a:lnTo>
                  <a:lnTo>
                    <a:pt x="1818" y="2139"/>
                  </a:lnTo>
                  <a:lnTo>
                    <a:pt x="1821" y="2145"/>
                  </a:lnTo>
                  <a:lnTo>
                    <a:pt x="1825" y="2152"/>
                  </a:lnTo>
                  <a:lnTo>
                    <a:pt x="1827" y="2163"/>
                  </a:lnTo>
                  <a:lnTo>
                    <a:pt x="1825" y="2177"/>
                  </a:lnTo>
                  <a:lnTo>
                    <a:pt x="1825" y="2181"/>
                  </a:lnTo>
                  <a:lnTo>
                    <a:pt x="1818" y="2188"/>
                  </a:lnTo>
                  <a:lnTo>
                    <a:pt x="1814" y="2199"/>
                  </a:lnTo>
                  <a:lnTo>
                    <a:pt x="1811" y="2219"/>
                  </a:lnTo>
                  <a:lnTo>
                    <a:pt x="1807" y="2230"/>
                  </a:lnTo>
                  <a:lnTo>
                    <a:pt x="1802" y="2235"/>
                  </a:lnTo>
                  <a:lnTo>
                    <a:pt x="1800" y="2236"/>
                  </a:lnTo>
                  <a:lnTo>
                    <a:pt x="1797" y="2235"/>
                  </a:lnTo>
                  <a:lnTo>
                    <a:pt x="1795" y="2232"/>
                  </a:lnTo>
                  <a:lnTo>
                    <a:pt x="1797" y="2231"/>
                  </a:lnTo>
                  <a:lnTo>
                    <a:pt x="1801" y="2231"/>
                  </a:lnTo>
                  <a:lnTo>
                    <a:pt x="1797" y="2228"/>
                  </a:lnTo>
                  <a:lnTo>
                    <a:pt x="1795" y="2223"/>
                  </a:lnTo>
                  <a:lnTo>
                    <a:pt x="1797" y="2197"/>
                  </a:lnTo>
                  <a:lnTo>
                    <a:pt x="1793" y="2188"/>
                  </a:lnTo>
                  <a:lnTo>
                    <a:pt x="1797" y="2185"/>
                  </a:lnTo>
                  <a:lnTo>
                    <a:pt x="1797" y="2182"/>
                  </a:lnTo>
                  <a:lnTo>
                    <a:pt x="1791" y="2177"/>
                  </a:lnTo>
                  <a:lnTo>
                    <a:pt x="1791" y="2178"/>
                  </a:lnTo>
                  <a:lnTo>
                    <a:pt x="1795" y="2182"/>
                  </a:lnTo>
                  <a:lnTo>
                    <a:pt x="1795" y="2183"/>
                  </a:lnTo>
                  <a:lnTo>
                    <a:pt x="1787" y="2185"/>
                  </a:lnTo>
                  <a:lnTo>
                    <a:pt x="1783" y="2183"/>
                  </a:lnTo>
                  <a:lnTo>
                    <a:pt x="1781" y="2183"/>
                  </a:lnTo>
                  <a:lnTo>
                    <a:pt x="1780" y="2182"/>
                  </a:lnTo>
                  <a:lnTo>
                    <a:pt x="1775" y="2183"/>
                  </a:lnTo>
                  <a:lnTo>
                    <a:pt x="1772" y="2182"/>
                  </a:lnTo>
                  <a:lnTo>
                    <a:pt x="1769" y="2180"/>
                  </a:lnTo>
                  <a:lnTo>
                    <a:pt x="1770" y="2183"/>
                  </a:lnTo>
                  <a:lnTo>
                    <a:pt x="1769" y="2185"/>
                  </a:lnTo>
                  <a:lnTo>
                    <a:pt x="1766" y="2185"/>
                  </a:lnTo>
                  <a:lnTo>
                    <a:pt x="1762" y="2183"/>
                  </a:lnTo>
                  <a:lnTo>
                    <a:pt x="1761" y="2183"/>
                  </a:lnTo>
                  <a:lnTo>
                    <a:pt x="1761" y="2185"/>
                  </a:lnTo>
                  <a:lnTo>
                    <a:pt x="1759" y="2185"/>
                  </a:lnTo>
                  <a:lnTo>
                    <a:pt x="1759" y="2188"/>
                  </a:lnTo>
                  <a:lnTo>
                    <a:pt x="1761" y="2191"/>
                  </a:lnTo>
                  <a:lnTo>
                    <a:pt x="1759" y="2194"/>
                  </a:lnTo>
                  <a:lnTo>
                    <a:pt x="1754" y="2194"/>
                  </a:lnTo>
                  <a:lnTo>
                    <a:pt x="1751" y="2191"/>
                  </a:lnTo>
                  <a:lnTo>
                    <a:pt x="1750" y="2191"/>
                  </a:lnTo>
                  <a:lnTo>
                    <a:pt x="1747" y="2191"/>
                  </a:lnTo>
                  <a:lnTo>
                    <a:pt x="1747" y="2194"/>
                  </a:lnTo>
                  <a:lnTo>
                    <a:pt x="1750" y="2195"/>
                  </a:lnTo>
                  <a:lnTo>
                    <a:pt x="1750" y="2202"/>
                  </a:lnTo>
                  <a:lnTo>
                    <a:pt x="1752" y="2206"/>
                  </a:lnTo>
                  <a:lnTo>
                    <a:pt x="1752" y="2208"/>
                  </a:lnTo>
                  <a:lnTo>
                    <a:pt x="1750" y="2211"/>
                  </a:lnTo>
                  <a:lnTo>
                    <a:pt x="1745" y="2218"/>
                  </a:lnTo>
                  <a:lnTo>
                    <a:pt x="1748" y="2216"/>
                  </a:lnTo>
                  <a:lnTo>
                    <a:pt x="1755" y="2207"/>
                  </a:lnTo>
                  <a:lnTo>
                    <a:pt x="1755" y="2199"/>
                  </a:lnTo>
                  <a:lnTo>
                    <a:pt x="1762" y="2201"/>
                  </a:lnTo>
                  <a:lnTo>
                    <a:pt x="1767" y="2197"/>
                  </a:lnTo>
                  <a:lnTo>
                    <a:pt x="1776" y="2195"/>
                  </a:lnTo>
                  <a:lnTo>
                    <a:pt x="1777" y="2197"/>
                  </a:lnTo>
                  <a:lnTo>
                    <a:pt x="1781" y="2203"/>
                  </a:lnTo>
                  <a:lnTo>
                    <a:pt x="1773" y="2226"/>
                  </a:lnTo>
                  <a:lnTo>
                    <a:pt x="1773" y="2236"/>
                  </a:lnTo>
                  <a:lnTo>
                    <a:pt x="1769" y="2245"/>
                  </a:lnTo>
                  <a:lnTo>
                    <a:pt x="1772" y="2261"/>
                  </a:lnTo>
                  <a:lnTo>
                    <a:pt x="1770" y="2269"/>
                  </a:lnTo>
                  <a:lnTo>
                    <a:pt x="1767" y="2276"/>
                  </a:lnTo>
                  <a:lnTo>
                    <a:pt x="1767" y="2280"/>
                  </a:lnTo>
                  <a:lnTo>
                    <a:pt x="1762" y="2285"/>
                  </a:lnTo>
                  <a:lnTo>
                    <a:pt x="1759" y="2293"/>
                  </a:lnTo>
                  <a:lnTo>
                    <a:pt x="1759" y="2303"/>
                  </a:lnTo>
                  <a:lnTo>
                    <a:pt x="1762" y="2313"/>
                  </a:lnTo>
                  <a:lnTo>
                    <a:pt x="1759" y="2315"/>
                  </a:lnTo>
                  <a:lnTo>
                    <a:pt x="1761" y="2319"/>
                  </a:lnTo>
                  <a:lnTo>
                    <a:pt x="1759" y="2325"/>
                  </a:lnTo>
                  <a:lnTo>
                    <a:pt x="1761" y="2338"/>
                  </a:lnTo>
                  <a:lnTo>
                    <a:pt x="1751" y="2350"/>
                  </a:lnTo>
                  <a:lnTo>
                    <a:pt x="1750" y="2356"/>
                  </a:lnTo>
                  <a:lnTo>
                    <a:pt x="1752" y="2368"/>
                  </a:lnTo>
                  <a:lnTo>
                    <a:pt x="1756" y="2373"/>
                  </a:lnTo>
                  <a:lnTo>
                    <a:pt x="1754" y="2375"/>
                  </a:lnTo>
                  <a:lnTo>
                    <a:pt x="1754" y="2379"/>
                  </a:lnTo>
                  <a:lnTo>
                    <a:pt x="1752" y="2379"/>
                  </a:lnTo>
                  <a:lnTo>
                    <a:pt x="1752" y="2381"/>
                  </a:lnTo>
                  <a:lnTo>
                    <a:pt x="1751" y="2387"/>
                  </a:lnTo>
                  <a:lnTo>
                    <a:pt x="1747" y="2390"/>
                  </a:lnTo>
                  <a:lnTo>
                    <a:pt x="1748" y="2400"/>
                  </a:lnTo>
                  <a:lnTo>
                    <a:pt x="1742" y="2401"/>
                  </a:lnTo>
                  <a:lnTo>
                    <a:pt x="1739" y="2409"/>
                  </a:lnTo>
                  <a:lnTo>
                    <a:pt x="1739" y="2413"/>
                  </a:lnTo>
                  <a:lnTo>
                    <a:pt x="1745" y="2427"/>
                  </a:lnTo>
                  <a:lnTo>
                    <a:pt x="1747" y="2432"/>
                  </a:lnTo>
                  <a:lnTo>
                    <a:pt x="1745" y="2435"/>
                  </a:lnTo>
                  <a:lnTo>
                    <a:pt x="1747" y="2438"/>
                  </a:lnTo>
                  <a:lnTo>
                    <a:pt x="1744" y="2441"/>
                  </a:lnTo>
                  <a:lnTo>
                    <a:pt x="1742" y="2450"/>
                  </a:lnTo>
                  <a:lnTo>
                    <a:pt x="1747" y="2446"/>
                  </a:lnTo>
                  <a:lnTo>
                    <a:pt x="1754" y="2442"/>
                  </a:lnTo>
                  <a:lnTo>
                    <a:pt x="1755" y="2439"/>
                  </a:lnTo>
                  <a:lnTo>
                    <a:pt x="1754" y="2437"/>
                  </a:lnTo>
                  <a:lnTo>
                    <a:pt x="1761" y="2435"/>
                  </a:lnTo>
                  <a:lnTo>
                    <a:pt x="1764" y="2432"/>
                  </a:lnTo>
                  <a:lnTo>
                    <a:pt x="1765" y="2426"/>
                  </a:lnTo>
                  <a:lnTo>
                    <a:pt x="1759" y="2421"/>
                  </a:lnTo>
                  <a:lnTo>
                    <a:pt x="1764" y="2419"/>
                  </a:lnTo>
                  <a:lnTo>
                    <a:pt x="1767" y="2412"/>
                  </a:lnTo>
                  <a:lnTo>
                    <a:pt x="1780" y="2405"/>
                  </a:lnTo>
                  <a:lnTo>
                    <a:pt x="1780" y="2401"/>
                  </a:lnTo>
                  <a:lnTo>
                    <a:pt x="1776" y="2396"/>
                  </a:lnTo>
                  <a:lnTo>
                    <a:pt x="1786" y="2392"/>
                  </a:lnTo>
                  <a:lnTo>
                    <a:pt x="1790" y="2388"/>
                  </a:lnTo>
                  <a:lnTo>
                    <a:pt x="1791" y="2382"/>
                  </a:lnTo>
                  <a:lnTo>
                    <a:pt x="1795" y="2379"/>
                  </a:lnTo>
                  <a:lnTo>
                    <a:pt x="1795" y="2371"/>
                  </a:lnTo>
                  <a:lnTo>
                    <a:pt x="1790" y="2359"/>
                  </a:lnTo>
                  <a:lnTo>
                    <a:pt x="1784" y="2352"/>
                  </a:lnTo>
                  <a:lnTo>
                    <a:pt x="1784" y="2344"/>
                  </a:lnTo>
                  <a:lnTo>
                    <a:pt x="1781" y="2337"/>
                  </a:lnTo>
                  <a:lnTo>
                    <a:pt x="1791" y="2337"/>
                  </a:lnTo>
                  <a:lnTo>
                    <a:pt x="1793" y="2340"/>
                  </a:lnTo>
                  <a:lnTo>
                    <a:pt x="1795" y="2340"/>
                  </a:lnTo>
                  <a:lnTo>
                    <a:pt x="1795" y="2338"/>
                  </a:lnTo>
                  <a:lnTo>
                    <a:pt x="1795" y="2327"/>
                  </a:lnTo>
                  <a:lnTo>
                    <a:pt x="1794" y="2326"/>
                  </a:lnTo>
                  <a:lnTo>
                    <a:pt x="1794" y="2330"/>
                  </a:lnTo>
                  <a:lnTo>
                    <a:pt x="1790" y="2329"/>
                  </a:lnTo>
                  <a:lnTo>
                    <a:pt x="1787" y="2319"/>
                  </a:lnTo>
                  <a:lnTo>
                    <a:pt x="1789" y="2318"/>
                  </a:lnTo>
                  <a:lnTo>
                    <a:pt x="1791" y="2318"/>
                  </a:lnTo>
                  <a:lnTo>
                    <a:pt x="1791" y="2315"/>
                  </a:lnTo>
                  <a:lnTo>
                    <a:pt x="1798" y="2314"/>
                  </a:lnTo>
                  <a:lnTo>
                    <a:pt x="1801" y="2315"/>
                  </a:lnTo>
                  <a:lnTo>
                    <a:pt x="1805" y="2320"/>
                  </a:lnTo>
                  <a:lnTo>
                    <a:pt x="1808" y="2320"/>
                  </a:lnTo>
                  <a:lnTo>
                    <a:pt x="1812" y="2326"/>
                  </a:lnTo>
                  <a:lnTo>
                    <a:pt x="1821" y="2330"/>
                  </a:lnTo>
                  <a:lnTo>
                    <a:pt x="1826" y="2338"/>
                  </a:lnTo>
                  <a:lnTo>
                    <a:pt x="1833" y="2340"/>
                  </a:lnTo>
                  <a:lnTo>
                    <a:pt x="1837" y="2340"/>
                  </a:lnTo>
                  <a:lnTo>
                    <a:pt x="1839" y="2337"/>
                  </a:lnTo>
                  <a:lnTo>
                    <a:pt x="1837" y="2334"/>
                  </a:lnTo>
                  <a:lnTo>
                    <a:pt x="1835" y="2334"/>
                  </a:lnTo>
                  <a:lnTo>
                    <a:pt x="1836" y="2334"/>
                  </a:lnTo>
                  <a:lnTo>
                    <a:pt x="1835" y="2332"/>
                  </a:lnTo>
                  <a:lnTo>
                    <a:pt x="1832" y="2334"/>
                  </a:lnTo>
                  <a:lnTo>
                    <a:pt x="1830" y="2334"/>
                  </a:lnTo>
                  <a:lnTo>
                    <a:pt x="1832" y="2330"/>
                  </a:lnTo>
                  <a:lnTo>
                    <a:pt x="1830" y="2330"/>
                  </a:lnTo>
                  <a:lnTo>
                    <a:pt x="1830" y="2327"/>
                  </a:lnTo>
                  <a:lnTo>
                    <a:pt x="1826" y="2326"/>
                  </a:lnTo>
                  <a:lnTo>
                    <a:pt x="1827" y="2325"/>
                  </a:lnTo>
                  <a:lnTo>
                    <a:pt x="1827" y="2322"/>
                  </a:lnTo>
                  <a:lnTo>
                    <a:pt x="1835" y="2327"/>
                  </a:lnTo>
                  <a:lnTo>
                    <a:pt x="1836" y="2330"/>
                  </a:lnTo>
                  <a:lnTo>
                    <a:pt x="1837" y="2330"/>
                  </a:lnTo>
                  <a:lnTo>
                    <a:pt x="1837" y="2334"/>
                  </a:lnTo>
                  <a:lnTo>
                    <a:pt x="1840" y="2337"/>
                  </a:lnTo>
                  <a:lnTo>
                    <a:pt x="1840" y="2344"/>
                  </a:lnTo>
                  <a:lnTo>
                    <a:pt x="1847" y="2348"/>
                  </a:lnTo>
                  <a:lnTo>
                    <a:pt x="1847" y="2351"/>
                  </a:lnTo>
                  <a:lnTo>
                    <a:pt x="1849" y="2351"/>
                  </a:lnTo>
                  <a:lnTo>
                    <a:pt x="1860" y="2352"/>
                  </a:lnTo>
                  <a:lnTo>
                    <a:pt x="1864" y="2351"/>
                  </a:lnTo>
                  <a:lnTo>
                    <a:pt x="1860" y="2339"/>
                  </a:lnTo>
                  <a:lnTo>
                    <a:pt x="1860" y="2334"/>
                  </a:lnTo>
                  <a:lnTo>
                    <a:pt x="1857" y="2332"/>
                  </a:lnTo>
                  <a:lnTo>
                    <a:pt x="1854" y="2334"/>
                  </a:lnTo>
                  <a:lnTo>
                    <a:pt x="1854" y="2330"/>
                  </a:lnTo>
                  <a:lnTo>
                    <a:pt x="1858" y="2327"/>
                  </a:lnTo>
                  <a:lnTo>
                    <a:pt x="1860" y="2326"/>
                  </a:lnTo>
                  <a:lnTo>
                    <a:pt x="1866" y="2327"/>
                  </a:lnTo>
                  <a:lnTo>
                    <a:pt x="1869" y="2326"/>
                  </a:lnTo>
                  <a:lnTo>
                    <a:pt x="1869" y="2327"/>
                  </a:lnTo>
                  <a:lnTo>
                    <a:pt x="1871" y="2327"/>
                  </a:lnTo>
                  <a:lnTo>
                    <a:pt x="1878" y="2326"/>
                  </a:lnTo>
                  <a:lnTo>
                    <a:pt x="1878" y="2325"/>
                  </a:lnTo>
                  <a:lnTo>
                    <a:pt x="1876" y="2323"/>
                  </a:lnTo>
                  <a:lnTo>
                    <a:pt x="1876" y="2315"/>
                  </a:lnTo>
                  <a:lnTo>
                    <a:pt x="1875" y="2310"/>
                  </a:lnTo>
                  <a:lnTo>
                    <a:pt x="1875" y="2305"/>
                  </a:lnTo>
                  <a:lnTo>
                    <a:pt x="1874" y="2301"/>
                  </a:lnTo>
                  <a:lnTo>
                    <a:pt x="1872" y="2301"/>
                  </a:lnTo>
                  <a:lnTo>
                    <a:pt x="1871" y="2302"/>
                  </a:lnTo>
                  <a:lnTo>
                    <a:pt x="1868" y="2293"/>
                  </a:lnTo>
                  <a:lnTo>
                    <a:pt x="1876" y="2284"/>
                  </a:lnTo>
                  <a:lnTo>
                    <a:pt x="1880" y="2284"/>
                  </a:lnTo>
                  <a:lnTo>
                    <a:pt x="1887" y="2281"/>
                  </a:lnTo>
                  <a:lnTo>
                    <a:pt x="1883" y="2281"/>
                  </a:lnTo>
                  <a:lnTo>
                    <a:pt x="1882" y="2280"/>
                  </a:lnTo>
                  <a:lnTo>
                    <a:pt x="1875" y="2277"/>
                  </a:lnTo>
                  <a:lnTo>
                    <a:pt x="1876" y="2275"/>
                  </a:lnTo>
                  <a:lnTo>
                    <a:pt x="1876" y="2273"/>
                  </a:lnTo>
                  <a:lnTo>
                    <a:pt x="1874" y="2272"/>
                  </a:lnTo>
                  <a:lnTo>
                    <a:pt x="1872" y="2275"/>
                  </a:lnTo>
                  <a:lnTo>
                    <a:pt x="1866" y="2272"/>
                  </a:lnTo>
                  <a:lnTo>
                    <a:pt x="1865" y="2273"/>
                  </a:lnTo>
                  <a:lnTo>
                    <a:pt x="1864" y="2269"/>
                  </a:lnTo>
                  <a:lnTo>
                    <a:pt x="1865" y="2269"/>
                  </a:lnTo>
                  <a:lnTo>
                    <a:pt x="1868" y="2270"/>
                  </a:lnTo>
                  <a:lnTo>
                    <a:pt x="1879" y="2270"/>
                  </a:lnTo>
                  <a:lnTo>
                    <a:pt x="1893" y="2278"/>
                  </a:lnTo>
                  <a:lnTo>
                    <a:pt x="1901" y="2278"/>
                  </a:lnTo>
                  <a:lnTo>
                    <a:pt x="1911" y="2280"/>
                  </a:lnTo>
                  <a:lnTo>
                    <a:pt x="1910" y="2307"/>
                  </a:lnTo>
                  <a:lnTo>
                    <a:pt x="1912" y="2322"/>
                  </a:lnTo>
                  <a:lnTo>
                    <a:pt x="1919" y="2329"/>
                  </a:lnTo>
                  <a:lnTo>
                    <a:pt x="1922" y="2329"/>
                  </a:lnTo>
                  <a:lnTo>
                    <a:pt x="1922" y="2338"/>
                  </a:lnTo>
                  <a:lnTo>
                    <a:pt x="1925" y="2340"/>
                  </a:lnTo>
                  <a:lnTo>
                    <a:pt x="1921" y="2348"/>
                  </a:lnTo>
                  <a:lnTo>
                    <a:pt x="1907" y="2369"/>
                  </a:lnTo>
                  <a:lnTo>
                    <a:pt x="1901" y="2384"/>
                  </a:lnTo>
                  <a:lnTo>
                    <a:pt x="1901" y="2387"/>
                  </a:lnTo>
                  <a:lnTo>
                    <a:pt x="1904" y="2387"/>
                  </a:lnTo>
                  <a:lnTo>
                    <a:pt x="1905" y="2388"/>
                  </a:lnTo>
                  <a:lnTo>
                    <a:pt x="1897" y="2400"/>
                  </a:lnTo>
                  <a:lnTo>
                    <a:pt x="1885" y="2427"/>
                  </a:lnTo>
                  <a:lnTo>
                    <a:pt x="1879" y="2446"/>
                  </a:lnTo>
                  <a:lnTo>
                    <a:pt x="1880" y="2455"/>
                  </a:lnTo>
                  <a:lnTo>
                    <a:pt x="1883" y="2462"/>
                  </a:lnTo>
                  <a:lnTo>
                    <a:pt x="1879" y="2472"/>
                  </a:lnTo>
                  <a:lnTo>
                    <a:pt x="1875" y="2493"/>
                  </a:lnTo>
                  <a:lnTo>
                    <a:pt x="1876" y="2503"/>
                  </a:lnTo>
                  <a:lnTo>
                    <a:pt x="1880" y="2505"/>
                  </a:lnTo>
                  <a:lnTo>
                    <a:pt x="1879" y="2521"/>
                  </a:lnTo>
                  <a:lnTo>
                    <a:pt x="1880" y="2528"/>
                  </a:lnTo>
                  <a:lnTo>
                    <a:pt x="1880" y="2534"/>
                  </a:lnTo>
                  <a:lnTo>
                    <a:pt x="1871" y="2550"/>
                  </a:lnTo>
                  <a:lnTo>
                    <a:pt x="1862" y="2571"/>
                  </a:lnTo>
                  <a:lnTo>
                    <a:pt x="1854" y="2584"/>
                  </a:lnTo>
                  <a:lnTo>
                    <a:pt x="1826" y="2613"/>
                  </a:lnTo>
                  <a:lnTo>
                    <a:pt x="1822" y="2621"/>
                  </a:lnTo>
                  <a:lnTo>
                    <a:pt x="1821" y="2630"/>
                  </a:lnTo>
                  <a:lnTo>
                    <a:pt x="1818" y="2634"/>
                  </a:lnTo>
                  <a:lnTo>
                    <a:pt x="1808" y="2648"/>
                  </a:lnTo>
                  <a:lnTo>
                    <a:pt x="1790" y="2671"/>
                  </a:lnTo>
                  <a:lnTo>
                    <a:pt x="1754" y="2712"/>
                  </a:lnTo>
                  <a:lnTo>
                    <a:pt x="1744" y="2724"/>
                  </a:lnTo>
                  <a:lnTo>
                    <a:pt x="1705" y="2770"/>
                  </a:lnTo>
                  <a:lnTo>
                    <a:pt x="1692" y="2787"/>
                  </a:lnTo>
                  <a:lnTo>
                    <a:pt x="1661" y="2816"/>
                  </a:lnTo>
                  <a:lnTo>
                    <a:pt x="1654" y="2827"/>
                  </a:lnTo>
                  <a:lnTo>
                    <a:pt x="1644" y="2840"/>
                  </a:lnTo>
                  <a:lnTo>
                    <a:pt x="1641" y="2846"/>
                  </a:lnTo>
                  <a:lnTo>
                    <a:pt x="1640" y="2857"/>
                  </a:lnTo>
                  <a:lnTo>
                    <a:pt x="1641" y="2865"/>
                  </a:lnTo>
                  <a:lnTo>
                    <a:pt x="1640" y="2869"/>
                  </a:lnTo>
                  <a:lnTo>
                    <a:pt x="1614" y="2891"/>
                  </a:lnTo>
                  <a:lnTo>
                    <a:pt x="1605" y="2903"/>
                  </a:lnTo>
                  <a:lnTo>
                    <a:pt x="1598" y="2914"/>
                  </a:lnTo>
                  <a:lnTo>
                    <a:pt x="1580" y="2928"/>
                  </a:lnTo>
                  <a:lnTo>
                    <a:pt x="1563" y="2937"/>
                  </a:lnTo>
                  <a:lnTo>
                    <a:pt x="1533" y="2956"/>
                  </a:lnTo>
                  <a:lnTo>
                    <a:pt x="1479" y="2983"/>
                  </a:lnTo>
                  <a:lnTo>
                    <a:pt x="1406" y="3011"/>
                  </a:lnTo>
                  <a:lnTo>
                    <a:pt x="1341" y="3043"/>
                  </a:lnTo>
                  <a:lnTo>
                    <a:pt x="1287" y="3062"/>
                  </a:lnTo>
                  <a:lnTo>
                    <a:pt x="1209" y="3087"/>
                  </a:lnTo>
                  <a:lnTo>
                    <a:pt x="1118" y="3117"/>
                  </a:lnTo>
                  <a:lnTo>
                    <a:pt x="1108" y="3119"/>
                  </a:lnTo>
                  <a:lnTo>
                    <a:pt x="1105" y="3123"/>
                  </a:lnTo>
                  <a:lnTo>
                    <a:pt x="1089" y="3128"/>
                  </a:lnTo>
                  <a:lnTo>
                    <a:pt x="1086" y="3131"/>
                  </a:lnTo>
                  <a:lnTo>
                    <a:pt x="1081" y="3134"/>
                  </a:lnTo>
                  <a:lnTo>
                    <a:pt x="1055" y="3140"/>
                  </a:lnTo>
                  <a:lnTo>
                    <a:pt x="1024" y="3095"/>
                  </a:lnTo>
                  <a:lnTo>
                    <a:pt x="915" y="3086"/>
                  </a:lnTo>
                  <a:lnTo>
                    <a:pt x="915" y="3043"/>
                  </a:lnTo>
                  <a:lnTo>
                    <a:pt x="914" y="3018"/>
                  </a:lnTo>
                  <a:lnTo>
                    <a:pt x="1035" y="2957"/>
                  </a:lnTo>
                  <a:lnTo>
                    <a:pt x="1006" y="2923"/>
                  </a:lnTo>
                  <a:lnTo>
                    <a:pt x="996" y="2915"/>
                  </a:lnTo>
                  <a:lnTo>
                    <a:pt x="985" y="2902"/>
                  </a:lnTo>
                  <a:lnTo>
                    <a:pt x="981" y="2895"/>
                  </a:lnTo>
                  <a:lnTo>
                    <a:pt x="976" y="2886"/>
                  </a:lnTo>
                  <a:lnTo>
                    <a:pt x="972" y="2882"/>
                  </a:lnTo>
                  <a:lnTo>
                    <a:pt x="957" y="2881"/>
                  </a:lnTo>
                  <a:lnTo>
                    <a:pt x="957" y="2879"/>
                  </a:lnTo>
                  <a:lnTo>
                    <a:pt x="1018" y="2817"/>
                  </a:lnTo>
                  <a:lnTo>
                    <a:pt x="1018" y="2815"/>
                  </a:lnTo>
                  <a:lnTo>
                    <a:pt x="1016" y="2812"/>
                  </a:lnTo>
                  <a:lnTo>
                    <a:pt x="1007" y="2811"/>
                  </a:lnTo>
                  <a:lnTo>
                    <a:pt x="993" y="2817"/>
                  </a:lnTo>
                  <a:lnTo>
                    <a:pt x="982" y="2817"/>
                  </a:lnTo>
                  <a:lnTo>
                    <a:pt x="972" y="2821"/>
                  </a:lnTo>
                  <a:lnTo>
                    <a:pt x="965" y="2821"/>
                  </a:lnTo>
                  <a:lnTo>
                    <a:pt x="953" y="2822"/>
                  </a:lnTo>
                  <a:lnTo>
                    <a:pt x="942" y="2828"/>
                  </a:lnTo>
                  <a:lnTo>
                    <a:pt x="939" y="2832"/>
                  </a:lnTo>
                  <a:lnTo>
                    <a:pt x="937" y="2834"/>
                  </a:lnTo>
                  <a:lnTo>
                    <a:pt x="926" y="2837"/>
                  </a:lnTo>
                  <a:lnTo>
                    <a:pt x="925" y="2837"/>
                  </a:lnTo>
                  <a:lnTo>
                    <a:pt x="921" y="2834"/>
                  </a:lnTo>
                  <a:lnTo>
                    <a:pt x="917" y="2834"/>
                  </a:lnTo>
                  <a:lnTo>
                    <a:pt x="910" y="2836"/>
                  </a:lnTo>
                  <a:lnTo>
                    <a:pt x="901" y="2841"/>
                  </a:lnTo>
                  <a:lnTo>
                    <a:pt x="898" y="2841"/>
                  </a:lnTo>
                  <a:lnTo>
                    <a:pt x="893" y="2839"/>
                  </a:lnTo>
                  <a:lnTo>
                    <a:pt x="889" y="2839"/>
                  </a:lnTo>
                  <a:lnTo>
                    <a:pt x="879" y="2845"/>
                  </a:lnTo>
                  <a:lnTo>
                    <a:pt x="872" y="2846"/>
                  </a:lnTo>
                  <a:lnTo>
                    <a:pt x="851" y="2853"/>
                  </a:lnTo>
                  <a:lnTo>
                    <a:pt x="848" y="2856"/>
                  </a:lnTo>
                  <a:lnTo>
                    <a:pt x="847" y="2861"/>
                  </a:lnTo>
                  <a:lnTo>
                    <a:pt x="839" y="2862"/>
                  </a:lnTo>
                  <a:lnTo>
                    <a:pt x="837" y="2865"/>
                  </a:lnTo>
                  <a:lnTo>
                    <a:pt x="833" y="2865"/>
                  </a:lnTo>
                  <a:lnTo>
                    <a:pt x="831" y="2862"/>
                  </a:lnTo>
                  <a:lnTo>
                    <a:pt x="825" y="2864"/>
                  </a:lnTo>
                  <a:lnTo>
                    <a:pt x="823" y="2865"/>
                  </a:lnTo>
                  <a:lnTo>
                    <a:pt x="815" y="2865"/>
                  </a:lnTo>
                  <a:lnTo>
                    <a:pt x="812" y="2869"/>
                  </a:lnTo>
                  <a:lnTo>
                    <a:pt x="806" y="2873"/>
                  </a:lnTo>
                  <a:lnTo>
                    <a:pt x="798" y="2873"/>
                  </a:lnTo>
                  <a:lnTo>
                    <a:pt x="794" y="2876"/>
                  </a:lnTo>
                  <a:lnTo>
                    <a:pt x="790" y="2879"/>
                  </a:lnTo>
                  <a:lnTo>
                    <a:pt x="789" y="2878"/>
                  </a:lnTo>
                  <a:lnTo>
                    <a:pt x="751" y="2824"/>
                  </a:lnTo>
                  <a:lnTo>
                    <a:pt x="735" y="2809"/>
                  </a:lnTo>
                  <a:lnTo>
                    <a:pt x="722" y="2794"/>
                  </a:lnTo>
                  <a:lnTo>
                    <a:pt x="716" y="2787"/>
                  </a:lnTo>
                  <a:lnTo>
                    <a:pt x="715" y="2782"/>
                  </a:lnTo>
                  <a:lnTo>
                    <a:pt x="708" y="2775"/>
                  </a:lnTo>
                  <a:lnTo>
                    <a:pt x="690" y="2749"/>
                  </a:lnTo>
                  <a:lnTo>
                    <a:pt x="673" y="2730"/>
                  </a:lnTo>
                  <a:lnTo>
                    <a:pt x="675" y="2647"/>
                  </a:lnTo>
                  <a:lnTo>
                    <a:pt x="673" y="2605"/>
                  </a:lnTo>
                  <a:lnTo>
                    <a:pt x="671" y="2519"/>
                  </a:lnTo>
                  <a:lnTo>
                    <a:pt x="663" y="2517"/>
                  </a:lnTo>
                  <a:lnTo>
                    <a:pt x="661" y="2509"/>
                  </a:lnTo>
                  <a:lnTo>
                    <a:pt x="652" y="2504"/>
                  </a:lnTo>
                  <a:lnTo>
                    <a:pt x="644" y="2508"/>
                  </a:lnTo>
                  <a:lnTo>
                    <a:pt x="637" y="2505"/>
                  </a:lnTo>
                  <a:lnTo>
                    <a:pt x="632" y="2509"/>
                  </a:lnTo>
                  <a:lnTo>
                    <a:pt x="626" y="2509"/>
                  </a:lnTo>
                  <a:lnTo>
                    <a:pt x="625" y="2506"/>
                  </a:lnTo>
                  <a:lnTo>
                    <a:pt x="625" y="2498"/>
                  </a:lnTo>
                  <a:lnTo>
                    <a:pt x="623" y="2498"/>
                  </a:lnTo>
                  <a:lnTo>
                    <a:pt x="623" y="2494"/>
                  </a:lnTo>
                  <a:lnTo>
                    <a:pt x="621" y="2493"/>
                  </a:lnTo>
                  <a:lnTo>
                    <a:pt x="622" y="2491"/>
                  </a:lnTo>
                  <a:lnTo>
                    <a:pt x="616" y="2480"/>
                  </a:lnTo>
                  <a:lnTo>
                    <a:pt x="615" y="2472"/>
                  </a:lnTo>
                  <a:lnTo>
                    <a:pt x="612" y="2468"/>
                  </a:lnTo>
                  <a:lnTo>
                    <a:pt x="612" y="2464"/>
                  </a:lnTo>
                  <a:lnTo>
                    <a:pt x="618" y="2464"/>
                  </a:lnTo>
                  <a:lnTo>
                    <a:pt x="621" y="2459"/>
                  </a:lnTo>
                  <a:lnTo>
                    <a:pt x="619" y="2455"/>
                  </a:lnTo>
                  <a:lnTo>
                    <a:pt x="615" y="2454"/>
                  </a:lnTo>
                  <a:lnTo>
                    <a:pt x="613" y="2450"/>
                  </a:lnTo>
                  <a:lnTo>
                    <a:pt x="612" y="2448"/>
                  </a:lnTo>
                  <a:lnTo>
                    <a:pt x="615" y="2446"/>
                  </a:lnTo>
                  <a:lnTo>
                    <a:pt x="619" y="2444"/>
                  </a:lnTo>
                  <a:lnTo>
                    <a:pt x="621" y="2443"/>
                  </a:lnTo>
                  <a:lnTo>
                    <a:pt x="625" y="2437"/>
                  </a:lnTo>
                  <a:lnTo>
                    <a:pt x="622" y="2434"/>
                  </a:lnTo>
                  <a:lnTo>
                    <a:pt x="619" y="2435"/>
                  </a:lnTo>
                  <a:lnTo>
                    <a:pt x="616" y="2435"/>
                  </a:lnTo>
                  <a:lnTo>
                    <a:pt x="613" y="2434"/>
                  </a:lnTo>
                  <a:lnTo>
                    <a:pt x="612" y="2430"/>
                  </a:lnTo>
                  <a:lnTo>
                    <a:pt x="613" y="2427"/>
                  </a:lnTo>
                  <a:lnTo>
                    <a:pt x="618" y="2423"/>
                  </a:lnTo>
                  <a:lnTo>
                    <a:pt x="621" y="2417"/>
                  </a:lnTo>
                  <a:lnTo>
                    <a:pt x="618" y="2409"/>
                  </a:lnTo>
                  <a:lnTo>
                    <a:pt x="618" y="2401"/>
                  </a:lnTo>
                  <a:lnTo>
                    <a:pt x="615" y="2400"/>
                  </a:lnTo>
                  <a:lnTo>
                    <a:pt x="611" y="2397"/>
                  </a:lnTo>
                  <a:lnTo>
                    <a:pt x="613" y="2394"/>
                  </a:lnTo>
                  <a:lnTo>
                    <a:pt x="612" y="2392"/>
                  </a:lnTo>
                  <a:lnTo>
                    <a:pt x="615" y="2389"/>
                  </a:lnTo>
                  <a:lnTo>
                    <a:pt x="616" y="2388"/>
                  </a:lnTo>
                  <a:lnTo>
                    <a:pt x="619" y="2384"/>
                  </a:lnTo>
                  <a:lnTo>
                    <a:pt x="611" y="2377"/>
                  </a:lnTo>
                  <a:lnTo>
                    <a:pt x="608" y="2372"/>
                  </a:lnTo>
                  <a:lnTo>
                    <a:pt x="611" y="2368"/>
                  </a:lnTo>
                  <a:lnTo>
                    <a:pt x="612" y="2364"/>
                  </a:lnTo>
                  <a:lnTo>
                    <a:pt x="609" y="2364"/>
                  </a:lnTo>
                  <a:lnTo>
                    <a:pt x="605" y="2362"/>
                  </a:lnTo>
                  <a:lnTo>
                    <a:pt x="605" y="2356"/>
                  </a:lnTo>
                  <a:lnTo>
                    <a:pt x="602" y="2352"/>
                  </a:lnTo>
                  <a:lnTo>
                    <a:pt x="604" y="2352"/>
                  </a:lnTo>
                  <a:lnTo>
                    <a:pt x="605" y="2352"/>
                  </a:lnTo>
                  <a:lnTo>
                    <a:pt x="607" y="2351"/>
                  </a:lnTo>
                  <a:lnTo>
                    <a:pt x="605" y="2350"/>
                  </a:lnTo>
                  <a:lnTo>
                    <a:pt x="607" y="2348"/>
                  </a:lnTo>
                  <a:lnTo>
                    <a:pt x="611" y="2350"/>
                  </a:lnTo>
                  <a:lnTo>
                    <a:pt x="611" y="2347"/>
                  </a:lnTo>
                  <a:lnTo>
                    <a:pt x="621" y="2344"/>
                  </a:lnTo>
                  <a:lnTo>
                    <a:pt x="626" y="2342"/>
                  </a:lnTo>
                  <a:lnTo>
                    <a:pt x="629" y="2339"/>
                  </a:lnTo>
                  <a:lnTo>
                    <a:pt x="627" y="2334"/>
                  </a:lnTo>
                  <a:lnTo>
                    <a:pt x="622" y="2334"/>
                  </a:lnTo>
                  <a:lnTo>
                    <a:pt x="622" y="2332"/>
                  </a:lnTo>
                  <a:lnTo>
                    <a:pt x="618" y="2330"/>
                  </a:lnTo>
                  <a:lnTo>
                    <a:pt x="616" y="2329"/>
                  </a:lnTo>
                  <a:lnTo>
                    <a:pt x="612" y="2329"/>
                  </a:lnTo>
                  <a:lnTo>
                    <a:pt x="612" y="2325"/>
                  </a:lnTo>
                  <a:lnTo>
                    <a:pt x="615" y="2322"/>
                  </a:lnTo>
                  <a:lnTo>
                    <a:pt x="612" y="2319"/>
                  </a:lnTo>
                  <a:lnTo>
                    <a:pt x="611" y="2319"/>
                  </a:lnTo>
                  <a:lnTo>
                    <a:pt x="607" y="2314"/>
                  </a:lnTo>
                  <a:lnTo>
                    <a:pt x="609" y="2310"/>
                  </a:lnTo>
                  <a:lnTo>
                    <a:pt x="611" y="2312"/>
                  </a:lnTo>
                  <a:lnTo>
                    <a:pt x="613" y="2310"/>
                  </a:lnTo>
                  <a:lnTo>
                    <a:pt x="615" y="2305"/>
                  </a:lnTo>
                  <a:lnTo>
                    <a:pt x="619" y="2303"/>
                  </a:lnTo>
                  <a:lnTo>
                    <a:pt x="618" y="2302"/>
                  </a:lnTo>
                  <a:lnTo>
                    <a:pt x="618" y="2300"/>
                  </a:lnTo>
                  <a:lnTo>
                    <a:pt x="616" y="2301"/>
                  </a:lnTo>
                  <a:lnTo>
                    <a:pt x="613" y="2298"/>
                  </a:lnTo>
                  <a:lnTo>
                    <a:pt x="616" y="2295"/>
                  </a:lnTo>
                  <a:lnTo>
                    <a:pt x="616" y="2293"/>
                  </a:lnTo>
                  <a:lnTo>
                    <a:pt x="619" y="2289"/>
                  </a:lnTo>
                  <a:lnTo>
                    <a:pt x="616" y="2285"/>
                  </a:lnTo>
                  <a:lnTo>
                    <a:pt x="618" y="2281"/>
                  </a:lnTo>
                  <a:lnTo>
                    <a:pt x="615" y="2278"/>
                  </a:lnTo>
                  <a:lnTo>
                    <a:pt x="615" y="2276"/>
                  </a:lnTo>
                  <a:lnTo>
                    <a:pt x="613" y="2275"/>
                  </a:lnTo>
                  <a:lnTo>
                    <a:pt x="612" y="2270"/>
                  </a:lnTo>
                  <a:lnTo>
                    <a:pt x="608" y="2269"/>
                  </a:lnTo>
                  <a:lnTo>
                    <a:pt x="608" y="2267"/>
                  </a:lnTo>
                  <a:lnTo>
                    <a:pt x="608" y="2265"/>
                  </a:lnTo>
                  <a:lnTo>
                    <a:pt x="615" y="2258"/>
                  </a:lnTo>
                  <a:lnTo>
                    <a:pt x="615" y="2253"/>
                  </a:lnTo>
                  <a:lnTo>
                    <a:pt x="618" y="2251"/>
                  </a:lnTo>
                  <a:lnTo>
                    <a:pt x="618" y="2248"/>
                  </a:lnTo>
                  <a:lnTo>
                    <a:pt x="616" y="2245"/>
                  </a:lnTo>
                  <a:lnTo>
                    <a:pt x="618" y="2240"/>
                  </a:lnTo>
                  <a:lnTo>
                    <a:pt x="623" y="2235"/>
                  </a:lnTo>
                  <a:lnTo>
                    <a:pt x="621" y="2231"/>
                  </a:lnTo>
                  <a:lnTo>
                    <a:pt x="622" y="2225"/>
                  </a:lnTo>
                  <a:lnTo>
                    <a:pt x="618" y="2222"/>
                  </a:lnTo>
                  <a:lnTo>
                    <a:pt x="621" y="2219"/>
                  </a:lnTo>
                  <a:lnTo>
                    <a:pt x="626" y="2218"/>
                  </a:lnTo>
                  <a:lnTo>
                    <a:pt x="626" y="2214"/>
                  </a:lnTo>
                  <a:lnTo>
                    <a:pt x="629" y="2213"/>
                  </a:lnTo>
                  <a:lnTo>
                    <a:pt x="636" y="2213"/>
                  </a:lnTo>
                  <a:lnTo>
                    <a:pt x="638" y="2211"/>
                  </a:lnTo>
                  <a:lnTo>
                    <a:pt x="638" y="2208"/>
                  </a:lnTo>
                  <a:lnTo>
                    <a:pt x="637" y="2207"/>
                  </a:lnTo>
                  <a:lnTo>
                    <a:pt x="633" y="2206"/>
                  </a:lnTo>
                  <a:lnTo>
                    <a:pt x="632" y="2205"/>
                  </a:lnTo>
                  <a:lnTo>
                    <a:pt x="630" y="2205"/>
                  </a:lnTo>
                  <a:lnTo>
                    <a:pt x="632" y="2202"/>
                  </a:lnTo>
                  <a:lnTo>
                    <a:pt x="633" y="2202"/>
                  </a:lnTo>
                  <a:lnTo>
                    <a:pt x="634" y="2199"/>
                  </a:lnTo>
                  <a:lnTo>
                    <a:pt x="634" y="2194"/>
                  </a:lnTo>
                  <a:lnTo>
                    <a:pt x="629" y="2195"/>
                  </a:lnTo>
                  <a:lnTo>
                    <a:pt x="625" y="2194"/>
                  </a:lnTo>
                  <a:lnTo>
                    <a:pt x="626" y="2188"/>
                  </a:lnTo>
                  <a:lnTo>
                    <a:pt x="627" y="2186"/>
                  </a:lnTo>
                  <a:lnTo>
                    <a:pt x="622" y="2180"/>
                  </a:lnTo>
                  <a:lnTo>
                    <a:pt x="621" y="2169"/>
                  </a:lnTo>
                  <a:lnTo>
                    <a:pt x="615" y="2169"/>
                  </a:lnTo>
                  <a:lnTo>
                    <a:pt x="609" y="2177"/>
                  </a:lnTo>
                  <a:lnTo>
                    <a:pt x="599" y="2181"/>
                  </a:lnTo>
                  <a:lnTo>
                    <a:pt x="596" y="2181"/>
                  </a:lnTo>
                  <a:lnTo>
                    <a:pt x="594" y="2178"/>
                  </a:lnTo>
                  <a:lnTo>
                    <a:pt x="587" y="2177"/>
                  </a:lnTo>
                  <a:lnTo>
                    <a:pt x="587" y="2174"/>
                  </a:lnTo>
                  <a:lnTo>
                    <a:pt x="593" y="2173"/>
                  </a:lnTo>
                  <a:lnTo>
                    <a:pt x="594" y="2171"/>
                  </a:lnTo>
                  <a:lnTo>
                    <a:pt x="597" y="2169"/>
                  </a:lnTo>
                  <a:lnTo>
                    <a:pt x="597" y="2165"/>
                  </a:lnTo>
                  <a:lnTo>
                    <a:pt x="598" y="2165"/>
                  </a:lnTo>
                  <a:lnTo>
                    <a:pt x="601" y="2165"/>
                  </a:lnTo>
                  <a:lnTo>
                    <a:pt x="604" y="2165"/>
                  </a:lnTo>
                  <a:lnTo>
                    <a:pt x="604" y="2161"/>
                  </a:lnTo>
                  <a:lnTo>
                    <a:pt x="601" y="2161"/>
                  </a:lnTo>
                  <a:lnTo>
                    <a:pt x="604" y="2157"/>
                  </a:lnTo>
                  <a:lnTo>
                    <a:pt x="602" y="2155"/>
                  </a:lnTo>
                  <a:lnTo>
                    <a:pt x="607" y="2152"/>
                  </a:lnTo>
                  <a:lnTo>
                    <a:pt x="608" y="2149"/>
                  </a:lnTo>
                  <a:lnTo>
                    <a:pt x="609" y="2151"/>
                  </a:lnTo>
                  <a:lnTo>
                    <a:pt x="611" y="2149"/>
                  </a:lnTo>
                  <a:lnTo>
                    <a:pt x="613" y="2146"/>
                  </a:lnTo>
                  <a:lnTo>
                    <a:pt x="618" y="2145"/>
                  </a:lnTo>
                  <a:lnTo>
                    <a:pt x="618" y="2141"/>
                  </a:lnTo>
                  <a:lnTo>
                    <a:pt x="621" y="2140"/>
                  </a:lnTo>
                  <a:lnTo>
                    <a:pt x="616" y="2136"/>
                  </a:lnTo>
                  <a:lnTo>
                    <a:pt x="616" y="2129"/>
                  </a:lnTo>
                  <a:lnTo>
                    <a:pt x="618" y="2126"/>
                  </a:lnTo>
                  <a:lnTo>
                    <a:pt x="625" y="2123"/>
                  </a:lnTo>
                  <a:lnTo>
                    <a:pt x="630" y="2116"/>
                  </a:lnTo>
                  <a:lnTo>
                    <a:pt x="632" y="2112"/>
                  </a:lnTo>
                  <a:lnTo>
                    <a:pt x="629" y="2112"/>
                  </a:lnTo>
                  <a:lnTo>
                    <a:pt x="622" y="2112"/>
                  </a:lnTo>
                  <a:lnTo>
                    <a:pt x="619" y="2108"/>
                  </a:lnTo>
                  <a:lnTo>
                    <a:pt x="615" y="2108"/>
                  </a:lnTo>
                  <a:lnTo>
                    <a:pt x="616" y="2103"/>
                  </a:lnTo>
                  <a:lnTo>
                    <a:pt x="622" y="2098"/>
                  </a:lnTo>
                  <a:lnTo>
                    <a:pt x="622" y="2096"/>
                  </a:lnTo>
                  <a:lnTo>
                    <a:pt x="623" y="2096"/>
                  </a:lnTo>
                  <a:lnTo>
                    <a:pt x="627" y="2094"/>
                  </a:lnTo>
                  <a:lnTo>
                    <a:pt x="630" y="2093"/>
                  </a:lnTo>
                  <a:lnTo>
                    <a:pt x="630" y="2089"/>
                  </a:lnTo>
                  <a:lnTo>
                    <a:pt x="634" y="2086"/>
                  </a:lnTo>
                  <a:lnTo>
                    <a:pt x="634" y="2084"/>
                  </a:lnTo>
                  <a:lnTo>
                    <a:pt x="633" y="2082"/>
                  </a:lnTo>
                  <a:lnTo>
                    <a:pt x="629" y="2082"/>
                  </a:lnTo>
                  <a:lnTo>
                    <a:pt x="625" y="2076"/>
                  </a:lnTo>
                  <a:lnTo>
                    <a:pt x="622" y="2076"/>
                  </a:lnTo>
                  <a:lnTo>
                    <a:pt x="622" y="2074"/>
                  </a:lnTo>
                  <a:lnTo>
                    <a:pt x="621" y="2071"/>
                  </a:lnTo>
                  <a:lnTo>
                    <a:pt x="619" y="2071"/>
                  </a:lnTo>
                  <a:lnTo>
                    <a:pt x="618" y="2070"/>
                  </a:lnTo>
                  <a:lnTo>
                    <a:pt x="619" y="2068"/>
                  </a:lnTo>
                  <a:lnTo>
                    <a:pt x="621" y="2069"/>
                  </a:lnTo>
                  <a:lnTo>
                    <a:pt x="622" y="2069"/>
                  </a:lnTo>
                  <a:lnTo>
                    <a:pt x="623" y="2069"/>
                  </a:lnTo>
                  <a:lnTo>
                    <a:pt x="625" y="2065"/>
                  </a:lnTo>
                  <a:lnTo>
                    <a:pt x="623" y="2064"/>
                  </a:lnTo>
                  <a:lnTo>
                    <a:pt x="623" y="2061"/>
                  </a:lnTo>
                  <a:lnTo>
                    <a:pt x="621" y="2062"/>
                  </a:lnTo>
                  <a:lnTo>
                    <a:pt x="619" y="2062"/>
                  </a:lnTo>
                  <a:lnTo>
                    <a:pt x="621" y="2059"/>
                  </a:lnTo>
                  <a:lnTo>
                    <a:pt x="619" y="2053"/>
                  </a:lnTo>
                  <a:lnTo>
                    <a:pt x="615" y="2052"/>
                  </a:lnTo>
                  <a:lnTo>
                    <a:pt x="613" y="2049"/>
                  </a:lnTo>
                  <a:lnTo>
                    <a:pt x="613" y="2045"/>
                  </a:lnTo>
                  <a:lnTo>
                    <a:pt x="616" y="2044"/>
                  </a:lnTo>
                  <a:lnTo>
                    <a:pt x="618" y="2042"/>
                  </a:lnTo>
                  <a:lnTo>
                    <a:pt x="615" y="2033"/>
                  </a:lnTo>
                  <a:lnTo>
                    <a:pt x="609" y="2031"/>
                  </a:lnTo>
                  <a:lnTo>
                    <a:pt x="605" y="2032"/>
                  </a:lnTo>
                  <a:lnTo>
                    <a:pt x="601" y="2029"/>
                  </a:lnTo>
                  <a:lnTo>
                    <a:pt x="598" y="2031"/>
                  </a:lnTo>
                  <a:lnTo>
                    <a:pt x="598" y="2032"/>
                  </a:lnTo>
                  <a:lnTo>
                    <a:pt x="598" y="2033"/>
                  </a:lnTo>
                  <a:lnTo>
                    <a:pt x="591" y="2034"/>
                  </a:lnTo>
                  <a:lnTo>
                    <a:pt x="586" y="2033"/>
                  </a:lnTo>
                  <a:lnTo>
                    <a:pt x="584" y="2027"/>
                  </a:lnTo>
                  <a:lnTo>
                    <a:pt x="586" y="2026"/>
                  </a:lnTo>
                  <a:lnTo>
                    <a:pt x="584" y="2023"/>
                  </a:lnTo>
                  <a:lnTo>
                    <a:pt x="583" y="2016"/>
                  </a:lnTo>
                  <a:lnTo>
                    <a:pt x="586" y="2014"/>
                  </a:lnTo>
                  <a:lnTo>
                    <a:pt x="586" y="2011"/>
                  </a:lnTo>
                  <a:lnTo>
                    <a:pt x="582" y="2004"/>
                  </a:lnTo>
                  <a:lnTo>
                    <a:pt x="583" y="2000"/>
                  </a:lnTo>
                  <a:lnTo>
                    <a:pt x="580" y="2000"/>
                  </a:lnTo>
                  <a:lnTo>
                    <a:pt x="580" y="1996"/>
                  </a:lnTo>
                  <a:lnTo>
                    <a:pt x="577" y="1994"/>
                  </a:lnTo>
                  <a:lnTo>
                    <a:pt x="574" y="1996"/>
                  </a:lnTo>
                  <a:lnTo>
                    <a:pt x="573" y="1996"/>
                  </a:lnTo>
                  <a:lnTo>
                    <a:pt x="572" y="1994"/>
                  </a:lnTo>
                  <a:lnTo>
                    <a:pt x="568" y="1994"/>
                  </a:lnTo>
                  <a:lnTo>
                    <a:pt x="565" y="1990"/>
                  </a:lnTo>
                  <a:lnTo>
                    <a:pt x="565" y="1989"/>
                  </a:lnTo>
                  <a:lnTo>
                    <a:pt x="566" y="1984"/>
                  </a:lnTo>
                  <a:lnTo>
                    <a:pt x="563" y="1982"/>
                  </a:lnTo>
                  <a:lnTo>
                    <a:pt x="563" y="1978"/>
                  </a:lnTo>
                  <a:lnTo>
                    <a:pt x="568" y="1975"/>
                  </a:lnTo>
                  <a:lnTo>
                    <a:pt x="566" y="1973"/>
                  </a:lnTo>
                  <a:lnTo>
                    <a:pt x="566" y="1971"/>
                  </a:lnTo>
                  <a:lnTo>
                    <a:pt x="569" y="1970"/>
                  </a:lnTo>
                  <a:lnTo>
                    <a:pt x="569" y="1969"/>
                  </a:lnTo>
                  <a:lnTo>
                    <a:pt x="569" y="1967"/>
                  </a:lnTo>
                  <a:lnTo>
                    <a:pt x="562" y="1965"/>
                  </a:lnTo>
                  <a:lnTo>
                    <a:pt x="559" y="1962"/>
                  </a:lnTo>
                  <a:lnTo>
                    <a:pt x="549" y="1962"/>
                  </a:lnTo>
                  <a:lnTo>
                    <a:pt x="547" y="1959"/>
                  </a:lnTo>
                  <a:lnTo>
                    <a:pt x="548" y="1955"/>
                  </a:lnTo>
                  <a:lnTo>
                    <a:pt x="552" y="1946"/>
                  </a:lnTo>
                  <a:lnTo>
                    <a:pt x="551" y="1944"/>
                  </a:lnTo>
                  <a:lnTo>
                    <a:pt x="552" y="1941"/>
                  </a:lnTo>
                  <a:lnTo>
                    <a:pt x="549" y="1939"/>
                  </a:lnTo>
                  <a:lnTo>
                    <a:pt x="548" y="1933"/>
                  </a:lnTo>
                  <a:lnTo>
                    <a:pt x="548" y="1929"/>
                  </a:lnTo>
                  <a:lnTo>
                    <a:pt x="549" y="1928"/>
                  </a:lnTo>
                  <a:lnTo>
                    <a:pt x="552" y="1925"/>
                  </a:lnTo>
                  <a:lnTo>
                    <a:pt x="558" y="1925"/>
                  </a:lnTo>
                  <a:lnTo>
                    <a:pt x="561" y="1928"/>
                  </a:lnTo>
                  <a:lnTo>
                    <a:pt x="562" y="1933"/>
                  </a:lnTo>
                  <a:lnTo>
                    <a:pt x="569" y="1933"/>
                  </a:lnTo>
                  <a:lnTo>
                    <a:pt x="571" y="1932"/>
                  </a:lnTo>
                  <a:lnTo>
                    <a:pt x="572" y="1928"/>
                  </a:lnTo>
                  <a:lnTo>
                    <a:pt x="574" y="1927"/>
                  </a:lnTo>
                  <a:lnTo>
                    <a:pt x="574" y="1925"/>
                  </a:lnTo>
                  <a:lnTo>
                    <a:pt x="569" y="1923"/>
                  </a:lnTo>
                  <a:lnTo>
                    <a:pt x="572" y="1917"/>
                  </a:lnTo>
                  <a:lnTo>
                    <a:pt x="573" y="1917"/>
                  </a:lnTo>
                  <a:lnTo>
                    <a:pt x="576" y="1919"/>
                  </a:lnTo>
                  <a:lnTo>
                    <a:pt x="583" y="1921"/>
                  </a:lnTo>
                  <a:lnTo>
                    <a:pt x="587" y="1920"/>
                  </a:lnTo>
                  <a:lnTo>
                    <a:pt x="594" y="1915"/>
                  </a:lnTo>
                  <a:lnTo>
                    <a:pt x="596" y="1905"/>
                  </a:lnTo>
                  <a:lnTo>
                    <a:pt x="594" y="1904"/>
                  </a:lnTo>
                  <a:lnTo>
                    <a:pt x="591" y="1904"/>
                  </a:lnTo>
                  <a:lnTo>
                    <a:pt x="584" y="1905"/>
                  </a:lnTo>
                  <a:lnTo>
                    <a:pt x="577" y="1907"/>
                  </a:lnTo>
                  <a:lnTo>
                    <a:pt x="572" y="1903"/>
                  </a:lnTo>
                  <a:lnTo>
                    <a:pt x="572" y="1900"/>
                  </a:lnTo>
                  <a:lnTo>
                    <a:pt x="574" y="1900"/>
                  </a:lnTo>
                  <a:lnTo>
                    <a:pt x="574" y="1899"/>
                  </a:lnTo>
                  <a:lnTo>
                    <a:pt x="571" y="1896"/>
                  </a:lnTo>
                  <a:lnTo>
                    <a:pt x="572" y="1888"/>
                  </a:lnTo>
                  <a:lnTo>
                    <a:pt x="568" y="1884"/>
                  </a:lnTo>
                  <a:lnTo>
                    <a:pt x="566" y="1879"/>
                  </a:lnTo>
                  <a:lnTo>
                    <a:pt x="568" y="1874"/>
                  </a:lnTo>
                  <a:lnTo>
                    <a:pt x="572" y="1870"/>
                  </a:lnTo>
                  <a:lnTo>
                    <a:pt x="571" y="1866"/>
                  </a:lnTo>
                  <a:lnTo>
                    <a:pt x="571" y="1862"/>
                  </a:lnTo>
                  <a:lnTo>
                    <a:pt x="574" y="1862"/>
                  </a:lnTo>
                  <a:lnTo>
                    <a:pt x="576" y="1858"/>
                  </a:lnTo>
                  <a:lnTo>
                    <a:pt x="571" y="1853"/>
                  </a:lnTo>
                  <a:lnTo>
                    <a:pt x="568" y="1846"/>
                  </a:lnTo>
                  <a:lnTo>
                    <a:pt x="565" y="1843"/>
                  </a:lnTo>
                  <a:lnTo>
                    <a:pt x="563" y="1840"/>
                  </a:lnTo>
                  <a:lnTo>
                    <a:pt x="561" y="1840"/>
                  </a:lnTo>
                  <a:lnTo>
                    <a:pt x="557" y="1840"/>
                  </a:lnTo>
                  <a:lnTo>
                    <a:pt x="552" y="1840"/>
                  </a:lnTo>
                  <a:lnTo>
                    <a:pt x="549" y="1836"/>
                  </a:lnTo>
                  <a:lnTo>
                    <a:pt x="548" y="1833"/>
                  </a:lnTo>
                  <a:lnTo>
                    <a:pt x="551" y="1830"/>
                  </a:lnTo>
                  <a:lnTo>
                    <a:pt x="554" y="1824"/>
                  </a:lnTo>
                  <a:lnTo>
                    <a:pt x="551" y="1820"/>
                  </a:lnTo>
                  <a:lnTo>
                    <a:pt x="551" y="1812"/>
                  </a:lnTo>
                  <a:lnTo>
                    <a:pt x="555" y="1808"/>
                  </a:lnTo>
                  <a:lnTo>
                    <a:pt x="555" y="1807"/>
                  </a:lnTo>
                  <a:lnTo>
                    <a:pt x="551" y="1807"/>
                  </a:lnTo>
                  <a:lnTo>
                    <a:pt x="551" y="1804"/>
                  </a:lnTo>
                  <a:lnTo>
                    <a:pt x="554" y="1801"/>
                  </a:lnTo>
                  <a:lnTo>
                    <a:pt x="549" y="1795"/>
                  </a:lnTo>
                  <a:lnTo>
                    <a:pt x="554" y="1791"/>
                  </a:lnTo>
                  <a:lnTo>
                    <a:pt x="552" y="1790"/>
                  </a:lnTo>
                  <a:lnTo>
                    <a:pt x="548" y="1790"/>
                  </a:lnTo>
                  <a:lnTo>
                    <a:pt x="546" y="1791"/>
                  </a:lnTo>
                  <a:lnTo>
                    <a:pt x="543" y="1791"/>
                  </a:lnTo>
                  <a:lnTo>
                    <a:pt x="540" y="1790"/>
                  </a:lnTo>
                  <a:lnTo>
                    <a:pt x="533" y="1787"/>
                  </a:lnTo>
                  <a:lnTo>
                    <a:pt x="533" y="1783"/>
                  </a:lnTo>
                  <a:lnTo>
                    <a:pt x="533" y="1780"/>
                  </a:lnTo>
                  <a:lnTo>
                    <a:pt x="536" y="1776"/>
                  </a:lnTo>
                  <a:lnTo>
                    <a:pt x="540" y="1774"/>
                  </a:lnTo>
                  <a:lnTo>
                    <a:pt x="540" y="1771"/>
                  </a:lnTo>
                  <a:lnTo>
                    <a:pt x="537" y="1768"/>
                  </a:lnTo>
                  <a:lnTo>
                    <a:pt x="536" y="1765"/>
                  </a:lnTo>
                  <a:lnTo>
                    <a:pt x="524" y="1762"/>
                  </a:lnTo>
                  <a:lnTo>
                    <a:pt x="521" y="1761"/>
                  </a:lnTo>
                  <a:lnTo>
                    <a:pt x="515" y="1754"/>
                  </a:lnTo>
                  <a:lnTo>
                    <a:pt x="516" y="1749"/>
                  </a:lnTo>
                  <a:lnTo>
                    <a:pt x="515" y="1745"/>
                  </a:lnTo>
                  <a:lnTo>
                    <a:pt x="515" y="1741"/>
                  </a:lnTo>
                  <a:lnTo>
                    <a:pt x="496" y="1733"/>
                  </a:lnTo>
                  <a:lnTo>
                    <a:pt x="493" y="1731"/>
                  </a:lnTo>
                  <a:lnTo>
                    <a:pt x="491" y="1728"/>
                  </a:lnTo>
                  <a:lnTo>
                    <a:pt x="497" y="1722"/>
                  </a:lnTo>
                  <a:lnTo>
                    <a:pt x="498" y="1718"/>
                  </a:lnTo>
                  <a:lnTo>
                    <a:pt x="493" y="1709"/>
                  </a:lnTo>
                  <a:lnTo>
                    <a:pt x="490" y="1708"/>
                  </a:lnTo>
                  <a:lnTo>
                    <a:pt x="484" y="1711"/>
                  </a:lnTo>
                  <a:lnTo>
                    <a:pt x="480" y="1709"/>
                  </a:lnTo>
                  <a:lnTo>
                    <a:pt x="474" y="1712"/>
                  </a:lnTo>
                  <a:lnTo>
                    <a:pt x="469" y="1716"/>
                  </a:lnTo>
                  <a:lnTo>
                    <a:pt x="465" y="1713"/>
                  </a:lnTo>
                  <a:lnTo>
                    <a:pt x="463" y="1709"/>
                  </a:lnTo>
                  <a:lnTo>
                    <a:pt x="465" y="1704"/>
                  </a:lnTo>
                  <a:lnTo>
                    <a:pt x="462" y="1701"/>
                  </a:lnTo>
                  <a:lnTo>
                    <a:pt x="462" y="1697"/>
                  </a:lnTo>
                  <a:lnTo>
                    <a:pt x="463" y="1693"/>
                  </a:lnTo>
                  <a:lnTo>
                    <a:pt x="452" y="1688"/>
                  </a:lnTo>
                  <a:lnTo>
                    <a:pt x="451" y="1684"/>
                  </a:lnTo>
                  <a:lnTo>
                    <a:pt x="449" y="1683"/>
                  </a:lnTo>
                  <a:lnTo>
                    <a:pt x="449" y="1678"/>
                  </a:lnTo>
                  <a:lnTo>
                    <a:pt x="447" y="1674"/>
                  </a:lnTo>
                  <a:lnTo>
                    <a:pt x="444" y="1671"/>
                  </a:lnTo>
                  <a:lnTo>
                    <a:pt x="438" y="1669"/>
                  </a:lnTo>
                  <a:lnTo>
                    <a:pt x="431" y="1664"/>
                  </a:lnTo>
                  <a:lnTo>
                    <a:pt x="427" y="1664"/>
                  </a:lnTo>
                  <a:lnTo>
                    <a:pt x="424" y="1661"/>
                  </a:lnTo>
                  <a:lnTo>
                    <a:pt x="424" y="1658"/>
                  </a:lnTo>
                  <a:lnTo>
                    <a:pt x="427" y="1655"/>
                  </a:lnTo>
                  <a:lnTo>
                    <a:pt x="426" y="1652"/>
                  </a:lnTo>
                  <a:lnTo>
                    <a:pt x="427" y="1646"/>
                  </a:lnTo>
                  <a:lnTo>
                    <a:pt x="429" y="1644"/>
                  </a:lnTo>
                  <a:lnTo>
                    <a:pt x="431" y="1643"/>
                  </a:lnTo>
                  <a:lnTo>
                    <a:pt x="429" y="1639"/>
                  </a:lnTo>
                  <a:lnTo>
                    <a:pt x="427" y="1633"/>
                  </a:lnTo>
                  <a:lnTo>
                    <a:pt x="424" y="1630"/>
                  </a:lnTo>
                  <a:lnTo>
                    <a:pt x="422" y="1626"/>
                  </a:lnTo>
                  <a:lnTo>
                    <a:pt x="420" y="1625"/>
                  </a:lnTo>
                  <a:lnTo>
                    <a:pt x="423" y="1618"/>
                  </a:lnTo>
                  <a:lnTo>
                    <a:pt x="423" y="1616"/>
                  </a:lnTo>
                  <a:lnTo>
                    <a:pt x="419" y="1614"/>
                  </a:lnTo>
                  <a:lnTo>
                    <a:pt x="417" y="1613"/>
                  </a:lnTo>
                  <a:lnTo>
                    <a:pt x="416" y="1607"/>
                  </a:lnTo>
                  <a:lnTo>
                    <a:pt x="419" y="1604"/>
                  </a:lnTo>
                  <a:lnTo>
                    <a:pt x="419" y="1602"/>
                  </a:lnTo>
                  <a:lnTo>
                    <a:pt x="417" y="1600"/>
                  </a:lnTo>
                  <a:lnTo>
                    <a:pt x="412" y="1599"/>
                  </a:lnTo>
                  <a:lnTo>
                    <a:pt x="406" y="1592"/>
                  </a:lnTo>
                  <a:lnTo>
                    <a:pt x="402" y="1581"/>
                  </a:lnTo>
                  <a:lnTo>
                    <a:pt x="392" y="1576"/>
                  </a:lnTo>
                  <a:lnTo>
                    <a:pt x="389" y="1571"/>
                  </a:lnTo>
                  <a:lnTo>
                    <a:pt x="391" y="1567"/>
                  </a:lnTo>
                  <a:lnTo>
                    <a:pt x="394" y="1563"/>
                  </a:lnTo>
                  <a:lnTo>
                    <a:pt x="391" y="1555"/>
                  </a:lnTo>
                  <a:lnTo>
                    <a:pt x="388" y="1555"/>
                  </a:lnTo>
                  <a:lnTo>
                    <a:pt x="387" y="1555"/>
                  </a:lnTo>
                  <a:lnTo>
                    <a:pt x="377" y="1562"/>
                  </a:lnTo>
                  <a:lnTo>
                    <a:pt x="373" y="1563"/>
                  </a:lnTo>
                  <a:lnTo>
                    <a:pt x="356" y="1559"/>
                  </a:lnTo>
                  <a:lnTo>
                    <a:pt x="351" y="1548"/>
                  </a:lnTo>
                  <a:lnTo>
                    <a:pt x="338" y="1540"/>
                  </a:lnTo>
                  <a:lnTo>
                    <a:pt x="337" y="1537"/>
                  </a:lnTo>
                  <a:lnTo>
                    <a:pt x="338" y="1531"/>
                  </a:lnTo>
                  <a:lnTo>
                    <a:pt x="330" y="1518"/>
                  </a:lnTo>
                  <a:lnTo>
                    <a:pt x="312" y="1510"/>
                  </a:lnTo>
                  <a:lnTo>
                    <a:pt x="302" y="1500"/>
                  </a:lnTo>
                  <a:lnTo>
                    <a:pt x="294" y="1500"/>
                  </a:lnTo>
                  <a:lnTo>
                    <a:pt x="277" y="1487"/>
                  </a:lnTo>
                  <a:lnTo>
                    <a:pt x="274" y="1481"/>
                  </a:lnTo>
                  <a:lnTo>
                    <a:pt x="274" y="1478"/>
                  </a:lnTo>
                  <a:lnTo>
                    <a:pt x="277" y="1473"/>
                  </a:lnTo>
                  <a:lnTo>
                    <a:pt x="274" y="1469"/>
                  </a:lnTo>
                  <a:lnTo>
                    <a:pt x="272" y="1465"/>
                  </a:lnTo>
                  <a:lnTo>
                    <a:pt x="263" y="1468"/>
                  </a:lnTo>
                  <a:lnTo>
                    <a:pt x="261" y="1464"/>
                  </a:lnTo>
                  <a:lnTo>
                    <a:pt x="261" y="1456"/>
                  </a:lnTo>
                  <a:lnTo>
                    <a:pt x="266" y="1451"/>
                  </a:lnTo>
                  <a:lnTo>
                    <a:pt x="269" y="1447"/>
                  </a:lnTo>
                  <a:lnTo>
                    <a:pt x="264" y="1443"/>
                  </a:lnTo>
                  <a:lnTo>
                    <a:pt x="252" y="1439"/>
                  </a:lnTo>
                  <a:lnTo>
                    <a:pt x="248" y="1438"/>
                  </a:lnTo>
                  <a:lnTo>
                    <a:pt x="247" y="1435"/>
                  </a:lnTo>
                  <a:lnTo>
                    <a:pt x="241" y="1428"/>
                  </a:lnTo>
                  <a:lnTo>
                    <a:pt x="241" y="1426"/>
                  </a:lnTo>
                  <a:lnTo>
                    <a:pt x="237" y="1417"/>
                  </a:lnTo>
                  <a:lnTo>
                    <a:pt x="238" y="1413"/>
                  </a:lnTo>
                  <a:lnTo>
                    <a:pt x="237" y="1409"/>
                  </a:lnTo>
                  <a:lnTo>
                    <a:pt x="231" y="1406"/>
                  </a:lnTo>
                  <a:lnTo>
                    <a:pt x="219" y="1406"/>
                  </a:lnTo>
                  <a:lnTo>
                    <a:pt x="209" y="1405"/>
                  </a:lnTo>
                  <a:lnTo>
                    <a:pt x="203" y="1398"/>
                  </a:lnTo>
                  <a:lnTo>
                    <a:pt x="197" y="1393"/>
                  </a:lnTo>
                  <a:lnTo>
                    <a:pt x="189" y="1390"/>
                  </a:lnTo>
                  <a:lnTo>
                    <a:pt x="183" y="1385"/>
                  </a:lnTo>
                  <a:lnTo>
                    <a:pt x="174" y="1381"/>
                  </a:lnTo>
                  <a:lnTo>
                    <a:pt x="163" y="1378"/>
                  </a:lnTo>
                  <a:lnTo>
                    <a:pt x="159" y="1368"/>
                  </a:lnTo>
                  <a:lnTo>
                    <a:pt x="142" y="1370"/>
                  </a:lnTo>
                  <a:lnTo>
                    <a:pt x="137" y="1375"/>
                  </a:lnTo>
                  <a:lnTo>
                    <a:pt x="134" y="1375"/>
                  </a:lnTo>
                  <a:lnTo>
                    <a:pt x="131" y="1368"/>
                  </a:lnTo>
                  <a:lnTo>
                    <a:pt x="129" y="1357"/>
                  </a:lnTo>
                  <a:lnTo>
                    <a:pt x="125" y="1351"/>
                  </a:lnTo>
                  <a:lnTo>
                    <a:pt x="125" y="1348"/>
                  </a:lnTo>
                  <a:lnTo>
                    <a:pt x="123" y="1344"/>
                  </a:lnTo>
                  <a:lnTo>
                    <a:pt x="120" y="1341"/>
                  </a:lnTo>
                  <a:lnTo>
                    <a:pt x="118" y="1339"/>
                  </a:lnTo>
                  <a:lnTo>
                    <a:pt x="117" y="1339"/>
                  </a:lnTo>
                  <a:lnTo>
                    <a:pt x="117" y="1340"/>
                  </a:lnTo>
                  <a:lnTo>
                    <a:pt x="114" y="1339"/>
                  </a:lnTo>
                  <a:lnTo>
                    <a:pt x="114" y="1332"/>
                  </a:lnTo>
                  <a:lnTo>
                    <a:pt x="112" y="1331"/>
                  </a:lnTo>
                  <a:lnTo>
                    <a:pt x="110" y="1327"/>
                  </a:lnTo>
                  <a:lnTo>
                    <a:pt x="107" y="1323"/>
                  </a:lnTo>
                  <a:lnTo>
                    <a:pt x="107" y="1318"/>
                  </a:lnTo>
                  <a:lnTo>
                    <a:pt x="104" y="1316"/>
                  </a:lnTo>
                  <a:lnTo>
                    <a:pt x="104" y="1313"/>
                  </a:lnTo>
                  <a:lnTo>
                    <a:pt x="100" y="1313"/>
                  </a:lnTo>
                  <a:lnTo>
                    <a:pt x="102" y="1310"/>
                  </a:lnTo>
                  <a:lnTo>
                    <a:pt x="100" y="1310"/>
                  </a:lnTo>
                  <a:lnTo>
                    <a:pt x="98" y="1310"/>
                  </a:lnTo>
                  <a:lnTo>
                    <a:pt x="96" y="1304"/>
                  </a:lnTo>
                  <a:lnTo>
                    <a:pt x="98" y="1297"/>
                  </a:lnTo>
                  <a:lnTo>
                    <a:pt x="92" y="1293"/>
                  </a:lnTo>
                  <a:lnTo>
                    <a:pt x="85" y="1288"/>
                  </a:lnTo>
                  <a:lnTo>
                    <a:pt x="89" y="1285"/>
                  </a:lnTo>
                  <a:lnTo>
                    <a:pt x="88" y="1281"/>
                  </a:lnTo>
                  <a:lnTo>
                    <a:pt x="91" y="1274"/>
                  </a:lnTo>
                  <a:lnTo>
                    <a:pt x="96" y="1274"/>
                  </a:lnTo>
                  <a:lnTo>
                    <a:pt x="93" y="1269"/>
                  </a:lnTo>
                  <a:lnTo>
                    <a:pt x="99" y="1265"/>
                  </a:lnTo>
                  <a:lnTo>
                    <a:pt x="98" y="1260"/>
                  </a:lnTo>
                  <a:lnTo>
                    <a:pt x="102" y="1256"/>
                  </a:lnTo>
                  <a:lnTo>
                    <a:pt x="100" y="1248"/>
                  </a:lnTo>
                  <a:lnTo>
                    <a:pt x="104" y="1245"/>
                  </a:lnTo>
                  <a:lnTo>
                    <a:pt x="106" y="1241"/>
                  </a:lnTo>
                  <a:lnTo>
                    <a:pt x="104" y="1237"/>
                  </a:lnTo>
                  <a:lnTo>
                    <a:pt x="109" y="1229"/>
                  </a:lnTo>
                  <a:lnTo>
                    <a:pt x="110" y="1224"/>
                  </a:lnTo>
                  <a:lnTo>
                    <a:pt x="113" y="1222"/>
                  </a:lnTo>
                  <a:lnTo>
                    <a:pt x="114" y="1212"/>
                  </a:lnTo>
                  <a:lnTo>
                    <a:pt x="117" y="1207"/>
                  </a:lnTo>
                  <a:lnTo>
                    <a:pt x="116" y="1203"/>
                  </a:lnTo>
                  <a:lnTo>
                    <a:pt x="118" y="1202"/>
                  </a:lnTo>
                  <a:lnTo>
                    <a:pt x="117" y="1199"/>
                  </a:lnTo>
                  <a:lnTo>
                    <a:pt x="121" y="1197"/>
                  </a:lnTo>
                  <a:lnTo>
                    <a:pt x="117" y="1192"/>
                  </a:lnTo>
                  <a:lnTo>
                    <a:pt x="117" y="1189"/>
                  </a:lnTo>
                  <a:lnTo>
                    <a:pt x="117" y="1187"/>
                  </a:lnTo>
                  <a:lnTo>
                    <a:pt x="123" y="1179"/>
                  </a:lnTo>
                  <a:lnTo>
                    <a:pt x="121" y="1177"/>
                  </a:lnTo>
                  <a:lnTo>
                    <a:pt x="116" y="1170"/>
                  </a:lnTo>
                  <a:lnTo>
                    <a:pt x="120" y="1166"/>
                  </a:lnTo>
                  <a:lnTo>
                    <a:pt x="120" y="1162"/>
                  </a:lnTo>
                  <a:lnTo>
                    <a:pt x="125" y="1154"/>
                  </a:lnTo>
                  <a:lnTo>
                    <a:pt x="124" y="1153"/>
                  </a:lnTo>
                  <a:lnTo>
                    <a:pt x="127" y="1150"/>
                  </a:lnTo>
                  <a:lnTo>
                    <a:pt x="125" y="1148"/>
                  </a:lnTo>
                  <a:lnTo>
                    <a:pt x="125" y="1147"/>
                  </a:lnTo>
                  <a:lnTo>
                    <a:pt x="129" y="1145"/>
                  </a:lnTo>
                  <a:lnTo>
                    <a:pt x="134" y="1149"/>
                  </a:lnTo>
                  <a:lnTo>
                    <a:pt x="137" y="1149"/>
                  </a:lnTo>
                  <a:lnTo>
                    <a:pt x="148" y="1141"/>
                  </a:lnTo>
                  <a:lnTo>
                    <a:pt x="152" y="1140"/>
                  </a:lnTo>
                  <a:lnTo>
                    <a:pt x="155" y="1140"/>
                  </a:lnTo>
                  <a:lnTo>
                    <a:pt x="163" y="1145"/>
                  </a:lnTo>
                  <a:lnTo>
                    <a:pt x="170" y="1145"/>
                  </a:lnTo>
                  <a:lnTo>
                    <a:pt x="174" y="1149"/>
                  </a:lnTo>
                  <a:lnTo>
                    <a:pt x="178" y="1148"/>
                  </a:lnTo>
                  <a:lnTo>
                    <a:pt x="180" y="1145"/>
                  </a:lnTo>
                  <a:lnTo>
                    <a:pt x="180" y="1144"/>
                  </a:lnTo>
                  <a:lnTo>
                    <a:pt x="173" y="1140"/>
                  </a:lnTo>
                  <a:lnTo>
                    <a:pt x="171" y="1132"/>
                  </a:lnTo>
                  <a:lnTo>
                    <a:pt x="164" y="1127"/>
                  </a:lnTo>
                  <a:lnTo>
                    <a:pt x="166" y="1123"/>
                  </a:lnTo>
                  <a:lnTo>
                    <a:pt x="162" y="1117"/>
                  </a:lnTo>
                  <a:lnTo>
                    <a:pt x="160" y="1110"/>
                  </a:lnTo>
                  <a:lnTo>
                    <a:pt x="160" y="1103"/>
                  </a:lnTo>
                  <a:lnTo>
                    <a:pt x="160" y="1098"/>
                  </a:lnTo>
                  <a:lnTo>
                    <a:pt x="157" y="1097"/>
                  </a:lnTo>
                  <a:lnTo>
                    <a:pt x="156" y="1094"/>
                  </a:lnTo>
                  <a:lnTo>
                    <a:pt x="156" y="1087"/>
                  </a:lnTo>
                  <a:lnTo>
                    <a:pt x="164" y="1073"/>
                  </a:lnTo>
                  <a:lnTo>
                    <a:pt x="164" y="1070"/>
                  </a:lnTo>
                  <a:lnTo>
                    <a:pt x="167" y="1067"/>
                  </a:lnTo>
                  <a:lnTo>
                    <a:pt x="170" y="1065"/>
                  </a:lnTo>
                  <a:lnTo>
                    <a:pt x="170" y="1063"/>
                  </a:lnTo>
                  <a:lnTo>
                    <a:pt x="167" y="1061"/>
                  </a:lnTo>
                  <a:lnTo>
                    <a:pt x="170" y="1060"/>
                  </a:lnTo>
                  <a:lnTo>
                    <a:pt x="170" y="1055"/>
                  </a:lnTo>
                  <a:lnTo>
                    <a:pt x="166" y="1049"/>
                  </a:lnTo>
                  <a:lnTo>
                    <a:pt x="156" y="1048"/>
                  </a:lnTo>
                  <a:lnTo>
                    <a:pt x="145" y="1038"/>
                  </a:lnTo>
                  <a:lnTo>
                    <a:pt x="137" y="1035"/>
                  </a:lnTo>
                  <a:lnTo>
                    <a:pt x="135" y="1032"/>
                  </a:lnTo>
                  <a:lnTo>
                    <a:pt x="137" y="1029"/>
                  </a:lnTo>
                  <a:lnTo>
                    <a:pt x="135" y="1028"/>
                  </a:lnTo>
                  <a:lnTo>
                    <a:pt x="135" y="1020"/>
                  </a:lnTo>
                  <a:lnTo>
                    <a:pt x="134" y="1018"/>
                  </a:lnTo>
                  <a:lnTo>
                    <a:pt x="134" y="1012"/>
                  </a:lnTo>
                  <a:lnTo>
                    <a:pt x="139" y="1007"/>
                  </a:lnTo>
                  <a:lnTo>
                    <a:pt x="141" y="998"/>
                  </a:lnTo>
                  <a:lnTo>
                    <a:pt x="143" y="993"/>
                  </a:lnTo>
                  <a:lnTo>
                    <a:pt x="142" y="990"/>
                  </a:lnTo>
                  <a:lnTo>
                    <a:pt x="143" y="984"/>
                  </a:lnTo>
                  <a:lnTo>
                    <a:pt x="146" y="979"/>
                  </a:lnTo>
                  <a:lnTo>
                    <a:pt x="143" y="970"/>
                  </a:lnTo>
                  <a:lnTo>
                    <a:pt x="143" y="962"/>
                  </a:lnTo>
                  <a:lnTo>
                    <a:pt x="145" y="961"/>
                  </a:lnTo>
                  <a:lnTo>
                    <a:pt x="157" y="961"/>
                  </a:lnTo>
                  <a:lnTo>
                    <a:pt x="160" y="958"/>
                  </a:lnTo>
                  <a:lnTo>
                    <a:pt x="162" y="954"/>
                  </a:lnTo>
                  <a:lnTo>
                    <a:pt x="163" y="949"/>
                  </a:lnTo>
                  <a:lnTo>
                    <a:pt x="162" y="945"/>
                  </a:lnTo>
                  <a:lnTo>
                    <a:pt x="163" y="941"/>
                  </a:lnTo>
                  <a:lnTo>
                    <a:pt x="162" y="938"/>
                  </a:lnTo>
                  <a:lnTo>
                    <a:pt x="159" y="933"/>
                  </a:lnTo>
                  <a:lnTo>
                    <a:pt x="160" y="926"/>
                  </a:lnTo>
                  <a:lnTo>
                    <a:pt x="157" y="923"/>
                  </a:lnTo>
                  <a:lnTo>
                    <a:pt x="157" y="921"/>
                  </a:lnTo>
                  <a:lnTo>
                    <a:pt x="155" y="918"/>
                  </a:lnTo>
                  <a:lnTo>
                    <a:pt x="153" y="914"/>
                  </a:lnTo>
                  <a:lnTo>
                    <a:pt x="151" y="911"/>
                  </a:lnTo>
                  <a:lnTo>
                    <a:pt x="141" y="909"/>
                  </a:lnTo>
                  <a:lnTo>
                    <a:pt x="137" y="905"/>
                  </a:lnTo>
                  <a:lnTo>
                    <a:pt x="135" y="900"/>
                  </a:lnTo>
                  <a:lnTo>
                    <a:pt x="137" y="896"/>
                  </a:lnTo>
                  <a:lnTo>
                    <a:pt x="138" y="892"/>
                  </a:lnTo>
                  <a:lnTo>
                    <a:pt x="132" y="887"/>
                  </a:lnTo>
                  <a:lnTo>
                    <a:pt x="134" y="883"/>
                  </a:lnTo>
                  <a:lnTo>
                    <a:pt x="132" y="872"/>
                  </a:lnTo>
                  <a:lnTo>
                    <a:pt x="134" y="868"/>
                  </a:lnTo>
                  <a:lnTo>
                    <a:pt x="139" y="862"/>
                  </a:lnTo>
                  <a:lnTo>
                    <a:pt x="146" y="841"/>
                  </a:lnTo>
                  <a:lnTo>
                    <a:pt x="104" y="824"/>
                  </a:lnTo>
                  <a:lnTo>
                    <a:pt x="75" y="799"/>
                  </a:lnTo>
                  <a:lnTo>
                    <a:pt x="70" y="789"/>
                  </a:lnTo>
                  <a:lnTo>
                    <a:pt x="28" y="726"/>
                  </a:lnTo>
                  <a:lnTo>
                    <a:pt x="6" y="671"/>
                  </a:lnTo>
                  <a:lnTo>
                    <a:pt x="7" y="663"/>
                  </a:lnTo>
                  <a:lnTo>
                    <a:pt x="24" y="631"/>
                  </a:lnTo>
                  <a:lnTo>
                    <a:pt x="7" y="597"/>
                  </a:lnTo>
                  <a:lnTo>
                    <a:pt x="0" y="586"/>
                  </a:lnTo>
                  <a:lnTo>
                    <a:pt x="21" y="533"/>
                  </a:lnTo>
                  <a:lnTo>
                    <a:pt x="27" y="531"/>
                  </a:lnTo>
                  <a:lnTo>
                    <a:pt x="32" y="535"/>
                  </a:lnTo>
                  <a:lnTo>
                    <a:pt x="35" y="534"/>
                  </a:lnTo>
                  <a:lnTo>
                    <a:pt x="38" y="530"/>
                  </a:lnTo>
                  <a:lnTo>
                    <a:pt x="35" y="516"/>
                  </a:lnTo>
                  <a:lnTo>
                    <a:pt x="39" y="507"/>
                  </a:lnTo>
                  <a:lnTo>
                    <a:pt x="43" y="503"/>
                  </a:lnTo>
                  <a:lnTo>
                    <a:pt x="60" y="499"/>
                  </a:lnTo>
                  <a:lnTo>
                    <a:pt x="66" y="491"/>
                  </a:lnTo>
                  <a:lnTo>
                    <a:pt x="64" y="485"/>
                  </a:lnTo>
                  <a:lnTo>
                    <a:pt x="59" y="472"/>
                  </a:lnTo>
                  <a:lnTo>
                    <a:pt x="60" y="465"/>
                  </a:lnTo>
                  <a:lnTo>
                    <a:pt x="63" y="461"/>
                  </a:lnTo>
                  <a:lnTo>
                    <a:pt x="77" y="461"/>
                  </a:lnTo>
                  <a:lnTo>
                    <a:pt x="84" y="457"/>
                  </a:lnTo>
                  <a:lnTo>
                    <a:pt x="85" y="463"/>
                  </a:lnTo>
                  <a:lnTo>
                    <a:pt x="91" y="463"/>
                  </a:lnTo>
                  <a:lnTo>
                    <a:pt x="109" y="440"/>
                  </a:lnTo>
                  <a:lnTo>
                    <a:pt x="121" y="437"/>
                  </a:lnTo>
                  <a:lnTo>
                    <a:pt x="129" y="432"/>
                  </a:lnTo>
                  <a:lnTo>
                    <a:pt x="132" y="431"/>
                  </a:lnTo>
                  <a:lnTo>
                    <a:pt x="137" y="419"/>
                  </a:lnTo>
                  <a:lnTo>
                    <a:pt x="148" y="414"/>
                  </a:lnTo>
                  <a:lnTo>
                    <a:pt x="152" y="412"/>
                  </a:lnTo>
                  <a:lnTo>
                    <a:pt x="156" y="412"/>
                  </a:lnTo>
                  <a:lnTo>
                    <a:pt x="159" y="414"/>
                  </a:lnTo>
                  <a:lnTo>
                    <a:pt x="162" y="416"/>
                  </a:lnTo>
                  <a:lnTo>
                    <a:pt x="164" y="416"/>
                  </a:lnTo>
                  <a:lnTo>
                    <a:pt x="170" y="415"/>
                  </a:lnTo>
                  <a:lnTo>
                    <a:pt x="174" y="412"/>
                  </a:lnTo>
                  <a:lnTo>
                    <a:pt x="180" y="416"/>
                  </a:lnTo>
                  <a:lnTo>
                    <a:pt x="184" y="416"/>
                  </a:lnTo>
                  <a:lnTo>
                    <a:pt x="194" y="409"/>
                  </a:lnTo>
                  <a:lnTo>
                    <a:pt x="203" y="404"/>
                  </a:lnTo>
                  <a:lnTo>
                    <a:pt x="209" y="402"/>
                  </a:lnTo>
                  <a:lnTo>
                    <a:pt x="219" y="397"/>
                  </a:lnTo>
                  <a:lnTo>
                    <a:pt x="220" y="395"/>
                  </a:lnTo>
                  <a:lnTo>
                    <a:pt x="223" y="398"/>
                  </a:lnTo>
                  <a:lnTo>
                    <a:pt x="224" y="398"/>
                  </a:lnTo>
                  <a:lnTo>
                    <a:pt x="234" y="390"/>
                  </a:lnTo>
                  <a:lnTo>
                    <a:pt x="237" y="391"/>
                  </a:lnTo>
                  <a:lnTo>
                    <a:pt x="239" y="391"/>
                  </a:lnTo>
                  <a:lnTo>
                    <a:pt x="244" y="379"/>
                  </a:lnTo>
                  <a:lnTo>
                    <a:pt x="242" y="376"/>
                  </a:lnTo>
                  <a:lnTo>
                    <a:pt x="244" y="373"/>
                  </a:lnTo>
                  <a:lnTo>
                    <a:pt x="249" y="367"/>
                  </a:lnTo>
                  <a:lnTo>
                    <a:pt x="255" y="367"/>
                  </a:lnTo>
                  <a:lnTo>
                    <a:pt x="261" y="364"/>
                  </a:lnTo>
                  <a:lnTo>
                    <a:pt x="266" y="353"/>
                  </a:lnTo>
                  <a:lnTo>
                    <a:pt x="270" y="352"/>
                  </a:lnTo>
                  <a:lnTo>
                    <a:pt x="272" y="348"/>
                  </a:lnTo>
                  <a:lnTo>
                    <a:pt x="283" y="342"/>
                  </a:lnTo>
                  <a:lnTo>
                    <a:pt x="289" y="341"/>
                  </a:lnTo>
                  <a:lnTo>
                    <a:pt x="291" y="339"/>
                  </a:lnTo>
                  <a:lnTo>
                    <a:pt x="302" y="337"/>
                  </a:lnTo>
                  <a:lnTo>
                    <a:pt x="303" y="337"/>
                  </a:lnTo>
                  <a:lnTo>
                    <a:pt x="306" y="339"/>
                  </a:lnTo>
                  <a:lnTo>
                    <a:pt x="313" y="339"/>
                  </a:lnTo>
                  <a:lnTo>
                    <a:pt x="316" y="342"/>
                  </a:lnTo>
                  <a:lnTo>
                    <a:pt x="319" y="344"/>
                  </a:lnTo>
                  <a:lnTo>
                    <a:pt x="331" y="342"/>
                  </a:lnTo>
                  <a:lnTo>
                    <a:pt x="337" y="348"/>
                  </a:lnTo>
                  <a:lnTo>
                    <a:pt x="345" y="349"/>
                  </a:lnTo>
                  <a:lnTo>
                    <a:pt x="349" y="350"/>
                  </a:lnTo>
                  <a:lnTo>
                    <a:pt x="361" y="350"/>
                  </a:lnTo>
                  <a:lnTo>
                    <a:pt x="364" y="348"/>
                  </a:lnTo>
                  <a:lnTo>
                    <a:pt x="367" y="347"/>
                  </a:lnTo>
                  <a:lnTo>
                    <a:pt x="370" y="348"/>
                  </a:lnTo>
                  <a:lnTo>
                    <a:pt x="374" y="350"/>
                  </a:lnTo>
                  <a:lnTo>
                    <a:pt x="376" y="350"/>
                  </a:lnTo>
                  <a:lnTo>
                    <a:pt x="386" y="348"/>
                  </a:lnTo>
                  <a:lnTo>
                    <a:pt x="391" y="341"/>
                  </a:lnTo>
                  <a:lnTo>
                    <a:pt x="401" y="341"/>
                  </a:lnTo>
                  <a:lnTo>
                    <a:pt x="406" y="344"/>
                  </a:lnTo>
                  <a:lnTo>
                    <a:pt x="405" y="349"/>
                  </a:lnTo>
                  <a:lnTo>
                    <a:pt x="406" y="350"/>
                  </a:lnTo>
                  <a:lnTo>
                    <a:pt x="415" y="353"/>
                  </a:lnTo>
                  <a:lnTo>
                    <a:pt x="422" y="356"/>
                  </a:lnTo>
                  <a:lnTo>
                    <a:pt x="427" y="364"/>
                  </a:lnTo>
                  <a:lnTo>
                    <a:pt x="431" y="361"/>
                  </a:lnTo>
                  <a:lnTo>
                    <a:pt x="437" y="361"/>
                  </a:lnTo>
                  <a:lnTo>
                    <a:pt x="440" y="366"/>
                  </a:lnTo>
                  <a:lnTo>
                    <a:pt x="445" y="365"/>
                  </a:lnTo>
                  <a:lnTo>
                    <a:pt x="452" y="370"/>
                  </a:lnTo>
                  <a:lnTo>
                    <a:pt x="458" y="372"/>
                  </a:lnTo>
                  <a:lnTo>
                    <a:pt x="463" y="376"/>
                  </a:lnTo>
                  <a:lnTo>
                    <a:pt x="466" y="374"/>
                  </a:lnTo>
                  <a:lnTo>
                    <a:pt x="474" y="367"/>
                  </a:lnTo>
                  <a:lnTo>
                    <a:pt x="479" y="369"/>
                  </a:lnTo>
                  <a:lnTo>
                    <a:pt x="486" y="365"/>
                  </a:lnTo>
                  <a:lnTo>
                    <a:pt x="490" y="361"/>
                  </a:lnTo>
                  <a:lnTo>
                    <a:pt x="490" y="356"/>
                  </a:lnTo>
                  <a:lnTo>
                    <a:pt x="490" y="353"/>
                  </a:lnTo>
                  <a:lnTo>
                    <a:pt x="499" y="350"/>
                  </a:lnTo>
                  <a:lnTo>
                    <a:pt x="501" y="345"/>
                  </a:lnTo>
                  <a:lnTo>
                    <a:pt x="507" y="344"/>
                  </a:lnTo>
                  <a:lnTo>
                    <a:pt x="508" y="347"/>
                  </a:lnTo>
                  <a:lnTo>
                    <a:pt x="516" y="348"/>
                  </a:lnTo>
                  <a:lnTo>
                    <a:pt x="523" y="347"/>
                  </a:lnTo>
                  <a:lnTo>
                    <a:pt x="529" y="350"/>
                  </a:lnTo>
                  <a:lnTo>
                    <a:pt x="530" y="350"/>
                  </a:lnTo>
                  <a:lnTo>
                    <a:pt x="532" y="349"/>
                  </a:lnTo>
                  <a:lnTo>
                    <a:pt x="537" y="349"/>
                  </a:lnTo>
                  <a:lnTo>
                    <a:pt x="538" y="353"/>
                  </a:lnTo>
                  <a:lnTo>
                    <a:pt x="544" y="353"/>
                  </a:lnTo>
                  <a:lnTo>
                    <a:pt x="552" y="361"/>
                  </a:lnTo>
                  <a:lnTo>
                    <a:pt x="561" y="364"/>
                  </a:lnTo>
                  <a:lnTo>
                    <a:pt x="561" y="366"/>
                  </a:lnTo>
                  <a:lnTo>
                    <a:pt x="566" y="369"/>
                  </a:lnTo>
                  <a:lnTo>
                    <a:pt x="571" y="366"/>
                  </a:lnTo>
                  <a:lnTo>
                    <a:pt x="580" y="364"/>
                  </a:lnTo>
                  <a:lnTo>
                    <a:pt x="584" y="361"/>
                  </a:lnTo>
                  <a:lnTo>
                    <a:pt x="591" y="361"/>
                  </a:lnTo>
                  <a:lnTo>
                    <a:pt x="596" y="356"/>
                  </a:lnTo>
                  <a:lnTo>
                    <a:pt x="599" y="356"/>
                  </a:lnTo>
                  <a:lnTo>
                    <a:pt x="602" y="357"/>
                  </a:lnTo>
                  <a:lnTo>
                    <a:pt x="605" y="357"/>
                  </a:lnTo>
                  <a:lnTo>
                    <a:pt x="608" y="353"/>
                  </a:lnTo>
                  <a:lnTo>
                    <a:pt x="612" y="352"/>
                  </a:lnTo>
                  <a:lnTo>
                    <a:pt x="612" y="348"/>
                  </a:lnTo>
                  <a:lnTo>
                    <a:pt x="615" y="345"/>
                  </a:lnTo>
                  <a:lnTo>
                    <a:pt x="616" y="344"/>
                  </a:lnTo>
                  <a:lnTo>
                    <a:pt x="615" y="342"/>
                  </a:lnTo>
                  <a:lnTo>
                    <a:pt x="612" y="341"/>
                  </a:lnTo>
                  <a:lnTo>
                    <a:pt x="612" y="337"/>
                  </a:lnTo>
                  <a:lnTo>
                    <a:pt x="613" y="335"/>
                  </a:lnTo>
                  <a:lnTo>
                    <a:pt x="618" y="335"/>
                  </a:lnTo>
                  <a:lnTo>
                    <a:pt x="621" y="333"/>
                  </a:lnTo>
                  <a:lnTo>
                    <a:pt x="622" y="327"/>
                  </a:lnTo>
                  <a:lnTo>
                    <a:pt x="625" y="324"/>
                  </a:lnTo>
                  <a:lnTo>
                    <a:pt x="626" y="316"/>
                  </a:lnTo>
                  <a:lnTo>
                    <a:pt x="625" y="312"/>
                  </a:lnTo>
                  <a:lnTo>
                    <a:pt x="625" y="308"/>
                  </a:lnTo>
                  <a:lnTo>
                    <a:pt x="623" y="304"/>
                  </a:lnTo>
                  <a:lnTo>
                    <a:pt x="623" y="298"/>
                  </a:lnTo>
                  <a:lnTo>
                    <a:pt x="625" y="295"/>
                  </a:lnTo>
                  <a:lnTo>
                    <a:pt x="630" y="294"/>
                  </a:lnTo>
                  <a:lnTo>
                    <a:pt x="632" y="289"/>
                  </a:lnTo>
                  <a:lnTo>
                    <a:pt x="638" y="286"/>
                  </a:lnTo>
                  <a:lnTo>
                    <a:pt x="643" y="282"/>
                  </a:lnTo>
                  <a:lnTo>
                    <a:pt x="646" y="282"/>
                  </a:lnTo>
                  <a:lnTo>
                    <a:pt x="648" y="282"/>
                  </a:lnTo>
                  <a:lnTo>
                    <a:pt x="652" y="286"/>
                  </a:lnTo>
                  <a:lnTo>
                    <a:pt x="676" y="286"/>
                  </a:lnTo>
                  <a:lnTo>
                    <a:pt x="683" y="285"/>
                  </a:lnTo>
                  <a:lnTo>
                    <a:pt x="686" y="282"/>
                  </a:lnTo>
                  <a:lnTo>
                    <a:pt x="687" y="281"/>
                  </a:lnTo>
                  <a:lnTo>
                    <a:pt x="697" y="278"/>
                  </a:lnTo>
                  <a:lnTo>
                    <a:pt x="703" y="278"/>
                  </a:lnTo>
                  <a:lnTo>
                    <a:pt x="707" y="275"/>
                  </a:lnTo>
                  <a:lnTo>
                    <a:pt x="712" y="274"/>
                  </a:lnTo>
                  <a:lnTo>
                    <a:pt x="719" y="275"/>
                  </a:lnTo>
                  <a:lnTo>
                    <a:pt x="725" y="274"/>
                  </a:lnTo>
                  <a:lnTo>
                    <a:pt x="730" y="277"/>
                  </a:lnTo>
                  <a:lnTo>
                    <a:pt x="736" y="277"/>
                  </a:lnTo>
                  <a:lnTo>
                    <a:pt x="746" y="272"/>
                  </a:lnTo>
                  <a:lnTo>
                    <a:pt x="748" y="272"/>
                  </a:lnTo>
                  <a:lnTo>
                    <a:pt x="751" y="267"/>
                  </a:lnTo>
                  <a:lnTo>
                    <a:pt x="754" y="267"/>
                  </a:lnTo>
                  <a:lnTo>
                    <a:pt x="758" y="270"/>
                  </a:lnTo>
                  <a:lnTo>
                    <a:pt x="769" y="267"/>
                  </a:lnTo>
                  <a:lnTo>
                    <a:pt x="772" y="267"/>
                  </a:lnTo>
                  <a:lnTo>
                    <a:pt x="772" y="273"/>
                  </a:lnTo>
                  <a:lnTo>
                    <a:pt x="778" y="274"/>
                  </a:lnTo>
                  <a:lnTo>
                    <a:pt x="782" y="277"/>
                  </a:lnTo>
                  <a:lnTo>
                    <a:pt x="782" y="282"/>
                  </a:lnTo>
                  <a:lnTo>
                    <a:pt x="786" y="290"/>
                  </a:lnTo>
                  <a:lnTo>
                    <a:pt x="789" y="290"/>
                  </a:lnTo>
                  <a:lnTo>
                    <a:pt x="793" y="289"/>
                  </a:lnTo>
                  <a:lnTo>
                    <a:pt x="797" y="285"/>
                  </a:lnTo>
                  <a:lnTo>
                    <a:pt x="801" y="286"/>
                  </a:lnTo>
                  <a:lnTo>
                    <a:pt x="801" y="289"/>
                  </a:lnTo>
                  <a:lnTo>
                    <a:pt x="803" y="289"/>
                  </a:lnTo>
                  <a:lnTo>
                    <a:pt x="808" y="286"/>
                  </a:lnTo>
                  <a:lnTo>
                    <a:pt x="810" y="289"/>
                  </a:lnTo>
                  <a:lnTo>
                    <a:pt x="814" y="289"/>
                  </a:lnTo>
                  <a:lnTo>
                    <a:pt x="826" y="285"/>
                  </a:lnTo>
                  <a:lnTo>
                    <a:pt x="826" y="281"/>
                  </a:lnTo>
                  <a:lnTo>
                    <a:pt x="828" y="278"/>
                  </a:lnTo>
                  <a:lnTo>
                    <a:pt x="836" y="277"/>
                  </a:lnTo>
                  <a:lnTo>
                    <a:pt x="842" y="273"/>
                  </a:lnTo>
                  <a:lnTo>
                    <a:pt x="845" y="260"/>
                  </a:lnTo>
                  <a:lnTo>
                    <a:pt x="847" y="256"/>
                  </a:lnTo>
                  <a:lnTo>
                    <a:pt x="847" y="253"/>
                  </a:lnTo>
                  <a:lnTo>
                    <a:pt x="850" y="250"/>
                  </a:lnTo>
                  <a:lnTo>
                    <a:pt x="854" y="250"/>
                  </a:lnTo>
                  <a:lnTo>
                    <a:pt x="862" y="245"/>
                  </a:lnTo>
                  <a:lnTo>
                    <a:pt x="865" y="245"/>
                  </a:lnTo>
                  <a:lnTo>
                    <a:pt x="868" y="245"/>
                  </a:lnTo>
                  <a:lnTo>
                    <a:pt x="871" y="244"/>
                  </a:lnTo>
                  <a:lnTo>
                    <a:pt x="875" y="245"/>
                  </a:lnTo>
                  <a:lnTo>
                    <a:pt x="876" y="245"/>
                  </a:lnTo>
                  <a:lnTo>
                    <a:pt x="882" y="248"/>
                  </a:lnTo>
                  <a:lnTo>
                    <a:pt x="885" y="250"/>
                  </a:lnTo>
                  <a:lnTo>
                    <a:pt x="889" y="260"/>
                  </a:lnTo>
                  <a:lnTo>
                    <a:pt x="895" y="260"/>
                  </a:lnTo>
                  <a:lnTo>
                    <a:pt x="898" y="262"/>
                  </a:lnTo>
                  <a:lnTo>
                    <a:pt x="900" y="263"/>
                  </a:lnTo>
                  <a:lnTo>
                    <a:pt x="900" y="270"/>
                  </a:lnTo>
                  <a:lnTo>
                    <a:pt x="901" y="273"/>
                  </a:lnTo>
                  <a:lnTo>
                    <a:pt x="907" y="275"/>
                  </a:lnTo>
                  <a:lnTo>
                    <a:pt x="912" y="274"/>
                  </a:lnTo>
                  <a:lnTo>
                    <a:pt x="914" y="274"/>
                  </a:lnTo>
                  <a:lnTo>
                    <a:pt x="918" y="277"/>
                  </a:lnTo>
                  <a:lnTo>
                    <a:pt x="922" y="281"/>
                  </a:lnTo>
                  <a:lnTo>
                    <a:pt x="926" y="282"/>
                  </a:lnTo>
                  <a:lnTo>
                    <a:pt x="931" y="289"/>
                  </a:lnTo>
                  <a:lnTo>
                    <a:pt x="935" y="289"/>
                  </a:lnTo>
                  <a:lnTo>
                    <a:pt x="937" y="285"/>
                  </a:lnTo>
                  <a:lnTo>
                    <a:pt x="950" y="285"/>
                  </a:lnTo>
                  <a:lnTo>
                    <a:pt x="951" y="285"/>
                  </a:lnTo>
                  <a:lnTo>
                    <a:pt x="956" y="279"/>
                  </a:lnTo>
                  <a:lnTo>
                    <a:pt x="956" y="277"/>
                  </a:lnTo>
                  <a:lnTo>
                    <a:pt x="954" y="273"/>
                  </a:lnTo>
                  <a:lnTo>
                    <a:pt x="956" y="267"/>
                  </a:lnTo>
                  <a:lnTo>
                    <a:pt x="964" y="263"/>
                  </a:lnTo>
                  <a:lnTo>
                    <a:pt x="967" y="260"/>
                  </a:lnTo>
                  <a:lnTo>
                    <a:pt x="970" y="256"/>
                  </a:lnTo>
                  <a:lnTo>
                    <a:pt x="974" y="256"/>
                  </a:lnTo>
                  <a:lnTo>
                    <a:pt x="976" y="257"/>
                  </a:lnTo>
                  <a:lnTo>
                    <a:pt x="979" y="256"/>
                  </a:lnTo>
                  <a:lnTo>
                    <a:pt x="986" y="249"/>
                  </a:lnTo>
                  <a:lnTo>
                    <a:pt x="985" y="245"/>
                  </a:lnTo>
                  <a:lnTo>
                    <a:pt x="990" y="240"/>
                  </a:lnTo>
                  <a:lnTo>
                    <a:pt x="993" y="231"/>
                  </a:lnTo>
                  <a:lnTo>
                    <a:pt x="1000" y="228"/>
                  </a:lnTo>
                  <a:lnTo>
                    <a:pt x="1010" y="227"/>
                  </a:lnTo>
                  <a:lnTo>
                    <a:pt x="1014" y="223"/>
                  </a:lnTo>
                  <a:lnTo>
                    <a:pt x="1014" y="217"/>
                  </a:lnTo>
                  <a:lnTo>
                    <a:pt x="1024" y="215"/>
                  </a:lnTo>
                  <a:lnTo>
                    <a:pt x="1025" y="211"/>
                  </a:lnTo>
                  <a:lnTo>
                    <a:pt x="1025" y="208"/>
                  </a:lnTo>
                  <a:lnTo>
                    <a:pt x="1027" y="206"/>
                  </a:lnTo>
                  <a:lnTo>
                    <a:pt x="1035" y="203"/>
                  </a:lnTo>
                  <a:lnTo>
                    <a:pt x="1035" y="200"/>
                  </a:lnTo>
                  <a:lnTo>
                    <a:pt x="1033" y="196"/>
                  </a:lnTo>
                  <a:lnTo>
                    <a:pt x="1035" y="195"/>
                  </a:lnTo>
                  <a:lnTo>
                    <a:pt x="1039" y="191"/>
                  </a:lnTo>
                  <a:lnTo>
                    <a:pt x="1039" y="186"/>
                  </a:lnTo>
                  <a:lnTo>
                    <a:pt x="1038" y="181"/>
                  </a:lnTo>
                  <a:lnTo>
                    <a:pt x="1038" y="178"/>
                  </a:lnTo>
                  <a:lnTo>
                    <a:pt x="1039" y="173"/>
                  </a:lnTo>
                  <a:lnTo>
                    <a:pt x="1045" y="169"/>
                  </a:lnTo>
                  <a:lnTo>
                    <a:pt x="1050" y="166"/>
                  </a:lnTo>
                  <a:lnTo>
                    <a:pt x="1063" y="166"/>
                  </a:lnTo>
                  <a:lnTo>
                    <a:pt x="1066" y="166"/>
                  </a:lnTo>
                  <a:lnTo>
                    <a:pt x="1068" y="170"/>
                  </a:lnTo>
                  <a:lnTo>
                    <a:pt x="1071" y="170"/>
                  </a:lnTo>
                  <a:lnTo>
                    <a:pt x="1074" y="169"/>
                  </a:lnTo>
                  <a:lnTo>
                    <a:pt x="1075" y="165"/>
                  </a:lnTo>
                  <a:lnTo>
                    <a:pt x="1081" y="162"/>
                  </a:lnTo>
                  <a:lnTo>
                    <a:pt x="1082" y="158"/>
                  </a:lnTo>
                  <a:lnTo>
                    <a:pt x="1088" y="148"/>
                  </a:lnTo>
                  <a:lnTo>
                    <a:pt x="1093" y="148"/>
                  </a:lnTo>
                  <a:lnTo>
                    <a:pt x="1100" y="148"/>
                  </a:lnTo>
                  <a:lnTo>
                    <a:pt x="1106" y="144"/>
                  </a:lnTo>
                  <a:lnTo>
                    <a:pt x="1110" y="144"/>
                  </a:lnTo>
                  <a:lnTo>
                    <a:pt x="1114" y="148"/>
                  </a:lnTo>
                  <a:lnTo>
                    <a:pt x="1121" y="146"/>
                  </a:lnTo>
                  <a:lnTo>
                    <a:pt x="1122" y="142"/>
                  </a:lnTo>
                  <a:lnTo>
                    <a:pt x="1132" y="142"/>
                  </a:lnTo>
                  <a:lnTo>
                    <a:pt x="1138" y="144"/>
                  </a:lnTo>
                  <a:lnTo>
                    <a:pt x="1146" y="140"/>
                  </a:lnTo>
                  <a:lnTo>
                    <a:pt x="1145" y="137"/>
                  </a:lnTo>
                  <a:lnTo>
                    <a:pt x="1146" y="134"/>
                  </a:lnTo>
                  <a:lnTo>
                    <a:pt x="1160" y="129"/>
                  </a:lnTo>
                  <a:lnTo>
                    <a:pt x="1167" y="121"/>
                  </a:lnTo>
                  <a:lnTo>
                    <a:pt x="1172" y="124"/>
                  </a:lnTo>
                  <a:lnTo>
                    <a:pt x="1175" y="121"/>
                  </a:lnTo>
                  <a:lnTo>
                    <a:pt x="1177" y="121"/>
                  </a:lnTo>
                  <a:lnTo>
                    <a:pt x="1177" y="117"/>
                  </a:lnTo>
                  <a:lnTo>
                    <a:pt x="1185" y="112"/>
                  </a:lnTo>
                  <a:lnTo>
                    <a:pt x="1188" y="112"/>
                  </a:lnTo>
                  <a:lnTo>
                    <a:pt x="1189" y="115"/>
                  </a:lnTo>
                  <a:lnTo>
                    <a:pt x="1192" y="115"/>
                  </a:lnTo>
                  <a:lnTo>
                    <a:pt x="1193" y="115"/>
                  </a:lnTo>
                  <a:lnTo>
                    <a:pt x="1196" y="111"/>
                  </a:lnTo>
                  <a:lnTo>
                    <a:pt x="1200" y="109"/>
                  </a:lnTo>
                  <a:lnTo>
                    <a:pt x="1203" y="107"/>
                  </a:lnTo>
                  <a:lnTo>
                    <a:pt x="1211" y="109"/>
                  </a:lnTo>
                  <a:lnTo>
                    <a:pt x="1214" y="112"/>
                  </a:lnTo>
                  <a:lnTo>
                    <a:pt x="1218" y="112"/>
                  </a:lnTo>
                  <a:lnTo>
                    <a:pt x="1222" y="115"/>
                  </a:lnTo>
                  <a:lnTo>
                    <a:pt x="1228" y="117"/>
                  </a:lnTo>
                  <a:lnTo>
                    <a:pt x="1235" y="117"/>
                  </a:lnTo>
                  <a:lnTo>
                    <a:pt x="1235" y="124"/>
                  </a:lnTo>
                  <a:lnTo>
                    <a:pt x="1243" y="131"/>
                  </a:lnTo>
                  <a:lnTo>
                    <a:pt x="1250" y="129"/>
                  </a:lnTo>
                  <a:lnTo>
                    <a:pt x="1256" y="132"/>
                  </a:lnTo>
                  <a:lnTo>
                    <a:pt x="1260" y="136"/>
                  </a:lnTo>
                  <a:lnTo>
                    <a:pt x="1266" y="136"/>
                  </a:lnTo>
                  <a:lnTo>
                    <a:pt x="1271" y="140"/>
                  </a:lnTo>
                  <a:lnTo>
                    <a:pt x="1277" y="140"/>
                  </a:lnTo>
                  <a:lnTo>
                    <a:pt x="1282" y="140"/>
                  </a:lnTo>
                  <a:lnTo>
                    <a:pt x="1287" y="138"/>
                  </a:lnTo>
                  <a:lnTo>
                    <a:pt x="1295" y="132"/>
                  </a:lnTo>
                  <a:lnTo>
                    <a:pt x="1295" y="125"/>
                  </a:lnTo>
                  <a:lnTo>
                    <a:pt x="1301" y="120"/>
                  </a:lnTo>
                  <a:lnTo>
                    <a:pt x="1302" y="116"/>
                  </a:lnTo>
                  <a:lnTo>
                    <a:pt x="1307" y="109"/>
                  </a:lnTo>
                  <a:lnTo>
                    <a:pt x="1315" y="107"/>
                  </a:lnTo>
                  <a:lnTo>
                    <a:pt x="1315" y="101"/>
                  </a:lnTo>
                  <a:lnTo>
                    <a:pt x="1319" y="98"/>
                  </a:lnTo>
                  <a:lnTo>
                    <a:pt x="1324" y="98"/>
                  </a:lnTo>
                  <a:lnTo>
                    <a:pt x="1327" y="99"/>
                  </a:lnTo>
                  <a:lnTo>
                    <a:pt x="1331" y="98"/>
                  </a:lnTo>
                  <a:lnTo>
                    <a:pt x="1331" y="95"/>
                  </a:lnTo>
                  <a:lnTo>
                    <a:pt x="1334" y="89"/>
                  </a:lnTo>
                  <a:lnTo>
                    <a:pt x="1332" y="86"/>
                  </a:lnTo>
                  <a:lnTo>
                    <a:pt x="1335" y="81"/>
                  </a:lnTo>
                  <a:lnTo>
                    <a:pt x="1341" y="83"/>
                  </a:lnTo>
                  <a:lnTo>
                    <a:pt x="1359" y="75"/>
                  </a:lnTo>
                  <a:lnTo>
                    <a:pt x="1362" y="75"/>
                  </a:lnTo>
                  <a:lnTo>
                    <a:pt x="1366" y="75"/>
                  </a:lnTo>
                  <a:lnTo>
                    <a:pt x="1367" y="71"/>
                  </a:lnTo>
                  <a:lnTo>
                    <a:pt x="1373" y="70"/>
                  </a:lnTo>
                  <a:lnTo>
                    <a:pt x="1376" y="66"/>
                  </a:lnTo>
                  <a:lnTo>
                    <a:pt x="1381" y="66"/>
                  </a:lnTo>
                  <a:lnTo>
                    <a:pt x="1385" y="61"/>
                  </a:lnTo>
                  <a:lnTo>
                    <a:pt x="1385" y="57"/>
                  </a:lnTo>
                  <a:lnTo>
                    <a:pt x="1394" y="50"/>
                  </a:lnTo>
                  <a:lnTo>
                    <a:pt x="1396" y="50"/>
                  </a:lnTo>
                  <a:lnTo>
                    <a:pt x="1399" y="54"/>
                  </a:lnTo>
                  <a:lnTo>
                    <a:pt x="1406" y="53"/>
                  </a:lnTo>
                  <a:lnTo>
                    <a:pt x="1409" y="54"/>
                  </a:lnTo>
                  <a:lnTo>
                    <a:pt x="1410" y="50"/>
                  </a:lnTo>
                  <a:lnTo>
                    <a:pt x="1407" y="46"/>
                  </a:lnTo>
                  <a:lnTo>
                    <a:pt x="1413" y="41"/>
                  </a:lnTo>
                  <a:lnTo>
                    <a:pt x="1416" y="41"/>
                  </a:lnTo>
                  <a:lnTo>
                    <a:pt x="1420" y="45"/>
                  </a:lnTo>
                  <a:lnTo>
                    <a:pt x="1421" y="45"/>
                  </a:lnTo>
                  <a:lnTo>
                    <a:pt x="1434" y="37"/>
                  </a:lnTo>
                  <a:lnTo>
                    <a:pt x="1437" y="32"/>
                  </a:lnTo>
                  <a:lnTo>
                    <a:pt x="1441" y="30"/>
                  </a:lnTo>
                  <a:lnTo>
                    <a:pt x="1441" y="28"/>
                  </a:lnTo>
                  <a:lnTo>
                    <a:pt x="1451" y="28"/>
                  </a:lnTo>
                  <a:lnTo>
                    <a:pt x="1455" y="26"/>
                  </a:lnTo>
                  <a:lnTo>
                    <a:pt x="1469" y="26"/>
                  </a:lnTo>
                  <a:lnTo>
                    <a:pt x="1473" y="28"/>
                  </a:lnTo>
                  <a:lnTo>
                    <a:pt x="1477" y="28"/>
                  </a:lnTo>
                  <a:lnTo>
                    <a:pt x="1492" y="22"/>
                  </a:lnTo>
                  <a:lnTo>
                    <a:pt x="1508" y="20"/>
                  </a:lnTo>
                  <a:lnTo>
                    <a:pt x="1519" y="13"/>
                  </a:lnTo>
                  <a:lnTo>
                    <a:pt x="1524" y="14"/>
                  </a:lnTo>
                  <a:lnTo>
                    <a:pt x="1533" y="14"/>
                  </a:lnTo>
                  <a:lnTo>
                    <a:pt x="1538" y="9"/>
                  </a:lnTo>
                  <a:lnTo>
                    <a:pt x="1541" y="5"/>
                  </a:lnTo>
                  <a:lnTo>
                    <a:pt x="1544" y="1"/>
                  </a:lnTo>
                  <a:lnTo>
                    <a:pt x="1551" y="5"/>
                  </a:lnTo>
                  <a:lnTo>
                    <a:pt x="1561" y="5"/>
                  </a:lnTo>
                  <a:lnTo>
                    <a:pt x="1567" y="4"/>
                  </a:lnTo>
                  <a:lnTo>
                    <a:pt x="1570" y="5"/>
                  </a:lnTo>
                  <a:lnTo>
                    <a:pt x="1570" y="12"/>
                  </a:lnTo>
                  <a:lnTo>
                    <a:pt x="1573" y="16"/>
                  </a:lnTo>
                  <a:lnTo>
                    <a:pt x="1577" y="9"/>
                  </a:lnTo>
                  <a:lnTo>
                    <a:pt x="1576" y="9"/>
                  </a:lnTo>
                  <a:lnTo>
                    <a:pt x="1575" y="5"/>
                  </a:lnTo>
                  <a:lnTo>
                    <a:pt x="1577" y="5"/>
                  </a:lnTo>
                  <a:lnTo>
                    <a:pt x="1579" y="0"/>
                  </a:lnTo>
                  <a:lnTo>
                    <a:pt x="1581" y="0"/>
                  </a:lnTo>
                  <a:lnTo>
                    <a:pt x="1584" y="1"/>
                  </a:lnTo>
                  <a:lnTo>
                    <a:pt x="1572" y="26"/>
                  </a:lnTo>
                  <a:lnTo>
                    <a:pt x="1570" y="32"/>
                  </a:lnTo>
                  <a:lnTo>
                    <a:pt x="1566" y="42"/>
                  </a:lnTo>
                  <a:lnTo>
                    <a:pt x="1565" y="54"/>
                  </a:lnTo>
                  <a:lnTo>
                    <a:pt x="1558" y="66"/>
                  </a:lnTo>
                  <a:lnTo>
                    <a:pt x="1556" y="67"/>
                  </a:lnTo>
                  <a:lnTo>
                    <a:pt x="1555" y="62"/>
                  </a:lnTo>
                  <a:lnTo>
                    <a:pt x="1558" y="62"/>
                  </a:lnTo>
                  <a:lnTo>
                    <a:pt x="1559" y="61"/>
                  </a:lnTo>
                  <a:lnTo>
                    <a:pt x="1556" y="58"/>
                  </a:lnTo>
                  <a:lnTo>
                    <a:pt x="1556" y="57"/>
                  </a:lnTo>
                  <a:lnTo>
                    <a:pt x="1559" y="57"/>
                  </a:lnTo>
                  <a:lnTo>
                    <a:pt x="1559" y="54"/>
                  </a:lnTo>
                  <a:lnTo>
                    <a:pt x="1556" y="46"/>
                  </a:lnTo>
                  <a:lnTo>
                    <a:pt x="1554" y="46"/>
                  </a:lnTo>
                  <a:lnTo>
                    <a:pt x="1549" y="49"/>
                  </a:lnTo>
                  <a:lnTo>
                    <a:pt x="1548" y="46"/>
                  </a:lnTo>
                  <a:lnTo>
                    <a:pt x="1542" y="50"/>
                  </a:lnTo>
                  <a:lnTo>
                    <a:pt x="1538" y="57"/>
                  </a:lnTo>
                  <a:lnTo>
                    <a:pt x="1537" y="58"/>
                  </a:lnTo>
                  <a:lnTo>
                    <a:pt x="1540" y="62"/>
                  </a:lnTo>
                  <a:lnTo>
                    <a:pt x="1545" y="58"/>
                  </a:lnTo>
                  <a:lnTo>
                    <a:pt x="1542" y="66"/>
                  </a:lnTo>
                  <a:lnTo>
                    <a:pt x="1544" y="71"/>
                  </a:lnTo>
                  <a:lnTo>
                    <a:pt x="1548" y="75"/>
                  </a:lnTo>
                  <a:lnTo>
                    <a:pt x="1554" y="76"/>
                  </a:lnTo>
                  <a:lnTo>
                    <a:pt x="1551" y="99"/>
                  </a:lnTo>
                  <a:lnTo>
                    <a:pt x="1548" y="106"/>
                  </a:lnTo>
                  <a:lnTo>
                    <a:pt x="1540" y="103"/>
                  </a:lnTo>
                  <a:lnTo>
                    <a:pt x="1540" y="101"/>
                  </a:lnTo>
                  <a:lnTo>
                    <a:pt x="1542" y="99"/>
                  </a:lnTo>
                  <a:lnTo>
                    <a:pt x="1540" y="95"/>
                  </a:lnTo>
                  <a:lnTo>
                    <a:pt x="1535" y="98"/>
                  </a:lnTo>
                  <a:lnTo>
                    <a:pt x="1535" y="99"/>
                  </a:lnTo>
                  <a:lnTo>
                    <a:pt x="1534" y="101"/>
                  </a:lnTo>
                  <a:lnTo>
                    <a:pt x="1524" y="103"/>
                  </a:lnTo>
                  <a:lnTo>
                    <a:pt x="1519" y="108"/>
                  </a:lnTo>
                  <a:lnTo>
                    <a:pt x="1517" y="108"/>
                  </a:lnTo>
                  <a:lnTo>
                    <a:pt x="1517" y="107"/>
                  </a:lnTo>
                  <a:lnTo>
                    <a:pt x="1519" y="103"/>
                  </a:lnTo>
                  <a:lnTo>
                    <a:pt x="1516" y="95"/>
                  </a:lnTo>
                  <a:lnTo>
                    <a:pt x="1517" y="91"/>
                  </a:lnTo>
                  <a:lnTo>
                    <a:pt x="1513" y="94"/>
                  </a:lnTo>
                  <a:lnTo>
                    <a:pt x="1512" y="98"/>
                  </a:lnTo>
                  <a:lnTo>
                    <a:pt x="1512" y="99"/>
                  </a:lnTo>
                  <a:lnTo>
                    <a:pt x="1515" y="101"/>
                  </a:lnTo>
                  <a:lnTo>
                    <a:pt x="1509" y="103"/>
                  </a:lnTo>
                  <a:lnTo>
                    <a:pt x="1505" y="101"/>
                  </a:lnTo>
                  <a:lnTo>
                    <a:pt x="1504" y="98"/>
                  </a:lnTo>
                  <a:lnTo>
                    <a:pt x="1505" y="92"/>
                  </a:lnTo>
                  <a:lnTo>
                    <a:pt x="1501" y="89"/>
                  </a:lnTo>
                  <a:lnTo>
                    <a:pt x="1502" y="94"/>
                  </a:lnTo>
                  <a:lnTo>
                    <a:pt x="1501" y="95"/>
                  </a:lnTo>
                  <a:lnTo>
                    <a:pt x="1496" y="92"/>
                  </a:lnTo>
                  <a:lnTo>
                    <a:pt x="1491" y="91"/>
                  </a:lnTo>
                  <a:lnTo>
                    <a:pt x="1490" y="91"/>
                  </a:lnTo>
                  <a:lnTo>
                    <a:pt x="1491" y="95"/>
                  </a:lnTo>
                  <a:lnTo>
                    <a:pt x="1494" y="95"/>
                  </a:lnTo>
                  <a:lnTo>
                    <a:pt x="1498" y="106"/>
                  </a:lnTo>
                  <a:lnTo>
                    <a:pt x="1498" y="108"/>
                  </a:lnTo>
                  <a:lnTo>
                    <a:pt x="1496" y="108"/>
                  </a:lnTo>
                  <a:lnTo>
                    <a:pt x="1499" y="115"/>
                  </a:lnTo>
                  <a:lnTo>
                    <a:pt x="1498" y="116"/>
                  </a:lnTo>
                  <a:lnTo>
                    <a:pt x="1498" y="117"/>
                  </a:lnTo>
                  <a:lnTo>
                    <a:pt x="1494" y="121"/>
                  </a:lnTo>
                  <a:lnTo>
                    <a:pt x="1492" y="121"/>
                  </a:lnTo>
                  <a:lnTo>
                    <a:pt x="1491" y="117"/>
                  </a:lnTo>
                  <a:lnTo>
                    <a:pt x="1490" y="117"/>
                  </a:lnTo>
                  <a:lnTo>
                    <a:pt x="1490" y="121"/>
                  </a:lnTo>
                  <a:lnTo>
                    <a:pt x="1484" y="125"/>
                  </a:lnTo>
                  <a:lnTo>
                    <a:pt x="1485" y="128"/>
                  </a:lnTo>
                  <a:lnTo>
                    <a:pt x="1490" y="125"/>
                  </a:lnTo>
                  <a:lnTo>
                    <a:pt x="1498" y="125"/>
                  </a:lnTo>
                  <a:lnTo>
                    <a:pt x="1505" y="129"/>
                  </a:lnTo>
                  <a:lnTo>
                    <a:pt x="1504" y="132"/>
                  </a:lnTo>
                  <a:lnTo>
                    <a:pt x="1506" y="133"/>
                  </a:lnTo>
                  <a:lnTo>
                    <a:pt x="1508" y="133"/>
                  </a:lnTo>
                  <a:lnTo>
                    <a:pt x="1513" y="140"/>
                  </a:lnTo>
                  <a:lnTo>
                    <a:pt x="1513" y="142"/>
                  </a:lnTo>
                  <a:lnTo>
                    <a:pt x="1510" y="144"/>
                  </a:lnTo>
                  <a:lnTo>
                    <a:pt x="1512" y="148"/>
                  </a:lnTo>
                  <a:lnTo>
                    <a:pt x="1509" y="148"/>
                  </a:lnTo>
                  <a:lnTo>
                    <a:pt x="1512" y="151"/>
                  </a:lnTo>
                  <a:lnTo>
                    <a:pt x="1513" y="150"/>
                  </a:lnTo>
                  <a:lnTo>
                    <a:pt x="1513" y="144"/>
                  </a:lnTo>
                  <a:lnTo>
                    <a:pt x="1515" y="144"/>
                  </a:lnTo>
                  <a:lnTo>
                    <a:pt x="1515" y="146"/>
                  </a:lnTo>
                  <a:lnTo>
                    <a:pt x="1516" y="146"/>
                  </a:lnTo>
                  <a:lnTo>
                    <a:pt x="1516" y="144"/>
                  </a:lnTo>
                  <a:lnTo>
                    <a:pt x="1520" y="140"/>
                  </a:lnTo>
                  <a:lnTo>
                    <a:pt x="1520" y="137"/>
                  </a:lnTo>
                  <a:lnTo>
                    <a:pt x="1521" y="134"/>
                  </a:lnTo>
                  <a:lnTo>
                    <a:pt x="1523" y="133"/>
                  </a:lnTo>
                  <a:lnTo>
                    <a:pt x="1526" y="136"/>
                  </a:lnTo>
                  <a:lnTo>
                    <a:pt x="1531" y="144"/>
                  </a:lnTo>
                  <a:lnTo>
                    <a:pt x="1531" y="154"/>
                  </a:lnTo>
                  <a:lnTo>
                    <a:pt x="1529" y="160"/>
                  </a:lnTo>
                  <a:lnTo>
                    <a:pt x="1527" y="161"/>
                  </a:lnTo>
                  <a:lnTo>
                    <a:pt x="1523" y="161"/>
                  </a:lnTo>
                  <a:lnTo>
                    <a:pt x="1520" y="165"/>
                  </a:lnTo>
                  <a:lnTo>
                    <a:pt x="1520" y="166"/>
                  </a:lnTo>
                  <a:lnTo>
                    <a:pt x="1513" y="169"/>
                  </a:lnTo>
                  <a:lnTo>
                    <a:pt x="1510" y="170"/>
                  </a:lnTo>
                  <a:lnTo>
                    <a:pt x="1516" y="170"/>
                  </a:lnTo>
                  <a:lnTo>
                    <a:pt x="1515" y="173"/>
                  </a:lnTo>
                  <a:lnTo>
                    <a:pt x="1517" y="174"/>
                  </a:lnTo>
                  <a:lnTo>
                    <a:pt x="1517" y="176"/>
                  </a:lnTo>
                  <a:lnTo>
                    <a:pt x="1516" y="179"/>
                  </a:lnTo>
                  <a:lnTo>
                    <a:pt x="1519" y="183"/>
                  </a:lnTo>
                  <a:lnTo>
                    <a:pt x="1520" y="183"/>
                  </a:lnTo>
                  <a:lnTo>
                    <a:pt x="1520" y="179"/>
                  </a:lnTo>
                  <a:lnTo>
                    <a:pt x="1520" y="178"/>
                  </a:lnTo>
                  <a:lnTo>
                    <a:pt x="1527" y="174"/>
                  </a:lnTo>
                  <a:lnTo>
                    <a:pt x="1529" y="176"/>
                  </a:lnTo>
                  <a:lnTo>
                    <a:pt x="1531" y="182"/>
                  </a:lnTo>
                  <a:lnTo>
                    <a:pt x="1535" y="181"/>
                  </a:lnTo>
                  <a:lnTo>
                    <a:pt x="1541" y="183"/>
                  </a:lnTo>
                  <a:lnTo>
                    <a:pt x="1541" y="188"/>
                  </a:lnTo>
                  <a:lnTo>
                    <a:pt x="1537" y="187"/>
                  </a:lnTo>
                  <a:lnTo>
                    <a:pt x="1534" y="191"/>
                  </a:lnTo>
                  <a:lnTo>
                    <a:pt x="1535" y="192"/>
                  </a:lnTo>
                  <a:lnTo>
                    <a:pt x="1537" y="188"/>
                  </a:lnTo>
                  <a:lnTo>
                    <a:pt x="1544" y="196"/>
                  </a:lnTo>
                  <a:lnTo>
                    <a:pt x="1542" y="200"/>
                  </a:lnTo>
                  <a:lnTo>
                    <a:pt x="1547" y="202"/>
                  </a:lnTo>
                  <a:lnTo>
                    <a:pt x="1547" y="203"/>
                  </a:lnTo>
                  <a:lnTo>
                    <a:pt x="1545" y="206"/>
                  </a:lnTo>
                  <a:lnTo>
                    <a:pt x="1547" y="208"/>
                  </a:lnTo>
                  <a:lnTo>
                    <a:pt x="1545" y="210"/>
                  </a:lnTo>
                  <a:lnTo>
                    <a:pt x="1547" y="211"/>
                  </a:lnTo>
                  <a:lnTo>
                    <a:pt x="1549" y="207"/>
                  </a:lnTo>
                  <a:lnTo>
                    <a:pt x="1552" y="206"/>
                  </a:lnTo>
                  <a:lnTo>
                    <a:pt x="1552" y="202"/>
                  </a:lnTo>
                  <a:lnTo>
                    <a:pt x="1554" y="196"/>
                  </a:lnTo>
                  <a:lnTo>
                    <a:pt x="1556" y="200"/>
                  </a:lnTo>
                  <a:lnTo>
                    <a:pt x="1559" y="202"/>
                  </a:lnTo>
                  <a:lnTo>
                    <a:pt x="1558" y="202"/>
                  </a:lnTo>
                  <a:lnTo>
                    <a:pt x="1558" y="203"/>
                  </a:lnTo>
                  <a:lnTo>
                    <a:pt x="1562" y="204"/>
                  </a:lnTo>
                  <a:lnTo>
                    <a:pt x="1562" y="210"/>
                  </a:lnTo>
                  <a:lnTo>
                    <a:pt x="1562" y="213"/>
                  </a:lnTo>
                  <a:lnTo>
                    <a:pt x="1563" y="215"/>
                  </a:lnTo>
                  <a:lnTo>
                    <a:pt x="1561" y="219"/>
                  </a:lnTo>
                  <a:lnTo>
                    <a:pt x="1561" y="221"/>
                  </a:lnTo>
                  <a:lnTo>
                    <a:pt x="1558" y="224"/>
                  </a:lnTo>
                  <a:lnTo>
                    <a:pt x="1556" y="229"/>
                  </a:lnTo>
                  <a:lnTo>
                    <a:pt x="1554" y="235"/>
                  </a:lnTo>
                  <a:lnTo>
                    <a:pt x="1549" y="227"/>
                  </a:lnTo>
                  <a:lnTo>
                    <a:pt x="1548" y="225"/>
                  </a:lnTo>
                  <a:lnTo>
                    <a:pt x="1538" y="227"/>
                  </a:lnTo>
                  <a:lnTo>
                    <a:pt x="1533" y="231"/>
                  </a:lnTo>
                  <a:lnTo>
                    <a:pt x="1524" y="231"/>
                  </a:lnTo>
                  <a:lnTo>
                    <a:pt x="1523" y="228"/>
                  </a:lnTo>
                  <a:lnTo>
                    <a:pt x="1526" y="229"/>
                  </a:lnTo>
                  <a:lnTo>
                    <a:pt x="1527" y="227"/>
                  </a:lnTo>
                  <a:lnTo>
                    <a:pt x="1524" y="225"/>
                  </a:lnTo>
                  <a:lnTo>
                    <a:pt x="1521" y="225"/>
                  </a:lnTo>
                  <a:lnTo>
                    <a:pt x="1519" y="215"/>
                  </a:lnTo>
                  <a:lnTo>
                    <a:pt x="1515" y="215"/>
                  </a:lnTo>
                  <a:lnTo>
                    <a:pt x="1519" y="224"/>
                  </a:lnTo>
                  <a:lnTo>
                    <a:pt x="1517" y="228"/>
                  </a:lnTo>
                  <a:lnTo>
                    <a:pt x="1519" y="232"/>
                  </a:lnTo>
                  <a:lnTo>
                    <a:pt x="1516" y="236"/>
                  </a:lnTo>
                  <a:lnTo>
                    <a:pt x="1521" y="237"/>
                  </a:lnTo>
                  <a:lnTo>
                    <a:pt x="1527" y="240"/>
                  </a:lnTo>
                  <a:lnTo>
                    <a:pt x="1537" y="237"/>
                  </a:lnTo>
                  <a:lnTo>
                    <a:pt x="1541" y="241"/>
                  </a:lnTo>
                  <a:lnTo>
                    <a:pt x="1540" y="245"/>
                  </a:lnTo>
                  <a:lnTo>
                    <a:pt x="1531" y="252"/>
                  </a:lnTo>
                  <a:lnTo>
                    <a:pt x="1533" y="253"/>
                  </a:lnTo>
                  <a:lnTo>
                    <a:pt x="1538" y="253"/>
                  </a:lnTo>
                  <a:lnTo>
                    <a:pt x="1535" y="254"/>
                  </a:lnTo>
                  <a:lnTo>
                    <a:pt x="1529" y="253"/>
                  </a:lnTo>
                  <a:lnTo>
                    <a:pt x="1529" y="254"/>
                  </a:lnTo>
                  <a:lnTo>
                    <a:pt x="1531" y="256"/>
                  </a:lnTo>
                  <a:lnTo>
                    <a:pt x="1529" y="256"/>
                  </a:lnTo>
                  <a:lnTo>
                    <a:pt x="1529" y="257"/>
                  </a:lnTo>
                  <a:lnTo>
                    <a:pt x="1530" y="258"/>
                  </a:lnTo>
                  <a:lnTo>
                    <a:pt x="1530" y="260"/>
                  </a:lnTo>
                  <a:lnTo>
                    <a:pt x="1534" y="260"/>
                  </a:lnTo>
                  <a:lnTo>
                    <a:pt x="1540" y="262"/>
                  </a:lnTo>
                  <a:lnTo>
                    <a:pt x="1541" y="272"/>
                  </a:lnTo>
                  <a:lnTo>
                    <a:pt x="1537" y="278"/>
                  </a:lnTo>
                  <a:lnTo>
                    <a:pt x="1540" y="285"/>
                  </a:lnTo>
                  <a:lnTo>
                    <a:pt x="1541" y="290"/>
                  </a:lnTo>
                  <a:lnTo>
                    <a:pt x="1542" y="289"/>
                  </a:lnTo>
                  <a:lnTo>
                    <a:pt x="1545" y="282"/>
                  </a:lnTo>
                  <a:lnTo>
                    <a:pt x="1552" y="281"/>
                  </a:lnTo>
                  <a:lnTo>
                    <a:pt x="1555" y="275"/>
                  </a:lnTo>
                  <a:lnTo>
                    <a:pt x="1561" y="272"/>
                  </a:lnTo>
                  <a:lnTo>
                    <a:pt x="1561" y="270"/>
                  </a:lnTo>
                  <a:lnTo>
                    <a:pt x="1559" y="272"/>
                  </a:lnTo>
                  <a:lnTo>
                    <a:pt x="1558" y="272"/>
                  </a:lnTo>
                  <a:lnTo>
                    <a:pt x="1563" y="263"/>
                  </a:lnTo>
                  <a:lnTo>
                    <a:pt x="1566" y="245"/>
                  </a:lnTo>
                  <a:lnTo>
                    <a:pt x="1569" y="240"/>
                  </a:lnTo>
                  <a:lnTo>
                    <a:pt x="1572" y="240"/>
                  </a:lnTo>
                  <a:lnTo>
                    <a:pt x="1567" y="277"/>
                  </a:lnTo>
                  <a:lnTo>
                    <a:pt x="1567" y="290"/>
                  </a:lnTo>
                  <a:lnTo>
                    <a:pt x="1570" y="311"/>
                  </a:lnTo>
                  <a:lnTo>
                    <a:pt x="1575" y="331"/>
                  </a:lnTo>
                  <a:lnTo>
                    <a:pt x="1584" y="360"/>
                  </a:lnTo>
                  <a:lnTo>
                    <a:pt x="1591" y="376"/>
                  </a:lnTo>
                  <a:lnTo>
                    <a:pt x="1600" y="392"/>
                  </a:lnTo>
                  <a:lnTo>
                    <a:pt x="1631" y="444"/>
                  </a:lnTo>
                  <a:lnTo>
                    <a:pt x="1640" y="461"/>
                  </a:lnTo>
                  <a:lnTo>
                    <a:pt x="1650" y="476"/>
                  </a:lnTo>
                  <a:lnTo>
                    <a:pt x="1679" y="503"/>
                  </a:lnTo>
                  <a:lnTo>
                    <a:pt x="1683" y="513"/>
                  </a:lnTo>
                  <a:lnTo>
                    <a:pt x="1684" y="526"/>
                  </a:lnTo>
                  <a:lnTo>
                    <a:pt x="1690" y="538"/>
                  </a:lnTo>
                  <a:lnTo>
                    <a:pt x="1692" y="543"/>
                  </a:lnTo>
                  <a:lnTo>
                    <a:pt x="1697" y="544"/>
                  </a:lnTo>
                  <a:lnTo>
                    <a:pt x="1697" y="548"/>
                  </a:lnTo>
                  <a:lnTo>
                    <a:pt x="1701" y="551"/>
                  </a:lnTo>
                  <a:lnTo>
                    <a:pt x="1698" y="552"/>
                  </a:lnTo>
                  <a:lnTo>
                    <a:pt x="1698" y="556"/>
                  </a:lnTo>
                  <a:lnTo>
                    <a:pt x="1700" y="560"/>
                  </a:lnTo>
                  <a:lnTo>
                    <a:pt x="1697" y="564"/>
                  </a:lnTo>
                  <a:lnTo>
                    <a:pt x="1698" y="573"/>
                  </a:lnTo>
                  <a:lnTo>
                    <a:pt x="1694" y="603"/>
                  </a:lnTo>
                  <a:lnTo>
                    <a:pt x="1694" y="606"/>
                  </a:lnTo>
                  <a:lnTo>
                    <a:pt x="1695" y="606"/>
                  </a:lnTo>
                  <a:lnTo>
                    <a:pt x="1694" y="608"/>
                  </a:lnTo>
                  <a:lnTo>
                    <a:pt x="1695" y="611"/>
                  </a:lnTo>
                  <a:lnTo>
                    <a:pt x="1700" y="611"/>
                  </a:lnTo>
                  <a:lnTo>
                    <a:pt x="1701" y="615"/>
                  </a:lnTo>
                  <a:lnTo>
                    <a:pt x="1704" y="618"/>
                  </a:lnTo>
                  <a:lnTo>
                    <a:pt x="1706" y="625"/>
                  </a:lnTo>
                  <a:lnTo>
                    <a:pt x="1704" y="634"/>
                  </a:lnTo>
                  <a:lnTo>
                    <a:pt x="1701" y="653"/>
                  </a:lnTo>
                  <a:lnTo>
                    <a:pt x="1704" y="664"/>
                  </a:lnTo>
                  <a:lnTo>
                    <a:pt x="1706" y="667"/>
                  </a:lnTo>
                  <a:lnTo>
                    <a:pt x="1705" y="675"/>
                  </a:lnTo>
                  <a:lnTo>
                    <a:pt x="1708" y="679"/>
                  </a:lnTo>
                  <a:lnTo>
                    <a:pt x="1706" y="693"/>
                  </a:lnTo>
                  <a:lnTo>
                    <a:pt x="1711" y="705"/>
                  </a:lnTo>
                  <a:lnTo>
                    <a:pt x="1714" y="705"/>
                  </a:lnTo>
                  <a:lnTo>
                    <a:pt x="1716" y="715"/>
                  </a:lnTo>
                  <a:lnTo>
                    <a:pt x="1719" y="717"/>
                  </a:lnTo>
                  <a:lnTo>
                    <a:pt x="1720" y="722"/>
                  </a:lnTo>
                  <a:lnTo>
                    <a:pt x="1720" y="730"/>
                  </a:lnTo>
                  <a:lnTo>
                    <a:pt x="1723" y="747"/>
                  </a:lnTo>
                  <a:lnTo>
                    <a:pt x="1726" y="756"/>
                  </a:lnTo>
                  <a:lnTo>
                    <a:pt x="1736" y="767"/>
                  </a:lnTo>
                  <a:lnTo>
                    <a:pt x="1736" y="770"/>
                  </a:lnTo>
                  <a:lnTo>
                    <a:pt x="1731" y="788"/>
                  </a:lnTo>
                  <a:lnTo>
                    <a:pt x="1733" y="791"/>
                  </a:lnTo>
                  <a:lnTo>
                    <a:pt x="1736" y="791"/>
                  </a:lnTo>
                  <a:lnTo>
                    <a:pt x="1736" y="793"/>
                  </a:lnTo>
                  <a:lnTo>
                    <a:pt x="1730" y="806"/>
                  </a:lnTo>
                  <a:lnTo>
                    <a:pt x="1729" y="814"/>
                  </a:lnTo>
                  <a:lnTo>
                    <a:pt x="1730" y="820"/>
                  </a:lnTo>
                  <a:lnTo>
                    <a:pt x="1733" y="825"/>
                  </a:lnTo>
                  <a:lnTo>
                    <a:pt x="1736" y="825"/>
                  </a:lnTo>
                  <a:lnTo>
                    <a:pt x="1739" y="825"/>
                  </a:lnTo>
                  <a:lnTo>
                    <a:pt x="1740" y="834"/>
                  </a:lnTo>
                  <a:lnTo>
                    <a:pt x="1737" y="859"/>
                  </a:lnTo>
                  <a:lnTo>
                    <a:pt x="1739" y="868"/>
                  </a:lnTo>
                  <a:lnTo>
                    <a:pt x="1739" y="876"/>
                  </a:lnTo>
                  <a:lnTo>
                    <a:pt x="1740" y="891"/>
                  </a:lnTo>
                  <a:lnTo>
                    <a:pt x="1747" y="911"/>
                  </a:lnTo>
                  <a:lnTo>
                    <a:pt x="1747" y="926"/>
                  </a:lnTo>
                  <a:lnTo>
                    <a:pt x="1747" y="940"/>
                  </a:lnTo>
                  <a:lnTo>
                    <a:pt x="1745" y="943"/>
                  </a:lnTo>
                  <a:lnTo>
                    <a:pt x="1747" y="949"/>
                  </a:lnTo>
                  <a:lnTo>
                    <a:pt x="1745" y="954"/>
                  </a:lnTo>
                  <a:lnTo>
                    <a:pt x="1747" y="956"/>
                  </a:lnTo>
                  <a:lnTo>
                    <a:pt x="1745" y="958"/>
                  </a:lnTo>
                  <a:lnTo>
                    <a:pt x="1745" y="963"/>
                  </a:lnTo>
                  <a:lnTo>
                    <a:pt x="1742" y="988"/>
                  </a:lnTo>
                  <a:lnTo>
                    <a:pt x="1747" y="990"/>
                  </a:lnTo>
                  <a:lnTo>
                    <a:pt x="1748" y="992"/>
                  </a:lnTo>
                  <a:lnTo>
                    <a:pt x="1750" y="992"/>
                  </a:lnTo>
                  <a:lnTo>
                    <a:pt x="1750" y="993"/>
                  </a:lnTo>
                  <a:lnTo>
                    <a:pt x="1751" y="993"/>
                  </a:lnTo>
                  <a:lnTo>
                    <a:pt x="1750" y="996"/>
                  </a:lnTo>
                  <a:lnTo>
                    <a:pt x="1751" y="998"/>
                  </a:lnTo>
                  <a:lnTo>
                    <a:pt x="1750" y="1003"/>
                  </a:lnTo>
                  <a:lnTo>
                    <a:pt x="1748" y="1004"/>
                  </a:lnTo>
                  <a:lnTo>
                    <a:pt x="1747" y="1003"/>
                  </a:lnTo>
                  <a:lnTo>
                    <a:pt x="1747" y="1005"/>
                  </a:lnTo>
                  <a:lnTo>
                    <a:pt x="1751" y="1008"/>
                  </a:lnTo>
                  <a:lnTo>
                    <a:pt x="1750" y="1011"/>
                  </a:lnTo>
                  <a:lnTo>
                    <a:pt x="1751" y="1011"/>
                  </a:lnTo>
                  <a:lnTo>
                    <a:pt x="1751" y="1012"/>
                  </a:lnTo>
                  <a:lnTo>
                    <a:pt x="1752" y="1012"/>
                  </a:lnTo>
                  <a:lnTo>
                    <a:pt x="1751" y="1015"/>
                  </a:lnTo>
                  <a:lnTo>
                    <a:pt x="1748" y="1018"/>
                  </a:lnTo>
                  <a:lnTo>
                    <a:pt x="1754" y="1016"/>
                  </a:lnTo>
                  <a:lnTo>
                    <a:pt x="1754" y="1020"/>
                  </a:lnTo>
                  <a:lnTo>
                    <a:pt x="1755" y="1020"/>
                  </a:lnTo>
                  <a:lnTo>
                    <a:pt x="1758" y="1018"/>
                  </a:lnTo>
                  <a:lnTo>
                    <a:pt x="1759" y="1020"/>
                  </a:lnTo>
                  <a:lnTo>
                    <a:pt x="1759" y="1018"/>
                  </a:lnTo>
                  <a:lnTo>
                    <a:pt x="1762" y="1012"/>
                  </a:lnTo>
                  <a:lnTo>
                    <a:pt x="1761" y="1012"/>
                  </a:lnTo>
                  <a:lnTo>
                    <a:pt x="1758" y="1012"/>
                  </a:lnTo>
                  <a:lnTo>
                    <a:pt x="1758" y="1008"/>
                  </a:lnTo>
                  <a:lnTo>
                    <a:pt x="1766" y="1000"/>
                  </a:lnTo>
                  <a:lnTo>
                    <a:pt x="1766" y="1003"/>
                  </a:lnTo>
                  <a:lnTo>
                    <a:pt x="1762" y="1005"/>
                  </a:lnTo>
                  <a:lnTo>
                    <a:pt x="1761" y="1011"/>
                  </a:lnTo>
                  <a:lnTo>
                    <a:pt x="1766" y="1010"/>
                  </a:lnTo>
                  <a:lnTo>
                    <a:pt x="1767" y="1005"/>
                  </a:lnTo>
                  <a:lnTo>
                    <a:pt x="1775" y="1007"/>
                  </a:lnTo>
                  <a:lnTo>
                    <a:pt x="1775" y="1010"/>
                  </a:lnTo>
                  <a:lnTo>
                    <a:pt x="1779" y="1011"/>
                  </a:lnTo>
                  <a:lnTo>
                    <a:pt x="1779" y="1020"/>
                  </a:lnTo>
                  <a:lnTo>
                    <a:pt x="1781" y="1016"/>
                  </a:lnTo>
                  <a:lnTo>
                    <a:pt x="1783" y="1012"/>
                  </a:lnTo>
                  <a:lnTo>
                    <a:pt x="1784" y="1015"/>
                  </a:lnTo>
                  <a:lnTo>
                    <a:pt x="1784" y="1011"/>
                  </a:lnTo>
                  <a:lnTo>
                    <a:pt x="1787" y="1010"/>
                  </a:lnTo>
                  <a:lnTo>
                    <a:pt x="1789" y="1010"/>
                  </a:lnTo>
                  <a:lnTo>
                    <a:pt x="1789" y="1007"/>
                  </a:lnTo>
                  <a:lnTo>
                    <a:pt x="1791" y="1008"/>
                  </a:lnTo>
                  <a:lnTo>
                    <a:pt x="1793" y="1007"/>
                  </a:lnTo>
                  <a:lnTo>
                    <a:pt x="1795" y="1007"/>
                  </a:lnTo>
                  <a:lnTo>
                    <a:pt x="1797" y="1010"/>
                  </a:lnTo>
                  <a:lnTo>
                    <a:pt x="1798" y="1015"/>
                  </a:lnTo>
                  <a:lnTo>
                    <a:pt x="1800" y="1004"/>
                  </a:lnTo>
                  <a:lnTo>
                    <a:pt x="1804" y="999"/>
                  </a:lnTo>
                  <a:lnTo>
                    <a:pt x="1805" y="1000"/>
                  </a:lnTo>
                  <a:lnTo>
                    <a:pt x="1808" y="999"/>
                  </a:lnTo>
                  <a:lnTo>
                    <a:pt x="1808" y="998"/>
                  </a:lnTo>
                  <a:lnTo>
                    <a:pt x="1811" y="998"/>
                  </a:lnTo>
                  <a:lnTo>
                    <a:pt x="1815" y="999"/>
                  </a:lnTo>
                  <a:lnTo>
                    <a:pt x="1811" y="993"/>
                  </a:lnTo>
                  <a:lnTo>
                    <a:pt x="1812" y="988"/>
                  </a:lnTo>
                  <a:lnTo>
                    <a:pt x="1816" y="990"/>
                  </a:lnTo>
                  <a:lnTo>
                    <a:pt x="1819" y="990"/>
                  </a:lnTo>
                  <a:lnTo>
                    <a:pt x="1816" y="988"/>
                  </a:lnTo>
                  <a:lnTo>
                    <a:pt x="1811" y="984"/>
                  </a:lnTo>
                  <a:lnTo>
                    <a:pt x="1814" y="979"/>
                  </a:lnTo>
                  <a:lnTo>
                    <a:pt x="1822" y="971"/>
                  </a:lnTo>
                  <a:lnTo>
                    <a:pt x="1837" y="963"/>
                  </a:lnTo>
                  <a:lnTo>
                    <a:pt x="1837" y="961"/>
                  </a:lnTo>
                  <a:lnTo>
                    <a:pt x="1840" y="959"/>
                  </a:lnTo>
                  <a:lnTo>
                    <a:pt x="1839" y="955"/>
                  </a:lnTo>
                  <a:lnTo>
                    <a:pt x="1839" y="954"/>
                  </a:lnTo>
                  <a:lnTo>
                    <a:pt x="1833" y="941"/>
                  </a:lnTo>
                  <a:lnTo>
                    <a:pt x="1836" y="938"/>
                  </a:lnTo>
                  <a:lnTo>
                    <a:pt x="1840" y="933"/>
                  </a:lnTo>
                  <a:lnTo>
                    <a:pt x="1844" y="931"/>
                  </a:lnTo>
                  <a:lnTo>
                    <a:pt x="1844" y="926"/>
                  </a:lnTo>
                  <a:lnTo>
                    <a:pt x="1847" y="925"/>
                  </a:lnTo>
                  <a:lnTo>
                    <a:pt x="1849" y="917"/>
                  </a:lnTo>
                  <a:lnTo>
                    <a:pt x="1851" y="916"/>
                  </a:lnTo>
                  <a:lnTo>
                    <a:pt x="1862" y="917"/>
                  </a:lnTo>
                  <a:lnTo>
                    <a:pt x="1868" y="918"/>
                  </a:lnTo>
                  <a:lnTo>
                    <a:pt x="1871" y="923"/>
                  </a:lnTo>
                  <a:lnTo>
                    <a:pt x="1875" y="931"/>
                  </a:lnTo>
                  <a:lnTo>
                    <a:pt x="1874" y="943"/>
                  </a:lnTo>
                  <a:lnTo>
                    <a:pt x="1878" y="953"/>
                  </a:lnTo>
                  <a:lnTo>
                    <a:pt x="1878" y="961"/>
                  </a:lnTo>
                  <a:lnTo>
                    <a:pt x="1885" y="974"/>
                  </a:lnTo>
                  <a:lnTo>
                    <a:pt x="1891" y="988"/>
                  </a:lnTo>
                  <a:lnTo>
                    <a:pt x="1897" y="1012"/>
                  </a:lnTo>
                  <a:lnTo>
                    <a:pt x="1897" y="1020"/>
                  </a:lnTo>
                  <a:lnTo>
                    <a:pt x="1901" y="1016"/>
                  </a:lnTo>
                  <a:lnTo>
                    <a:pt x="1900" y="1011"/>
                  </a:lnTo>
                  <a:lnTo>
                    <a:pt x="1903" y="1010"/>
                  </a:lnTo>
                  <a:lnTo>
                    <a:pt x="1901" y="1004"/>
                  </a:lnTo>
                  <a:lnTo>
                    <a:pt x="1904" y="1000"/>
                  </a:lnTo>
                  <a:lnTo>
                    <a:pt x="1903" y="998"/>
                  </a:lnTo>
                  <a:lnTo>
                    <a:pt x="1904" y="993"/>
                  </a:lnTo>
                  <a:lnTo>
                    <a:pt x="1905" y="992"/>
                  </a:lnTo>
                  <a:lnTo>
                    <a:pt x="1908" y="990"/>
                  </a:lnTo>
                  <a:lnTo>
                    <a:pt x="1911" y="982"/>
                  </a:lnTo>
                  <a:lnTo>
                    <a:pt x="1911" y="978"/>
                  </a:lnTo>
                  <a:lnTo>
                    <a:pt x="1912" y="976"/>
                  </a:lnTo>
                  <a:lnTo>
                    <a:pt x="1912" y="975"/>
                  </a:lnTo>
                  <a:lnTo>
                    <a:pt x="1910" y="974"/>
                  </a:lnTo>
                  <a:lnTo>
                    <a:pt x="1910" y="967"/>
                  </a:lnTo>
                  <a:lnTo>
                    <a:pt x="1915" y="967"/>
                  </a:lnTo>
                  <a:lnTo>
                    <a:pt x="1912" y="967"/>
                  </a:lnTo>
                  <a:lnTo>
                    <a:pt x="1912" y="963"/>
                  </a:lnTo>
                  <a:lnTo>
                    <a:pt x="1914" y="963"/>
                  </a:lnTo>
                  <a:lnTo>
                    <a:pt x="1914" y="962"/>
                  </a:lnTo>
                  <a:lnTo>
                    <a:pt x="1915" y="959"/>
                  </a:lnTo>
                  <a:lnTo>
                    <a:pt x="1915" y="958"/>
                  </a:lnTo>
                  <a:lnTo>
                    <a:pt x="1916" y="954"/>
                  </a:lnTo>
                  <a:lnTo>
                    <a:pt x="1916" y="951"/>
                  </a:lnTo>
                  <a:lnTo>
                    <a:pt x="1915" y="948"/>
                  </a:lnTo>
                  <a:lnTo>
                    <a:pt x="1914" y="940"/>
                  </a:lnTo>
                  <a:lnTo>
                    <a:pt x="1911" y="933"/>
                  </a:lnTo>
                  <a:lnTo>
                    <a:pt x="1915" y="937"/>
                  </a:lnTo>
                  <a:lnTo>
                    <a:pt x="1918" y="949"/>
                  </a:lnTo>
                  <a:lnTo>
                    <a:pt x="1918" y="962"/>
                  </a:lnTo>
                  <a:lnTo>
                    <a:pt x="1910" y="993"/>
                  </a:lnTo>
                  <a:lnTo>
                    <a:pt x="1904" y="1032"/>
                  </a:lnTo>
                  <a:lnTo>
                    <a:pt x="1905" y="1033"/>
                  </a:lnTo>
                  <a:lnTo>
                    <a:pt x="1904" y="1041"/>
                  </a:lnTo>
                  <a:lnTo>
                    <a:pt x="1904" y="1048"/>
                  </a:lnTo>
                  <a:lnTo>
                    <a:pt x="1908" y="1055"/>
                  </a:lnTo>
                  <a:lnTo>
                    <a:pt x="1908" y="1070"/>
                  </a:lnTo>
                  <a:lnTo>
                    <a:pt x="1911" y="1079"/>
                  </a:lnTo>
                  <a:lnTo>
                    <a:pt x="1914" y="1095"/>
                  </a:lnTo>
                  <a:lnTo>
                    <a:pt x="1915" y="1098"/>
                  </a:lnTo>
                  <a:lnTo>
                    <a:pt x="1914" y="1136"/>
                  </a:lnTo>
                  <a:lnTo>
                    <a:pt x="1912" y="1173"/>
                  </a:lnTo>
                  <a:lnTo>
                    <a:pt x="1912" y="1177"/>
                  </a:lnTo>
                  <a:lnTo>
                    <a:pt x="1908" y="1212"/>
                  </a:lnTo>
                  <a:lnTo>
                    <a:pt x="1901" y="1237"/>
                  </a:lnTo>
                  <a:lnTo>
                    <a:pt x="1899" y="1248"/>
                  </a:lnTo>
                  <a:lnTo>
                    <a:pt x="1887" y="1284"/>
                  </a:lnTo>
                  <a:lnTo>
                    <a:pt x="1883" y="1310"/>
                  </a:lnTo>
                  <a:lnTo>
                    <a:pt x="1883" y="1322"/>
                  </a:lnTo>
                  <a:lnTo>
                    <a:pt x="1885" y="1323"/>
                  </a:lnTo>
                  <a:lnTo>
                    <a:pt x="1885" y="1336"/>
                  </a:lnTo>
                  <a:lnTo>
                    <a:pt x="1887" y="1344"/>
                  </a:lnTo>
                  <a:lnTo>
                    <a:pt x="1887" y="1353"/>
                  </a:lnTo>
                  <a:lnTo>
                    <a:pt x="1890" y="1360"/>
                  </a:lnTo>
                  <a:lnTo>
                    <a:pt x="1890" y="1372"/>
                  </a:lnTo>
                  <a:lnTo>
                    <a:pt x="1893" y="1384"/>
                  </a:lnTo>
                  <a:lnTo>
                    <a:pt x="1893" y="1397"/>
                  </a:lnTo>
                  <a:lnTo>
                    <a:pt x="1891" y="1411"/>
                  </a:lnTo>
                  <a:lnTo>
                    <a:pt x="1891" y="1420"/>
                  </a:lnTo>
                  <a:lnTo>
                    <a:pt x="1890" y="1450"/>
                  </a:lnTo>
                  <a:lnTo>
                    <a:pt x="1891" y="1456"/>
                  </a:lnTo>
                  <a:lnTo>
                    <a:pt x="1891" y="1472"/>
                  </a:lnTo>
                  <a:lnTo>
                    <a:pt x="1894" y="1493"/>
                  </a:lnTo>
                  <a:lnTo>
                    <a:pt x="1894" y="1502"/>
                  </a:lnTo>
                  <a:lnTo>
                    <a:pt x="1900" y="1523"/>
                  </a:lnTo>
                  <a:lnTo>
                    <a:pt x="1904" y="1532"/>
                  </a:lnTo>
                  <a:lnTo>
                    <a:pt x="1903" y="1537"/>
                  </a:lnTo>
                  <a:lnTo>
                    <a:pt x="1911" y="1548"/>
                  </a:lnTo>
                  <a:lnTo>
                    <a:pt x="1911" y="1555"/>
                  </a:lnTo>
                  <a:lnTo>
                    <a:pt x="1916" y="1563"/>
                  </a:lnTo>
                  <a:lnTo>
                    <a:pt x="1915" y="1567"/>
                  </a:lnTo>
                  <a:lnTo>
                    <a:pt x="1918" y="1575"/>
                  </a:lnTo>
                  <a:lnTo>
                    <a:pt x="1916" y="1577"/>
                  </a:lnTo>
                  <a:lnTo>
                    <a:pt x="1916" y="1581"/>
                  </a:lnTo>
                  <a:lnTo>
                    <a:pt x="1918" y="1584"/>
                  </a:lnTo>
                  <a:lnTo>
                    <a:pt x="1928" y="1584"/>
                  </a:lnTo>
                  <a:lnTo>
                    <a:pt x="1936" y="1589"/>
                  </a:lnTo>
                  <a:lnTo>
                    <a:pt x="1939" y="1588"/>
                  </a:lnTo>
                  <a:lnTo>
                    <a:pt x="1941" y="1593"/>
                  </a:lnTo>
                  <a:lnTo>
                    <a:pt x="1943" y="1591"/>
                  </a:lnTo>
                  <a:lnTo>
                    <a:pt x="1941" y="1585"/>
                  </a:lnTo>
                  <a:lnTo>
                    <a:pt x="1936" y="1581"/>
                  </a:lnTo>
                  <a:lnTo>
                    <a:pt x="1929" y="1571"/>
                  </a:lnTo>
                  <a:lnTo>
                    <a:pt x="1926" y="1569"/>
                  </a:lnTo>
                  <a:lnTo>
                    <a:pt x="1922" y="1562"/>
                  </a:lnTo>
                  <a:lnTo>
                    <a:pt x="1919" y="1559"/>
                  </a:lnTo>
                  <a:lnTo>
                    <a:pt x="1919" y="1555"/>
                  </a:lnTo>
                  <a:lnTo>
                    <a:pt x="1918" y="1554"/>
                  </a:lnTo>
                  <a:lnTo>
                    <a:pt x="1916" y="1550"/>
                  </a:lnTo>
                  <a:lnTo>
                    <a:pt x="1918" y="1550"/>
                  </a:lnTo>
                  <a:lnTo>
                    <a:pt x="1926" y="1564"/>
                  </a:lnTo>
                  <a:lnTo>
                    <a:pt x="1932" y="1574"/>
                  </a:lnTo>
                  <a:lnTo>
                    <a:pt x="1939" y="1575"/>
                  </a:lnTo>
                  <a:lnTo>
                    <a:pt x="1941" y="1577"/>
                  </a:lnTo>
                  <a:lnTo>
                    <a:pt x="1955" y="1580"/>
                  </a:lnTo>
                  <a:lnTo>
                    <a:pt x="1958" y="1581"/>
                  </a:lnTo>
                  <a:lnTo>
                    <a:pt x="1962" y="1581"/>
                  </a:lnTo>
                  <a:close/>
                  <a:moveTo>
                    <a:pt x="1874" y="513"/>
                  </a:moveTo>
                  <a:lnTo>
                    <a:pt x="1874" y="518"/>
                  </a:lnTo>
                  <a:lnTo>
                    <a:pt x="1875" y="524"/>
                  </a:lnTo>
                  <a:lnTo>
                    <a:pt x="1869" y="543"/>
                  </a:lnTo>
                  <a:lnTo>
                    <a:pt x="1872" y="548"/>
                  </a:lnTo>
                  <a:lnTo>
                    <a:pt x="1875" y="551"/>
                  </a:lnTo>
                  <a:lnTo>
                    <a:pt x="1878" y="551"/>
                  </a:lnTo>
                  <a:lnTo>
                    <a:pt x="1878" y="552"/>
                  </a:lnTo>
                  <a:lnTo>
                    <a:pt x="1868" y="583"/>
                  </a:lnTo>
                  <a:lnTo>
                    <a:pt x="1866" y="600"/>
                  </a:lnTo>
                  <a:lnTo>
                    <a:pt x="1855" y="620"/>
                  </a:lnTo>
                  <a:lnTo>
                    <a:pt x="1852" y="623"/>
                  </a:lnTo>
                  <a:lnTo>
                    <a:pt x="1849" y="634"/>
                  </a:lnTo>
                  <a:lnTo>
                    <a:pt x="1847" y="652"/>
                  </a:lnTo>
                  <a:lnTo>
                    <a:pt x="1850" y="660"/>
                  </a:lnTo>
                  <a:lnTo>
                    <a:pt x="1850" y="664"/>
                  </a:lnTo>
                  <a:lnTo>
                    <a:pt x="1844" y="675"/>
                  </a:lnTo>
                  <a:lnTo>
                    <a:pt x="1835" y="660"/>
                  </a:lnTo>
                  <a:lnTo>
                    <a:pt x="1833" y="659"/>
                  </a:lnTo>
                  <a:lnTo>
                    <a:pt x="1829" y="653"/>
                  </a:lnTo>
                  <a:lnTo>
                    <a:pt x="1827" y="650"/>
                  </a:lnTo>
                  <a:lnTo>
                    <a:pt x="1827" y="648"/>
                  </a:lnTo>
                  <a:lnTo>
                    <a:pt x="1829" y="647"/>
                  </a:lnTo>
                  <a:lnTo>
                    <a:pt x="1830" y="642"/>
                  </a:lnTo>
                  <a:lnTo>
                    <a:pt x="1829" y="637"/>
                  </a:lnTo>
                  <a:lnTo>
                    <a:pt x="1827" y="634"/>
                  </a:lnTo>
                  <a:lnTo>
                    <a:pt x="1827" y="631"/>
                  </a:lnTo>
                  <a:lnTo>
                    <a:pt x="1825" y="625"/>
                  </a:lnTo>
                  <a:lnTo>
                    <a:pt x="1819" y="620"/>
                  </a:lnTo>
                  <a:lnTo>
                    <a:pt x="1821" y="615"/>
                  </a:lnTo>
                  <a:lnTo>
                    <a:pt x="1826" y="615"/>
                  </a:lnTo>
                  <a:lnTo>
                    <a:pt x="1833" y="609"/>
                  </a:lnTo>
                  <a:lnTo>
                    <a:pt x="1837" y="601"/>
                  </a:lnTo>
                  <a:lnTo>
                    <a:pt x="1837" y="596"/>
                  </a:lnTo>
                  <a:lnTo>
                    <a:pt x="1835" y="586"/>
                  </a:lnTo>
                  <a:lnTo>
                    <a:pt x="1835" y="584"/>
                  </a:lnTo>
                  <a:lnTo>
                    <a:pt x="1832" y="576"/>
                  </a:lnTo>
                  <a:lnTo>
                    <a:pt x="1829" y="573"/>
                  </a:lnTo>
                  <a:lnTo>
                    <a:pt x="1826" y="566"/>
                  </a:lnTo>
                  <a:lnTo>
                    <a:pt x="1825" y="564"/>
                  </a:lnTo>
                  <a:lnTo>
                    <a:pt x="1841" y="552"/>
                  </a:lnTo>
                  <a:lnTo>
                    <a:pt x="1850" y="539"/>
                  </a:lnTo>
                  <a:lnTo>
                    <a:pt x="1850" y="526"/>
                  </a:lnTo>
                  <a:lnTo>
                    <a:pt x="1850" y="522"/>
                  </a:lnTo>
                  <a:lnTo>
                    <a:pt x="1852" y="522"/>
                  </a:lnTo>
                  <a:lnTo>
                    <a:pt x="1852" y="521"/>
                  </a:lnTo>
                  <a:lnTo>
                    <a:pt x="1852" y="510"/>
                  </a:lnTo>
                  <a:lnTo>
                    <a:pt x="1849" y="489"/>
                  </a:lnTo>
                  <a:lnTo>
                    <a:pt x="1854" y="484"/>
                  </a:lnTo>
                  <a:lnTo>
                    <a:pt x="1857" y="476"/>
                  </a:lnTo>
                  <a:lnTo>
                    <a:pt x="1857" y="463"/>
                  </a:lnTo>
                  <a:lnTo>
                    <a:pt x="1861" y="460"/>
                  </a:lnTo>
                  <a:lnTo>
                    <a:pt x="1864" y="457"/>
                  </a:lnTo>
                  <a:lnTo>
                    <a:pt x="1862" y="454"/>
                  </a:lnTo>
                  <a:lnTo>
                    <a:pt x="1861" y="451"/>
                  </a:lnTo>
                  <a:lnTo>
                    <a:pt x="1846" y="444"/>
                  </a:lnTo>
                  <a:lnTo>
                    <a:pt x="1841" y="441"/>
                  </a:lnTo>
                  <a:lnTo>
                    <a:pt x="1837" y="440"/>
                  </a:lnTo>
                  <a:lnTo>
                    <a:pt x="1840" y="440"/>
                  </a:lnTo>
                  <a:lnTo>
                    <a:pt x="1860" y="449"/>
                  </a:lnTo>
                  <a:lnTo>
                    <a:pt x="1865" y="447"/>
                  </a:lnTo>
                  <a:lnTo>
                    <a:pt x="1871" y="459"/>
                  </a:lnTo>
                  <a:lnTo>
                    <a:pt x="1875" y="464"/>
                  </a:lnTo>
                  <a:lnTo>
                    <a:pt x="1875" y="485"/>
                  </a:lnTo>
                  <a:lnTo>
                    <a:pt x="1878" y="488"/>
                  </a:lnTo>
                  <a:lnTo>
                    <a:pt x="1878" y="490"/>
                  </a:lnTo>
                  <a:lnTo>
                    <a:pt x="1874" y="513"/>
                  </a:lnTo>
                  <a:close/>
                  <a:moveTo>
                    <a:pt x="1854" y="687"/>
                  </a:moveTo>
                  <a:lnTo>
                    <a:pt x="1854" y="693"/>
                  </a:lnTo>
                  <a:lnTo>
                    <a:pt x="1851" y="698"/>
                  </a:lnTo>
                  <a:lnTo>
                    <a:pt x="1847" y="715"/>
                  </a:lnTo>
                  <a:lnTo>
                    <a:pt x="1846" y="718"/>
                  </a:lnTo>
                  <a:lnTo>
                    <a:pt x="1843" y="749"/>
                  </a:lnTo>
                  <a:lnTo>
                    <a:pt x="1840" y="760"/>
                  </a:lnTo>
                  <a:lnTo>
                    <a:pt x="1836" y="770"/>
                  </a:lnTo>
                  <a:lnTo>
                    <a:pt x="1832" y="766"/>
                  </a:lnTo>
                  <a:lnTo>
                    <a:pt x="1822" y="762"/>
                  </a:lnTo>
                  <a:lnTo>
                    <a:pt x="1821" y="762"/>
                  </a:lnTo>
                  <a:lnTo>
                    <a:pt x="1818" y="754"/>
                  </a:lnTo>
                  <a:lnTo>
                    <a:pt x="1819" y="750"/>
                  </a:lnTo>
                  <a:lnTo>
                    <a:pt x="1818" y="743"/>
                  </a:lnTo>
                  <a:lnTo>
                    <a:pt x="1816" y="739"/>
                  </a:lnTo>
                  <a:lnTo>
                    <a:pt x="1809" y="734"/>
                  </a:lnTo>
                  <a:lnTo>
                    <a:pt x="1809" y="730"/>
                  </a:lnTo>
                  <a:lnTo>
                    <a:pt x="1815" y="729"/>
                  </a:lnTo>
                  <a:lnTo>
                    <a:pt x="1822" y="720"/>
                  </a:lnTo>
                  <a:lnTo>
                    <a:pt x="1830" y="717"/>
                  </a:lnTo>
                  <a:lnTo>
                    <a:pt x="1832" y="713"/>
                  </a:lnTo>
                  <a:lnTo>
                    <a:pt x="1843" y="715"/>
                  </a:lnTo>
                  <a:lnTo>
                    <a:pt x="1841" y="709"/>
                  </a:lnTo>
                  <a:lnTo>
                    <a:pt x="1841" y="705"/>
                  </a:lnTo>
                  <a:lnTo>
                    <a:pt x="1843" y="702"/>
                  </a:lnTo>
                  <a:lnTo>
                    <a:pt x="1847" y="700"/>
                  </a:lnTo>
                  <a:lnTo>
                    <a:pt x="1847" y="693"/>
                  </a:lnTo>
                  <a:lnTo>
                    <a:pt x="1850" y="687"/>
                  </a:lnTo>
                  <a:lnTo>
                    <a:pt x="1849" y="687"/>
                  </a:lnTo>
                  <a:lnTo>
                    <a:pt x="1849" y="683"/>
                  </a:lnTo>
                  <a:lnTo>
                    <a:pt x="1851" y="685"/>
                  </a:lnTo>
                  <a:lnTo>
                    <a:pt x="1854" y="687"/>
                  </a:lnTo>
                  <a:close/>
                  <a:moveTo>
                    <a:pt x="1905" y="953"/>
                  </a:moveTo>
                  <a:lnTo>
                    <a:pt x="1907" y="958"/>
                  </a:lnTo>
                  <a:lnTo>
                    <a:pt x="1905" y="959"/>
                  </a:lnTo>
                  <a:lnTo>
                    <a:pt x="1904" y="963"/>
                  </a:lnTo>
                  <a:lnTo>
                    <a:pt x="1904" y="967"/>
                  </a:lnTo>
                  <a:lnTo>
                    <a:pt x="1897" y="963"/>
                  </a:lnTo>
                  <a:lnTo>
                    <a:pt x="1896" y="956"/>
                  </a:lnTo>
                  <a:lnTo>
                    <a:pt x="1896" y="951"/>
                  </a:lnTo>
                  <a:lnTo>
                    <a:pt x="1897" y="949"/>
                  </a:lnTo>
                  <a:lnTo>
                    <a:pt x="1900" y="945"/>
                  </a:lnTo>
                  <a:lnTo>
                    <a:pt x="1903" y="945"/>
                  </a:lnTo>
                  <a:lnTo>
                    <a:pt x="1904" y="949"/>
                  </a:lnTo>
                  <a:lnTo>
                    <a:pt x="1907" y="949"/>
                  </a:lnTo>
                  <a:lnTo>
                    <a:pt x="1907" y="951"/>
                  </a:lnTo>
                  <a:lnTo>
                    <a:pt x="1905" y="953"/>
                  </a:lnTo>
                  <a:close/>
                  <a:moveTo>
                    <a:pt x="1826" y="806"/>
                  </a:moveTo>
                  <a:lnTo>
                    <a:pt x="1826" y="813"/>
                  </a:lnTo>
                  <a:lnTo>
                    <a:pt x="1829" y="824"/>
                  </a:lnTo>
                  <a:lnTo>
                    <a:pt x="1823" y="818"/>
                  </a:lnTo>
                  <a:lnTo>
                    <a:pt x="1818" y="824"/>
                  </a:lnTo>
                  <a:lnTo>
                    <a:pt x="1815" y="824"/>
                  </a:lnTo>
                  <a:lnTo>
                    <a:pt x="1816" y="816"/>
                  </a:lnTo>
                  <a:lnTo>
                    <a:pt x="1819" y="812"/>
                  </a:lnTo>
                  <a:lnTo>
                    <a:pt x="1822" y="806"/>
                  </a:lnTo>
                  <a:lnTo>
                    <a:pt x="1823" y="806"/>
                  </a:lnTo>
                  <a:lnTo>
                    <a:pt x="1826" y="806"/>
                  </a:lnTo>
                  <a:close/>
                  <a:moveTo>
                    <a:pt x="1583" y="187"/>
                  </a:moveTo>
                  <a:lnTo>
                    <a:pt x="1583" y="192"/>
                  </a:lnTo>
                  <a:lnTo>
                    <a:pt x="1581" y="195"/>
                  </a:lnTo>
                  <a:lnTo>
                    <a:pt x="1580" y="186"/>
                  </a:lnTo>
                  <a:lnTo>
                    <a:pt x="1576" y="179"/>
                  </a:lnTo>
                  <a:lnTo>
                    <a:pt x="1577" y="173"/>
                  </a:lnTo>
                  <a:lnTo>
                    <a:pt x="1575" y="169"/>
                  </a:lnTo>
                  <a:lnTo>
                    <a:pt x="1575" y="166"/>
                  </a:lnTo>
                  <a:lnTo>
                    <a:pt x="1576" y="166"/>
                  </a:lnTo>
                  <a:lnTo>
                    <a:pt x="1580" y="173"/>
                  </a:lnTo>
                  <a:lnTo>
                    <a:pt x="1581" y="176"/>
                  </a:lnTo>
                  <a:lnTo>
                    <a:pt x="1583" y="187"/>
                  </a:lnTo>
                  <a:close/>
                  <a:moveTo>
                    <a:pt x="1900" y="978"/>
                  </a:moveTo>
                  <a:lnTo>
                    <a:pt x="1901" y="982"/>
                  </a:lnTo>
                  <a:lnTo>
                    <a:pt x="1900" y="986"/>
                  </a:lnTo>
                  <a:lnTo>
                    <a:pt x="1896" y="987"/>
                  </a:lnTo>
                  <a:lnTo>
                    <a:pt x="1896" y="986"/>
                  </a:lnTo>
                  <a:lnTo>
                    <a:pt x="1896" y="980"/>
                  </a:lnTo>
                  <a:lnTo>
                    <a:pt x="1897" y="978"/>
                  </a:lnTo>
                  <a:lnTo>
                    <a:pt x="1897" y="976"/>
                  </a:lnTo>
                  <a:lnTo>
                    <a:pt x="1900" y="978"/>
                  </a:lnTo>
                  <a:close/>
                  <a:moveTo>
                    <a:pt x="1754" y="531"/>
                  </a:moveTo>
                  <a:lnTo>
                    <a:pt x="1752" y="539"/>
                  </a:lnTo>
                  <a:lnTo>
                    <a:pt x="1750" y="538"/>
                  </a:lnTo>
                  <a:lnTo>
                    <a:pt x="1751" y="534"/>
                  </a:lnTo>
                  <a:lnTo>
                    <a:pt x="1751" y="531"/>
                  </a:lnTo>
                  <a:lnTo>
                    <a:pt x="1747" y="530"/>
                  </a:lnTo>
                  <a:lnTo>
                    <a:pt x="1747" y="526"/>
                  </a:lnTo>
                  <a:lnTo>
                    <a:pt x="1754" y="531"/>
                  </a:lnTo>
                  <a:close/>
                </a:path>
              </a:pathLst>
            </a:custGeom>
            <a:solidFill>
              <a:srgbClr val="EACEE7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427" name="Freeform 426"/>
            <p:cNvSpPr>
              <a:spLocks noEditPoints="1"/>
            </p:cNvSpPr>
            <p:nvPr/>
          </p:nvSpPr>
          <p:spPr bwMode="auto">
            <a:xfrm>
              <a:off x="4406022" y="4545988"/>
              <a:ext cx="193384" cy="578347"/>
            </a:xfrm>
            <a:custGeom>
              <a:avLst/>
              <a:gdLst>
                <a:gd name="T0" fmla="*/ 679 w 970"/>
                <a:gd name="T1" fmla="*/ 1183 h 2143"/>
                <a:gd name="T2" fmla="*/ 650 w 970"/>
                <a:gd name="T3" fmla="*/ 1324 h 2143"/>
                <a:gd name="T4" fmla="*/ 618 w 970"/>
                <a:gd name="T5" fmla="*/ 1310 h 2143"/>
                <a:gd name="T6" fmla="*/ 464 w 970"/>
                <a:gd name="T7" fmla="*/ 1397 h 2143"/>
                <a:gd name="T8" fmla="*/ 455 w 970"/>
                <a:gd name="T9" fmla="*/ 1451 h 2143"/>
                <a:gd name="T10" fmla="*/ 425 w 970"/>
                <a:gd name="T11" fmla="*/ 1519 h 2143"/>
                <a:gd name="T12" fmla="*/ 542 w 970"/>
                <a:gd name="T13" fmla="*/ 1480 h 2143"/>
                <a:gd name="T14" fmla="*/ 617 w 970"/>
                <a:gd name="T15" fmla="*/ 1596 h 2143"/>
                <a:gd name="T16" fmla="*/ 756 w 970"/>
                <a:gd name="T17" fmla="*/ 1667 h 2143"/>
                <a:gd name="T18" fmla="*/ 769 w 970"/>
                <a:gd name="T19" fmla="*/ 1576 h 2143"/>
                <a:gd name="T20" fmla="*/ 786 w 970"/>
                <a:gd name="T21" fmla="*/ 1571 h 2143"/>
                <a:gd name="T22" fmla="*/ 797 w 970"/>
                <a:gd name="T23" fmla="*/ 1530 h 2143"/>
                <a:gd name="T24" fmla="*/ 799 w 970"/>
                <a:gd name="T25" fmla="*/ 1525 h 2143"/>
                <a:gd name="T26" fmla="*/ 821 w 970"/>
                <a:gd name="T27" fmla="*/ 1571 h 2143"/>
                <a:gd name="T28" fmla="*/ 808 w 970"/>
                <a:gd name="T29" fmla="*/ 1733 h 2143"/>
                <a:gd name="T30" fmla="*/ 794 w 970"/>
                <a:gd name="T31" fmla="*/ 1859 h 2143"/>
                <a:gd name="T32" fmla="*/ 785 w 970"/>
                <a:gd name="T33" fmla="*/ 2013 h 2143"/>
                <a:gd name="T34" fmla="*/ 775 w 970"/>
                <a:gd name="T35" fmla="*/ 2064 h 2143"/>
                <a:gd name="T36" fmla="*/ 769 w 970"/>
                <a:gd name="T37" fmla="*/ 2114 h 2143"/>
                <a:gd name="T38" fmla="*/ 778 w 970"/>
                <a:gd name="T39" fmla="*/ 2123 h 2143"/>
                <a:gd name="T40" fmla="*/ 326 w 970"/>
                <a:gd name="T41" fmla="*/ 2131 h 2143"/>
                <a:gd name="T42" fmla="*/ 311 w 970"/>
                <a:gd name="T43" fmla="*/ 2129 h 2143"/>
                <a:gd name="T44" fmla="*/ 293 w 970"/>
                <a:gd name="T45" fmla="*/ 2129 h 2143"/>
                <a:gd name="T46" fmla="*/ 276 w 970"/>
                <a:gd name="T47" fmla="*/ 2125 h 2143"/>
                <a:gd name="T48" fmla="*/ 258 w 970"/>
                <a:gd name="T49" fmla="*/ 2119 h 2143"/>
                <a:gd name="T50" fmla="*/ 241 w 970"/>
                <a:gd name="T51" fmla="*/ 2114 h 2143"/>
                <a:gd name="T52" fmla="*/ 226 w 970"/>
                <a:gd name="T53" fmla="*/ 2119 h 2143"/>
                <a:gd name="T54" fmla="*/ 218 w 970"/>
                <a:gd name="T55" fmla="*/ 2129 h 2143"/>
                <a:gd name="T56" fmla="*/ 201 w 970"/>
                <a:gd name="T57" fmla="*/ 2135 h 2143"/>
                <a:gd name="T58" fmla="*/ 184 w 970"/>
                <a:gd name="T59" fmla="*/ 2127 h 2143"/>
                <a:gd name="T60" fmla="*/ 170 w 970"/>
                <a:gd name="T61" fmla="*/ 2119 h 2143"/>
                <a:gd name="T62" fmla="*/ 168 w 970"/>
                <a:gd name="T63" fmla="*/ 1960 h 2143"/>
                <a:gd name="T64" fmla="*/ 138 w 970"/>
                <a:gd name="T65" fmla="*/ 1600 h 2143"/>
                <a:gd name="T66" fmla="*/ 35 w 970"/>
                <a:gd name="T67" fmla="*/ 1407 h 2143"/>
                <a:gd name="T68" fmla="*/ 48 w 970"/>
                <a:gd name="T69" fmla="*/ 989 h 2143"/>
                <a:gd name="T70" fmla="*/ 38 w 970"/>
                <a:gd name="T71" fmla="*/ 33 h 2143"/>
                <a:gd name="T72" fmla="*/ 113 w 970"/>
                <a:gd name="T73" fmla="*/ 0 h 2143"/>
                <a:gd name="T74" fmla="*/ 193 w 970"/>
                <a:gd name="T75" fmla="*/ 11 h 2143"/>
                <a:gd name="T76" fmla="*/ 222 w 970"/>
                <a:gd name="T77" fmla="*/ 20 h 2143"/>
                <a:gd name="T78" fmla="*/ 284 w 970"/>
                <a:gd name="T79" fmla="*/ 43 h 2143"/>
                <a:gd name="T80" fmla="*/ 332 w 970"/>
                <a:gd name="T81" fmla="*/ 35 h 2143"/>
                <a:gd name="T82" fmla="*/ 395 w 970"/>
                <a:gd name="T83" fmla="*/ 56 h 2143"/>
                <a:gd name="T84" fmla="*/ 457 w 970"/>
                <a:gd name="T85" fmla="*/ 105 h 2143"/>
                <a:gd name="T86" fmla="*/ 536 w 970"/>
                <a:gd name="T87" fmla="*/ 127 h 2143"/>
                <a:gd name="T88" fmla="*/ 624 w 970"/>
                <a:gd name="T89" fmla="*/ 156 h 2143"/>
                <a:gd name="T90" fmla="*/ 639 w 970"/>
                <a:gd name="T91" fmla="*/ 256 h 2143"/>
                <a:gd name="T92" fmla="*/ 672 w 970"/>
                <a:gd name="T93" fmla="*/ 294 h 2143"/>
                <a:gd name="T94" fmla="*/ 703 w 970"/>
                <a:gd name="T95" fmla="*/ 346 h 2143"/>
                <a:gd name="T96" fmla="*/ 733 w 970"/>
                <a:gd name="T97" fmla="*/ 391 h 2143"/>
                <a:gd name="T98" fmla="*/ 747 w 970"/>
                <a:gd name="T99" fmla="*/ 433 h 2143"/>
                <a:gd name="T100" fmla="*/ 785 w 970"/>
                <a:gd name="T101" fmla="*/ 450 h 2143"/>
                <a:gd name="T102" fmla="*/ 791 w 970"/>
                <a:gd name="T103" fmla="*/ 538 h 2143"/>
                <a:gd name="T104" fmla="*/ 799 w 970"/>
                <a:gd name="T105" fmla="*/ 560 h 2143"/>
                <a:gd name="T106" fmla="*/ 810 w 970"/>
                <a:gd name="T107" fmla="*/ 574 h 2143"/>
                <a:gd name="T108" fmla="*/ 791 w 970"/>
                <a:gd name="T109" fmla="*/ 588 h 2143"/>
                <a:gd name="T110" fmla="*/ 797 w 970"/>
                <a:gd name="T111" fmla="*/ 642 h 2143"/>
                <a:gd name="T112" fmla="*/ 813 w 970"/>
                <a:gd name="T113" fmla="*/ 698 h 2143"/>
                <a:gd name="T114" fmla="*/ 860 w 970"/>
                <a:gd name="T115" fmla="*/ 712 h 2143"/>
                <a:gd name="T116" fmla="*/ 846 w 970"/>
                <a:gd name="T117" fmla="*/ 741 h 2143"/>
                <a:gd name="T118" fmla="*/ 856 w 970"/>
                <a:gd name="T119" fmla="*/ 783 h 2143"/>
                <a:gd name="T120" fmla="*/ 967 w 970"/>
                <a:gd name="T121" fmla="*/ 866 h 2143"/>
                <a:gd name="T122" fmla="*/ 628 w 970"/>
                <a:gd name="T123" fmla="*/ 1310 h 214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70"/>
                <a:gd name="T187" fmla="*/ 0 h 2143"/>
                <a:gd name="T188" fmla="*/ 970 w 970"/>
                <a:gd name="T189" fmla="*/ 2143 h 214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70" h="2143">
                  <a:moveTo>
                    <a:pt x="967" y="947"/>
                  </a:moveTo>
                  <a:lnTo>
                    <a:pt x="948" y="960"/>
                  </a:lnTo>
                  <a:lnTo>
                    <a:pt x="916" y="976"/>
                  </a:lnTo>
                  <a:lnTo>
                    <a:pt x="887" y="991"/>
                  </a:lnTo>
                  <a:lnTo>
                    <a:pt x="841" y="1023"/>
                  </a:lnTo>
                  <a:lnTo>
                    <a:pt x="810" y="1043"/>
                  </a:lnTo>
                  <a:lnTo>
                    <a:pt x="788" y="1057"/>
                  </a:lnTo>
                  <a:lnTo>
                    <a:pt x="743" y="1094"/>
                  </a:lnTo>
                  <a:lnTo>
                    <a:pt x="725" y="1111"/>
                  </a:lnTo>
                  <a:lnTo>
                    <a:pt x="717" y="1121"/>
                  </a:lnTo>
                  <a:lnTo>
                    <a:pt x="706" y="1135"/>
                  </a:lnTo>
                  <a:lnTo>
                    <a:pt x="694" y="1156"/>
                  </a:lnTo>
                  <a:lnTo>
                    <a:pt x="679" y="1183"/>
                  </a:lnTo>
                  <a:lnTo>
                    <a:pt x="661" y="1222"/>
                  </a:lnTo>
                  <a:lnTo>
                    <a:pt x="654" y="1242"/>
                  </a:lnTo>
                  <a:lnTo>
                    <a:pt x="649" y="1273"/>
                  </a:lnTo>
                  <a:lnTo>
                    <a:pt x="647" y="1288"/>
                  </a:lnTo>
                  <a:lnTo>
                    <a:pt x="653" y="1324"/>
                  </a:lnTo>
                  <a:lnTo>
                    <a:pt x="657" y="1334"/>
                  </a:lnTo>
                  <a:lnTo>
                    <a:pt x="661" y="1342"/>
                  </a:lnTo>
                  <a:lnTo>
                    <a:pt x="656" y="1342"/>
                  </a:lnTo>
                  <a:lnTo>
                    <a:pt x="654" y="1339"/>
                  </a:lnTo>
                  <a:lnTo>
                    <a:pt x="654" y="1335"/>
                  </a:lnTo>
                  <a:lnTo>
                    <a:pt x="652" y="1333"/>
                  </a:lnTo>
                  <a:lnTo>
                    <a:pt x="650" y="1332"/>
                  </a:lnTo>
                  <a:lnTo>
                    <a:pt x="650" y="1324"/>
                  </a:lnTo>
                  <a:lnTo>
                    <a:pt x="647" y="1317"/>
                  </a:lnTo>
                  <a:lnTo>
                    <a:pt x="649" y="1309"/>
                  </a:lnTo>
                  <a:lnTo>
                    <a:pt x="646" y="1298"/>
                  </a:lnTo>
                  <a:lnTo>
                    <a:pt x="646" y="1295"/>
                  </a:lnTo>
                  <a:lnTo>
                    <a:pt x="644" y="1289"/>
                  </a:lnTo>
                  <a:lnTo>
                    <a:pt x="642" y="1289"/>
                  </a:lnTo>
                  <a:lnTo>
                    <a:pt x="638" y="1289"/>
                  </a:lnTo>
                  <a:lnTo>
                    <a:pt x="636" y="1295"/>
                  </a:lnTo>
                  <a:lnTo>
                    <a:pt x="633" y="1300"/>
                  </a:lnTo>
                  <a:lnTo>
                    <a:pt x="627" y="1300"/>
                  </a:lnTo>
                  <a:lnTo>
                    <a:pt x="621" y="1302"/>
                  </a:lnTo>
                  <a:lnTo>
                    <a:pt x="621" y="1308"/>
                  </a:lnTo>
                  <a:lnTo>
                    <a:pt x="618" y="1310"/>
                  </a:lnTo>
                  <a:lnTo>
                    <a:pt x="618" y="1317"/>
                  </a:lnTo>
                  <a:lnTo>
                    <a:pt x="617" y="1318"/>
                  </a:lnTo>
                  <a:lnTo>
                    <a:pt x="617" y="1326"/>
                  </a:lnTo>
                  <a:lnTo>
                    <a:pt x="514" y="1292"/>
                  </a:lnTo>
                  <a:lnTo>
                    <a:pt x="508" y="1327"/>
                  </a:lnTo>
                  <a:lnTo>
                    <a:pt x="508" y="1347"/>
                  </a:lnTo>
                  <a:lnTo>
                    <a:pt x="505" y="1358"/>
                  </a:lnTo>
                  <a:lnTo>
                    <a:pt x="501" y="1367"/>
                  </a:lnTo>
                  <a:lnTo>
                    <a:pt x="497" y="1376"/>
                  </a:lnTo>
                  <a:lnTo>
                    <a:pt x="493" y="1379"/>
                  </a:lnTo>
                  <a:lnTo>
                    <a:pt x="484" y="1384"/>
                  </a:lnTo>
                  <a:lnTo>
                    <a:pt x="467" y="1392"/>
                  </a:lnTo>
                  <a:lnTo>
                    <a:pt x="464" y="1397"/>
                  </a:lnTo>
                  <a:lnTo>
                    <a:pt x="459" y="1412"/>
                  </a:lnTo>
                  <a:lnTo>
                    <a:pt x="455" y="1414"/>
                  </a:lnTo>
                  <a:lnTo>
                    <a:pt x="454" y="1413"/>
                  </a:lnTo>
                  <a:lnTo>
                    <a:pt x="451" y="1412"/>
                  </a:lnTo>
                  <a:lnTo>
                    <a:pt x="447" y="1414"/>
                  </a:lnTo>
                  <a:lnTo>
                    <a:pt x="447" y="1419"/>
                  </a:lnTo>
                  <a:lnTo>
                    <a:pt x="444" y="1420"/>
                  </a:lnTo>
                  <a:lnTo>
                    <a:pt x="443" y="1424"/>
                  </a:lnTo>
                  <a:lnTo>
                    <a:pt x="437" y="1432"/>
                  </a:lnTo>
                  <a:lnTo>
                    <a:pt x="437" y="1437"/>
                  </a:lnTo>
                  <a:lnTo>
                    <a:pt x="442" y="1449"/>
                  </a:lnTo>
                  <a:lnTo>
                    <a:pt x="448" y="1453"/>
                  </a:lnTo>
                  <a:lnTo>
                    <a:pt x="455" y="1451"/>
                  </a:lnTo>
                  <a:lnTo>
                    <a:pt x="457" y="1461"/>
                  </a:lnTo>
                  <a:lnTo>
                    <a:pt x="455" y="1466"/>
                  </a:lnTo>
                  <a:lnTo>
                    <a:pt x="451" y="1474"/>
                  </a:lnTo>
                  <a:lnTo>
                    <a:pt x="437" y="1489"/>
                  </a:lnTo>
                  <a:lnTo>
                    <a:pt x="430" y="1491"/>
                  </a:lnTo>
                  <a:lnTo>
                    <a:pt x="420" y="1487"/>
                  </a:lnTo>
                  <a:lnTo>
                    <a:pt x="417" y="1487"/>
                  </a:lnTo>
                  <a:lnTo>
                    <a:pt x="412" y="1489"/>
                  </a:lnTo>
                  <a:lnTo>
                    <a:pt x="411" y="1492"/>
                  </a:lnTo>
                  <a:lnTo>
                    <a:pt x="411" y="1498"/>
                  </a:lnTo>
                  <a:lnTo>
                    <a:pt x="417" y="1507"/>
                  </a:lnTo>
                  <a:lnTo>
                    <a:pt x="422" y="1517"/>
                  </a:lnTo>
                  <a:lnTo>
                    <a:pt x="425" y="1519"/>
                  </a:lnTo>
                  <a:lnTo>
                    <a:pt x="430" y="1514"/>
                  </a:lnTo>
                  <a:lnTo>
                    <a:pt x="433" y="1514"/>
                  </a:lnTo>
                  <a:lnTo>
                    <a:pt x="440" y="1517"/>
                  </a:lnTo>
                  <a:lnTo>
                    <a:pt x="444" y="1520"/>
                  </a:lnTo>
                  <a:lnTo>
                    <a:pt x="464" y="1512"/>
                  </a:lnTo>
                  <a:lnTo>
                    <a:pt x="469" y="1507"/>
                  </a:lnTo>
                  <a:lnTo>
                    <a:pt x="482" y="1505"/>
                  </a:lnTo>
                  <a:lnTo>
                    <a:pt x="497" y="1505"/>
                  </a:lnTo>
                  <a:lnTo>
                    <a:pt x="505" y="1507"/>
                  </a:lnTo>
                  <a:lnTo>
                    <a:pt x="509" y="1511"/>
                  </a:lnTo>
                  <a:lnTo>
                    <a:pt x="515" y="1512"/>
                  </a:lnTo>
                  <a:lnTo>
                    <a:pt x="523" y="1492"/>
                  </a:lnTo>
                  <a:lnTo>
                    <a:pt x="542" y="1480"/>
                  </a:lnTo>
                  <a:lnTo>
                    <a:pt x="546" y="1472"/>
                  </a:lnTo>
                  <a:lnTo>
                    <a:pt x="548" y="1478"/>
                  </a:lnTo>
                  <a:lnTo>
                    <a:pt x="562" y="1501"/>
                  </a:lnTo>
                  <a:lnTo>
                    <a:pt x="581" y="1521"/>
                  </a:lnTo>
                  <a:lnTo>
                    <a:pt x="592" y="1541"/>
                  </a:lnTo>
                  <a:lnTo>
                    <a:pt x="593" y="1546"/>
                  </a:lnTo>
                  <a:lnTo>
                    <a:pt x="592" y="1551"/>
                  </a:lnTo>
                  <a:lnTo>
                    <a:pt x="592" y="1557"/>
                  </a:lnTo>
                  <a:lnTo>
                    <a:pt x="593" y="1563"/>
                  </a:lnTo>
                  <a:lnTo>
                    <a:pt x="599" y="1573"/>
                  </a:lnTo>
                  <a:lnTo>
                    <a:pt x="604" y="1592"/>
                  </a:lnTo>
                  <a:lnTo>
                    <a:pt x="608" y="1595"/>
                  </a:lnTo>
                  <a:lnTo>
                    <a:pt x="617" y="1596"/>
                  </a:lnTo>
                  <a:lnTo>
                    <a:pt x="625" y="1594"/>
                  </a:lnTo>
                  <a:lnTo>
                    <a:pt x="635" y="1591"/>
                  </a:lnTo>
                  <a:lnTo>
                    <a:pt x="639" y="1591"/>
                  </a:lnTo>
                  <a:lnTo>
                    <a:pt x="646" y="1600"/>
                  </a:lnTo>
                  <a:lnTo>
                    <a:pt x="664" y="1613"/>
                  </a:lnTo>
                  <a:lnTo>
                    <a:pt x="682" y="1630"/>
                  </a:lnTo>
                  <a:lnTo>
                    <a:pt x="696" y="1640"/>
                  </a:lnTo>
                  <a:lnTo>
                    <a:pt x="706" y="1662"/>
                  </a:lnTo>
                  <a:lnTo>
                    <a:pt x="710" y="1666"/>
                  </a:lnTo>
                  <a:lnTo>
                    <a:pt x="727" y="1675"/>
                  </a:lnTo>
                  <a:lnTo>
                    <a:pt x="739" y="1675"/>
                  </a:lnTo>
                  <a:lnTo>
                    <a:pt x="746" y="1669"/>
                  </a:lnTo>
                  <a:lnTo>
                    <a:pt x="756" y="1667"/>
                  </a:lnTo>
                  <a:lnTo>
                    <a:pt x="764" y="1669"/>
                  </a:lnTo>
                  <a:lnTo>
                    <a:pt x="768" y="1672"/>
                  </a:lnTo>
                  <a:lnTo>
                    <a:pt x="768" y="1669"/>
                  </a:lnTo>
                  <a:lnTo>
                    <a:pt x="764" y="1663"/>
                  </a:lnTo>
                  <a:lnTo>
                    <a:pt x="758" y="1661"/>
                  </a:lnTo>
                  <a:lnTo>
                    <a:pt x="753" y="1652"/>
                  </a:lnTo>
                  <a:lnTo>
                    <a:pt x="756" y="1644"/>
                  </a:lnTo>
                  <a:lnTo>
                    <a:pt x="754" y="1619"/>
                  </a:lnTo>
                  <a:lnTo>
                    <a:pt x="754" y="1610"/>
                  </a:lnTo>
                  <a:lnTo>
                    <a:pt x="756" y="1603"/>
                  </a:lnTo>
                  <a:lnTo>
                    <a:pt x="761" y="1594"/>
                  </a:lnTo>
                  <a:lnTo>
                    <a:pt x="769" y="1571"/>
                  </a:lnTo>
                  <a:lnTo>
                    <a:pt x="769" y="1576"/>
                  </a:lnTo>
                  <a:lnTo>
                    <a:pt x="763" y="1594"/>
                  </a:lnTo>
                  <a:lnTo>
                    <a:pt x="757" y="1603"/>
                  </a:lnTo>
                  <a:lnTo>
                    <a:pt x="757" y="1607"/>
                  </a:lnTo>
                  <a:lnTo>
                    <a:pt x="761" y="1604"/>
                  </a:lnTo>
                  <a:lnTo>
                    <a:pt x="769" y="1592"/>
                  </a:lnTo>
                  <a:lnTo>
                    <a:pt x="769" y="1586"/>
                  </a:lnTo>
                  <a:lnTo>
                    <a:pt x="771" y="1582"/>
                  </a:lnTo>
                  <a:lnTo>
                    <a:pt x="772" y="1571"/>
                  </a:lnTo>
                  <a:lnTo>
                    <a:pt x="775" y="1570"/>
                  </a:lnTo>
                  <a:lnTo>
                    <a:pt x="775" y="1571"/>
                  </a:lnTo>
                  <a:lnTo>
                    <a:pt x="778" y="1571"/>
                  </a:lnTo>
                  <a:lnTo>
                    <a:pt x="781" y="1573"/>
                  </a:lnTo>
                  <a:lnTo>
                    <a:pt x="786" y="1571"/>
                  </a:lnTo>
                  <a:lnTo>
                    <a:pt x="783" y="1569"/>
                  </a:lnTo>
                  <a:lnTo>
                    <a:pt x="781" y="1570"/>
                  </a:lnTo>
                  <a:lnTo>
                    <a:pt x="782" y="1565"/>
                  </a:lnTo>
                  <a:lnTo>
                    <a:pt x="782" y="1561"/>
                  </a:lnTo>
                  <a:lnTo>
                    <a:pt x="778" y="1557"/>
                  </a:lnTo>
                  <a:lnTo>
                    <a:pt x="781" y="1554"/>
                  </a:lnTo>
                  <a:lnTo>
                    <a:pt x="781" y="1553"/>
                  </a:lnTo>
                  <a:lnTo>
                    <a:pt x="783" y="1549"/>
                  </a:lnTo>
                  <a:lnTo>
                    <a:pt x="783" y="1544"/>
                  </a:lnTo>
                  <a:lnTo>
                    <a:pt x="785" y="1540"/>
                  </a:lnTo>
                  <a:lnTo>
                    <a:pt x="793" y="1534"/>
                  </a:lnTo>
                  <a:lnTo>
                    <a:pt x="794" y="1530"/>
                  </a:lnTo>
                  <a:lnTo>
                    <a:pt x="797" y="1530"/>
                  </a:lnTo>
                  <a:lnTo>
                    <a:pt x="797" y="1526"/>
                  </a:lnTo>
                  <a:lnTo>
                    <a:pt x="791" y="1530"/>
                  </a:lnTo>
                  <a:lnTo>
                    <a:pt x="785" y="1537"/>
                  </a:lnTo>
                  <a:lnTo>
                    <a:pt x="777" y="1557"/>
                  </a:lnTo>
                  <a:lnTo>
                    <a:pt x="777" y="1558"/>
                  </a:lnTo>
                  <a:lnTo>
                    <a:pt x="778" y="1559"/>
                  </a:lnTo>
                  <a:lnTo>
                    <a:pt x="775" y="1558"/>
                  </a:lnTo>
                  <a:lnTo>
                    <a:pt x="774" y="1565"/>
                  </a:lnTo>
                  <a:lnTo>
                    <a:pt x="771" y="1570"/>
                  </a:lnTo>
                  <a:lnTo>
                    <a:pt x="775" y="1557"/>
                  </a:lnTo>
                  <a:lnTo>
                    <a:pt x="788" y="1532"/>
                  </a:lnTo>
                  <a:lnTo>
                    <a:pt x="796" y="1525"/>
                  </a:lnTo>
                  <a:lnTo>
                    <a:pt x="799" y="1525"/>
                  </a:lnTo>
                  <a:lnTo>
                    <a:pt x="800" y="1526"/>
                  </a:lnTo>
                  <a:lnTo>
                    <a:pt x="804" y="1524"/>
                  </a:lnTo>
                  <a:lnTo>
                    <a:pt x="822" y="1517"/>
                  </a:lnTo>
                  <a:lnTo>
                    <a:pt x="824" y="1513"/>
                  </a:lnTo>
                  <a:lnTo>
                    <a:pt x="822" y="1509"/>
                  </a:lnTo>
                  <a:lnTo>
                    <a:pt x="831" y="1509"/>
                  </a:lnTo>
                  <a:lnTo>
                    <a:pt x="831" y="1513"/>
                  </a:lnTo>
                  <a:lnTo>
                    <a:pt x="827" y="1528"/>
                  </a:lnTo>
                  <a:lnTo>
                    <a:pt x="827" y="1529"/>
                  </a:lnTo>
                  <a:lnTo>
                    <a:pt x="829" y="1529"/>
                  </a:lnTo>
                  <a:lnTo>
                    <a:pt x="831" y="1533"/>
                  </a:lnTo>
                  <a:lnTo>
                    <a:pt x="821" y="1561"/>
                  </a:lnTo>
                  <a:lnTo>
                    <a:pt x="821" y="1571"/>
                  </a:lnTo>
                  <a:lnTo>
                    <a:pt x="818" y="1587"/>
                  </a:lnTo>
                  <a:lnTo>
                    <a:pt x="819" y="1594"/>
                  </a:lnTo>
                  <a:lnTo>
                    <a:pt x="818" y="1601"/>
                  </a:lnTo>
                  <a:lnTo>
                    <a:pt x="818" y="1608"/>
                  </a:lnTo>
                  <a:lnTo>
                    <a:pt x="811" y="1644"/>
                  </a:lnTo>
                  <a:lnTo>
                    <a:pt x="811" y="1646"/>
                  </a:lnTo>
                  <a:lnTo>
                    <a:pt x="816" y="1653"/>
                  </a:lnTo>
                  <a:lnTo>
                    <a:pt x="810" y="1669"/>
                  </a:lnTo>
                  <a:lnTo>
                    <a:pt x="806" y="1699"/>
                  </a:lnTo>
                  <a:lnTo>
                    <a:pt x="807" y="1703"/>
                  </a:lnTo>
                  <a:lnTo>
                    <a:pt x="806" y="1717"/>
                  </a:lnTo>
                  <a:lnTo>
                    <a:pt x="808" y="1728"/>
                  </a:lnTo>
                  <a:lnTo>
                    <a:pt x="808" y="1733"/>
                  </a:lnTo>
                  <a:lnTo>
                    <a:pt x="804" y="1744"/>
                  </a:lnTo>
                  <a:lnTo>
                    <a:pt x="800" y="1762"/>
                  </a:lnTo>
                  <a:lnTo>
                    <a:pt x="800" y="1766"/>
                  </a:lnTo>
                  <a:lnTo>
                    <a:pt x="802" y="1770"/>
                  </a:lnTo>
                  <a:lnTo>
                    <a:pt x="799" y="1782"/>
                  </a:lnTo>
                  <a:lnTo>
                    <a:pt x="797" y="1795"/>
                  </a:lnTo>
                  <a:lnTo>
                    <a:pt x="800" y="1802"/>
                  </a:lnTo>
                  <a:lnTo>
                    <a:pt x="803" y="1804"/>
                  </a:lnTo>
                  <a:lnTo>
                    <a:pt x="806" y="1806"/>
                  </a:lnTo>
                  <a:lnTo>
                    <a:pt x="806" y="1809"/>
                  </a:lnTo>
                  <a:lnTo>
                    <a:pt x="796" y="1834"/>
                  </a:lnTo>
                  <a:lnTo>
                    <a:pt x="793" y="1854"/>
                  </a:lnTo>
                  <a:lnTo>
                    <a:pt x="794" y="1859"/>
                  </a:lnTo>
                  <a:lnTo>
                    <a:pt x="797" y="1860"/>
                  </a:lnTo>
                  <a:lnTo>
                    <a:pt x="797" y="1862"/>
                  </a:lnTo>
                  <a:lnTo>
                    <a:pt x="789" y="1888"/>
                  </a:lnTo>
                  <a:lnTo>
                    <a:pt x="791" y="1889"/>
                  </a:lnTo>
                  <a:lnTo>
                    <a:pt x="786" y="1906"/>
                  </a:lnTo>
                  <a:lnTo>
                    <a:pt x="786" y="1918"/>
                  </a:lnTo>
                  <a:lnTo>
                    <a:pt x="782" y="1938"/>
                  </a:lnTo>
                  <a:lnTo>
                    <a:pt x="775" y="1972"/>
                  </a:lnTo>
                  <a:lnTo>
                    <a:pt x="777" y="1985"/>
                  </a:lnTo>
                  <a:lnTo>
                    <a:pt x="782" y="1996"/>
                  </a:lnTo>
                  <a:lnTo>
                    <a:pt x="781" y="2006"/>
                  </a:lnTo>
                  <a:lnTo>
                    <a:pt x="781" y="2010"/>
                  </a:lnTo>
                  <a:lnTo>
                    <a:pt x="785" y="2013"/>
                  </a:lnTo>
                  <a:lnTo>
                    <a:pt x="785" y="2015"/>
                  </a:lnTo>
                  <a:lnTo>
                    <a:pt x="782" y="2022"/>
                  </a:lnTo>
                  <a:lnTo>
                    <a:pt x="782" y="2025"/>
                  </a:lnTo>
                  <a:lnTo>
                    <a:pt x="781" y="2030"/>
                  </a:lnTo>
                  <a:lnTo>
                    <a:pt x="781" y="2031"/>
                  </a:lnTo>
                  <a:lnTo>
                    <a:pt x="782" y="2036"/>
                  </a:lnTo>
                  <a:lnTo>
                    <a:pt x="782" y="2038"/>
                  </a:lnTo>
                  <a:lnTo>
                    <a:pt x="782" y="2039"/>
                  </a:lnTo>
                  <a:lnTo>
                    <a:pt x="782" y="2040"/>
                  </a:lnTo>
                  <a:lnTo>
                    <a:pt x="782" y="2044"/>
                  </a:lnTo>
                  <a:lnTo>
                    <a:pt x="779" y="2050"/>
                  </a:lnTo>
                  <a:lnTo>
                    <a:pt x="777" y="2060"/>
                  </a:lnTo>
                  <a:lnTo>
                    <a:pt x="775" y="2064"/>
                  </a:lnTo>
                  <a:lnTo>
                    <a:pt x="774" y="2072"/>
                  </a:lnTo>
                  <a:lnTo>
                    <a:pt x="774" y="2075"/>
                  </a:lnTo>
                  <a:lnTo>
                    <a:pt x="772" y="2078"/>
                  </a:lnTo>
                  <a:lnTo>
                    <a:pt x="772" y="2080"/>
                  </a:lnTo>
                  <a:lnTo>
                    <a:pt x="774" y="2081"/>
                  </a:lnTo>
                  <a:lnTo>
                    <a:pt x="775" y="2083"/>
                  </a:lnTo>
                  <a:lnTo>
                    <a:pt x="775" y="2084"/>
                  </a:lnTo>
                  <a:lnTo>
                    <a:pt x="775" y="2085"/>
                  </a:lnTo>
                  <a:lnTo>
                    <a:pt x="774" y="2090"/>
                  </a:lnTo>
                  <a:lnTo>
                    <a:pt x="771" y="2097"/>
                  </a:lnTo>
                  <a:lnTo>
                    <a:pt x="771" y="2104"/>
                  </a:lnTo>
                  <a:lnTo>
                    <a:pt x="769" y="2110"/>
                  </a:lnTo>
                  <a:lnTo>
                    <a:pt x="769" y="2114"/>
                  </a:lnTo>
                  <a:lnTo>
                    <a:pt x="769" y="2115"/>
                  </a:lnTo>
                  <a:lnTo>
                    <a:pt x="769" y="2117"/>
                  </a:lnTo>
                  <a:lnTo>
                    <a:pt x="771" y="2117"/>
                  </a:lnTo>
                  <a:lnTo>
                    <a:pt x="771" y="2118"/>
                  </a:lnTo>
                  <a:lnTo>
                    <a:pt x="771" y="2119"/>
                  </a:lnTo>
                  <a:lnTo>
                    <a:pt x="772" y="2121"/>
                  </a:lnTo>
                  <a:lnTo>
                    <a:pt x="772" y="2122"/>
                  </a:lnTo>
                  <a:lnTo>
                    <a:pt x="774" y="2122"/>
                  </a:lnTo>
                  <a:lnTo>
                    <a:pt x="775" y="2122"/>
                  </a:lnTo>
                  <a:lnTo>
                    <a:pt x="775" y="2121"/>
                  </a:lnTo>
                  <a:lnTo>
                    <a:pt x="777" y="2121"/>
                  </a:lnTo>
                  <a:lnTo>
                    <a:pt x="778" y="2122"/>
                  </a:lnTo>
                  <a:lnTo>
                    <a:pt x="778" y="2123"/>
                  </a:lnTo>
                  <a:lnTo>
                    <a:pt x="777" y="2129"/>
                  </a:lnTo>
                  <a:lnTo>
                    <a:pt x="777" y="2133"/>
                  </a:lnTo>
                  <a:lnTo>
                    <a:pt x="774" y="2134"/>
                  </a:lnTo>
                  <a:lnTo>
                    <a:pt x="772" y="2134"/>
                  </a:lnTo>
                  <a:lnTo>
                    <a:pt x="758" y="2139"/>
                  </a:lnTo>
                  <a:lnTo>
                    <a:pt x="749" y="2140"/>
                  </a:lnTo>
                  <a:lnTo>
                    <a:pt x="738" y="2142"/>
                  </a:lnTo>
                  <a:lnTo>
                    <a:pt x="716" y="2143"/>
                  </a:lnTo>
                  <a:lnTo>
                    <a:pt x="679" y="2140"/>
                  </a:lnTo>
                  <a:lnTo>
                    <a:pt x="653" y="2140"/>
                  </a:lnTo>
                  <a:lnTo>
                    <a:pt x="333" y="2131"/>
                  </a:lnTo>
                  <a:lnTo>
                    <a:pt x="327" y="2131"/>
                  </a:lnTo>
                  <a:lnTo>
                    <a:pt x="326" y="2131"/>
                  </a:lnTo>
                  <a:lnTo>
                    <a:pt x="326" y="2130"/>
                  </a:lnTo>
                  <a:lnTo>
                    <a:pt x="325" y="2130"/>
                  </a:lnTo>
                  <a:lnTo>
                    <a:pt x="323" y="2130"/>
                  </a:lnTo>
                  <a:lnTo>
                    <a:pt x="322" y="2130"/>
                  </a:lnTo>
                  <a:lnTo>
                    <a:pt x="320" y="2130"/>
                  </a:lnTo>
                  <a:lnTo>
                    <a:pt x="319" y="2130"/>
                  </a:lnTo>
                  <a:lnTo>
                    <a:pt x="318" y="2130"/>
                  </a:lnTo>
                  <a:lnTo>
                    <a:pt x="316" y="2130"/>
                  </a:lnTo>
                  <a:lnTo>
                    <a:pt x="316" y="2129"/>
                  </a:lnTo>
                  <a:lnTo>
                    <a:pt x="315" y="2129"/>
                  </a:lnTo>
                  <a:lnTo>
                    <a:pt x="313" y="2129"/>
                  </a:lnTo>
                  <a:lnTo>
                    <a:pt x="312" y="2129"/>
                  </a:lnTo>
                  <a:lnTo>
                    <a:pt x="311" y="2129"/>
                  </a:lnTo>
                  <a:lnTo>
                    <a:pt x="309" y="2129"/>
                  </a:lnTo>
                  <a:lnTo>
                    <a:pt x="308" y="2129"/>
                  </a:lnTo>
                  <a:lnTo>
                    <a:pt x="307" y="2129"/>
                  </a:lnTo>
                  <a:lnTo>
                    <a:pt x="305" y="2129"/>
                  </a:lnTo>
                  <a:lnTo>
                    <a:pt x="304" y="2129"/>
                  </a:lnTo>
                  <a:lnTo>
                    <a:pt x="302" y="2129"/>
                  </a:lnTo>
                  <a:lnTo>
                    <a:pt x="301" y="2129"/>
                  </a:lnTo>
                  <a:lnTo>
                    <a:pt x="300" y="2129"/>
                  </a:lnTo>
                  <a:lnTo>
                    <a:pt x="298" y="2129"/>
                  </a:lnTo>
                  <a:lnTo>
                    <a:pt x="297" y="2129"/>
                  </a:lnTo>
                  <a:lnTo>
                    <a:pt x="295" y="2129"/>
                  </a:lnTo>
                  <a:lnTo>
                    <a:pt x="294" y="2129"/>
                  </a:lnTo>
                  <a:lnTo>
                    <a:pt x="293" y="2129"/>
                  </a:lnTo>
                  <a:lnTo>
                    <a:pt x="291" y="2129"/>
                  </a:lnTo>
                  <a:lnTo>
                    <a:pt x="290" y="2127"/>
                  </a:lnTo>
                  <a:lnTo>
                    <a:pt x="288" y="2127"/>
                  </a:lnTo>
                  <a:lnTo>
                    <a:pt x="287" y="2127"/>
                  </a:lnTo>
                  <a:lnTo>
                    <a:pt x="286" y="2127"/>
                  </a:lnTo>
                  <a:lnTo>
                    <a:pt x="284" y="2127"/>
                  </a:lnTo>
                  <a:lnTo>
                    <a:pt x="283" y="2127"/>
                  </a:lnTo>
                  <a:lnTo>
                    <a:pt x="282" y="2126"/>
                  </a:lnTo>
                  <a:lnTo>
                    <a:pt x="280" y="2126"/>
                  </a:lnTo>
                  <a:lnTo>
                    <a:pt x="279" y="2126"/>
                  </a:lnTo>
                  <a:lnTo>
                    <a:pt x="277" y="2126"/>
                  </a:lnTo>
                  <a:lnTo>
                    <a:pt x="277" y="2125"/>
                  </a:lnTo>
                  <a:lnTo>
                    <a:pt x="276" y="2125"/>
                  </a:lnTo>
                  <a:lnTo>
                    <a:pt x="274" y="2125"/>
                  </a:lnTo>
                  <a:lnTo>
                    <a:pt x="273" y="2125"/>
                  </a:lnTo>
                  <a:lnTo>
                    <a:pt x="272" y="2123"/>
                  </a:lnTo>
                  <a:lnTo>
                    <a:pt x="270" y="2123"/>
                  </a:lnTo>
                  <a:lnTo>
                    <a:pt x="269" y="2123"/>
                  </a:lnTo>
                  <a:lnTo>
                    <a:pt x="268" y="2122"/>
                  </a:lnTo>
                  <a:lnTo>
                    <a:pt x="266" y="2122"/>
                  </a:lnTo>
                  <a:lnTo>
                    <a:pt x="265" y="2122"/>
                  </a:lnTo>
                  <a:lnTo>
                    <a:pt x="263" y="2121"/>
                  </a:lnTo>
                  <a:lnTo>
                    <a:pt x="262" y="2121"/>
                  </a:lnTo>
                  <a:lnTo>
                    <a:pt x="260" y="2121"/>
                  </a:lnTo>
                  <a:lnTo>
                    <a:pt x="259" y="2119"/>
                  </a:lnTo>
                  <a:lnTo>
                    <a:pt x="258" y="2119"/>
                  </a:lnTo>
                  <a:lnTo>
                    <a:pt x="257" y="2119"/>
                  </a:lnTo>
                  <a:lnTo>
                    <a:pt x="255" y="2118"/>
                  </a:lnTo>
                  <a:lnTo>
                    <a:pt x="254" y="2118"/>
                  </a:lnTo>
                  <a:lnTo>
                    <a:pt x="252" y="2118"/>
                  </a:lnTo>
                  <a:lnTo>
                    <a:pt x="251" y="2117"/>
                  </a:lnTo>
                  <a:lnTo>
                    <a:pt x="249" y="2117"/>
                  </a:lnTo>
                  <a:lnTo>
                    <a:pt x="248" y="2117"/>
                  </a:lnTo>
                  <a:lnTo>
                    <a:pt x="248" y="2115"/>
                  </a:lnTo>
                  <a:lnTo>
                    <a:pt x="247" y="2115"/>
                  </a:lnTo>
                  <a:lnTo>
                    <a:pt x="245" y="2115"/>
                  </a:lnTo>
                  <a:lnTo>
                    <a:pt x="244" y="2114"/>
                  </a:lnTo>
                  <a:lnTo>
                    <a:pt x="243" y="2114"/>
                  </a:lnTo>
                  <a:lnTo>
                    <a:pt x="241" y="2114"/>
                  </a:lnTo>
                  <a:lnTo>
                    <a:pt x="240" y="2114"/>
                  </a:lnTo>
                  <a:lnTo>
                    <a:pt x="238" y="2114"/>
                  </a:lnTo>
                  <a:lnTo>
                    <a:pt x="237" y="2114"/>
                  </a:lnTo>
                  <a:lnTo>
                    <a:pt x="235" y="2114"/>
                  </a:lnTo>
                  <a:lnTo>
                    <a:pt x="234" y="2114"/>
                  </a:lnTo>
                  <a:lnTo>
                    <a:pt x="233" y="2114"/>
                  </a:lnTo>
                  <a:lnTo>
                    <a:pt x="233" y="2115"/>
                  </a:lnTo>
                  <a:lnTo>
                    <a:pt x="232" y="2115"/>
                  </a:lnTo>
                  <a:lnTo>
                    <a:pt x="230" y="2117"/>
                  </a:lnTo>
                  <a:lnTo>
                    <a:pt x="229" y="2117"/>
                  </a:lnTo>
                  <a:lnTo>
                    <a:pt x="229" y="2118"/>
                  </a:lnTo>
                  <a:lnTo>
                    <a:pt x="227" y="2119"/>
                  </a:lnTo>
                  <a:lnTo>
                    <a:pt x="226" y="2119"/>
                  </a:lnTo>
                  <a:lnTo>
                    <a:pt x="226" y="2121"/>
                  </a:lnTo>
                  <a:lnTo>
                    <a:pt x="224" y="2121"/>
                  </a:lnTo>
                  <a:lnTo>
                    <a:pt x="224" y="2122"/>
                  </a:lnTo>
                  <a:lnTo>
                    <a:pt x="223" y="2122"/>
                  </a:lnTo>
                  <a:lnTo>
                    <a:pt x="223" y="2123"/>
                  </a:lnTo>
                  <a:lnTo>
                    <a:pt x="222" y="2123"/>
                  </a:lnTo>
                  <a:lnTo>
                    <a:pt x="222" y="2125"/>
                  </a:lnTo>
                  <a:lnTo>
                    <a:pt x="220" y="2125"/>
                  </a:lnTo>
                  <a:lnTo>
                    <a:pt x="220" y="2126"/>
                  </a:lnTo>
                  <a:lnTo>
                    <a:pt x="219" y="2126"/>
                  </a:lnTo>
                  <a:lnTo>
                    <a:pt x="219" y="2127"/>
                  </a:lnTo>
                  <a:lnTo>
                    <a:pt x="218" y="2127"/>
                  </a:lnTo>
                  <a:lnTo>
                    <a:pt x="218" y="2129"/>
                  </a:lnTo>
                  <a:lnTo>
                    <a:pt x="216" y="2130"/>
                  </a:lnTo>
                  <a:lnTo>
                    <a:pt x="215" y="2131"/>
                  </a:lnTo>
                  <a:lnTo>
                    <a:pt x="213" y="2133"/>
                  </a:lnTo>
                  <a:lnTo>
                    <a:pt x="212" y="2134"/>
                  </a:lnTo>
                  <a:lnTo>
                    <a:pt x="210" y="2135"/>
                  </a:lnTo>
                  <a:lnTo>
                    <a:pt x="209" y="2135"/>
                  </a:lnTo>
                  <a:lnTo>
                    <a:pt x="208" y="2135"/>
                  </a:lnTo>
                  <a:lnTo>
                    <a:pt x="207" y="2135"/>
                  </a:lnTo>
                  <a:lnTo>
                    <a:pt x="207" y="2137"/>
                  </a:lnTo>
                  <a:lnTo>
                    <a:pt x="205" y="2137"/>
                  </a:lnTo>
                  <a:lnTo>
                    <a:pt x="204" y="2135"/>
                  </a:lnTo>
                  <a:lnTo>
                    <a:pt x="202" y="2135"/>
                  </a:lnTo>
                  <a:lnTo>
                    <a:pt x="201" y="2135"/>
                  </a:lnTo>
                  <a:lnTo>
                    <a:pt x="199" y="2135"/>
                  </a:lnTo>
                  <a:lnTo>
                    <a:pt x="198" y="2134"/>
                  </a:lnTo>
                  <a:lnTo>
                    <a:pt x="197" y="2134"/>
                  </a:lnTo>
                  <a:lnTo>
                    <a:pt x="195" y="2134"/>
                  </a:lnTo>
                  <a:lnTo>
                    <a:pt x="194" y="2133"/>
                  </a:lnTo>
                  <a:lnTo>
                    <a:pt x="193" y="2133"/>
                  </a:lnTo>
                  <a:lnTo>
                    <a:pt x="191" y="2131"/>
                  </a:lnTo>
                  <a:lnTo>
                    <a:pt x="190" y="2131"/>
                  </a:lnTo>
                  <a:lnTo>
                    <a:pt x="188" y="2130"/>
                  </a:lnTo>
                  <a:lnTo>
                    <a:pt x="187" y="2130"/>
                  </a:lnTo>
                  <a:lnTo>
                    <a:pt x="185" y="2129"/>
                  </a:lnTo>
                  <a:lnTo>
                    <a:pt x="184" y="2129"/>
                  </a:lnTo>
                  <a:lnTo>
                    <a:pt x="184" y="2127"/>
                  </a:lnTo>
                  <a:lnTo>
                    <a:pt x="183" y="2127"/>
                  </a:lnTo>
                  <a:lnTo>
                    <a:pt x="182" y="2126"/>
                  </a:lnTo>
                  <a:lnTo>
                    <a:pt x="180" y="2126"/>
                  </a:lnTo>
                  <a:lnTo>
                    <a:pt x="180" y="2125"/>
                  </a:lnTo>
                  <a:lnTo>
                    <a:pt x="179" y="2125"/>
                  </a:lnTo>
                  <a:lnTo>
                    <a:pt x="177" y="2123"/>
                  </a:lnTo>
                  <a:lnTo>
                    <a:pt x="176" y="2123"/>
                  </a:lnTo>
                  <a:lnTo>
                    <a:pt x="176" y="2122"/>
                  </a:lnTo>
                  <a:lnTo>
                    <a:pt x="174" y="2122"/>
                  </a:lnTo>
                  <a:lnTo>
                    <a:pt x="173" y="2121"/>
                  </a:lnTo>
                  <a:lnTo>
                    <a:pt x="172" y="2121"/>
                  </a:lnTo>
                  <a:lnTo>
                    <a:pt x="172" y="2119"/>
                  </a:lnTo>
                  <a:lnTo>
                    <a:pt x="170" y="2119"/>
                  </a:lnTo>
                  <a:lnTo>
                    <a:pt x="170" y="2118"/>
                  </a:lnTo>
                  <a:lnTo>
                    <a:pt x="169" y="2118"/>
                  </a:lnTo>
                  <a:lnTo>
                    <a:pt x="168" y="2118"/>
                  </a:lnTo>
                  <a:lnTo>
                    <a:pt x="168" y="2117"/>
                  </a:lnTo>
                  <a:lnTo>
                    <a:pt x="166" y="2117"/>
                  </a:lnTo>
                  <a:lnTo>
                    <a:pt x="165" y="2117"/>
                  </a:lnTo>
                  <a:lnTo>
                    <a:pt x="165" y="2115"/>
                  </a:lnTo>
                  <a:lnTo>
                    <a:pt x="163" y="2115"/>
                  </a:lnTo>
                  <a:lnTo>
                    <a:pt x="163" y="2104"/>
                  </a:lnTo>
                  <a:lnTo>
                    <a:pt x="165" y="2028"/>
                  </a:lnTo>
                  <a:lnTo>
                    <a:pt x="166" y="2023"/>
                  </a:lnTo>
                  <a:lnTo>
                    <a:pt x="165" y="1984"/>
                  </a:lnTo>
                  <a:lnTo>
                    <a:pt x="168" y="1960"/>
                  </a:lnTo>
                  <a:lnTo>
                    <a:pt x="166" y="1948"/>
                  </a:lnTo>
                  <a:lnTo>
                    <a:pt x="166" y="1874"/>
                  </a:lnTo>
                  <a:lnTo>
                    <a:pt x="135" y="1809"/>
                  </a:lnTo>
                  <a:lnTo>
                    <a:pt x="129" y="1791"/>
                  </a:lnTo>
                  <a:lnTo>
                    <a:pt x="122" y="1773"/>
                  </a:lnTo>
                  <a:lnTo>
                    <a:pt x="122" y="1765"/>
                  </a:lnTo>
                  <a:lnTo>
                    <a:pt x="119" y="1737"/>
                  </a:lnTo>
                  <a:lnTo>
                    <a:pt x="118" y="1707"/>
                  </a:lnTo>
                  <a:lnTo>
                    <a:pt x="116" y="1695"/>
                  </a:lnTo>
                  <a:lnTo>
                    <a:pt x="130" y="1641"/>
                  </a:lnTo>
                  <a:lnTo>
                    <a:pt x="134" y="1620"/>
                  </a:lnTo>
                  <a:lnTo>
                    <a:pt x="134" y="1613"/>
                  </a:lnTo>
                  <a:lnTo>
                    <a:pt x="138" y="1600"/>
                  </a:lnTo>
                  <a:lnTo>
                    <a:pt x="144" y="1578"/>
                  </a:lnTo>
                  <a:lnTo>
                    <a:pt x="135" y="1524"/>
                  </a:lnTo>
                  <a:lnTo>
                    <a:pt x="134" y="1503"/>
                  </a:lnTo>
                  <a:lnTo>
                    <a:pt x="127" y="1453"/>
                  </a:lnTo>
                  <a:lnTo>
                    <a:pt x="119" y="1451"/>
                  </a:lnTo>
                  <a:lnTo>
                    <a:pt x="112" y="1451"/>
                  </a:lnTo>
                  <a:lnTo>
                    <a:pt x="109" y="1449"/>
                  </a:lnTo>
                  <a:lnTo>
                    <a:pt x="102" y="1449"/>
                  </a:lnTo>
                  <a:lnTo>
                    <a:pt x="98" y="1446"/>
                  </a:lnTo>
                  <a:lnTo>
                    <a:pt x="80" y="1442"/>
                  </a:lnTo>
                  <a:lnTo>
                    <a:pt x="80" y="1444"/>
                  </a:lnTo>
                  <a:lnTo>
                    <a:pt x="60" y="1437"/>
                  </a:lnTo>
                  <a:lnTo>
                    <a:pt x="35" y="1407"/>
                  </a:lnTo>
                  <a:lnTo>
                    <a:pt x="0" y="1315"/>
                  </a:lnTo>
                  <a:lnTo>
                    <a:pt x="40" y="1198"/>
                  </a:lnTo>
                  <a:lnTo>
                    <a:pt x="52" y="1185"/>
                  </a:lnTo>
                  <a:lnTo>
                    <a:pt x="54" y="1184"/>
                  </a:lnTo>
                  <a:lnTo>
                    <a:pt x="62" y="1159"/>
                  </a:lnTo>
                  <a:lnTo>
                    <a:pt x="55" y="1080"/>
                  </a:lnTo>
                  <a:lnTo>
                    <a:pt x="54" y="1063"/>
                  </a:lnTo>
                  <a:lnTo>
                    <a:pt x="42" y="1060"/>
                  </a:lnTo>
                  <a:lnTo>
                    <a:pt x="38" y="1049"/>
                  </a:lnTo>
                  <a:lnTo>
                    <a:pt x="40" y="1006"/>
                  </a:lnTo>
                  <a:lnTo>
                    <a:pt x="47" y="993"/>
                  </a:lnTo>
                  <a:lnTo>
                    <a:pt x="48" y="991"/>
                  </a:lnTo>
                  <a:lnTo>
                    <a:pt x="48" y="989"/>
                  </a:lnTo>
                  <a:lnTo>
                    <a:pt x="70" y="940"/>
                  </a:lnTo>
                  <a:lnTo>
                    <a:pt x="80" y="840"/>
                  </a:lnTo>
                  <a:lnTo>
                    <a:pt x="83" y="787"/>
                  </a:lnTo>
                  <a:lnTo>
                    <a:pt x="84" y="746"/>
                  </a:lnTo>
                  <a:lnTo>
                    <a:pt x="66" y="520"/>
                  </a:lnTo>
                  <a:lnTo>
                    <a:pt x="62" y="471"/>
                  </a:lnTo>
                  <a:lnTo>
                    <a:pt x="55" y="391"/>
                  </a:lnTo>
                  <a:lnTo>
                    <a:pt x="63" y="298"/>
                  </a:lnTo>
                  <a:lnTo>
                    <a:pt x="68" y="202"/>
                  </a:lnTo>
                  <a:lnTo>
                    <a:pt x="47" y="80"/>
                  </a:lnTo>
                  <a:lnTo>
                    <a:pt x="24" y="45"/>
                  </a:lnTo>
                  <a:lnTo>
                    <a:pt x="19" y="38"/>
                  </a:lnTo>
                  <a:lnTo>
                    <a:pt x="38" y="33"/>
                  </a:lnTo>
                  <a:lnTo>
                    <a:pt x="42" y="30"/>
                  </a:lnTo>
                  <a:lnTo>
                    <a:pt x="56" y="24"/>
                  </a:lnTo>
                  <a:lnTo>
                    <a:pt x="58" y="22"/>
                  </a:lnTo>
                  <a:lnTo>
                    <a:pt x="68" y="20"/>
                  </a:lnTo>
                  <a:lnTo>
                    <a:pt x="77" y="13"/>
                  </a:lnTo>
                  <a:lnTo>
                    <a:pt x="80" y="13"/>
                  </a:lnTo>
                  <a:lnTo>
                    <a:pt x="81" y="11"/>
                  </a:lnTo>
                  <a:lnTo>
                    <a:pt x="85" y="11"/>
                  </a:lnTo>
                  <a:lnTo>
                    <a:pt x="87" y="8"/>
                  </a:lnTo>
                  <a:lnTo>
                    <a:pt x="95" y="5"/>
                  </a:lnTo>
                  <a:lnTo>
                    <a:pt x="109" y="5"/>
                  </a:lnTo>
                  <a:lnTo>
                    <a:pt x="109" y="3"/>
                  </a:lnTo>
                  <a:lnTo>
                    <a:pt x="113" y="0"/>
                  </a:lnTo>
                  <a:lnTo>
                    <a:pt x="119" y="0"/>
                  </a:lnTo>
                  <a:lnTo>
                    <a:pt x="141" y="5"/>
                  </a:lnTo>
                  <a:lnTo>
                    <a:pt x="144" y="5"/>
                  </a:lnTo>
                  <a:lnTo>
                    <a:pt x="151" y="5"/>
                  </a:lnTo>
                  <a:lnTo>
                    <a:pt x="152" y="10"/>
                  </a:lnTo>
                  <a:lnTo>
                    <a:pt x="166" y="10"/>
                  </a:lnTo>
                  <a:lnTo>
                    <a:pt x="172" y="12"/>
                  </a:lnTo>
                  <a:lnTo>
                    <a:pt x="174" y="8"/>
                  </a:lnTo>
                  <a:lnTo>
                    <a:pt x="179" y="10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0" y="12"/>
                  </a:lnTo>
                  <a:lnTo>
                    <a:pt x="193" y="11"/>
                  </a:lnTo>
                  <a:lnTo>
                    <a:pt x="195" y="12"/>
                  </a:lnTo>
                  <a:lnTo>
                    <a:pt x="199" y="12"/>
                  </a:lnTo>
                  <a:lnTo>
                    <a:pt x="201" y="11"/>
                  </a:lnTo>
                  <a:lnTo>
                    <a:pt x="204" y="12"/>
                  </a:lnTo>
                  <a:lnTo>
                    <a:pt x="205" y="11"/>
                  </a:lnTo>
                  <a:lnTo>
                    <a:pt x="207" y="12"/>
                  </a:lnTo>
                  <a:lnTo>
                    <a:pt x="208" y="11"/>
                  </a:lnTo>
                  <a:lnTo>
                    <a:pt x="212" y="11"/>
                  </a:lnTo>
                  <a:lnTo>
                    <a:pt x="215" y="13"/>
                  </a:lnTo>
                  <a:lnTo>
                    <a:pt x="215" y="18"/>
                  </a:lnTo>
                  <a:lnTo>
                    <a:pt x="218" y="16"/>
                  </a:lnTo>
                  <a:lnTo>
                    <a:pt x="218" y="19"/>
                  </a:lnTo>
                  <a:lnTo>
                    <a:pt x="222" y="20"/>
                  </a:lnTo>
                  <a:lnTo>
                    <a:pt x="226" y="25"/>
                  </a:lnTo>
                  <a:lnTo>
                    <a:pt x="232" y="25"/>
                  </a:lnTo>
                  <a:lnTo>
                    <a:pt x="237" y="27"/>
                  </a:lnTo>
                  <a:lnTo>
                    <a:pt x="240" y="32"/>
                  </a:lnTo>
                  <a:lnTo>
                    <a:pt x="244" y="24"/>
                  </a:lnTo>
                  <a:lnTo>
                    <a:pt x="245" y="25"/>
                  </a:lnTo>
                  <a:lnTo>
                    <a:pt x="247" y="23"/>
                  </a:lnTo>
                  <a:lnTo>
                    <a:pt x="255" y="27"/>
                  </a:lnTo>
                  <a:lnTo>
                    <a:pt x="258" y="25"/>
                  </a:lnTo>
                  <a:lnTo>
                    <a:pt x="266" y="31"/>
                  </a:lnTo>
                  <a:lnTo>
                    <a:pt x="277" y="37"/>
                  </a:lnTo>
                  <a:lnTo>
                    <a:pt x="279" y="40"/>
                  </a:lnTo>
                  <a:lnTo>
                    <a:pt x="284" y="43"/>
                  </a:lnTo>
                  <a:lnTo>
                    <a:pt x="287" y="43"/>
                  </a:lnTo>
                  <a:lnTo>
                    <a:pt x="290" y="38"/>
                  </a:lnTo>
                  <a:lnTo>
                    <a:pt x="294" y="37"/>
                  </a:lnTo>
                  <a:lnTo>
                    <a:pt x="300" y="37"/>
                  </a:lnTo>
                  <a:lnTo>
                    <a:pt x="302" y="38"/>
                  </a:lnTo>
                  <a:lnTo>
                    <a:pt x="307" y="40"/>
                  </a:lnTo>
                  <a:lnTo>
                    <a:pt x="311" y="38"/>
                  </a:lnTo>
                  <a:lnTo>
                    <a:pt x="316" y="40"/>
                  </a:lnTo>
                  <a:lnTo>
                    <a:pt x="320" y="36"/>
                  </a:lnTo>
                  <a:lnTo>
                    <a:pt x="326" y="35"/>
                  </a:lnTo>
                  <a:lnTo>
                    <a:pt x="326" y="33"/>
                  </a:lnTo>
                  <a:lnTo>
                    <a:pt x="327" y="33"/>
                  </a:lnTo>
                  <a:lnTo>
                    <a:pt x="332" y="35"/>
                  </a:lnTo>
                  <a:lnTo>
                    <a:pt x="337" y="33"/>
                  </a:lnTo>
                  <a:lnTo>
                    <a:pt x="341" y="36"/>
                  </a:lnTo>
                  <a:lnTo>
                    <a:pt x="350" y="36"/>
                  </a:lnTo>
                  <a:lnTo>
                    <a:pt x="357" y="40"/>
                  </a:lnTo>
                  <a:lnTo>
                    <a:pt x="368" y="40"/>
                  </a:lnTo>
                  <a:lnTo>
                    <a:pt x="378" y="45"/>
                  </a:lnTo>
                  <a:lnTo>
                    <a:pt x="379" y="43"/>
                  </a:lnTo>
                  <a:lnTo>
                    <a:pt x="382" y="43"/>
                  </a:lnTo>
                  <a:lnTo>
                    <a:pt x="384" y="44"/>
                  </a:lnTo>
                  <a:lnTo>
                    <a:pt x="386" y="48"/>
                  </a:lnTo>
                  <a:lnTo>
                    <a:pt x="389" y="48"/>
                  </a:lnTo>
                  <a:lnTo>
                    <a:pt x="393" y="52"/>
                  </a:lnTo>
                  <a:lnTo>
                    <a:pt x="395" y="56"/>
                  </a:lnTo>
                  <a:lnTo>
                    <a:pt x="403" y="62"/>
                  </a:lnTo>
                  <a:lnTo>
                    <a:pt x="409" y="60"/>
                  </a:lnTo>
                  <a:lnTo>
                    <a:pt x="414" y="72"/>
                  </a:lnTo>
                  <a:lnTo>
                    <a:pt x="418" y="74"/>
                  </a:lnTo>
                  <a:lnTo>
                    <a:pt x="419" y="82"/>
                  </a:lnTo>
                  <a:lnTo>
                    <a:pt x="423" y="83"/>
                  </a:lnTo>
                  <a:lnTo>
                    <a:pt x="428" y="83"/>
                  </a:lnTo>
                  <a:lnTo>
                    <a:pt x="440" y="100"/>
                  </a:lnTo>
                  <a:lnTo>
                    <a:pt x="443" y="102"/>
                  </a:lnTo>
                  <a:lnTo>
                    <a:pt x="446" y="102"/>
                  </a:lnTo>
                  <a:lnTo>
                    <a:pt x="450" y="103"/>
                  </a:lnTo>
                  <a:lnTo>
                    <a:pt x="454" y="103"/>
                  </a:lnTo>
                  <a:lnTo>
                    <a:pt x="457" y="105"/>
                  </a:lnTo>
                  <a:lnTo>
                    <a:pt x="467" y="103"/>
                  </a:lnTo>
                  <a:lnTo>
                    <a:pt x="476" y="107"/>
                  </a:lnTo>
                  <a:lnTo>
                    <a:pt x="480" y="106"/>
                  </a:lnTo>
                  <a:lnTo>
                    <a:pt x="484" y="114"/>
                  </a:lnTo>
                  <a:lnTo>
                    <a:pt x="492" y="117"/>
                  </a:lnTo>
                  <a:lnTo>
                    <a:pt x="497" y="115"/>
                  </a:lnTo>
                  <a:lnTo>
                    <a:pt x="507" y="106"/>
                  </a:lnTo>
                  <a:lnTo>
                    <a:pt x="517" y="110"/>
                  </a:lnTo>
                  <a:lnTo>
                    <a:pt x="528" y="117"/>
                  </a:lnTo>
                  <a:lnTo>
                    <a:pt x="529" y="119"/>
                  </a:lnTo>
                  <a:lnTo>
                    <a:pt x="532" y="120"/>
                  </a:lnTo>
                  <a:lnTo>
                    <a:pt x="533" y="124"/>
                  </a:lnTo>
                  <a:lnTo>
                    <a:pt x="536" y="127"/>
                  </a:lnTo>
                  <a:lnTo>
                    <a:pt x="537" y="132"/>
                  </a:lnTo>
                  <a:lnTo>
                    <a:pt x="543" y="137"/>
                  </a:lnTo>
                  <a:lnTo>
                    <a:pt x="547" y="143"/>
                  </a:lnTo>
                  <a:lnTo>
                    <a:pt x="551" y="142"/>
                  </a:lnTo>
                  <a:lnTo>
                    <a:pt x="557" y="143"/>
                  </a:lnTo>
                  <a:lnTo>
                    <a:pt x="572" y="140"/>
                  </a:lnTo>
                  <a:lnTo>
                    <a:pt x="581" y="142"/>
                  </a:lnTo>
                  <a:lnTo>
                    <a:pt x="585" y="142"/>
                  </a:lnTo>
                  <a:lnTo>
                    <a:pt x="597" y="149"/>
                  </a:lnTo>
                  <a:lnTo>
                    <a:pt x="617" y="152"/>
                  </a:lnTo>
                  <a:lnTo>
                    <a:pt x="615" y="153"/>
                  </a:lnTo>
                  <a:lnTo>
                    <a:pt x="619" y="156"/>
                  </a:lnTo>
                  <a:lnTo>
                    <a:pt x="624" y="156"/>
                  </a:lnTo>
                  <a:lnTo>
                    <a:pt x="638" y="164"/>
                  </a:lnTo>
                  <a:lnTo>
                    <a:pt x="640" y="176"/>
                  </a:lnTo>
                  <a:lnTo>
                    <a:pt x="639" y="187"/>
                  </a:lnTo>
                  <a:lnTo>
                    <a:pt x="642" y="201"/>
                  </a:lnTo>
                  <a:lnTo>
                    <a:pt x="640" y="207"/>
                  </a:lnTo>
                  <a:lnTo>
                    <a:pt x="642" y="209"/>
                  </a:lnTo>
                  <a:lnTo>
                    <a:pt x="642" y="222"/>
                  </a:lnTo>
                  <a:lnTo>
                    <a:pt x="635" y="230"/>
                  </a:lnTo>
                  <a:lnTo>
                    <a:pt x="635" y="234"/>
                  </a:lnTo>
                  <a:lnTo>
                    <a:pt x="632" y="239"/>
                  </a:lnTo>
                  <a:lnTo>
                    <a:pt x="632" y="251"/>
                  </a:lnTo>
                  <a:lnTo>
                    <a:pt x="633" y="254"/>
                  </a:lnTo>
                  <a:lnTo>
                    <a:pt x="639" y="256"/>
                  </a:lnTo>
                  <a:lnTo>
                    <a:pt x="639" y="263"/>
                  </a:lnTo>
                  <a:lnTo>
                    <a:pt x="647" y="269"/>
                  </a:lnTo>
                  <a:lnTo>
                    <a:pt x="647" y="272"/>
                  </a:lnTo>
                  <a:lnTo>
                    <a:pt x="649" y="272"/>
                  </a:lnTo>
                  <a:lnTo>
                    <a:pt x="652" y="271"/>
                  </a:lnTo>
                  <a:lnTo>
                    <a:pt x="654" y="272"/>
                  </a:lnTo>
                  <a:lnTo>
                    <a:pt x="658" y="274"/>
                  </a:lnTo>
                  <a:lnTo>
                    <a:pt x="657" y="280"/>
                  </a:lnTo>
                  <a:lnTo>
                    <a:pt x="660" y="285"/>
                  </a:lnTo>
                  <a:lnTo>
                    <a:pt x="664" y="285"/>
                  </a:lnTo>
                  <a:lnTo>
                    <a:pt x="671" y="291"/>
                  </a:lnTo>
                  <a:lnTo>
                    <a:pt x="671" y="292"/>
                  </a:lnTo>
                  <a:lnTo>
                    <a:pt x="672" y="294"/>
                  </a:lnTo>
                  <a:lnTo>
                    <a:pt x="671" y="299"/>
                  </a:lnTo>
                  <a:lnTo>
                    <a:pt x="675" y="301"/>
                  </a:lnTo>
                  <a:lnTo>
                    <a:pt x="675" y="302"/>
                  </a:lnTo>
                  <a:lnTo>
                    <a:pt x="678" y="308"/>
                  </a:lnTo>
                  <a:lnTo>
                    <a:pt x="679" y="317"/>
                  </a:lnTo>
                  <a:lnTo>
                    <a:pt x="681" y="319"/>
                  </a:lnTo>
                  <a:lnTo>
                    <a:pt x="682" y="323"/>
                  </a:lnTo>
                  <a:lnTo>
                    <a:pt x="686" y="326"/>
                  </a:lnTo>
                  <a:lnTo>
                    <a:pt x="688" y="330"/>
                  </a:lnTo>
                  <a:lnTo>
                    <a:pt x="693" y="334"/>
                  </a:lnTo>
                  <a:lnTo>
                    <a:pt x="694" y="336"/>
                  </a:lnTo>
                  <a:lnTo>
                    <a:pt x="697" y="339"/>
                  </a:lnTo>
                  <a:lnTo>
                    <a:pt x="703" y="346"/>
                  </a:lnTo>
                  <a:lnTo>
                    <a:pt x="703" y="350"/>
                  </a:lnTo>
                  <a:lnTo>
                    <a:pt x="706" y="352"/>
                  </a:lnTo>
                  <a:lnTo>
                    <a:pt x="708" y="352"/>
                  </a:lnTo>
                  <a:lnTo>
                    <a:pt x="710" y="356"/>
                  </a:lnTo>
                  <a:lnTo>
                    <a:pt x="708" y="359"/>
                  </a:lnTo>
                  <a:lnTo>
                    <a:pt x="718" y="375"/>
                  </a:lnTo>
                  <a:lnTo>
                    <a:pt x="719" y="375"/>
                  </a:lnTo>
                  <a:lnTo>
                    <a:pt x="724" y="375"/>
                  </a:lnTo>
                  <a:lnTo>
                    <a:pt x="727" y="376"/>
                  </a:lnTo>
                  <a:lnTo>
                    <a:pt x="729" y="381"/>
                  </a:lnTo>
                  <a:lnTo>
                    <a:pt x="729" y="386"/>
                  </a:lnTo>
                  <a:lnTo>
                    <a:pt x="733" y="388"/>
                  </a:lnTo>
                  <a:lnTo>
                    <a:pt x="733" y="391"/>
                  </a:lnTo>
                  <a:lnTo>
                    <a:pt x="736" y="393"/>
                  </a:lnTo>
                  <a:lnTo>
                    <a:pt x="735" y="396"/>
                  </a:lnTo>
                  <a:lnTo>
                    <a:pt x="731" y="397"/>
                  </a:lnTo>
                  <a:lnTo>
                    <a:pt x="733" y="401"/>
                  </a:lnTo>
                  <a:lnTo>
                    <a:pt x="732" y="401"/>
                  </a:lnTo>
                  <a:lnTo>
                    <a:pt x="731" y="405"/>
                  </a:lnTo>
                  <a:lnTo>
                    <a:pt x="732" y="412"/>
                  </a:lnTo>
                  <a:lnTo>
                    <a:pt x="729" y="417"/>
                  </a:lnTo>
                  <a:lnTo>
                    <a:pt x="731" y="420"/>
                  </a:lnTo>
                  <a:lnTo>
                    <a:pt x="736" y="425"/>
                  </a:lnTo>
                  <a:lnTo>
                    <a:pt x="738" y="425"/>
                  </a:lnTo>
                  <a:lnTo>
                    <a:pt x="747" y="430"/>
                  </a:lnTo>
                  <a:lnTo>
                    <a:pt x="747" y="433"/>
                  </a:lnTo>
                  <a:lnTo>
                    <a:pt x="749" y="435"/>
                  </a:lnTo>
                  <a:lnTo>
                    <a:pt x="749" y="437"/>
                  </a:lnTo>
                  <a:lnTo>
                    <a:pt x="753" y="439"/>
                  </a:lnTo>
                  <a:lnTo>
                    <a:pt x="756" y="438"/>
                  </a:lnTo>
                  <a:lnTo>
                    <a:pt x="760" y="441"/>
                  </a:lnTo>
                  <a:lnTo>
                    <a:pt x="758" y="447"/>
                  </a:lnTo>
                  <a:lnTo>
                    <a:pt x="756" y="450"/>
                  </a:lnTo>
                  <a:lnTo>
                    <a:pt x="757" y="454"/>
                  </a:lnTo>
                  <a:lnTo>
                    <a:pt x="753" y="457"/>
                  </a:lnTo>
                  <a:lnTo>
                    <a:pt x="753" y="462"/>
                  </a:lnTo>
                  <a:lnTo>
                    <a:pt x="757" y="460"/>
                  </a:lnTo>
                  <a:lnTo>
                    <a:pt x="769" y="450"/>
                  </a:lnTo>
                  <a:lnTo>
                    <a:pt x="785" y="450"/>
                  </a:lnTo>
                  <a:lnTo>
                    <a:pt x="824" y="450"/>
                  </a:lnTo>
                  <a:lnTo>
                    <a:pt x="803" y="499"/>
                  </a:lnTo>
                  <a:lnTo>
                    <a:pt x="793" y="509"/>
                  </a:lnTo>
                  <a:lnTo>
                    <a:pt x="782" y="525"/>
                  </a:lnTo>
                  <a:lnTo>
                    <a:pt x="782" y="526"/>
                  </a:lnTo>
                  <a:lnTo>
                    <a:pt x="788" y="526"/>
                  </a:lnTo>
                  <a:lnTo>
                    <a:pt x="788" y="527"/>
                  </a:lnTo>
                  <a:lnTo>
                    <a:pt x="788" y="529"/>
                  </a:lnTo>
                  <a:lnTo>
                    <a:pt x="786" y="529"/>
                  </a:lnTo>
                  <a:lnTo>
                    <a:pt x="788" y="532"/>
                  </a:lnTo>
                  <a:lnTo>
                    <a:pt x="785" y="533"/>
                  </a:lnTo>
                  <a:lnTo>
                    <a:pt x="783" y="535"/>
                  </a:lnTo>
                  <a:lnTo>
                    <a:pt x="791" y="538"/>
                  </a:lnTo>
                  <a:lnTo>
                    <a:pt x="789" y="539"/>
                  </a:lnTo>
                  <a:lnTo>
                    <a:pt x="791" y="541"/>
                  </a:lnTo>
                  <a:lnTo>
                    <a:pt x="789" y="542"/>
                  </a:lnTo>
                  <a:lnTo>
                    <a:pt x="789" y="546"/>
                  </a:lnTo>
                  <a:lnTo>
                    <a:pt x="791" y="547"/>
                  </a:lnTo>
                  <a:lnTo>
                    <a:pt x="793" y="547"/>
                  </a:lnTo>
                  <a:lnTo>
                    <a:pt x="794" y="549"/>
                  </a:lnTo>
                  <a:lnTo>
                    <a:pt x="792" y="551"/>
                  </a:lnTo>
                  <a:lnTo>
                    <a:pt x="794" y="552"/>
                  </a:lnTo>
                  <a:lnTo>
                    <a:pt x="792" y="554"/>
                  </a:lnTo>
                  <a:lnTo>
                    <a:pt x="794" y="555"/>
                  </a:lnTo>
                  <a:lnTo>
                    <a:pt x="793" y="558"/>
                  </a:lnTo>
                  <a:lnTo>
                    <a:pt x="799" y="560"/>
                  </a:lnTo>
                  <a:lnTo>
                    <a:pt x="802" y="560"/>
                  </a:lnTo>
                  <a:lnTo>
                    <a:pt x="803" y="559"/>
                  </a:lnTo>
                  <a:lnTo>
                    <a:pt x="810" y="560"/>
                  </a:lnTo>
                  <a:lnTo>
                    <a:pt x="811" y="559"/>
                  </a:lnTo>
                  <a:lnTo>
                    <a:pt x="813" y="560"/>
                  </a:lnTo>
                  <a:lnTo>
                    <a:pt x="813" y="563"/>
                  </a:lnTo>
                  <a:lnTo>
                    <a:pt x="813" y="564"/>
                  </a:lnTo>
                  <a:lnTo>
                    <a:pt x="811" y="566"/>
                  </a:lnTo>
                  <a:lnTo>
                    <a:pt x="814" y="569"/>
                  </a:lnTo>
                  <a:lnTo>
                    <a:pt x="816" y="572"/>
                  </a:lnTo>
                  <a:lnTo>
                    <a:pt x="814" y="574"/>
                  </a:lnTo>
                  <a:lnTo>
                    <a:pt x="813" y="572"/>
                  </a:lnTo>
                  <a:lnTo>
                    <a:pt x="810" y="574"/>
                  </a:lnTo>
                  <a:lnTo>
                    <a:pt x="808" y="572"/>
                  </a:lnTo>
                  <a:lnTo>
                    <a:pt x="806" y="574"/>
                  </a:lnTo>
                  <a:lnTo>
                    <a:pt x="806" y="575"/>
                  </a:lnTo>
                  <a:lnTo>
                    <a:pt x="803" y="575"/>
                  </a:lnTo>
                  <a:lnTo>
                    <a:pt x="803" y="577"/>
                  </a:lnTo>
                  <a:lnTo>
                    <a:pt x="797" y="579"/>
                  </a:lnTo>
                  <a:lnTo>
                    <a:pt x="796" y="582"/>
                  </a:lnTo>
                  <a:lnTo>
                    <a:pt x="799" y="582"/>
                  </a:lnTo>
                  <a:lnTo>
                    <a:pt x="797" y="583"/>
                  </a:lnTo>
                  <a:lnTo>
                    <a:pt x="793" y="580"/>
                  </a:lnTo>
                  <a:lnTo>
                    <a:pt x="792" y="582"/>
                  </a:lnTo>
                  <a:lnTo>
                    <a:pt x="792" y="586"/>
                  </a:lnTo>
                  <a:lnTo>
                    <a:pt x="791" y="588"/>
                  </a:lnTo>
                  <a:lnTo>
                    <a:pt x="786" y="592"/>
                  </a:lnTo>
                  <a:lnTo>
                    <a:pt x="783" y="597"/>
                  </a:lnTo>
                  <a:lnTo>
                    <a:pt x="782" y="611"/>
                  </a:lnTo>
                  <a:lnTo>
                    <a:pt x="783" y="614"/>
                  </a:lnTo>
                  <a:lnTo>
                    <a:pt x="792" y="620"/>
                  </a:lnTo>
                  <a:lnTo>
                    <a:pt x="799" y="621"/>
                  </a:lnTo>
                  <a:lnTo>
                    <a:pt x="800" y="625"/>
                  </a:lnTo>
                  <a:lnTo>
                    <a:pt x="799" y="629"/>
                  </a:lnTo>
                  <a:lnTo>
                    <a:pt x="796" y="630"/>
                  </a:lnTo>
                  <a:lnTo>
                    <a:pt x="794" y="633"/>
                  </a:lnTo>
                  <a:lnTo>
                    <a:pt x="799" y="636"/>
                  </a:lnTo>
                  <a:lnTo>
                    <a:pt x="799" y="639"/>
                  </a:lnTo>
                  <a:lnTo>
                    <a:pt x="797" y="642"/>
                  </a:lnTo>
                  <a:lnTo>
                    <a:pt x="793" y="642"/>
                  </a:lnTo>
                  <a:lnTo>
                    <a:pt x="792" y="644"/>
                  </a:lnTo>
                  <a:lnTo>
                    <a:pt x="796" y="647"/>
                  </a:lnTo>
                  <a:lnTo>
                    <a:pt x="797" y="650"/>
                  </a:lnTo>
                  <a:lnTo>
                    <a:pt x="792" y="673"/>
                  </a:lnTo>
                  <a:lnTo>
                    <a:pt x="792" y="675"/>
                  </a:lnTo>
                  <a:lnTo>
                    <a:pt x="793" y="678"/>
                  </a:lnTo>
                  <a:lnTo>
                    <a:pt x="800" y="684"/>
                  </a:lnTo>
                  <a:lnTo>
                    <a:pt x="800" y="688"/>
                  </a:lnTo>
                  <a:lnTo>
                    <a:pt x="797" y="692"/>
                  </a:lnTo>
                  <a:lnTo>
                    <a:pt x="799" y="696"/>
                  </a:lnTo>
                  <a:lnTo>
                    <a:pt x="810" y="696"/>
                  </a:lnTo>
                  <a:lnTo>
                    <a:pt x="813" y="698"/>
                  </a:lnTo>
                  <a:lnTo>
                    <a:pt x="814" y="700"/>
                  </a:lnTo>
                  <a:lnTo>
                    <a:pt x="818" y="700"/>
                  </a:lnTo>
                  <a:lnTo>
                    <a:pt x="819" y="703"/>
                  </a:lnTo>
                  <a:lnTo>
                    <a:pt x="827" y="704"/>
                  </a:lnTo>
                  <a:lnTo>
                    <a:pt x="831" y="707"/>
                  </a:lnTo>
                  <a:lnTo>
                    <a:pt x="838" y="706"/>
                  </a:lnTo>
                  <a:lnTo>
                    <a:pt x="841" y="707"/>
                  </a:lnTo>
                  <a:lnTo>
                    <a:pt x="845" y="707"/>
                  </a:lnTo>
                  <a:lnTo>
                    <a:pt x="849" y="708"/>
                  </a:lnTo>
                  <a:lnTo>
                    <a:pt x="852" y="708"/>
                  </a:lnTo>
                  <a:lnTo>
                    <a:pt x="854" y="708"/>
                  </a:lnTo>
                  <a:lnTo>
                    <a:pt x="857" y="708"/>
                  </a:lnTo>
                  <a:lnTo>
                    <a:pt x="860" y="712"/>
                  </a:lnTo>
                  <a:lnTo>
                    <a:pt x="860" y="713"/>
                  </a:lnTo>
                  <a:lnTo>
                    <a:pt x="857" y="716"/>
                  </a:lnTo>
                  <a:lnTo>
                    <a:pt x="856" y="715"/>
                  </a:lnTo>
                  <a:lnTo>
                    <a:pt x="854" y="720"/>
                  </a:lnTo>
                  <a:lnTo>
                    <a:pt x="852" y="721"/>
                  </a:lnTo>
                  <a:lnTo>
                    <a:pt x="852" y="724"/>
                  </a:lnTo>
                  <a:lnTo>
                    <a:pt x="850" y="728"/>
                  </a:lnTo>
                  <a:lnTo>
                    <a:pt x="850" y="731"/>
                  </a:lnTo>
                  <a:lnTo>
                    <a:pt x="846" y="731"/>
                  </a:lnTo>
                  <a:lnTo>
                    <a:pt x="847" y="737"/>
                  </a:lnTo>
                  <a:lnTo>
                    <a:pt x="845" y="738"/>
                  </a:lnTo>
                  <a:lnTo>
                    <a:pt x="845" y="740"/>
                  </a:lnTo>
                  <a:lnTo>
                    <a:pt x="846" y="741"/>
                  </a:lnTo>
                  <a:lnTo>
                    <a:pt x="850" y="743"/>
                  </a:lnTo>
                  <a:lnTo>
                    <a:pt x="856" y="750"/>
                  </a:lnTo>
                  <a:lnTo>
                    <a:pt x="861" y="748"/>
                  </a:lnTo>
                  <a:lnTo>
                    <a:pt x="866" y="748"/>
                  </a:lnTo>
                  <a:lnTo>
                    <a:pt x="868" y="754"/>
                  </a:lnTo>
                  <a:lnTo>
                    <a:pt x="867" y="757"/>
                  </a:lnTo>
                  <a:lnTo>
                    <a:pt x="868" y="763"/>
                  </a:lnTo>
                  <a:lnTo>
                    <a:pt x="867" y="766"/>
                  </a:lnTo>
                  <a:lnTo>
                    <a:pt x="863" y="769"/>
                  </a:lnTo>
                  <a:lnTo>
                    <a:pt x="861" y="774"/>
                  </a:lnTo>
                  <a:lnTo>
                    <a:pt x="859" y="775"/>
                  </a:lnTo>
                  <a:lnTo>
                    <a:pt x="854" y="779"/>
                  </a:lnTo>
                  <a:lnTo>
                    <a:pt x="856" y="783"/>
                  </a:lnTo>
                  <a:lnTo>
                    <a:pt x="854" y="783"/>
                  </a:lnTo>
                  <a:lnTo>
                    <a:pt x="854" y="785"/>
                  </a:lnTo>
                  <a:lnTo>
                    <a:pt x="857" y="786"/>
                  </a:lnTo>
                  <a:lnTo>
                    <a:pt x="859" y="787"/>
                  </a:lnTo>
                  <a:lnTo>
                    <a:pt x="856" y="795"/>
                  </a:lnTo>
                  <a:lnTo>
                    <a:pt x="856" y="798"/>
                  </a:lnTo>
                  <a:lnTo>
                    <a:pt x="852" y="799"/>
                  </a:lnTo>
                  <a:lnTo>
                    <a:pt x="852" y="804"/>
                  </a:lnTo>
                  <a:lnTo>
                    <a:pt x="939" y="802"/>
                  </a:lnTo>
                  <a:lnTo>
                    <a:pt x="954" y="824"/>
                  </a:lnTo>
                  <a:lnTo>
                    <a:pt x="963" y="838"/>
                  </a:lnTo>
                  <a:lnTo>
                    <a:pt x="966" y="845"/>
                  </a:lnTo>
                  <a:lnTo>
                    <a:pt x="967" y="866"/>
                  </a:lnTo>
                  <a:lnTo>
                    <a:pt x="970" y="880"/>
                  </a:lnTo>
                  <a:lnTo>
                    <a:pt x="967" y="910"/>
                  </a:lnTo>
                  <a:lnTo>
                    <a:pt x="967" y="947"/>
                  </a:lnTo>
                  <a:close/>
                  <a:moveTo>
                    <a:pt x="640" y="1301"/>
                  </a:moveTo>
                  <a:lnTo>
                    <a:pt x="642" y="1309"/>
                  </a:lnTo>
                  <a:lnTo>
                    <a:pt x="638" y="1315"/>
                  </a:lnTo>
                  <a:lnTo>
                    <a:pt x="636" y="1327"/>
                  </a:lnTo>
                  <a:lnTo>
                    <a:pt x="635" y="1330"/>
                  </a:lnTo>
                  <a:lnTo>
                    <a:pt x="632" y="1330"/>
                  </a:lnTo>
                  <a:lnTo>
                    <a:pt x="631" y="1329"/>
                  </a:lnTo>
                  <a:lnTo>
                    <a:pt x="631" y="1326"/>
                  </a:lnTo>
                  <a:lnTo>
                    <a:pt x="627" y="1318"/>
                  </a:lnTo>
                  <a:lnTo>
                    <a:pt x="628" y="1310"/>
                  </a:lnTo>
                  <a:lnTo>
                    <a:pt x="632" y="1305"/>
                  </a:lnTo>
                  <a:lnTo>
                    <a:pt x="639" y="1298"/>
                  </a:lnTo>
                  <a:lnTo>
                    <a:pt x="640" y="1301"/>
                  </a:lnTo>
                  <a:close/>
                </a:path>
              </a:pathLst>
            </a:custGeom>
            <a:solidFill>
              <a:srgbClr val="FFEFBD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432" name="Freeform 431"/>
            <p:cNvSpPr>
              <a:spLocks noEditPoints="1"/>
            </p:cNvSpPr>
            <p:nvPr/>
          </p:nvSpPr>
          <p:spPr bwMode="auto">
            <a:xfrm>
              <a:off x="4487961" y="4894670"/>
              <a:ext cx="88917" cy="61532"/>
            </a:xfrm>
            <a:custGeom>
              <a:avLst/>
              <a:gdLst>
                <a:gd name="T0" fmla="*/ 382 w 446"/>
                <a:gd name="T1" fmla="*/ 130 h 228"/>
                <a:gd name="T2" fmla="*/ 381 w 446"/>
                <a:gd name="T3" fmla="*/ 138 h 228"/>
                <a:gd name="T4" fmla="*/ 372 w 446"/>
                <a:gd name="T5" fmla="*/ 129 h 228"/>
                <a:gd name="T6" fmla="*/ 385 w 446"/>
                <a:gd name="T7" fmla="*/ 127 h 228"/>
                <a:gd name="T8" fmla="*/ 195 w 446"/>
                <a:gd name="T9" fmla="*/ 59 h 228"/>
                <a:gd name="T10" fmla="*/ 182 w 446"/>
                <a:gd name="T11" fmla="*/ 68 h 228"/>
                <a:gd name="T12" fmla="*/ 171 w 446"/>
                <a:gd name="T13" fmla="*/ 80 h 228"/>
                <a:gd name="T14" fmla="*/ 172 w 446"/>
                <a:gd name="T15" fmla="*/ 79 h 228"/>
                <a:gd name="T16" fmla="*/ 142 w 446"/>
                <a:gd name="T17" fmla="*/ 110 h 228"/>
                <a:gd name="T18" fmla="*/ 123 w 446"/>
                <a:gd name="T19" fmla="*/ 138 h 228"/>
                <a:gd name="T20" fmla="*/ 90 w 446"/>
                <a:gd name="T21" fmla="*/ 124 h 228"/>
                <a:gd name="T22" fmla="*/ 82 w 446"/>
                <a:gd name="T23" fmla="*/ 115 h 228"/>
                <a:gd name="T24" fmla="*/ 76 w 446"/>
                <a:gd name="T25" fmla="*/ 108 h 228"/>
                <a:gd name="T26" fmla="*/ 57 w 446"/>
                <a:gd name="T27" fmla="*/ 107 h 228"/>
                <a:gd name="T28" fmla="*/ 48 w 446"/>
                <a:gd name="T29" fmla="*/ 120 h 228"/>
                <a:gd name="T30" fmla="*/ 73 w 446"/>
                <a:gd name="T31" fmla="*/ 92 h 228"/>
                <a:gd name="T32" fmla="*/ 90 w 446"/>
                <a:gd name="T33" fmla="*/ 75 h 228"/>
                <a:gd name="T34" fmla="*/ 97 w 446"/>
                <a:gd name="T35" fmla="*/ 35 h 228"/>
                <a:gd name="T36" fmla="*/ 206 w 446"/>
                <a:gd name="T37" fmla="*/ 34 h 228"/>
                <a:gd name="T38" fmla="*/ 204 w 446"/>
                <a:gd name="T39" fmla="*/ 55 h 228"/>
                <a:gd name="T40" fmla="*/ 98 w 446"/>
                <a:gd name="T41" fmla="*/ 219 h 228"/>
                <a:gd name="T42" fmla="*/ 71 w 446"/>
                <a:gd name="T43" fmla="*/ 213 h 228"/>
                <a:gd name="T44" fmla="*/ 33 w 446"/>
                <a:gd name="T45" fmla="*/ 228 h 228"/>
                <a:gd name="T46" fmla="*/ 19 w 446"/>
                <a:gd name="T47" fmla="*/ 222 h 228"/>
                <a:gd name="T48" fmla="*/ 6 w 446"/>
                <a:gd name="T49" fmla="*/ 215 h 228"/>
                <a:gd name="T50" fmla="*/ 1 w 446"/>
                <a:gd name="T51" fmla="*/ 197 h 228"/>
                <a:gd name="T52" fmla="*/ 19 w 446"/>
                <a:gd name="T53" fmla="*/ 199 h 228"/>
                <a:gd name="T54" fmla="*/ 44 w 446"/>
                <a:gd name="T55" fmla="*/ 174 h 228"/>
                <a:gd name="T56" fmla="*/ 47 w 446"/>
                <a:gd name="T57" fmla="*/ 158 h 228"/>
                <a:gd name="T58" fmla="*/ 43 w 446"/>
                <a:gd name="T59" fmla="*/ 130 h 228"/>
                <a:gd name="T60" fmla="*/ 60 w 446"/>
                <a:gd name="T61" fmla="*/ 127 h 228"/>
                <a:gd name="T62" fmla="*/ 83 w 446"/>
                <a:gd name="T63" fmla="*/ 134 h 228"/>
                <a:gd name="T64" fmla="*/ 92 w 446"/>
                <a:gd name="T65" fmla="*/ 130 h 228"/>
                <a:gd name="T66" fmla="*/ 97 w 446"/>
                <a:gd name="T67" fmla="*/ 135 h 228"/>
                <a:gd name="T68" fmla="*/ 106 w 446"/>
                <a:gd name="T69" fmla="*/ 163 h 228"/>
                <a:gd name="T70" fmla="*/ 129 w 446"/>
                <a:gd name="T71" fmla="*/ 172 h 228"/>
                <a:gd name="T72" fmla="*/ 112 w 446"/>
                <a:gd name="T73" fmla="*/ 200 h 228"/>
                <a:gd name="T74" fmla="*/ 435 w 446"/>
                <a:gd name="T75" fmla="*/ 152 h 228"/>
                <a:gd name="T76" fmla="*/ 421 w 446"/>
                <a:gd name="T77" fmla="*/ 202 h 228"/>
                <a:gd name="T78" fmla="*/ 414 w 446"/>
                <a:gd name="T79" fmla="*/ 215 h 228"/>
                <a:gd name="T80" fmla="*/ 413 w 446"/>
                <a:gd name="T81" fmla="*/ 202 h 228"/>
                <a:gd name="T82" fmla="*/ 406 w 446"/>
                <a:gd name="T83" fmla="*/ 195 h 228"/>
                <a:gd name="T84" fmla="*/ 405 w 446"/>
                <a:gd name="T85" fmla="*/ 187 h 228"/>
                <a:gd name="T86" fmla="*/ 382 w 446"/>
                <a:gd name="T87" fmla="*/ 172 h 228"/>
                <a:gd name="T88" fmla="*/ 378 w 446"/>
                <a:gd name="T89" fmla="*/ 177 h 228"/>
                <a:gd name="T90" fmla="*/ 386 w 446"/>
                <a:gd name="T91" fmla="*/ 178 h 228"/>
                <a:gd name="T92" fmla="*/ 388 w 446"/>
                <a:gd name="T93" fmla="*/ 194 h 228"/>
                <a:gd name="T94" fmla="*/ 372 w 446"/>
                <a:gd name="T95" fmla="*/ 200 h 228"/>
                <a:gd name="T96" fmla="*/ 367 w 446"/>
                <a:gd name="T97" fmla="*/ 191 h 228"/>
                <a:gd name="T98" fmla="*/ 371 w 446"/>
                <a:gd name="T99" fmla="*/ 175 h 228"/>
                <a:gd name="T100" fmla="*/ 388 w 446"/>
                <a:gd name="T101" fmla="*/ 152 h 228"/>
                <a:gd name="T102" fmla="*/ 403 w 446"/>
                <a:gd name="T103" fmla="*/ 141 h 228"/>
                <a:gd name="T104" fmla="*/ 413 w 446"/>
                <a:gd name="T105" fmla="*/ 146 h 228"/>
                <a:gd name="T106" fmla="*/ 418 w 446"/>
                <a:gd name="T107" fmla="*/ 149 h 228"/>
                <a:gd name="T108" fmla="*/ 431 w 446"/>
                <a:gd name="T109" fmla="*/ 140 h 228"/>
                <a:gd name="T110" fmla="*/ 434 w 446"/>
                <a:gd name="T111" fmla="*/ 129 h 228"/>
                <a:gd name="T112" fmla="*/ 445 w 446"/>
                <a:gd name="T113" fmla="*/ 128 h 228"/>
                <a:gd name="T114" fmla="*/ 206 w 446"/>
                <a:gd name="T115" fmla="*/ 83 h 228"/>
                <a:gd name="T116" fmla="*/ 190 w 446"/>
                <a:gd name="T117" fmla="*/ 102 h 228"/>
                <a:gd name="T118" fmla="*/ 192 w 446"/>
                <a:gd name="T119" fmla="*/ 92 h 228"/>
                <a:gd name="T120" fmla="*/ 202 w 446"/>
                <a:gd name="T121" fmla="*/ 87 h 228"/>
                <a:gd name="T122" fmla="*/ 207 w 446"/>
                <a:gd name="T123" fmla="*/ 75 h 228"/>
                <a:gd name="T124" fmla="*/ 207 w 446"/>
                <a:gd name="T125" fmla="*/ 59 h 2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46"/>
                <a:gd name="T190" fmla="*/ 0 h 228"/>
                <a:gd name="T191" fmla="*/ 446 w 446"/>
                <a:gd name="T192" fmla="*/ 228 h 2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46" h="228">
                  <a:moveTo>
                    <a:pt x="385" y="127"/>
                  </a:moveTo>
                  <a:lnTo>
                    <a:pt x="388" y="128"/>
                  </a:lnTo>
                  <a:lnTo>
                    <a:pt x="382" y="130"/>
                  </a:lnTo>
                  <a:lnTo>
                    <a:pt x="382" y="135"/>
                  </a:lnTo>
                  <a:lnTo>
                    <a:pt x="381" y="137"/>
                  </a:lnTo>
                  <a:lnTo>
                    <a:pt x="381" y="138"/>
                  </a:lnTo>
                  <a:lnTo>
                    <a:pt x="378" y="137"/>
                  </a:lnTo>
                  <a:lnTo>
                    <a:pt x="372" y="130"/>
                  </a:lnTo>
                  <a:lnTo>
                    <a:pt x="372" y="129"/>
                  </a:lnTo>
                  <a:lnTo>
                    <a:pt x="374" y="128"/>
                  </a:lnTo>
                  <a:lnTo>
                    <a:pt x="380" y="128"/>
                  </a:lnTo>
                  <a:lnTo>
                    <a:pt x="385" y="127"/>
                  </a:lnTo>
                  <a:close/>
                  <a:moveTo>
                    <a:pt x="204" y="55"/>
                  </a:moveTo>
                  <a:lnTo>
                    <a:pt x="197" y="55"/>
                  </a:lnTo>
                  <a:lnTo>
                    <a:pt x="195" y="59"/>
                  </a:lnTo>
                  <a:lnTo>
                    <a:pt x="185" y="63"/>
                  </a:lnTo>
                  <a:lnTo>
                    <a:pt x="183" y="68"/>
                  </a:lnTo>
                  <a:lnTo>
                    <a:pt x="182" y="68"/>
                  </a:lnTo>
                  <a:lnTo>
                    <a:pt x="181" y="71"/>
                  </a:lnTo>
                  <a:lnTo>
                    <a:pt x="172" y="78"/>
                  </a:lnTo>
                  <a:lnTo>
                    <a:pt x="171" y="80"/>
                  </a:lnTo>
                  <a:lnTo>
                    <a:pt x="172" y="80"/>
                  </a:lnTo>
                  <a:lnTo>
                    <a:pt x="174" y="78"/>
                  </a:lnTo>
                  <a:lnTo>
                    <a:pt x="172" y="79"/>
                  </a:lnTo>
                  <a:lnTo>
                    <a:pt x="170" y="82"/>
                  </a:lnTo>
                  <a:lnTo>
                    <a:pt x="153" y="97"/>
                  </a:lnTo>
                  <a:lnTo>
                    <a:pt x="142" y="110"/>
                  </a:lnTo>
                  <a:lnTo>
                    <a:pt x="133" y="120"/>
                  </a:lnTo>
                  <a:lnTo>
                    <a:pt x="126" y="130"/>
                  </a:lnTo>
                  <a:lnTo>
                    <a:pt x="123" y="138"/>
                  </a:lnTo>
                  <a:lnTo>
                    <a:pt x="117" y="138"/>
                  </a:lnTo>
                  <a:lnTo>
                    <a:pt x="104" y="133"/>
                  </a:lnTo>
                  <a:lnTo>
                    <a:pt x="90" y="124"/>
                  </a:lnTo>
                  <a:lnTo>
                    <a:pt x="83" y="120"/>
                  </a:lnTo>
                  <a:lnTo>
                    <a:pt x="82" y="119"/>
                  </a:lnTo>
                  <a:lnTo>
                    <a:pt x="82" y="115"/>
                  </a:lnTo>
                  <a:lnTo>
                    <a:pt x="79" y="113"/>
                  </a:lnTo>
                  <a:lnTo>
                    <a:pt x="78" y="110"/>
                  </a:lnTo>
                  <a:lnTo>
                    <a:pt x="76" y="108"/>
                  </a:lnTo>
                  <a:lnTo>
                    <a:pt x="71" y="104"/>
                  </a:lnTo>
                  <a:lnTo>
                    <a:pt x="61" y="105"/>
                  </a:lnTo>
                  <a:lnTo>
                    <a:pt x="57" y="107"/>
                  </a:lnTo>
                  <a:lnTo>
                    <a:pt x="51" y="115"/>
                  </a:lnTo>
                  <a:lnTo>
                    <a:pt x="53" y="120"/>
                  </a:lnTo>
                  <a:lnTo>
                    <a:pt x="48" y="120"/>
                  </a:lnTo>
                  <a:lnTo>
                    <a:pt x="53" y="105"/>
                  </a:lnTo>
                  <a:lnTo>
                    <a:pt x="56" y="100"/>
                  </a:lnTo>
                  <a:lnTo>
                    <a:pt x="73" y="92"/>
                  </a:lnTo>
                  <a:lnTo>
                    <a:pt x="82" y="87"/>
                  </a:lnTo>
                  <a:lnTo>
                    <a:pt x="86" y="84"/>
                  </a:lnTo>
                  <a:lnTo>
                    <a:pt x="90" y="75"/>
                  </a:lnTo>
                  <a:lnTo>
                    <a:pt x="94" y="66"/>
                  </a:lnTo>
                  <a:lnTo>
                    <a:pt x="97" y="55"/>
                  </a:lnTo>
                  <a:lnTo>
                    <a:pt x="97" y="35"/>
                  </a:lnTo>
                  <a:lnTo>
                    <a:pt x="103" y="0"/>
                  </a:lnTo>
                  <a:lnTo>
                    <a:pt x="122" y="6"/>
                  </a:lnTo>
                  <a:lnTo>
                    <a:pt x="206" y="34"/>
                  </a:lnTo>
                  <a:lnTo>
                    <a:pt x="208" y="45"/>
                  </a:lnTo>
                  <a:lnTo>
                    <a:pt x="208" y="51"/>
                  </a:lnTo>
                  <a:lnTo>
                    <a:pt x="204" y="55"/>
                  </a:lnTo>
                  <a:close/>
                  <a:moveTo>
                    <a:pt x="112" y="200"/>
                  </a:moveTo>
                  <a:lnTo>
                    <a:pt x="104" y="220"/>
                  </a:lnTo>
                  <a:lnTo>
                    <a:pt x="98" y="219"/>
                  </a:lnTo>
                  <a:lnTo>
                    <a:pt x="94" y="215"/>
                  </a:lnTo>
                  <a:lnTo>
                    <a:pt x="86" y="213"/>
                  </a:lnTo>
                  <a:lnTo>
                    <a:pt x="71" y="213"/>
                  </a:lnTo>
                  <a:lnTo>
                    <a:pt x="58" y="215"/>
                  </a:lnTo>
                  <a:lnTo>
                    <a:pt x="53" y="220"/>
                  </a:lnTo>
                  <a:lnTo>
                    <a:pt x="33" y="228"/>
                  </a:lnTo>
                  <a:lnTo>
                    <a:pt x="29" y="225"/>
                  </a:lnTo>
                  <a:lnTo>
                    <a:pt x="22" y="222"/>
                  </a:lnTo>
                  <a:lnTo>
                    <a:pt x="19" y="222"/>
                  </a:lnTo>
                  <a:lnTo>
                    <a:pt x="14" y="227"/>
                  </a:lnTo>
                  <a:lnTo>
                    <a:pt x="11" y="225"/>
                  </a:lnTo>
                  <a:lnTo>
                    <a:pt x="6" y="215"/>
                  </a:lnTo>
                  <a:lnTo>
                    <a:pt x="0" y="206"/>
                  </a:lnTo>
                  <a:lnTo>
                    <a:pt x="0" y="200"/>
                  </a:lnTo>
                  <a:lnTo>
                    <a:pt x="1" y="197"/>
                  </a:lnTo>
                  <a:lnTo>
                    <a:pt x="6" y="195"/>
                  </a:lnTo>
                  <a:lnTo>
                    <a:pt x="9" y="195"/>
                  </a:lnTo>
                  <a:lnTo>
                    <a:pt x="19" y="199"/>
                  </a:lnTo>
                  <a:lnTo>
                    <a:pt x="26" y="197"/>
                  </a:lnTo>
                  <a:lnTo>
                    <a:pt x="40" y="182"/>
                  </a:lnTo>
                  <a:lnTo>
                    <a:pt x="44" y="174"/>
                  </a:lnTo>
                  <a:lnTo>
                    <a:pt x="46" y="169"/>
                  </a:lnTo>
                  <a:lnTo>
                    <a:pt x="44" y="159"/>
                  </a:lnTo>
                  <a:lnTo>
                    <a:pt x="47" y="158"/>
                  </a:lnTo>
                  <a:lnTo>
                    <a:pt x="44" y="152"/>
                  </a:lnTo>
                  <a:lnTo>
                    <a:pt x="42" y="140"/>
                  </a:lnTo>
                  <a:lnTo>
                    <a:pt x="43" y="130"/>
                  </a:lnTo>
                  <a:lnTo>
                    <a:pt x="47" y="128"/>
                  </a:lnTo>
                  <a:lnTo>
                    <a:pt x="53" y="125"/>
                  </a:lnTo>
                  <a:lnTo>
                    <a:pt x="60" y="127"/>
                  </a:lnTo>
                  <a:lnTo>
                    <a:pt x="76" y="133"/>
                  </a:lnTo>
                  <a:lnTo>
                    <a:pt x="82" y="133"/>
                  </a:lnTo>
                  <a:lnTo>
                    <a:pt x="83" y="134"/>
                  </a:lnTo>
                  <a:lnTo>
                    <a:pt x="87" y="134"/>
                  </a:lnTo>
                  <a:lnTo>
                    <a:pt x="89" y="130"/>
                  </a:lnTo>
                  <a:lnTo>
                    <a:pt x="92" y="130"/>
                  </a:lnTo>
                  <a:lnTo>
                    <a:pt x="94" y="132"/>
                  </a:lnTo>
                  <a:lnTo>
                    <a:pt x="96" y="135"/>
                  </a:lnTo>
                  <a:lnTo>
                    <a:pt x="97" y="135"/>
                  </a:lnTo>
                  <a:lnTo>
                    <a:pt x="97" y="145"/>
                  </a:lnTo>
                  <a:lnTo>
                    <a:pt x="97" y="150"/>
                  </a:lnTo>
                  <a:lnTo>
                    <a:pt x="106" y="163"/>
                  </a:lnTo>
                  <a:lnTo>
                    <a:pt x="108" y="167"/>
                  </a:lnTo>
                  <a:lnTo>
                    <a:pt x="117" y="171"/>
                  </a:lnTo>
                  <a:lnTo>
                    <a:pt x="129" y="172"/>
                  </a:lnTo>
                  <a:lnTo>
                    <a:pt x="135" y="180"/>
                  </a:lnTo>
                  <a:lnTo>
                    <a:pt x="131" y="188"/>
                  </a:lnTo>
                  <a:lnTo>
                    <a:pt x="112" y="200"/>
                  </a:lnTo>
                  <a:close/>
                  <a:moveTo>
                    <a:pt x="445" y="128"/>
                  </a:moveTo>
                  <a:lnTo>
                    <a:pt x="446" y="133"/>
                  </a:lnTo>
                  <a:lnTo>
                    <a:pt x="435" y="152"/>
                  </a:lnTo>
                  <a:lnTo>
                    <a:pt x="427" y="169"/>
                  </a:lnTo>
                  <a:lnTo>
                    <a:pt x="427" y="178"/>
                  </a:lnTo>
                  <a:lnTo>
                    <a:pt x="421" y="202"/>
                  </a:lnTo>
                  <a:lnTo>
                    <a:pt x="420" y="207"/>
                  </a:lnTo>
                  <a:lnTo>
                    <a:pt x="417" y="211"/>
                  </a:lnTo>
                  <a:lnTo>
                    <a:pt x="414" y="215"/>
                  </a:lnTo>
                  <a:lnTo>
                    <a:pt x="413" y="211"/>
                  </a:lnTo>
                  <a:lnTo>
                    <a:pt x="414" y="206"/>
                  </a:lnTo>
                  <a:lnTo>
                    <a:pt x="413" y="202"/>
                  </a:lnTo>
                  <a:lnTo>
                    <a:pt x="414" y="200"/>
                  </a:lnTo>
                  <a:lnTo>
                    <a:pt x="408" y="197"/>
                  </a:lnTo>
                  <a:lnTo>
                    <a:pt x="406" y="195"/>
                  </a:lnTo>
                  <a:lnTo>
                    <a:pt x="406" y="191"/>
                  </a:lnTo>
                  <a:lnTo>
                    <a:pt x="403" y="190"/>
                  </a:lnTo>
                  <a:lnTo>
                    <a:pt x="405" y="187"/>
                  </a:lnTo>
                  <a:lnTo>
                    <a:pt x="402" y="178"/>
                  </a:lnTo>
                  <a:lnTo>
                    <a:pt x="397" y="177"/>
                  </a:lnTo>
                  <a:lnTo>
                    <a:pt x="382" y="172"/>
                  </a:lnTo>
                  <a:lnTo>
                    <a:pt x="381" y="169"/>
                  </a:lnTo>
                  <a:lnTo>
                    <a:pt x="378" y="172"/>
                  </a:lnTo>
                  <a:lnTo>
                    <a:pt x="378" y="177"/>
                  </a:lnTo>
                  <a:lnTo>
                    <a:pt x="381" y="178"/>
                  </a:lnTo>
                  <a:lnTo>
                    <a:pt x="383" y="177"/>
                  </a:lnTo>
                  <a:lnTo>
                    <a:pt x="386" y="178"/>
                  </a:lnTo>
                  <a:lnTo>
                    <a:pt x="391" y="186"/>
                  </a:lnTo>
                  <a:lnTo>
                    <a:pt x="391" y="190"/>
                  </a:lnTo>
                  <a:lnTo>
                    <a:pt x="388" y="194"/>
                  </a:lnTo>
                  <a:lnTo>
                    <a:pt x="378" y="199"/>
                  </a:lnTo>
                  <a:lnTo>
                    <a:pt x="374" y="207"/>
                  </a:lnTo>
                  <a:lnTo>
                    <a:pt x="372" y="200"/>
                  </a:lnTo>
                  <a:lnTo>
                    <a:pt x="368" y="197"/>
                  </a:lnTo>
                  <a:lnTo>
                    <a:pt x="368" y="195"/>
                  </a:lnTo>
                  <a:lnTo>
                    <a:pt x="367" y="191"/>
                  </a:lnTo>
                  <a:lnTo>
                    <a:pt x="371" y="186"/>
                  </a:lnTo>
                  <a:lnTo>
                    <a:pt x="372" y="182"/>
                  </a:lnTo>
                  <a:lnTo>
                    <a:pt x="371" y="175"/>
                  </a:lnTo>
                  <a:lnTo>
                    <a:pt x="380" y="162"/>
                  </a:lnTo>
                  <a:lnTo>
                    <a:pt x="381" y="154"/>
                  </a:lnTo>
                  <a:lnTo>
                    <a:pt x="388" y="152"/>
                  </a:lnTo>
                  <a:lnTo>
                    <a:pt x="393" y="145"/>
                  </a:lnTo>
                  <a:lnTo>
                    <a:pt x="400" y="144"/>
                  </a:lnTo>
                  <a:lnTo>
                    <a:pt x="403" y="141"/>
                  </a:lnTo>
                  <a:lnTo>
                    <a:pt x="408" y="142"/>
                  </a:lnTo>
                  <a:lnTo>
                    <a:pt x="408" y="147"/>
                  </a:lnTo>
                  <a:lnTo>
                    <a:pt x="413" y="146"/>
                  </a:lnTo>
                  <a:lnTo>
                    <a:pt x="413" y="150"/>
                  </a:lnTo>
                  <a:lnTo>
                    <a:pt x="416" y="150"/>
                  </a:lnTo>
                  <a:lnTo>
                    <a:pt x="418" y="149"/>
                  </a:lnTo>
                  <a:lnTo>
                    <a:pt x="420" y="146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2" y="137"/>
                  </a:lnTo>
                  <a:lnTo>
                    <a:pt x="431" y="133"/>
                  </a:lnTo>
                  <a:lnTo>
                    <a:pt x="434" y="129"/>
                  </a:lnTo>
                  <a:lnTo>
                    <a:pt x="439" y="129"/>
                  </a:lnTo>
                  <a:lnTo>
                    <a:pt x="443" y="127"/>
                  </a:lnTo>
                  <a:lnTo>
                    <a:pt x="445" y="128"/>
                  </a:lnTo>
                  <a:close/>
                  <a:moveTo>
                    <a:pt x="210" y="65"/>
                  </a:moveTo>
                  <a:lnTo>
                    <a:pt x="210" y="71"/>
                  </a:lnTo>
                  <a:lnTo>
                    <a:pt x="206" y="83"/>
                  </a:lnTo>
                  <a:lnTo>
                    <a:pt x="197" y="102"/>
                  </a:lnTo>
                  <a:lnTo>
                    <a:pt x="195" y="102"/>
                  </a:lnTo>
                  <a:lnTo>
                    <a:pt x="190" y="102"/>
                  </a:lnTo>
                  <a:lnTo>
                    <a:pt x="192" y="95"/>
                  </a:lnTo>
                  <a:lnTo>
                    <a:pt x="190" y="93"/>
                  </a:lnTo>
                  <a:lnTo>
                    <a:pt x="192" y="92"/>
                  </a:lnTo>
                  <a:lnTo>
                    <a:pt x="193" y="92"/>
                  </a:lnTo>
                  <a:lnTo>
                    <a:pt x="192" y="88"/>
                  </a:lnTo>
                  <a:lnTo>
                    <a:pt x="202" y="87"/>
                  </a:lnTo>
                  <a:lnTo>
                    <a:pt x="204" y="83"/>
                  </a:lnTo>
                  <a:lnTo>
                    <a:pt x="206" y="75"/>
                  </a:lnTo>
                  <a:lnTo>
                    <a:pt x="207" y="75"/>
                  </a:lnTo>
                  <a:lnTo>
                    <a:pt x="208" y="74"/>
                  </a:lnTo>
                  <a:lnTo>
                    <a:pt x="206" y="67"/>
                  </a:lnTo>
                  <a:lnTo>
                    <a:pt x="207" y="59"/>
                  </a:lnTo>
                  <a:lnTo>
                    <a:pt x="210" y="65"/>
                  </a:lnTo>
                  <a:close/>
                </a:path>
              </a:pathLst>
            </a:custGeom>
            <a:solidFill>
              <a:srgbClr val="FFEFBD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456" name="Freeform 455"/>
            <p:cNvSpPr>
              <a:spLocks noEditPoints="1"/>
            </p:cNvSpPr>
            <p:nvPr/>
          </p:nvSpPr>
          <p:spPr bwMode="auto">
            <a:xfrm>
              <a:off x="4639079" y="2939678"/>
              <a:ext cx="449368" cy="980194"/>
            </a:xfrm>
            <a:custGeom>
              <a:avLst/>
              <a:gdLst>
                <a:gd name="T0" fmla="*/ 1355 w 2254"/>
                <a:gd name="T1" fmla="*/ 3305 h 3632"/>
                <a:gd name="T2" fmla="*/ 2151 w 2254"/>
                <a:gd name="T3" fmla="*/ 1708 h 3632"/>
                <a:gd name="T4" fmla="*/ 2073 w 2254"/>
                <a:gd name="T5" fmla="*/ 1699 h 3632"/>
                <a:gd name="T6" fmla="*/ 1874 w 2254"/>
                <a:gd name="T7" fmla="*/ 1841 h 3632"/>
                <a:gd name="T8" fmla="*/ 1800 w 2254"/>
                <a:gd name="T9" fmla="*/ 1929 h 3632"/>
                <a:gd name="T10" fmla="*/ 1667 w 2254"/>
                <a:gd name="T11" fmla="*/ 2069 h 3632"/>
                <a:gd name="T12" fmla="*/ 1500 w 2254"/>
                <a:gd name="T13" fmla="*/ 2247 h 3632"/>
                <a:gd name="T14" fmla="*/ 1289 w 2254"/>
                <a:gd name="T15" fmla="*/ 2397 h 3632"/>
                <a:gd name="T16" fmla="*/ 1135 w 2254"/>
                <a:gd name="T17" fmla="*/ 2381 h 3632"/>
                <a:gd name="T18" fmla="*/ 1113 w 2254"/>
                <a:gd name="T19" fmla="*/ 2430 h 3632"/>
                <a:gd name="T20" fmla="*/ 1097 w 2254"/>
                <a:gd name="T21" fmla="*/ 2599 h 3632"/>
                <a:gd name="T22" fmla="*/ 1077 w 2254"/>
                <a:gd name="T23" fmla="*/ 2692 h 3632"/>
                <a:gd name="T24" fmla="*/ 1072 w 2254"/>
                <a:gd name="T25" fmla="*/ 2755 h 3632"/>
                <a:gd name="T26" fmla="*/ 1075 w 2254"/>
                <a:gd name="T27" fmla="*/ 2786 h 3632"/>
                <a:gd name="T28" fmla="*/ 1033 w 2254"/>
                <a:gd name="T29" fmla="*/ 2849 h 3632"/>
                <a:gd name="T30" fmla="*/ 1030 w 2254"/>
                <a:gd name="T31" fmla="*/ 2894 h 3632"/>
                <a:gd name="T32" fmla="*/ 1044 w 2254"/>
                <a:gd name="T33" fmla="*/ 2931 h 3632"/>
                <a:gd name="T34" fmla="*/ 1033 w 2254"/>
                <a:gd name="T35" fmla="*/ 3040 h 3632"/>
                <a:gd name="T36" fmla="*/ 1073 w 2254"/>
                <a:gd name="T37" fmla="*/ 2991 h 3632"/>
                <a:gd name="T38" fmla="*/ 1162 w 2254"/>
                <a:gd name="T39" fmla="*/ 3069 h 3632"/>
                <a:gd name="T40" fmla="*/ 1133 w 2254"/>
                <a:gd name="T41" fmla="*/ 3126 h 3632"/>
                <a:gd name="T42" fmla="*/ 1205 w 2254"/>
                <a:gd name="T43" fmla="*/ 3145 h 3632"/>
                <a:gd name="T44" fmla="*/ 1257 w 2254"/>
                <a:gd name="T45" fmla="*/ 3138 h 3632"/>
                <a:gd name="T46" fmla="*/ 1268 w 2254"/>
                <a:gd name="T47" fmla="*/ 3182 h 3632"/>
                <a:gd name="T48" fmla="*/ 1279 w 2254"/>
                <a:gd name="T49" fmla="*/ 3222 h 3632"/>
                <a:gd name="T50" fmla="*/ 1335 w 2254"/>
                <a:gd name="T51" fmla="*/ 3263 h 3632"/>
                <a:gd name="T52" fmla="*/ 1271 w 2254"/>
                <a:gd name="T53" fmla="*/ 3370 h 3632"/>
                <a:gd name="T54" fmla="*/ 1147 w 2254"/>
                <a:gd name="T55" fmla="*/ 3441 h 3632"/>
                <a:gd name="T56" fmla="*/ 1009 w 2254"/>
                <a:gd name="T57" fmla="*/ 3457 h 3632"/>
                <a:gd name="T58" fmla="*/ 865 w 2254"/>
                <a:gd name="T59" fmla="*/ 3511 h 3632"/>
                <a:gd name="T60" fmla="*/ 776 w 2254"/>
                <a:gd name="T61" fmla="*/ 3621 h 3632"/>
                <a:gd name="T62" fmla="*/ 662 w 2254"/>
                <a:gd name="T63" fmla="*/ 3615 h 3632"/>
                <a:gd name="T64" fmla="*/ 527 w 2254"/>
                <a:gd name="T65" fmla="*/ 3617 h 3632"/>
                <a:gd name="T66" fmla="*/ 343 w 2254"/>
                <a:gd name="T67" fmla="*/ 3168 h 3632"/>
                <a:gd name="T68" fmla="*/ 71 w 2254"/>
                <a:gd name="T69" fmla="*/ 2909 h 3632"/>
                <a:gd name="T70" fmla="*/ 15 w 2254"/>
                <a:gd name="T71" fmla="*/ 2633 h 3632"/>
                <a:gd name="T72" fmla="*/ 103 w 2254"/>
                <a:gd name="T73" fmla="*/ 2564 h 3632"/>
                <a:gd name="T74" fmla="*/ 194 w 2254"/>
                <a:gd name="T75" fmla="*/ 2531 h 3632"/>
                <a:gd name="T76" fmla="*/ 354 w 2254"/>
                <a:gd name="T77" fmla="*/ 2491 h 3632"/>
                <a:gd name="T78" fmla="*/ 292 w 2254"/>
                <a:gd name="T79" fmla="*/ 2264 h 3632"/>
                <a:gd name="T80" fmla="*/ 499 w 2254"/>
                <a:gd name="T81" fmla="*/ 1708 h 3632"/>
                <a:gd name="T82" fmla="*/ 339 w 2254"/>
                <a:gd name="T83" fmla="*/ 1568 h 3632"/>
                <a:gd name="T84" fmla="*/ 374 w 2254"/>
                <a:gd name="T85" fmla="*/ 1378 h 3632"/>
                <a:gd name="T86" fmla="*/ 368 w 2254"/>
                <a:gd name="T87" fmla="*/ 1303 h 3632"/>
                <a:gd name="T88" fmla="*/ 361 w 2254"/>
                <a:gd name="T89" fmla="*/ 1182 h 3632"/>
                <a:gd name="T90" fmla="*/ 534 w 2254"/>
                <a:gd name="T91" fmla="*/ 1119 h 3632"/>
                <a:gd name="T92" fmla="*/ 695 w 2254"/>
                <a:gd name="T93" fmla="*/ 1135 h 3632"/>
                <a:gd name="T94" fmla="*/ 680 w 2254"/>
                <a:gd name="T95" fmla="*/ 869 h 3632"/>
                <a:gd name="T96" fmla="*/ 649 w 2254"/>
                <a:gd name="T97" fmla="*/ 457 h 3632"/>
                <a:gd name="T98" fmla="*/ 913 w 2254"/>
                <a:gd name="T99" fmla="*/ 31 h 3632"/>
                <a:gd name="T100" fmla="*/ 1166 w 2254"/>
                <a:gd name="T101" fmla="*/ 158 h 3632"/>
                <a:gd name="T102" fmla="*/ 1286 w 2254"/>
                <a:gd name="T103" fmla="*/ 423 h 3632"/>
                <a:gd name="T104" fmla="*/ 1446 w 2254"/>
                <a:gd name="T105" fmla="*/ 663 h 3632"/>
                <a:gd name="T106" fmla="*/ 1621 w 2254"/>
                <a:gd name="T107" fmla="*/ 813 h 3632"/>
                <a:gd name="T108" fmla="*/ 1784 w 2254"/>
                <a:gd name="T109" fmla="*/ 987 h 3632"/>
                <a:gd name="T110" fmla="*/ 2063 w 2254"/>
                <a:gd name="T111" fmla="*/ 1187 h 3632"/>
                <a:gd name="T112" fmla="*/ 2225 w 2254"/>
                <a:gd name="T113" fmla="*/ 1438 h 3632"/>
                <a:gd name="T114" fmla="*/ 2220 w 2254"/>
                <a:gd name="T115" fmla="*/ 1546 h 3632"/>
                <a:gd name="T116" fmla="*/ 1227 w 2254"/>
                <a:gd name="T117" fmla="*/ 3080 h 3632"/>
                <a:gd name="T118" fmla="*/ 1036 w 2254"/>
                <a:gd name="T119" fmla="*/ 2345 h 3632"/>
                <a:gd name="T120" fmla="*/ 1122 w 2254"/>
                <a:gd name="T121" fmla="*/ 2396 h 3632"/>
                <a:gd name="T122" fmla="*/ 1058 w 2254"/>
                <a:gd name="T123" fmla="*/ 2377 h 3632"/>
                <a:gd name="T124" fmla="*/ 1144 w 2254"/>
                <a:gd name="T125" fmla="*/ 2399 h 36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54"/>
                <a:gd name="T190" fmla="*/ 0 h 3632"/>
                <a:gd name="T191" fmla="*/ 2254 w 2254"/>
                <a:gd name="T192" fmla="*/ 3632 h 36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54" h="3632">
                  <a:moveTo>
                    <a:pt x="1400" y="3329"/>
                  </a:moveTo>
                  <a:lnTo>
                    <a:pt x="1396" y="3329"/>
                  </a:lnTo>
                  <a:lnTo>
                    <a:pt x="1393" y="3325"/>
                  </a:lnTo>
                  <a:lnTo>
                    <a:pt x="1390" y="3325"/>
                  </a:lnTo>
                  <a:lnTo>
                    <a:pt x="1389" y="3325"/>
                  </a:lnTo>
                  <a:lnTo>
                    <a:pt x="1392" y="3328"/>
                  </a:lnTo>
                  <a:lnTo>
                    <a:pt x="1393" y="3329"/>
                  </a:lnTo>
                  <a:lnTo>
                    <a:pt x="1395" y="3331"/>
                  </a:lnTo>
                  <a:lnTo>
                    <a:pt x="1393" y="3334"/>
                  </a:lnTo>
                  <a:lnTo>
                    <a:pt x="1382" y="3338"/>
                  </a:lnTo>
                  <a:lnTo>
                    <a:pt x="1375" y="3337"/>
                  </a:lnTo>
                  <a:lnTo>
                    <a:pt x="1371" y="3339"/>
                  </a:lnTo>
                  <a:lnTo>
                    <a:pt x="1364" y="3338"/>
                  </a:lnTo>
                  <a:lnTo>
                    <a:pt x="1371" y="3341"/>
                  </a:lnTo>
                  <a:lnTo>
                    <a:pt x="1378" y="3341"/>
                  </a:lnTo>
                  <a:lnTo>
                    <a:pt x="1378" y="3342"/>
                  </a:lnTo>
                  <a:lnTo>
                    <a:pt x="1375" y="3343"/>
                  </a:lnTo>
                  <a:lnTo>
                    <a:pt x="1372" y="3343"/>
                  </a:lnTo>
                  <a:lnTo>
                    <a:pt x="1365" y="3342"/>
                  </a:lnTo>
                  <a:lnTo>
                    <a:pt x="1362" y="3343"/>
                  </a:lnTo>
                  <a:lnTo>
                    <a:pt x="1353" y="3354"/>
                  </a:lnTo>
                  <a:lnTo>
                    <a:pt x="1346" y="3355"/>
                  </a:lnTo>
                  <a:lnTo>
                    <a:pt x="1343" y="3354"/>
                  </a:lnTo>
                  <a:lnTo>
                    <a:pt x="1347" y="3346"/>
                  </a:lnTo>
                  <a:lnTo>
                    <a:pt x="1347" y="3333"/>
                  </a:lnTo>
                  <a:lnTo>
                    <a:pt x="1343" y="3329"/>
                  </a:lnTo>
                  <a:lnTo>
                    <a:pt x="1336" y="3331"/>
                  </a:lnTo>
                  <a:lnTo>
                    <a:pt x="1335" y="3329"/>
                  </a:lnTo>
                  <a:lnTo>
                    <a:pt x="1350" y="3321"/>
                  </a:lnTo>
                  <a:lnTo>
                    <a:pt x="1358" y="3312"/>
                  </a:lnTo>
                  <a:lnTo>
                    <a:pt x="1355" y="3305"/>
                  </a:lnTo>
                  <a:lnTo>
                    <a:pt x="1369" y="3302"/>
                  </a:lnTo>
                  <a:lnTo>
                    <a:pt x="1378" y="3311"/>
                  </a:lnTo>
                  <a:lnTo>
                    <a:pt x="1379" y="3302"/>
                  </a:lnTo>
                  <a:lnTo>
                    <a:pt x="1382" y="3301"/>
                  </a:lnTo>
                  <a:lnTo>
                    <a:pt x="1385" y="3301"/>
                  </a:lnTo>
                  <a:lnTo>
                    <a:pt x="1385" y="3297"/>
                  </a:lnTo>
                  <a:lnTo>
                    <a:pt x="1386" y="3297"/>
                  </a:lnTo>
                  <a:lnTo>
                    <a:pt x="1390" y="3311"/>
                  </a:lnTo>
                  <a:lnTo>
                    <a:pt x="1401" y="3328"/>
                  </a:lnTo>
                  <a:lnTo>
                    <a:pt x="1403" y="3333"/>
                  </a:lnTo>
                  <a:lnTo>
                    <a:pt x="1400" y="3329"/>
                  </a:lnTo>
                  <a:close/>
                  <a:moveTo>
                    <a:pt x="2250" y="1587"/>
                  </a:moveTo>
                  <a:lnTo>
                    <a:pt x="2233" y="1587"/>
                  </a:lnTo>
                  <a:lnTo>
                    <a:pt x="2230" y="1588"/>
                  </a:lnTo>
                  <a:lnTo>
                    <a:pt x="2228" y="1592"/>
                  </a:lnTo>
                  <a:lnTo>
                    <a:pt x="2229" y="1605"/>
                  </a:lnTo>
                  <a:lnTo>
                    <a:pt x="2206" y="1617"/>
                  </a:lnTo>
                  <a:lnTo>
                    <a:pt x="2198" y="1629"/>
                  </a:lnTo>
                  <a:lnTo>
                    <a:pt x="2195" y="1636"/>
                  </a:lnTo>
                  <a:lnTo>
                    <a:pt x="2195" y="1645"/>
                  </a:lnTo>
                  <a:lnTo>
                    <a:pt x="2197" y="1647"/>
                  </a:lnTo>
                  <a:lnTo>
                    <a:pt x="2200" y="1651"/>
                  </a:lnTo>
                  <a:lnTo>
                    <a:pt x="2202" y="1659"/>
                  </a:lnTo>
                  <a:lnTo>
                    <a:pt x="2204" y="1670"/>
                  </a:lnTo>
                  <a:lnTo>
                    <a:pt x="2201" y="1678"/>
                  </a:lnTo>
                  <a:lnTo>
                    <a:pt x="2194" y="1686"/>
                  </a:lnTo>
                  <a:lnTo>
                    <a:pt x="2193" y="1696"/>
                  </a:lnTo>
                  <a:lnTo>
                    <a:pt x="2190" y="1700"/>
                  </a:lnTo>
                  <a:lnTo>
                    <a:pt x="2184" y="1704"/>
                  </a:lnTo>
                  <a:lnTo>
                    <a:pt x="2173" y="1704"/>
                  </a:lnTo>
                  <a:lnTo>
                    <a:pt x="2151" y="1708"/>
                  </a:lnTo>
                  <a:lnTo>
                    <a:pt x="2149" y="1704"/>
                  </a:lnTo>
                  <a:lnTo>
                    <a:pt x="2154" y="1700"/>
                  </a:lnTo>
                  <a:lnTo>
                    <a:pt x="2165" y="1699"/>
                  </a:lnTo>
                  <a:lnTo>
                    <a:pt x="2172" y="1695"/>
                  </a:lnTo>
                  <a:lnTo>
                    <a:pt x="2172" y="1692"/>
                  </a:lnTo>
                  <a:lnTo>
                    <a:pt x="2170" y="1686"/>
                  </a:lnTo>
                  <a:lnTo>
                    <a:pt x="2168" y="1688"/>
                  </a:lnTo>
                  <a:lnTo>
                    <a:pt x="2163" y="1686"/>
                  </a:lnTo>
                  <a:lnTo>
                    <a:pt x="2155" y="1695"/>
                  </a:lnTo>
                  <a:lnTo>
                    <a:pt x="2149" y="1694"/>
                  </a:lnTo>
                  <a:lnTo>
                    <a:pt x="2141" y="1699"/>
                  </a:lnTo>
                  <a:lnTo>
                    <a:pt x="2133" y="1700"/>
                  </a:lnTo>
                  <a:lnTo>
                    <a:pt x="2131" y="1704"/>
                  </a:lnTo>
                  <a:lnTo>
                    <a:pt x="2133" y="1711"/>
                  </a:lnTo>
                  <a:lnTo>
                    <a:pt x="2130" y="1712"/>
                  </a:lnTo>
                  <a:lnTo>
                    <a:pt x="2102" y="1721"/>
                  </a:lnTo>
                  <a:lnTo>
                    <a:pt x="2088" y="1719"/>
                  </a:lnTo>
                  <a:lnTo>
                    <a:pt x="2088" y="1716"/>
                  </a:lnTo>
                  <a:lnTo>
                    <a:pt x="2094" y="1713"/>
                  </a:lnTo>
                  <a:lnTo>
                    <a:pt x="2102" y="1704"/>
                  </a:lnTo>
                  <a:lnTo>
                    <a:pt x="2113" y="1696"/>
                  </a:lnTo>
                  <a:lnTo>
                    <a:pt x="2123" y="1663"/>
                  </a:lnTo>
                  <a:lnTo>
                    <a:pt x="2123" y="1655"/>
                  </a:lnTo>
                  <a:lnTo>
                    <a:pt x="2118" y="1666"/>
                  </a:lnTo>
                  <a:lnTo>
                    <a:pt x="2112" y="1674"/>
                  </a:lnTo>
                  <a:lnTo>
                    <a:pt x="2109" y="1686"/>
                  </a:lnTo>
                  <a:lnTo>
                    <a:pt x="2105" y="1695"/>
                  </a:lnTo>
                  <a:lnTo>
                    <a:pt x="2101" y="1696"/>
                  </a:lnTo>
                  <a:lnTo>
                    <a:pt x="2094" y="1694"/>
                  </a:lnTo>
                  <a:lnTo>
                    <a:pt x="2087" y="1694"/>
                  </a:lnTo>
                  <a:lnTo>
                    <a:pt x="2073" y="1699"/>
                  </a:lnTo>
                  <a:lnTo>
                    <a:pt x="2068" y="1704"/>
                  </a:lnTo>
                  <a:lnTo>
                    <a:pt x="2065" y="1708"/>
                  </a:lnTo>
                  <a:lnTo>
                    <a:pt x="2065" y="1714"/>
                  </a:lnTo>
                  <a:lnTo>
                    <a:pt x="2069" y="1719"/>
                  </a:lnTo>
                  <a:lnTo>
                    <a:pt x="2069" y="1726"/>
                  </a:lnTo>
                  <a:lnTo>
                    <a:pt x="2066" y="1731"/>
                  </a:lnTo>
                  <a:lnTo>
                    <a:pt x="2062" y="1734"/>
                  </a:lnTo>
                  <a:lnTo>
                    <a:pt x="2055" y="1737"/>
                  </a:lnTo>
                  <a:lnTo>
                    <a:pt x="2048" y="1738"/>
                  </a:lnTo>
                  <a:lnTo>
                    <a:pt x="2035" y="1733"/>
                  </a:lnTo>
                  <a:lnTo>
                    <a:pt x="2029" y="1734"/>
                  </a:lnTo>
                  <a:lnTo>
                    <a:pt x="2024" y="1731"/>
                  </a:lnTo>
                  <a:lnTo>
                    <a:pt x="2019" y="1731"/>
                  </a:lnTo>
                  <a:lnTo>
                    <a:pt x="2015" y="1725"/>
                  </a:lnTo>
                  <a:lnTo>
                    <a:pt x="2015" y="1729"/>
                  </a:lnTo>
                  <a:lnTo>
                    <a:pt x="2012" y="1736"/>
                  </a:lnTo>
                  <a:lnTo>
                    <a:pt x="2012" y="1737"/>
                  </a:lnTo>
                  <a:lnTo>
                    <a:pt x="2006" y="1739"/>
                  </a:lnTo>
                  <a:lnTo>
                    <a:pt x="2006" y="1741"/>
                  </a:lnTo>
                  <a:lnTo>
                    <a:pt x="2015" y="1738"/>
                  </a:lnTo>
                  <a:lnTo>
                    <a:pt x="2021" y="1741"/>
                  </a:lnTo>
                  <a:lnTo>
                    <a:pt x="2030" y="1741"/>
                  </a:lnTo>
                  <a:lnTo>
                    <a:pt x="2029" y="1745"/>
                  </a:lnTo>
                  <a:lnTo>
                    <a:pt x="1973" y="1775"/>
                  </a:lnTo>
                  <a:lnTo>
                    <a:pt x="1916" y="1812"/>
                  </a:lnTo>
                  <a:lnTo>
                    <a:pt x="1905" y="1820"/>
                  </a:lnTo>
                  <a:lnTo>
                    <a:pt x="1896" y="1829"/>
                  </a:lnTo>
                  <a:lnTo>
                    <a:pt x="1891" y="1831"/>
                  </a:lnTo>
                  <a:lnTo>
                    <a:pt x="1881" y="1837"/>
                  </a:lnTo>
                  <a:lnTo>
                    <a:pt x="1875" y="1838"/>
                  </a:lnTo>
                  <a:lnTo>
                    <a:pt x="1874" y="1841"/>
                  </a:lnTo>
                  <a:lnTo>
                    <a:pt x="1874" y="1846"/>
                  </a:lnTo>
                  <a:lnTo>
                    <a:pt x="1870" y="1850"/>
                  </a:lnTo>
                  <a:lnTo>
                    <a:pt x="1874" y="1850"/>
                  </a:lnTo>
                  <a:lnTo>
                    <a:pt x="1878" y="1849"/>
                  </a:lnTo>
                  <a:lnTo>
                    <a:pt x="1880" y="1849"/>
                  </a:lnTo>
                  <a:lnTo>
                    <a:pt x="1867" y="1858"/>
                  </a:lnTo>
                  <a:lnTo>
                    <a:pt x="1863" y="1863"/>
                  </a:lnTo>
                  <a:lnTo>
                    <a:pt x="1860" y="1865"/>
                  </a:lnTo>
                  <a:lnTo>
                    <a:pt x="1860" y="1861"/>
                  </a:lnTo>
                  <a:lnTo>
                    <a:pt x="1859" y="1861"/>
                  </a:lnTo>
                  <a:lnTo>
                    <a:pt x="1852" y="1865"/>
                  </a:lnTo>
                  <a:lnTo>
                    <a:pt x="1846" y="1857"/>
                  </a:lnTo>
                  <a:lnTo>
                    <a:pt x="1845" y="1857"/>
                  </a:lnTo>
                  <a:lnTo>
                    <a:pt x="1845" y="1860"/>
                  </a:lnTo>
                  <a:lnTo>
                    <a:pt x="1846" y="1861"/>
                  </a:lnTo>
                  <a:lnTo>
                    <a:pt x="1848" y="1865"/>
                  </a:lnTo>
                  <a:lnTo>
                    <a:pt x="1841" y="1869"/>
                  </a:lnTo>
                  <a:lnTo>
                    <a:pt x="1845" y="1871"/>
                  </a:lnTo>
                  <a:lnTo>
                    <a:pt x="1848" y="1875"/>
                  </a:lnTo>
                  <a:lnTo>
                    <a:pt x="1849" y="1877"/>
                  </a:lnTo>
                  <a:lnTo>
                    <a:pt x="1839" y="1881"/>
                  </a:lnTo>
                  <a:lnTo>
                    <a:pt x="1833" y="1882"/>
                  </a:lnTo>
                  <a:lnTo>
                    <a:pt x="1828" y="1883"/>
                  </a:lnTo>
                  <a:lnTo>
                    <a:pt x="1828" y="1886"/>
                  </a:lnTo>
                  <a:lnTo>
                    <a:pt x="1828" y="1891"/>
                  </a:lnTo>
                  <a:lnTo>
                    <a:pt x="1833" y="1887"/>
                  </a:lnTo>
                  <a:lnTo>
                    <a:pt x="1838" y="1891"/>
                  </a:lnTo>
                  <a:lnTo>
                    <a:pt x="1838" y="1895"/>
                  </a:lnTo>
                  <a:lnTo>
                    <a:pt x="1824" y="1904"/>
                  </a:lnTo>
                  <a:lnTo>
                    <a:pt x="1814" y="1916"/>
                  </a:lnTo>
                  <a:lnTo>
                    <a:pt x="1800" y="1929"/>
                  </a:lnTo>
                  <a:lnTo>
                    <a:pt x="1795" y="1936"/>
                  </a:lnTo>
                  <a:lnTo>
                    <a:pt x="1788" y="1942"/>
                  </a:lnTo>
                  <a:lnTo>
                    <a:pt x="1785" y="1947"/>
                  </a:lnTo>
                  <a:lnTo>
                    <a:pt x="1767" y="1958"/>
                  </a:lnTo>
                  <a:lnTo>
                    <a:pt x="1767" y="1962"/>
                  </a:lnTo>
                  <a:lnTo>
                    <a:pt x="1769" y="1962"/>
                  </a:lnTo>
                  <a:lnTo>
                    <a:pt x="1764" y="1965"/>
                  </a:lnTo>
                  <a:lnTo>
                    <a:pt x="1763" y="1969"/>
                  </a:lnTo>
                  <a:lnTo>
                    <a:pt x="1763" y="1970"/>
                  </a:lnTo>
                  <a:lnTo>
                    <a:pt x="1767" y="1966"/>
                  </a:lnTo>
                  <a:lnTo>
                    <a:pt x="1770" y="1966"/>
                  </a:lnTo>
                  <a:lnTo>
                    <a:pt x="1755" y="1981"/>
                  </a:lnTo>
                  <a:lnTo>
                    <a:pt x="1725" y="2014"/>
                  </a:lnTo>
                  <a:lnTo>
                    <a:pt x="1723" y="2015"/>
                  </a:lnTo>
                  <a:lnTo>
                    <a:pt x="1721" y="2011"/>
                  </a:lnTo>
                  <a:lnTo>
                    <a:pt x="1719" y="2011"/>
                  </a:lnTo>
                  <a:lnTo>
                    <a:pt x="1719" y="2014"/>
                  </a:lnTo>
                  <a:lnTo>
                    <a:pt x="1716" y="2017"/>
                  </a:lnTo>
                  <a:lnTo>
                    <a:pt x="1711" y="2029"/>
                  </a:lnTo>
                  <a:lnTo>
                    <a:pt x="1706" y="2037"/>
                  </a:lnTo>
                  <a:lnTo>
                    <a:pt x="1699" y="2040"/>
                  </a:lnTo>
                  <a:lnTo>
                    <a:pt x="1694" y="2047"/>
                  </a:lnTo>
                  <a:lnTo>
                    <a:pt x="1688" y="2052"/>
                  </a:lnTo>
                  <a:lnTo>
                    <a:pt x="1686" y="2056"/>
                  </a:lnTo>
                  <a:lnTo>
                    <a:pt x="1686" y="2060"/>
                  </a:lnTo>
                  <a:lnTo>
                    <a:pt x="1672" y="2078"/>
                  </a:lnTo>
                  <a:lnTo>
                    <a:pt x="1670" y="2078"/>
                  </a:lnTo>
                  <a:lnTo>
                    <a:pt x="1667" y="2078"/>
                  </a:lnTo>
                  <a:lnTo>
                    <a:pt x="1667" y="2074"/>
                  </a:lnTo>
                  <a:lnTo>
                    <a:pt x="1670" y="2069"/>
                  </a:lnTo>
                  <a:lnTo>
                    <a:pt x="1667" y="2069"/>
                  </a:lnTo>
                  <a:lnTo>
                    <a:pt x="1663" y="2070"/>
                  </a:lnTo>
                  <a:lnTo>
                    <a:pt x="1661" y="2073"/>
                  </a:lnTo>
                  <a:lnTo>
                    <a:pt x="1661" y="2077"/>
                  </a:lnTo>
                  <a:lnTo>
                    <a:pt x="1659" y="2082"/>
                  </a:lnTo>
                  <a:lnTo>
                    <a:pt x="1661" y="2086"/>
                  </a:lnTo>
                  <a:lnTo>
                    <a:pt x="1666" y="2086"/>
                  </a:lnTo>
                  <a:lnTo>
                    <a:pt x="1666" y="2089"/>
                  </a:lnTo>
                  <a:lnTo>
                    <a:pt x="1647" y="2109"/>
                  </a:lnTo>
                  <a:lnTo>
                    <a:pt x="1642" y="2109"/>
                  </a:lnTo>
                  <a:lnTo>
                    <a:pt x="1638" y="2114"/>
                  </a:lnTo>
                  <a:lnTo>
                    <a:pt x="1635" y="2118"/>
                  </a:lnTo>
                  <a:lnTo>
                    <a:pt x="1634" y="2123"/>
                  </a:lnTo>
                  <a:lnTo>
                    <a:pt x="1628" y="2129"/>
                  </a:lnTo>
                  <a:lnTo>
                    <a:pt x="1625" y="2131"/>
                  </a:lnTo>
                  <a:lnTo>
                    <a:pt x="1621" y="2131"/>
                  </a:lnTo>
                  <a:lnTo>
                    <a:pt x="1618" y="2136"/>
                  </a:lnTo>
                  <a:lnTo>
                    <a:pt x="1611" y="2141"/>
                  </a:lnTo>
                  <a:lnTo>
                    <a:pt x="1604" y="2149"/>
                  </a:lnTo>
                  <a:lnTo>
                    <a:pt x="1603" y="2153"/>
                  </a:lnTo>
                  <a:lnTo>
                    <a:pt x="1586" y="2172"/>
                  </a:lnTo>
                  <a:lnTo>
                    <a:pt x="1582" y="2176"/>
                  </a:lnTo>
                  <a:lnTo>
                    <a:pt x="1578" y="2176"/>
                  </a:lnTo>
                  <a:lnTo>
                    <a:pt x="1574" y="2178"/>
                  </a:lnTo>
                  <a:lnTo>
                    <a:pt x="1556" y="2194"/>
                  </a:lnTo>
                  <a:lnTo>
                    <a:pt x="1559" y="2194"/>
                  </a:lnTo>
                  <a:lnTo>
                    <a:pt x="1557" y="2198"/>
                  </a:lnTo>
                  <a:lnTo>
                    <a:pt x="1551" y="2202"/>
                  </a:lnTo>
                  <a:lnTo>
                    <a:pt x="1532" y="2221"/>
                  </a:lnTo>
                  <a:lnTo>
                    <a:pt x="1515" y="2231"/>
                  </a:lnTo>
                  <a:lnTo>
                    <a:pt x="1501" y="2243"/>
                  </a:lnTo>
                  <a:lnTo>
                    <a:pt x="1500" y="2247"/>
                  </a:lnTo>
                  <a:lnTo>
                    <a:pt x="1482" y="2261"/>
                  </a:lnTo>
                  <a:lnTo>
                    <a:pt x="1474" y="2265"/>
                  </a:lnTo>
                  <a:lnTo>
                    <a:pt x="1465" y="2273"/>
                  </a:lnTo>
                  <a:lnTo>
                    <a:pt x="1449" y="2288"/>
                  </a:lnTo>
                  <a:lnTo>
                    <a:pt x="1415" y="2318"/>
                  </a:lnTo>
                  <a:lnTo>
                    <a:pt x="1412" y="2318"/>
                  </a:lnTo>
                  <a:lnTo>
                    <a:pt x="1410" y="2318"/>
                  </a:lnTo>
                  <a:lnTo>
                    <a:pt x="1411" y="2309"/>
                  </a:lnTo>
                  <a:lnTo>
                    <a:pt x="1407" y="2314"/>
                  </a:lnTo>
                  <a:lnTo>
                    <a:pt x="1396" y="2322"/>
                  </a:lnTo>
                  <a:lnTo>
                    <a:pt x="1399" y="2327"/>
                  </a:lnTo>
                  <a:lnTo>
                    <a:pt x="1389" y="2337"/>
                  </a:lnTo>
                  <a:lnTo>
                    <a:pt x="1382" y="2340"/>
                  </a:lnTo>
                  <a:lnTo>
                    <a:pt x="1372" y="2340"/>
                  </a:lnTo>
                  <a:lnTo>
                    <a:pt x="1371" y="2343"/>
                  </a:lnTo>
                  <a:lnTo>
                    <a:pt x="1364" y="2345"/>
                  </a:lnTo>
                  <a:lnTo>
                    <a:pt x="1364" y="2348"/>
                  </a:lnTo>
                  <a:lnTo>
                    <a:pt x="1361" y="2351"/>
                  </a:lnTo>
                  <a:lnTo>
                    <a:pt x="1353" y="2355"/>
                  </a:lnTo>
                  <a:lnTo>
                    <a:pt x="1321" y="2377"/>
                  </a:lnTo>
                  <a:lnTo>
                    <a:pt x="1308" y="2393"/>
                  </a:lnTo>
                  <a:lnTo>
                    <a:pt x="1287" y="2408"/>
                  </a:lnTo>
                  <a:lnTo>
                    <a:pt x="1283" y="2412"/>
                  </a:lnTo>
                  <a:lnTo>
                    <a:pt x="1285" y="2410"/>
                  </a:lnTo>
                  <a:lnTo>
                    <a:pt x="1283" y="2408"/>
                  </a:lnTo>
                  <a:lnTo>
                    <a:pt x="1287" y="2404"/>
                  </a:lnTo>
                  <a:lnTo>
                    <a:pt x="1294" y="2402"/>
                  </a:lnTo>
                  <a:lnTo>
                    <a:pt x="1299" y="2399"/>
                  </a:lnTo>
                  <a:lnTo>
                    <a:pt x="1299" y="2393"/>
                  </a:lnTo>
                  <a:lnTo>
                    <a:pt x="1293" y="2399"/>
                  </a:lnTo>
                  <a:lnTo>
                    <a:pt x="1289" y="2397"/>
                  </a:lnTo>
                  <a:lnTo>
                    <a:pt x="1290" y="2399"/>
                  </a:lnTo>
                  <a:lnTo>
                    <a:pt x="1286" y="2400"/>
                  </a:lnTo>
                  <a:lnTo>
                    <a:pt x="1283" y="2400"/>
                  </a:lnTo>
                  <a:lnTo>
                    <a:pt x="1280" y="2404"/>
                  </a:lnTo>
                  <a:lnTo>
                    <a:pt x="1275" y="2406"/>
                  </a:lnTo>
                  <a:lnTo>
                    <a:pt x="1272" y="2412"/>
                  </a:lnTo>
                  <a:lnTo>
                    <a:pt x="1265" y="2416"/>
                  </a:lnTo>
                  <a:lnTo>
                    <a:pt x="1258" y="2422"/>
                  </a:lnTo>
                  <a:lnTo>
                    <a:pt x="1254" y="2422"/>
                  </a:lnTo>
                  <a:lnTo>
                    <a:pt x="1241" y="2426"/>
                  </a:lnTo>
                  <a:lnTo>
                    <a:pt x="1222" y="2445"/>
                  </a:lnTo>
                  <a:lnTo>
                    <a:pt x="1208" y="2452"/>
                  </a:lnTo>
                  <a:lnTo>
                    <a:pt x="1204" y="2455"/>
                  </a:lnTo>
                  <a:lnTo>
                    <a:pt x="1180" y="2452"/>
                  </a:lnTo>
                  <a:lnTo>
                    <a:pt x="1171" y="2452"/>
                  </a:lnTo>
                  <a:lnTo>
                    <a:pt x="1165" y="2449"/>
                  </a:lnTo>
                  <a:lnTo>
                    <a:pt x="1161" y="2443"/>
                  </a:lnTo>
                  <a:lnTo>
                    <a:pt x="1165" y="2438"/>
                  </a:lnTo>
                  <a:lnTo>
                    <a:pt x="1164" y="2434"/>
                  </a:lnTo>
                  <a:lnTo>
                    <a:pt x="1166" y="2434"/>
                  </a:lnTo>
                  <a:lnTo>
                    <a:pt x="1165" y="2433"/>
                  </a:lnTo>
                  <a:lnTo>
                    <a:pt x="1166" y="2426"/>
                  </a:lnTo>
                  <a:lnTo>
                    <a:pt x="1165" y="2420"/>
                  </a:lnTo>
                  <a:lnTo>
                    <a:pt x="1165" y="2418"/>
                  </a:lnTo>
                  <a:lnTo>
                    <a:pt x="1162" y="2412"/>
                  </a:lnTo>
                  <a:lnTo>
                    <a:pt x="1164" y="2410"/>
                  </a:lnTo>
                  <a:lnTo>
                    <a:pt x="1161" y="2408"/>
                  </a:lnTo>
                  <a:lnTo>
                    <a:pt x="1158" y="2404"/>
                  </a:lnTo>
                  <a:lnTo>
                    <a:pt x="1147" y="2392"/>
                  </a:lnTo>
                  <a:lnTo>
                    <a:pt x="1140" y="2385"/>
                  </a:lnTo>
                  <a:lnTo>
                    <a:pt x="1135" y="2381"/>
                  </a:lnTo>
                  <a:lnTo>
                    <a:pt x="1122" y="2374"/>
                  </a:lnTo>
                  <a:lnTo>
                    <a:pt x="1113" y="2372"/>
                  </a:lnTo>
                  <a:lnTo>
                    <a:pt x="1102" y="2363"/>
                  </a:lnTo>
                  <a:lnTo>
                    <a:pt x="1090" y="2358"/>
                  </a:lnTo>
                  <a:lnTo>
                    <a:pt x="1082" y="2355"/>
                  </a:lnTo>
                  <a:lnTo>
                    <a:pt x="1069" y="2359"/>
                  </a:lnTo>
                  <a:lnTo>
                    <a:pt x="1062" y="2359"/>
                  </a:lnTo>
                  <a:lnTo>
                    <a:pt x="1055" y="2352"/>
                  </a:lnTo>
                  <a:lnTo>
                    <a:pt x="1055" y="2348"/>
                  </a:lnTo>
                  <a:lnTo>
                    <a:pt x="1056" y="2340"/>
                  </a:lnTo>
                  <a:lnTo>
                    <a:pt x="1055" y="2333"/>
                  </a:lnTo>
                  <a:lnTo>
                    <a:pt x="1051" y="2326"/>
                  </a:lnTo>
                  <a:lnTo>
                    <a:pt x="1042" y="2329"/>
                  </a:lnTo>
                  <a:lnTo>
                    <a:pt x="1037" y="2333"/>
                  </a:lnTo>
                  <a:lnTo>
                    <a:pt x="1036" y="2343"/>
                  </a:lnTo>
                  <a:lnTo>
                    <a:pt x="1033" y="2345"/>
                  </a:lnTo>
                  <a:lnTo>
                    <a:pt x="1029" y="2343"/>
                  </a:lnTo>
                  <a:lnTo>
                    <a:pt x="1026" y="2345"/>
                  </a:lnTo>
                  <a:lnTo>
                    <a:pt x="1026" y="2350"/>
                  </a:lnTo>
                  <a:lnTo>
                    <a:pt x="1027" y="2355"/>
                  </a:lnTo>
                  <a:lnTo>
                    <a:pt x="1037" y="2363"/>
                  </a:lnTo>
                  <a:lnTo>
                    <a:pt x="1040" y="2367"/>
                  </a:lnTo>
                  <a:lnTo>
                    <a:pt x="1050" y="2377"/>
                  </a:lnTo>
                  <a:lnTo>
                    <a:pt x="1054" y="2380"/>
                  </a:lnTo>
                  <a:lnTo>
                    <a:pt x="1062" y="2377"/>
                  </a:lnTo>
                  <a:lnTo>
                    <a:pt x="1080" y="2381"/>
                  </a:lnTo>
                  <a:lnTo>
                    <a:pt x="1091" y="2395"/>
                  </a:lnTo>
                  <a:lnTo>
                    <a:pt x="1101" y="2400"/>
                  </a:lnTo>
                  <a:lnTo>
                    <a:pt x="1102" y="2404"/>
                  </a:lnTo>
                  <a:lnTo>
                    <a:pt x="1107" y="2420"/>
                  </a:lnTo>
                  <a:lnTo>
                    <a:pt x="1113" y="2430"/>
                  </a:lnTo>
                  <a:lnTo>
                    <a:pt x="1115" y="2439"/>
                  </a:lnTo>
                  <a:lnTo>
                    <a:pt x="1118" y="2443"/>
                  </a:lnTo>
                  <a:lnTo>
                    <a:pt x="1119" y="2449"/>
                  </a:lnTo>
                  <a:lnTo>
                    <a:pt x="1116" y="2460"/>
                  </a:lnTo>
                  <a:lnTo>
                    <a:pt x="1109" y="2460"/>
                  </a:lnTo>
                  <a:lnTo>
                    <a:pt x="1102" y="2463"/>
                  </a:lnTo>
                  <a:lnTo>
                    <a:pt x="1098" y="2470"/>
                  </a:lnTo>
                  <a:lnTo>
                    <a:pt x="1091" y="2475"/>
                  </a:lnTo>
                  <a:lnTo>
                    <a:pt x="1088" y="2479"/>
                  </a:lnTo>
                  <a:lnTo>
                    <a:pt x="1093" y="2483"/>
                  </a:lnTo>
                  <a:lnTo>
                    <a:pt x="1094" y="2483"/>
                  </a:lnTo>
                  <a:lnTo>
                    <a:pt x="1097" y="2483"/>
                  </a:lnTo>
                  <a:lnTo>
                    <a:pt x="1102" y="2487"/>
                  </a:lnTo>
                  <a:lnTo>
                    <a:pt x="1105" y="2492"/>
                  </a:lnTo>
                  <a:lnTo>
                    <a:pt x="1107" y="2500"/>
                  </a:lnTo>
                  <a:lnTo>
                    <a:pt x="1107" y="2512"/>
                  </a:lnTo>
                  <a:lnTo>
                    <a:pt x="1108" y="2517"/>
                  </a:lnTo>
                  <a:lnTo>
                    <a:pt x="1109" y="2522"/>
                  </a:lnTo>
                  <a:lnTo>
                    <a:pt x="1108" y="2528"/>
                  </a:lnTo>
                  <a:lnTo>
                    <a:pt x="1107" y="2528"/>
                  </a:lnTo>
                  <a:lnTo>
                    <a:pt x="1105" y="2531"/>
                  </a:lnTo>
                  <a:lnTo>
                    <a:pt x="1104" y="2536"/>
                  </a:lnTo>
                  <a:lnTo>
                    <a:pt x="1107" y="2541"/>
                  </a:lnTo>
                  <a:lnTo>
                    <a:pt x="1105" y="2549"/>
                  </a:lnTo>
                  <a:lnTo>
                    <a:pt x="1102" y="2554"/>
                  </a:lnTo>
                  <a:lnTo>
                    <a:pt x="1104" y="2562"/>
                  </a:lnTo>
                  <a:lnTo>
                    <a:pt x="1101" y="2573"/>
                  </a:lnTo>
                  <a:lnTo>
                    <a:pt x="1100" y="2580"/>
                  </a:lnTo>
                  <a:lnTo>
                    <a:pt x="1094" y="2590"/>
                  </a:lnTo>
                  <a:lnTo>
                    <a:pt x="1094" y="2595"/>
                  </a:lnTo>
                  <a:lnTo>
                    <a:pt x="1097" y="2599"/>
                  </a:lnTo>
                  <a:lnTo>
                    <a:pt x="1096" y="2591"/>
                  </a:lnTo>
                  <a:lnTo>
                    <a:pt x="1097" y="2591"/>
                  </a:lnTo>
                  <a:lnTo>
                    <a:pt x="1098" y="2591"/>
                  </a:lnTo>
                  <a:lnTo>
                    <a:pt x="1100" y="2611"/>
                  </a:lnTo>
                  <a:lnTo>
                    <a:pt x="1104" y="2638"/>
                  </a:lnTo>
                  <a:lnTo>
                    <a:pt x="1107" y="2643"/>
                  </a:lnTo>
                  <a:lnTo>
                    <a:pt x="1115" y="2658"/>
                  </a:lnTo>
                  <a:lnTo>
                    <a:pt x="1119" y="2670"/>
                  </a:lnTo>
                  <a:lnTo>
                    <a:pt x="1122" y="2687"/>
                  </a:lnTo>
                  <a:lnTo>
                    <a:pt x="1121" y="2688"/>
                  </a:lnTo>
                  <a:lnTo>
                    <a:pt x="1116" y="2688"/>
                  </a:lnTo>
                  <a:lnTo>
                    <a:pt x="1121" y="2688"/>
                  </a:lnTo>
                  <a:lnTo>
                    <a:pt x="1121" y="2692"/>
                  </a:lnTo>
                  <a:lnTo>
                    <a:pt x="1118" y="2699"/>
                  </a:lnTo>
                  <a:lnTo>
                    <a:pt x="1113" y="2703"/>
                  </a:lnTo>
                  <a:lnTo>
                    <a:pt x="1112" y="2703"/>
                  </a:lnTo>
                  <a:lnTo>
                    <a:pt x="1112" y="2704"/>
                  </a:lnTo>
                  <a:lnTo>
                    <a:pt x="1113" y="2704"/>
                  </a:lnTo>
                  <a:lnTo>
                    <a:pt x="1112" y="2707"/>
                  </a:lnTo>
                  <a:lnTo>
                    <a:pt x="1109" y="2711"/>
                  </a:lnTo>
                  <a:lnTo>
                    <a:pt x="1105" y="2711"/>
                  </a:lnTo>
                  <a:lnTo>
                    <a:pt x="1100" y="2710"/>
                  </a:lnTo>
                  <a:lnTo>
                    <a:pt x="1096" y="2703"/>
                  </a:lnTo>
                  <a:lnTo>
                    <a:pt x="1090" y="2699"/>
                  </a:lnTo>
                  <a:lnTo>
                    <a:pt x="1083" y="2702"/>
                  </a:lnTo>
                  <a:lnTo>
                    <a:pt x="1080" y="2699"/>
                  </a:lnTo>
                  <a:lnTo>
                    <a:pt x="1075" y="2702"/>
                  </a:lnTo>
                  <a:lnTo>
                    <a:pt x="1069" y="2700"/>
                  </a:lnTo>
                  <a:lnTo>
                    <a:pt x="1070" y="2699"/>
                  </a:lnTo>
                  <a:lnTo>
                    <a:pt x="1076" y="2696"/>
                  </a:lnTo>
                  <a:lnTo>
                    <a:pt x="1077" y="2692"/>
                  </a:lnTo>
                  <a:lnTo>
                    <a:pt x="1075" y="2692"/>
                  </a:lnTo>
                  <a:lnTo>
                    <a:pt x="1077" y="2688"/>
                  </a:lnTo>
                  <a:lnTo>
                    <a:pt x="1073" y="2691"/>
                  </a:lnTo>
                  <a:lnTo>
                    <a:pt x="1073" y="2695"/>
                  </a:lnTo>
                  <a:lnTo>
                    <a:pt x="1069" y="2696"/>
                  </a:lnTo>
                  <a:lnTo>
                    <a:pt x="1068" y="2699"/>
                  </a:lnTo>
                  <a:lnTo>
                    <a:pt x="1063" y="2703"/>
                  </a:lnTo>
                  <a:lnTo>
                    <a:pt x="1058" y="2703"/>
                  </a:lnTo>
                  <a:lnTo>
                    <a:pt x="1058" y="2700"/>
                  </a:lnTo>
                  <a:lnTo>
                    <a:pt x="1056" y="2702"/>
                  </a:lnTo>
                  <a:lnTo>
                    <a:pt x="1055" y="2707"/>
                  </a:lnTo>
                  <a:lnTo>
                    <a:pt x="1051" y="2707"/>
                  </a:lnTo>
                  <a:lnTo>
                    <a:pt x="1041" y="2715"/>
                  </a:lnTo>
                  <a:lnTo>
                    <a:pt x="1041" y="2717"/>
                  </a:lnTo>
                  <a:lnTo>
                    <a:pt x="1045" y="2717"/>
                  </a:lnTo>
                  <a:lnTo>
                    <a:pt x="1038" y="2724"/>
                  </a:lnTo>
                  <a:lnTo>
                    <a:pt x="1044" y="2719"/>
                  </a:lnTo>
                  <a:lnTo>
                    <a:pt x="1048" y="2723"/>
                  </a:lnTo>
                  <a:lnTo>
                    <a:pt x="1055" y="2721"/>
                  </a:lnTo>
                  <a:lnTo>
                    <a:pt x="1061" y="2725"/>
                  </a:lnTo>
                  <a:lnTo>
                    <a:pt x="1063" y="2728"/>
                  </a:lnTo>
                  <a:lnTo>
                    <a:pt x="1062" y="2729"/>
                  </a:lnTo>
                  <a:lnTo>
                    <a:pt x="1058" y="2733"/>
                  </a:lnTo>
                  <a:lnTo>
                    <a:pt x="1063" y="2729"/>
                  </a:lnTo>
                  <a:lnTo>
                    <a:pt x="1063" y="2733"/>
                  </a:lnTo>
                  <a:lnTo>
                    <a:pt x="1066" y="2737"/>
                  </a:lnTo>
                  <a:lnTo>
                    <a:pt x="1070" y="2741"/>
                  </a:lnTo>
                  <a:lnTo>
                    <a:pt x="1079" y="2744"/>
                  </a:lnTo>
                  <a:lnTo>
                    <a:pt x="1077" y="2752"/>
                  </a:lnTo>
                  <a:lnTo>
                    <a:pt x="1072" y="2753"/>
                  </a:lnTo>
                  <a:lnTo>
                    <a:pt x="1072" y="2755"/>
                  </a:lnTo>
                  <a:lnTo>
                    <a:pt x="1073" y="2755"/>
                  </a:lnTo>
                  <a:lnTo>
                    <a:pt x="1072" y="2754"/>
                  </a:lnTo>
                  <a:lnTo>
                    <a:pt x="1077" y="2753"/>
                  </a:lnTo>
                  <a:lnTo>
                    <a:pt x="1079" y="2749"/>
                  </a:lnTo>
                  <a:lnTo>
                    <a:pt x="1080" y="2747"/>
                  </a:lnTo>
                  <a:lnTo>
                    <a:pt x="1083" y="2749"/>
                  </a:lnTo>
                  <a:lnTo>
                    <a:pt x="1087" y="2747"/>
                  </a:lnTo>
                  <a:lnTo>
                    <a:pt x="1090" y="2747"/>
                  </a:lnTo>
                  <a:lnTo>
                    <a:pt x="1091" y="2748"/>
                  </a:lnTo>
                  <a:lnTo>
                    <a:pt x="1090" y="2750"/>
                  </a:lnTo>
                  <a:lnTo>
                    <a:pt x="1083" y="2754"/>
                  </a:lnTo>
                  <a:lnTo>
                    <a:pt x="1080" y="2760"/>
                  </a:lnTo>
                  <a:lnTo>
                    <a:pt x="1082" y="2764"/>
                  </a:lnTo>
                  <a:lnTo>
                    <a:pt x="1079" y="2770"/>
                  </a:lnTo>
                  <a:lnTo>
                    <a:pt x="1077" y="2772"/>
                  </a:lnTo>
                  <a:lnTo>
                    <a:pt x="1077" y="2774"/>
                  </a:lnTo>
                  <a:lnTo>
                    <a:pt x="1079" y="2772"/>
                  </a:lnTo>
                  <a:lnTo>
                    <a:pt x="1082" y="2770"/>
                  </a:lnTo>
                  <a:lnTo>
                    <a:pt x="1083" y="2762"/>
                  </a:lnTo>
                  <a:lnTo>
                    <a:pt x="1086" y="2758"/>
                  </a:lnTo>
                  <a:lnTo>
                    <a:pt x="1088" y="2755"/>
                  </a:lnTo>
                  <a:lnTo>
                    <a:pt x="1088" y="2760"/>
                  </a:lnTo>
                  <a:lnTo>
                    <a:pt x="1087" y="2767"/>
                  </a:lnTo>
                  <a:lnTo>
                    <a:pt x="1086" y="2766"/>
                  </a:lnTo>
                  <a:lnTo>
                    <a:pt x="1084" y="2769"/>
                  </a:lnTo>
                  <a:lnTo>
                    <a:pt x="1084" y="2772"/>
                  </a:lnTo>
                  <a:lnTo>
                    <a:pt x="1082" y="2774"/>
                  </a:lnTo>
                  <a:lnTo>
                    <a:pt x="1080" y="2780"/>
                  </a:lnTo>
                  <a:lnTo>
                    <a:pt x="1077" y="2782"/>
                  </a:lnTo>
                  <a:lnTo>
                    <a:pt x="1076" y="2786"/>
                  </a:lnTo>
                  <a:lnTo>
                    <a:pt x="1075" y="2786"/>
                  </a:lnTo>
                  <a:lnTo>
                    <a:pt x="1075" y="2790"/>
                  </a:lnTo>
                  <a:lnTo>
                    <a:pt x="1072" y="2794"/>
                  </a:lnTo>
                  <a:lnTo>
                    <a:pt x="1073" y="2794"/>
                  </a:lnTo>
                  <a:lnTo>
                    <a:pt x="1072" y="2797"/>
                  </a:lnTo>
                  <a:lnTo>
                    <a:pt x="1070" y="2798"/>
                  </a:lnTo>
                  <a:lnTo>
                    <a:pt x="1069" y="2799"/>
                  </a:lnTo>
                  <a:lnTo>
                    <a:pt x="1069" y="2800"/>
                  </a:lnTo>
                  <a:lnTo>
                    <a:pt x="1070" y="2800"/>
                  </a:lnTo>
                  <a:lnTo>
                    <a:pt x="1066" y="2817"/>
                  </a:lnTo>
                  <a:lnTo>
                    <a:pt x="1063" y="2819"/>
                  </a:lnTo>
                  <a:lnTo>
                    <a:pt x="1056" y="2822"/>
                  </a:lnTo>
                  <a:lnTo>
                    <a:pt x="1052" y="2827"/>
                  </a:lnTo>
                  <a:lnTo>
                    <a:pt x="1047" y="2829"/>
                  </a:lnTo>
                  <a:lnTo>
                    <a:pt x="1047" y="2831"/>
                  </a:lnTo>
                  <a:lnTo>
                    <a:pt x="1044" y="2831"/>
                  </a:lnTo>
                  <a:lnTo>
                    <a:pt x="1041" y="2837"/>
                  </a:lnTo>
                  <a:lnTo>
                    <a:pt x="1037" y="2840"/>
                  </a:lnTo>
                  <a:lnTo>
                    <a:pt x="1036" y="2840"/>
                  </a:lnTo>
                  <a:lnTo>
                    <a:pt x="1034" y="2837"/>
                  </a:lnTo>
                  <a:lnTo>
                    <a:pt x="1031" y="2835"/>
                  </a:lnTo>
                  <a:lnTo>
                    <a:pt x="1027" y="2840"/>
                  </a:lnTo>
                  <a:lnTo>
                    <a:pt x="1023" y="2840"/>
                  </a:lnTo>
                  <a:lnTo>
                    <a:pt x="1019" y="2835"/>
                  </a:lnTo>
                  <a:lnTo>
                    <a:pt x="1020" y="2840"/>
                  </a:lnTo>
                  <a:lnTo>
                    <a:pt x="1023" y="2842"/>
                  </a:lnTo>
                  <a:lnTo>
                    <a:pt x="1026" y="2842"/>
                  </a:lnTo>
                  <a:lnTo>
                    <a:pt x="1030" y="2841"/>
                  </a:lnTo>
                  <a:lnTo>
                    <a:pt x="1034" y="2844"/>
                  </a:lnTo>
                  <a:lnTo>
                    <a:pt x="1036" y="2845"/>
                  </a:lnTo>
                  <a:lnTo>
                    <a:pt x="1033" y="2847"/>
                  </a:lnTo>
                  <a:lnTo>
                    <a:pt x="1033" y="2849"/>
                  </a:lnTo>
                  <a:lnTo>
                    <a:pt x="1036" y="2848"/>
                  </a:lnTo>
                  <a:lnTo>
                    <a:pt x="1040" y="2852"/>
                  </a:lnTo>
                  <a:lnTo>
                    <a:pt x="1042" y="2847"/>
                  </a:lnTo>
                  <a:lnTo>
                    <a:pt x="1050" y="2844"/>
                  </a:lnTo>
                  <a:lnTo>
                    <a:pt x="1055" y="2849"/>
                  </a:lnTo>
                  <a:lnTo>
                    <a:pt x="1055" y="2860"/>
                  </a:lnTo>
                  <a:lnTo>
                    <a:pt x="1056" y="2857"/>
                  </a:lnTo>
                  <a:lnTo>
                    <a:pt x="1058" y="2861"/>
                  </a:lnTo>
                  <a:lnTo>
                    <a:pt x="1056" y="2861"/>
                  </a:lnTo>
                  <a:lnTo>
                    <a:pt x="1056" y="2865"/>
                  </a:lnTo>
                  <a:lnTo>
                    <a:pt x="1061" y="2872"/>
                  </a:lnTo>
                  <a:lnTo>
                    <a:pt x="1062" y="2876"/>
                  </a:lnTo>
                  <a:lnTo>
                    <a:pt x="1059" y="2878"/>
                  </a:lnTo>
                  <a:lnTo>
                    <a:pt x="1058" y="2876"/>
                  </a:lnTo>
                  <a:lnTo>
                    <a:pt x="1055" y="2876"/>
                  </a:lnTo>
                  <a:lnTo>
                    <a:pt x="1050" y="2879"/>
                  </a:lnTo>
                  <a:lnTo>
                    <a:pt x="1047" y="2884"/>
                  </a:lnTo>
                  <a:lnTo>
                    <a:pt x="1042" y="2879"/>
                  </a:lnTo>
                  <a:lnTo>
                    <a:pt x="1047" y="2882"/>
                  </a:lnTo>
                  <a:lnTo>
                    <a:pt x="1047" y="2879"/>
                  </a:lnTo>
                  <a:lnTo>
                    <a:pt x="1045" y="2878"/>
                  </a:lnTo>
                  <a:lnTo>
                    <a:pt x="1045" y="2879"/>
                  </a:lnTo>
                  <a:lnTo>
                    <a:pt x="1044" y="2878"/>
                  </a:lnTo>
                  <a:lnTo>
                    <a:pt x="1041" y="2878"/>
                  </a:lnTo>
                  <a:lnTo>
                    <a:pt x="1041" y="2879"/>
                  </a:lnTo>
                  <a:lnTo>
                    <a:pt x="1042" y="2884"/>
                  </a:lnTo>
                  <a:lnTo>
                    <a:pt x="1041" y="2887"/>
                  </a:lnTo>
                  <a:lnTo>
                    <a:pt x="1037" y="2889"/>
                  </a:lnTo>
                  <a:lnTo>
                    <a:pt x="1036" y="2891"/>
                  </a:lnTo>
                  <a:lnTo>
                    <a:pt x="1033" y="2893"/>
                  </a:lnTo>
                  <a:lnTo>
                    <a:pt x="1030" y="2894"/>
                  </a:lnTo>
                  <a:lnTo>
                    <a:pt x="1030" y="2897"/>
                  </a:lnTo>
                  <a:lnTo>
                    <a:pt x="1027" y="2894"/>
                  </a:lnTo>
                  <a:lnTo>
                    <a:pt x="1026" y="2894"/>
                  </a:lnTo>
                  <a:lnTo>
                    <a:pt x="1030" y="2887"/>
                  </a:lnTo>
                  <a:lnTo>
                    <a:pt x="1026" y="2886"/>
                  </a:lnTo>
                  <a:lnTo>
                    <a:pt x="1023" y="2891"/>
                  </a:lnTo>
                  <a:lnTo>
                    <a:pt x="1016" y="2894"/>
                  </a:lnTo>
                  <a:lnTo>
                    <a:pt x="1013" y="2897"/>
                  </a:lnTo>
                  <a:lnTo>
                    <a:pt x="1012" y="2898"/>
                  </a:lnTo>
                  <a:lnTo>
                    <a:pt x="1015" y="2898"/>
                  </a:lnTo>
                  <a:lnTo>
                    <a:pt x="1019" y="2894"/>
                  </a:lnTo>
                  <a:lnTo>
                    <a:pt x="1022" y="2894"/>
                  </a:lnTo>
                  <a:lnTo>
                    <a:pt x="1023" y="2902"/>
                  </a:lnTo>
                  <a:lnTo>
                    <a:pt x="1022" y="2911"/>
                  </a:lnTo>
                  <a:lnTo>
                    <a:pt x="1025" y="2915"/>
                  </a:lnTo>
                  <a:lnTo>
                    <a:pt x="1027" y="2914"/>
                  </a:lnTo>
                  <a:lnTo>
                    <a:pt x="1026" y="2909"/>
                  </a:lnTo>
                  <a:lnTo>
                    <a:pt x="1029" y="2906"/>
                  </a:lnTo>
                  <a:lnTo>
                    <a:pt x="1034" y="2911"/>
                  </a:lnTo>
                  <a:lnTo>
                    <a:pt x="1034" y="2914"/>
                  </a:lnTo>
                  <a:lnTo>
                    <a:pt x="1036" y="2915"/>
                  </a:lnTo>
                  <a:lnTo>
                    <a:pt x="1036" y="2916"/>
                  </a:lnTo>
                  <a:lnTo>
                    <a:pt x="1037" y="2915"/>
                  </a:lnTo>
                  <a:lnTo>
                    <a:pt x="1038" y="2923"/>
                  </a:lnTo>
                  <a:lnTo>
                    <a:pt x="1033" y="2928"/>
                  </a:lnTo>
                  <a:lnTo>
                    <a:pt x="1034" y="2932"/>
                  </a:lnTo>
                  <a:lnTo>
                    <a:pt x="1037" y="2928"/>
                  </a:lnTo>
                  <a:lnTo>
                    <a:pt x="1041" y="2928"/>
                  </a:lnTo>
                  <a:lnTo>
                    <a:pt x="1044" y="2932"/>
                  </a:lnTo>
                  <a:lnTo>
                    <a:pt x="1047" y="2934"/>
                  </a:lnTo>
                  <a:lnTo>
                    <a:pt x="1044" y="2931"/>
                  </a:lnTo>
                  <a:lnTo>
                    <a:pt x="1051" y="2924"/>
                  </a:lnTo>
                  <a:lnTo>
                    <a:pt x="1056" y="2920"/>
                  </a:lnTo>
                  <a:lnTo>
                    <a:pt x="1061" y="2924"/>
                  </a:lnTo>
                  <a:lnTo>
                    <a:pt x="1065" y="2928"/>
                  </a:lnTo>
                  <a:lnTo>
                    <a:pt x="1063" y="2928"/>
                  </a:lnTo>
                  <a:lnTo>
                    <a:pt x="1065" y="2932"/>
                  </a:lnTo>
                  <a:lnTo>
                    <a:pt x="1066" y="2938"/>
                  </a:lnTo>
                  <a:lnTo>
                    <a:pt x="1066" y="2941"/>
                  </a:lnTo>
                  <a:lnTo>
                    <a:pt x="1068" y="2941"/>
                  </a:lnTo>
                  <a:lnTo>
                    <a:pt x="1072" y="2953"/>
                  </a:lnTo>
                  <a:lnTo>
                    <a:pt x="1061" y="2973"/>
                  </a:lnTo>
                  <a:lnTo>
                    <a:pt x="1058" y="2977"/>
                  </a:lnTo>
                  <a:lnTo>
                    <a:pt x="1051" y="2980"/>
                  </a:lnTo>
                  <a:lnTo>
                    <a:pt x="1048" y="2981"/>
                  </a:lnTo>
                  <a:lnTo>
                    <a:pt x="1048" y="2985"/>
                  </a:lnTo>
                  <a:lnTo>
                    <a:pt x="1047" y="2988"/>
                  </a:lnTo>
                  <a:lnTo>
                    <a:pt x="1045" y="2988"/>
                  </a:lnTo>
                  <a:lnTo>
                    <a:pt x="1041" y="2985"/>
                  </a:lnTo>
                  <a:lnTo>
                    <a:pt x="1037" y="2984"/>
                  </a:lnTo>
                  <a:lnTo>
                    <a:pt x="1029" y="2986"/>
                  </a:lnTo>
                  <a:lnTo>
                    <a:pt x="1027" y="2988"/>
                  </a:lnTo>
                  <a:lnTo>
                    <a:pt x="1029" y="2988"/>
                  </a:lnTo>
                  <a:lnTo>
                    <a:pt x="1034" y="2988"/>
                  </a:lnTo>
                  <a:lnTo>
                    <a:pt x="1036" y="2988"/>
                  </a:lnTo>
                  <a:lnTo>
                    <a:pt x="1036" y="2990"/>
                  </a:lnTo>
                  <a:lnTo>
                    <a:pt x="1031" y="2994"/>
                  </a:lnTo>
                  <a:lnTo>
                    <a:pt x="1031" y="3009"/>
                  </a:lnTo>
                  <a:lnTo>
                    <a:pt x="1027" y="3014"/>
                  </a:lnTo>
                  <a:lnTo>
                    <a:pt x="1027" y="3022"/>
                  </a:lnTo>
                  <a:lnTo>
                    <a:pt x="1031" y="3031"/>
                  </a:lnTo>
                  <a:lnTo>
                    <a:pt x="1033" y="3040"/>
                  </a:lnTo>
                  <a:lnTo>
                    <a:pt x="1034" y="3044"/>
                  </a:lnTo>
                  <a:lnTo>
                    <a:pt x="1041" y="3050"/>
                  </a:lnTo>
                  <a:lnTo>
                    <a:pt x="1045" y="3063"/>
                  </a:lnTo>
                  <a:lnTo>
                    <a:pt x="1042" y="3048"/>
                  </a:lnTo>
                  <a:lnTo>
                    <a:pt x="1036" y="3040"/>
                  </a:lnTo>
                  <a:lnTo>
                    <a:pt x="1037" y="3031"/>
                  </a:lnTo>
                  <a:lnTo>
                    <a:pt x="1042" y="3030"/>
                  </a:lnTo>
                  <a:lnTo>
                    <a:pt x="1044" y="3032"/>
                  </a:lnTo>
                  <a:lnTo>
                    <a:pt x="1045" y="3031"/>
                  </a:lnTo>
                  <a:lnTo>
                    <a:pt x="1044" y="3028"/>
                  </a:lnTo>
                  <a:lnTo>
                    <a:pt x="1038" y="3028"/>
                  </a:lnTo>
                  <a:lnTo>
                    <a:pt x="1036" y="3026"/>
                  </a:lnTo>
                  <a:lnTo>
                    <a:pt x="1042" y="3013"/>
                  </a:lnTo>
                  <a:lnTo>
                    <a:pt x="1042" y="3010"/>
                  </a:lnTo>
                  <a:lnTo>
                    <a:pt x="1040" y="3005"/>
                  </a:lnTo>
                  <a:lnTo>
                    <a:pt x="1040" y="3002"/>
                  </a:lnTo>
                  <a:lnTo>
                    <a:pt x="1041" y="2999"/>
                  </a:lnTo>
                  <a:lnTo>
                    <a:pt x="1042" y="2999"/>
                  </a:lnTo>
                  <a:lnTo>
                    <a:pt x="1047" y="3005"/>
                  </a:lnTo>
                  <a:lnTo>
                    <a:pt x="1052" y="3007"/>
                  </a:lnTo>
                  <a:lnTo>
                    <a:pt x="1051" y="3005"/>
                  </a:lnTo>
                  <a:lnTo>
                    <a:pt x="1047" y="3002"/>
                  </a:lnTo>
                  <a:lnTo>
                    <a:pt x="1044" y="2991"/>
                  </a:lnTo>
                  <a:lnTo>
                    <a:pt x="1045" y="2991"/>
                  </a:lnTo>
                  <a:lnTo>
                    <a:pt x="1054" y="2995"/>
                  </a:lnTo>
                  <a:lnTo>
                    <a:pt x="1056" y="2998"/>
                  </a:lnTo>
                  <a:lnTo>
                    <a:pt x="1058" y="3003"/>
                  </a:lnTo>
                  <a:lnTo>
                    <a:pt x="1062" y="3003"/>
                  </a:lnTo>
                  <a:lnTo>
                    <a:pt x="1059" y="2999"/>
                  </a:lnTo>
                  <a:lnTo>
                    <a:pt x="1063" y="2991"/>
                  </a:lnTo>
                  <a:lnTo>
                    <a:pt x="1073" y="2991"/>
                  </a:lnTo>
                  <a:lnTo>
                    <a:pt x="1088" y="2985"/>
                  </a:lnTo>
                  <a:lnTo>
                    <a:pt x="1093" y="2988"/>
                  </a:lnTo>
                  <a:lnTo>
                    <a:pt x="1096" y="2991"/>
                  </a:lnTo>
                  <a:lnTo>
                    <a:pt x="1098" y="2995"/>
                  </a:lnTo>
                  <a:lnTo>
                    <a:pt x="1098" y="3002"/>
                  </a:lnTo>
                  <a:lnTo>
                    <a:pt x="1097" y="3006"/>
                  </a:lnTo>
                  <a:lnTo>
                    <a:pt x="1090" y="3007"/>
                  </a:lnTo>
                  <a:lnTo>
                    <a:pt x="1087" y="3010"/>
                  </a:lnTo>
                  <a:lnTo>
                    <a:pt x="1091" y="3009"/>
                  </a:lnTo>
                  <a:lnTo>
                    <a:pt x="1097" y="3011"/>
                  </a:lnTo>
                  <a:lnTo>
                    <a:pt x="1101" y="3013"/>
                  </a:lnTo>
                  <a:lnTo>
                    <a:pt x="1102" y="3016"/>
                  </a:lnTo>
                  <a:lnTo>
                    <a:pt x="1104" y="3014"/>
                  </a:lnTo>
                  <a:lnTo>
                    <a:pt x="1109" y="3014"/>
                  </a:lnTo>
                  <a:lnTo>
                    <a:pt x="1116" y="3018"/>
                  </a:lnTo>
                  <a:lnTo>
                    <a:pt x="1116" y="3022"/>
                  </a:lnTo>
                  <a:lnTo>
                    <a:pt x="1125" y="3026"/>
                  </a:lnTo>
                  <a:lnTo>
                    <a:pt x="1127" y="3028"/>
                  </a:lnTo>
                  <a:lnTo>
                    <a:pt x="1129" y="3036"/>
                  </a:lnTo>
                  <a:lnTo>
                    <a:pt x="1125" y="3035"/>
                  </a:lnTo>
                  <a:lnTo>
                    <a:pt x="1123" y="3036"/>
                  </a:lnTo>
                  <a:lnTo>
                    <a:pt x="1125" y="3039"/>
                  </a:lnTo>
                  <a:lnTo>
                    <a:pt x="1127" y="3040"/>
                  </a:lnTo>
                  <a:lnTo>
                    <a:pt x="1130" y="3044"/>
                  </a:lnTo>
                  <a:lnTo>
                    <a:pt x="1133" y="3040"/>
                  </a:lnTo>
                  <a:lnTo>
                    <a:pt x="1137" y="3040"/>
                  </a:lnTo>
                  <a:lnTo>
                    <a:pt x="1139" y="3040"/>
                  </a:lnTo>
                  <a:lnTo>
                    <a:pt x="1139" y="3043"/>
                  </a:lnTo>
                  <a:lnTo>
                    <a:pt x="1143" y="3043"/>
                  </a:lnTo>
                  <a:lnTo>
                    <a:pt x="1144" y="3043"/>
                  </a:lnTo>
                  <a:lnTo>
                    <a:pt x="1162" y="3069"/>
                  </a:lnTo>
                  <a:lnTo>
                    <a:pt x="1168" y="3075"/>
                  </a:lnTo>
                  <a:lnTo>
                    <a:pt x="1177" y="3082"/>
                  </a:lnTo>
                  <a:lnTo>
                    <a:pt x="1177" y="3085"/>
                  </a:lnTo>
                  <a:lnTo>
                    <a:pt x="1172" y="3084"/>
                  </a:lnTo>
                  <a:lnTo>
                    <a:pt x="1166" y="3089"/>
                  </a:lnTo>
                  <a:lnTo>
                    <a:pt x="1164" y="3088"/>
                  </a:lnTo>
                  <a:lnTo>
                    <a:pt x="1161" y="3084"/>
                  </a:lnTo>
                  <a:lnTo>
                    <a:pt x="1160" y="3085"/>
                  </a:lnTo>
                  <a:lnTo>
                    <a:pt x="1164" y="3089"/>
                  </a:lnTo>
                  <a:lnTo>
                    <a:pt x="1169" y="3089"/>
                  </a:lnTo>
                  <a:lnTo>
                    <a:pt x="1173" y="3088"/>
                  </a:lnTo>
                  <a:lnTo>
                    <a:pt x="1177" y="3089"/>
                  </a:lnTo>
                  <a:lnTo>
                    <a:pt x="1176" y="3102"/>
                  </a:lnTo>
                  <a:lnTo>
                    <a:pt x="1175" y="3102"/>
                  </a:lnTo>
                  <a:lnTo>
                    <a:pt x="1172" y="3098"/>
                  </a:lnTo>
                  <a:lnTo>
                    <a:pt x="1166" y="3093"/>
                  </a:lnTo>
                  <a:lnTo>
                    <a:pt x="1171" y="3101"/>
                  </a:lnTo>
                  <a:lnTo>
                    <a:pt x="1173" y="3105"/>
                  </a:lnTo>
                  <a:lnTo>
                    <a:pt x="1175" y="3105"/>
                  </a:lnTo>
                  <a:lnTo>
                    <a:pt x="1176" y="3110"/>
                  </a:lnTo>
                  <a:lnTo>
                    <a:pt x="1175" y="3111"/>
                  </a:lnTo>
                  <a:lnTo>
                    <a:pt x="1172" y="3114"/>
                  </a:lnTo>
                  <a:lnTo>
                    <a:pt x="1165" y="3115"/>
                  </a:lnTo>
                  <a:lnTo>
                    <a:pt x="1154" y="3114"/>
                  </a:lnTo>
                  <a:lnTo>
                    <a:pt x="1155" y="3115"/>
                  </a:lnTo>
                  <a:lnTo>
                    <a:pt x="1155" y="3118"/>
                  </a:lnTo>
                  <a:lnTo>
                    <a:pt x="1148" y="3119"/>
                  </a:lnTo>
                  <a:lnTo>
                    <a:pt x="1154" y="3120"/>
                  </a:lnTo>
                  <a:lnTo>
                    <a:pt x="1151" y="3123"/>
                  </a:lnTo>
                  <a:lnTo>
                    <a:pt x="1147" y="3126"/>
                  </a:lnTo>
                  <a:lnTo>
                    <a:pt x="1133" y="3126"/>
                  </a:lnTo>
                  <a:lnTo>
                    <a:pt x="1135" y="3127"/>
                  </a:lnTo>
                  <a:lnTo>
                    <a:pt x="1144" y="3130"/>
                  </a:lnTo>
                  <a:lnTo>
                    <a:pt x="1161" y="3123"/>
                  </a:lnTo>
                  <a:lnTo>
                    <a:pt x="1168" y="3119"/>
                  </a:lnTo>
                  <a:lnTo>
                    <a:pt x="1175" y="3119"/>
                  </a:lnTo>
                  <a:lnTo>
                    <a:pt x="1177" y="3120"/>
                  </a:lnTo>
                  <a:lnTo>
                    <a:pt x="1177" y="3123"/>
                  </a:lnTo>
                  <a:lnTo>
                    <a:pt x="1182" y="3126"/>
                  </a:lnTo>
                  <a:lnTo>
                    <a:pt x="1179" y="3134"/>
                  </a:lnTo>
                  <a:lnTo>
                    <a:pt x="1180" y="3138"/>
                  </a:lnTo>
                  <a:lnTo>
                    <a:pt x="1182" y="3142"/>
                  </a:lnTo>
                  <a:lnTo>
                    <a:pt x="1182" y="3137"/>
                  </a:lnTo>
                  <a:lnTo>
                    <a:pt x="1186" y="3123"/>
                  </a:lnTo>
                  <a:lnTo>
                    <a:pt x="1185" y="3122"/>
                  </a:lnTo>
                  <a:lnTo>
                    <a:pt x="1182" y="3120"/>
                  </a:lnTo>
                  <a:lnTo>
                    <a:pt x="1182" y="3118"/>
                  </a:lnTo>
                  <a:lnTo>
                    <a:pt x="1187" y="3111"/>
                  </a:lnTo>
                  <a:lnTo>
                    <a:pt x="1190" y="3110"/>
                  </a:lnTo>
                  <a:lnTo>
                    <a:pt x="1198" y="3103"/>
                  </a:lnTo>
                  <a:lnTo>
                    <a:pt x="1210" y="3093"/>
                  </a:lnTo>
                  <a:lnTo>
                    <a:pt x="1214" y="3093"/>
                  </a:lnTo>
                  <a:lnTo>
                    <a:pt x="1221" y="3097"/>
                  </a:lnTo>
                  <a:lnTo>
                    <a:pt x="1222" y="3102"/>
                  </a:lnTo>
                  <a:lnTo>
                    <a:pt x="1222" y="3106"/>
                  </a:lnTo>
                  <a:lnTo>
                    <a:pt x="1216" y="3115"/>
                  </a:lnTo>
                  <a:lnTo>
                    <a:pt x="1211" y="3120"/>
                  </a:lnTo>
                  <a:lnTo>
                    <a:pt x="1202" y="3123"/>
                  </a:lnTo>
                  <a:lnTo>
                    <a:pt x="1197" y="3130"/>
                  </a:lnTo>
                  <a:lnTo>
                    <a:pt x="1196" y="3138"/>
                  </a:lnTo>
                  <a:lnTo>
                    <a:pt x="1198" y="3142"/>
                  </a:lnTo>
                  <a:lnTo>
                    <a:pt x="1205" y="3145"/>
                  </a:lnTo>
                  <a:lnTo>
                    <a:pt x="1211" y="3163"/>
                  </a:lnTo>
                  <a:lnTo>
                    <a:pt x="1210" y="3164"/>
                  </a:lnTo>
                  <a:lnTo>
                    <a:pt x="1205" y="3168"/>
                  </a:lnTo>
                  <a:lnTo>
                    <a:pt x="1202" y="3170"/>
                  </a:lnTo>
                  <a:lnTo>
                    <a:pt x="1197" y="3173"/>
                  </a:lnTo>
                  <a:lnTo>
                    <a:pt x="1196" y="3176"/>
                  </a:lnTo>
                  <a:lnTo>
                    <a:pt x="1197" y="3179"/>
                  </a:lnTo>
                  <a:lnTo>
                    <a:pt x="1198" y="3179"/>
                  </a:lnTo>
                  <a:lnTo>
                    <a:pt x="1198" y="3176"/>
                  </a:lnTo>
                  <a:lnTo>
                    <a:pt x="1204" y="3172"/>
                  </a:lnTo>
                  <a:lnTo>
                    <a:pt x="1212" y="3168"/>
                  </a:lnTo>
                  <a:lnTo>
                    <a:pt x="1215" y="3160"/>
                  </a:lnTo>
                  <a:lnTo>
                    <a:pt x="1215" y="3156"/>
                  </a:lnTo>
                  <a:lnTo>
                    <a:pt x="1212" y="3152"/>
                  </a:lnTo>
                  <a:lnTo>
                    <a:pt x="1214" y="3142"/>
                  </a:lnTo>
                  <a:lnTo>
                    <a:pt x="1210" y="3137"/>
                  </a:lnTo>
                  <a:lnTo>
                    <a:pt x="1214" y="3132"/>
                  </a:lnTo>
                  <a:lnTo>
                    <a:pt x="1224" y="3128"/>
                  </a:lnTo>
                  <a:lnTo>
                    <a:pt x="1229" y="3128"/>
                  </a:lnTo>
                  <a:lnTo>
                    <a:pt x="1240" y="3125"/>
                  </a:lnTo>
                  <a:lnTo>
                    <a:pt x="1240" y="3127"/>
                  </a:lnTo>
                  <a:lnTo>
                    <a:pt x="1239" y="3130"/>
                  </a:lnTo>
                  <a:lnTo>
                    <a:pt x="1237" y="3138"/>
                  </a:lnTo>
                  <a:lnTo>
                    <a:pt x="1240" y="3145"/>
                  </a:lnTo>
                  <a:lnTo>
                    <a:pt x="1243" y="3147"/>
                  </a:lnTo>
                  <a:lnTo>
                    <a:pt x="1252" y="3142"/>
                  </a:lnTo>
                  <a:lnTo>
                    <a:pt x="1254" y="3142"/>
                  </a:lnTo>
                  <a:lnTo>
                    <a:pt x="1261" y="3152"/>
                  </a:lnTo>
                  <a:lnTo>
                    <a:pt x="1261" y="3150"/>
                  </a:lnTo>
                  <a:lnTo>
                    <a:pt x="1260" y="3142"/>
                  </a:lnTo>
                  <a:lnTo>
                    <a:pt x="1257" y="3138"/>
                  </a:lnTo>
                  <a:lnTo>
                    <a:pt x="1250" y="3138"/>
                  </a:lnTo>
                  <a:lnTo>
                    <a:pt x="1243" y="3144"/>
                  </a:lnTo>
                  <a:lnTo>
                    <a:pt x="1240" y="3144"/>
                  </a:lnTo>
                  <a:lnTo>
                    <a:pt x="1239" y="3142"/>
                  </a:lnTo>
                  <a:lnTo>
                    <a:pt x="1239" y="3138"/>
                  </a:lnTo>
                  <a:lnTo>
                    <a:pt x="1244" y="3126"/>
                  </a:lnTo>
                  <a:lnTo>
                    <a:pt x="1250" y="3125"/>
                  </a:lnTo>
                  <a:lnTo>
                    <a:pt x="1258" y="3127"/>
                  </a:lnTo>
                  <a:lnTo>
                    <a:pt x="1260" y="3130"/>
                  </a:lnTo>
                  <a:lnTo>
                    <a:pt x="1266" y="3130"/>
                  </a:lnTo>
                  <a:lnTo>
                    <a:pt x="1272" y="3137"/>
                  </a:lnTo>
                  <a:lnTo>
                    <a:pt x="1276" y="3138"/>
                  </a:lnTo>
                  <a:lnTo>
                    <a:pt x="1276" y="3134"/>
                  </a:lnTo>
                  <a:lnTo>
                    <a:pt x="1280" y="3138"/>
                  </a:lnTo>
                  <a:lnTo>
                    <a:pt x="1289" y="3151"/>
                  </a:lnTo>
                  <a:lnTo>
                    <a:pt x="1287" y="3159"/>
                  </a:lnTo>
                  <a:lnTo>
                    <a:pt x="1291" y="3155"/>
                  </a:lnTo>
                  <a:lnTo>
                    <a:pt x="1291" y="3147"/>
                  </a:lnTo>
                  <a:lnTo>
                    <a:pt x="1294" y="3145"/>
                  </a:lnTo>
                  <a:lnTo>
                    <a:pt x="1296" y="3156"/>
                  </a:lnTo>
                  <a:lnTo>
                    <a:pt x="1300" y="3164"/>
                  </a:lnTo>
                  <a:lnTo>
                    <a:pt x="1304" y="3176"/>
                  </a:lnTo>
                  <a:lnTo>
                    <a:pt x="1304" y="3179"/>
                  </a:lnTo>
                  <a:lnTo>
                    <a:pt x="1299" y="3182"/>
                  </a:lnTo>
                  <a:lnTo>
                    <a:pt x="1291" y="3179"/>
                  </a:lnTo>
                  <a:lnTo>
                    <a:pt x="1286" y="3181"/>
                  </a:lnTo>
                  <a:lnTo>
                    <a:pt x="1275" y="3189"/>
                  </a:lnTo>
                  <a:lnTo>
                    <a:pt x="1272" y="3187"/>
                  </a:lnTo>
                  <a:lnTo>
                    <a:pt x="1271" y="3182"/>
                  </a:lnTo>
                  <a:lnTo>
                    <a:pt x="1266" y="3182"/>
                  </a:lnTo>
                  <a:lnTo>
                    <a:pt x="1268" y="3182"/>
                  </a:lnTo>
                  <a:lnTo>
                    <a:pt x="1271" y="3189"/>
                  </a:lnTo>
                  <a:lnTo>
                    <a:pt x="1275" y="3192"/>
                  </a:lnTo>
                  <a:lnTo>
                    <a:pt x="1277" y="3190"/>
                  </a:lnTo>
                  <a:lnTo>
                    <a:pt x="1283" y="3187"/>
                  </a:lnTo>
                  <a:lnTo>
                    <a:pt x="1289" y="3182"/>
                  </a:lnTo>
                  <a:lnTo>
                    <a:pt x="1296" y="3187"/>
                  </a:lnTo>
                  <a:lnTo>
                    <a:pt x="1296" y="3189"/>
                  </a:lnTo>
                  <a:lnTo>
                    <a:pt x="1300" y="3189"/>
                  </a:lnTo>
                  <a:lnTo>
                    <a:pt x="1304" y="3187"/>
                  </a:lnTo>
                  <a:lnTo>
                    <a:pt x="1308" y="3192"/>
                  </a:lnTo>
                  <a:lnTo>
                    <a:pt x="1308" y="3193"/>
                  </a:lnTo>
                  <a:lnTo>
                    <a:pt x="1304" y="3196"/>
                  </a:lnTo>
                  <a:lnTo>
                    <a:pt x="1305" y="3196"/>
                  </a:lnTo>
                  <a:lnTo>
                    <a:pt x="1308" y="3196"/>
                  </a:lnTo>
                  <a:lnTo>
                    <a:pt x="1311" y="3193"/>
                  </a:lnTo>
                  <a:lnTo>
                    <a:pt x="1311" y="3189"/>
                  </a:lnTo>
                  <a:lnTo>
                    <a:pt x="1308" y="3185"/>
                  </a:lnTo>
                  <a:lnTo>
                    <a:pt x="1310" y="3185"/>
                  </a:lnTo>
                  <a:lnTo>
                    <a:pt x="1311" y="3187"/>
                  </a:lnTo>
                  <a:lnTo>
                    <a:pt x="1318" y="3201"/>
                  </a:lnTo>
                  <a:lnTo>
                    <a:pt x="1319" y="3209"/>
                  </a:lnTo>
                  <a:lnTo>
                    <a:pt x="1315" y="3213"/>
                  </a:lnTo>
                  <a:lnTo>
                    <a:pt x="1314" y="3212"/>
                  </a:lnTo>
                  <a:lnTo>
                    <a:pt x="1312" y="3209"/>
                  </a:lnTo>
                  <a:lnTo>
                    <a:pt x="1310" y="3207"/>
                  </a:lnTo>
                  <a:lnTo>
                    <a:pt x="1308" y="3209"/>
                  </a:lnTo>
                  <a:lnTo>
                    <a:pt x="1302" y="3209"/>
                  </a:lnTo>
                  <a:lnTo>
                    <a:pt x="1297" y="3212"/>
                  </a:lnTo>
                  <a:lnTo>
                    <a:pt x="1289" y="3212"/>
                  </a:lnTo>
                  <a:lnTo>
                    <a:pt x="1283" y="3215"/>
                  </a:lnTo>
                  <a:lnTo>
                    <a:pt x="1279" y="3222"/>
                  </a:lnTo>
                  <a:lnTo>
                    <a:pt x="1272" y="3224"/>
                  </a:lnTo>
                  <a:lnTo>
                    <a:pt x="1269" y="3226"/>
                  </a:lnTo>
                  <a:lnTo>
                    <a:pt x="1279" y="3226"/>
                  </a:lnTo>
                  <a:lnTo>
                    <a:pt x="1282" y="3224"/>
                  </a:lnTo>
                  <a:lnTo>
                    <a:pt x="1287" y="3218"/>
                  </a:lnTo>
                  <a:lnTo>
                    <a:pt x="1301" y="3217"/>
                  </a:lnTo>
                  <a:lnTo>
                    <a:pt x="1301" y="3218"/>
                  </a:lnTo>
                  <a:lnTo>
                    <a:pt x="1301" y="3224"/>
                  </a:lnTo>
                  <a:lnTo>
                    <a:pt x="1299" y="3226"/>
                  </a:lnTo>
                  <a:lnTo>
                    <a:pt x="1299" y="3227"/>
                  </a:lnTo>
                  <a:lnTo>
                    <a:pt x="1300" y="3227"/>
                  </a:lnTo>
                  <a:lnTo>
                    <a:pt x="1302" y="3227"/>
                  </a:lnTo>
                  <a:lnTo>
                    <a:pt x="1304" y="3231"/>
                  </a:lnTo>
                  <a:lnTo>
                    <a:pt x="1307" y="3231"/>
                  </a:lnTo>
                  <a:lnTo>
                    <a:pt x="1314" y="3250"/>
                  </a:lnTo>
                  <a:lnTo>
                    <a:pt x="1312" y="3254"/>
                  </a:lnTo>
                  <a:lnTo>
                    <a:pt x="1307" y="3254"/>
                  </a:lnTo>
                  <a:lnTo>
                    <a:pt x="1305" y="3257"/>
                  </a:lnTo>
                  <a:lnTo>
                    <a:pt x="1312" y="3256"/>
                  </a:lnTo>
                  <a:lnTo>
                    <a:pt x="1315" y="3254"/>
                  </a:lnTo>
                  <a:lnTo>
                    <a:pt x="1318" y="3250"/>
                  </a:lnTo>
                  <a:lnTo>
                    <a:pt x="1316" y="3246"/>
                  </a:lnTo>
                  <a:lnTo>
                    <a:pt x="1319" y="3246"/>
                  </a:lnTo>
                  <a:lnTo>
                    <a:pt x="1319" y="3239"/>
                  </a:lnTo>
                  <a:lnTo>
                    <a:pt x="1318" y="3235"/>
                  </a:lnTo>
                  <a:lnTo>
                    <a:pt x="1319" y="3231"/>
                  </a:lnTo>
                  <a:lnTo>
                    <a:pt x="1321" y="3227"/>
                  </a:lnTo>
                  <a:lnTo>
                    <a:pt x="1322" y="3231"/>
                  </a:lnTo>
                  <a:lnTo>
                    <a:pt x="1330" y="3254"/>
                  </a:lnTo>
                  <a:lnTo>
                    <a:pt x="1336" y="3264"/>
                  </a:lnTo>
                  <a:lnTo>
                    <a:pt x="1335" y="3263"/>
                  </a:lnTo>
                  <a:lnTo>
                    <a:pt x="1335" y="3267"/>
                  </a:lnTo>
                  <a:lnTo>
                    <a:pt x="1344" y="3276"/>
                  </a:lnTo>
                  <a:lnTo>
                    <a:pt x="1349" y="3285"/>
                  </a:lnTo>
                  <a:lnTo>
                    <a:pt x="1344" y="3291"/>
                  </a:lnTo>
                  <a:lnTo>
                    <a:pt x="1343" y="3289"/>
                  </a:lnTo>
                  <a:lnTo>
                    <a:pt x="1343" y="3294"/>
                  </a:lnTo>
                  <a:lnTo>
                    <a:pt x="1341" y="3297"/>
                  </a:lnTo>
                  <a:lnTo>
                    <a:pt x="1340" y="3299"/>
                  </a:lnTo>
                  <a:lnTo>
                    <a:pt x="1336" y="3301"/>
                  </a:lnTo>
                  <a:lnTo>
                    <a:pt x="1339" y="3302"/>
                  </a:lnTo>
                  <a:lnTo>
                    <a:pt x="1346" y="3301"/>
                  </a:lnTo>
                  <a:lnTo>
                    <a:pt x="1346" y="3302"/>
                  </a:lnTo>
                  <a:lnTo>
                    <a:pt x="1349" y="3305"/>
                  </a:lnTo>
                  <a:lnTo>
                    <a:pt x="1354" y="3311"/>
                  </a:lnTo>
                  <a:lnTo>
                    <a:pt x="1346" y="3321"/>
                  </a:lnTo>
                  <a:lnTo>
                    <a:pt x="1344" y="3321"/>
                  </a:lnTo>
                  <a:lnTo>
                    <a:pt x="1335" y="3325"/>
                  </a:lnTo>
                  <a:lnTo>
                    <a:pt x="1332" y="3329"/>
                  </a:lnTo>
                  <a:lnTo>
                    <a:pt x="1332" y="3331"/>
                  </a:lnTo>
                  <a:lnTo>
                    <a:pt x="1333" y="3333"/>
                  </a:lnTo>
                  <a:lnTo>
                    <a:pt x="1343" y="3336"/>
                  </a:lnTo>
                  <a:lnTo>
                    <a:pt x="1341" y="3347"/>
                  </a:lnTo>
                  <a:lnTo>
                    <a:pt x="1337" y="3351"/>
                  </a:lnTo>
                  <a:lnTo>
                    <a:pt x="1339" y="3355"/>
                  </a:lnTo>
                  <a:lnTo>
                    <a:pt x="1328" y="3362"/>
                  </a:lnTo>
                  <a:lnTo>
                    <a:pt x="1312" y="3364"/>
                  </a:lnTo>
                  <a:lnTo>
                    <a:pt x="1297" y="3370"/>
                  </a:lnTo>
                  <a:lnTo>
                    <a:pt x="1293" y="3370"/>
                  </a:lnTo>
                  <a:lnTo>
                    <a:pt x="1289" y="3368"/>
                  </a:lnTo>
                  <a:lnTo>
                    <a:pt x="1275" y="3368"/>
                  </a:lnTo>
                  <a:lnTo>
                    <a:pt x="1271" y="3370"/>
                  </a:lnTo>
                  <a:lnTo>
                    <a:pt x="1261" y="3370"/>
                  </a:lnTo>
                  <a:lnTo>
                    <a:pt x="1261" y="3372"/>
                  </a:lnTo>
                  <a:lnTo>
                    <a:pt x="1257" y="3374"/>
                  </a:lnTo>
                  <a:lnTo>
                    <a:pt x="1254" y="3379"/>
                  </a:lnTo>
                  <a:lnTo>
                    <a:pt x="1241" y="3387"/>
                  </a:lnTo>
                  <a:lnTo>
                    <a:pt x="1240" y="3387"/>
                  </a:lnTo>
                  <a:lnTo>
                    <a:pt x="1236" y="3383"/>
                  </a:lnTo>
                  <a:lnTo>
                    <a:pt x="1233" y="3383"/>
                  </a:lnTo>
                  <a:lnTo>
                    <a:pt x="1227" y="3388"/>
                  </a:lnTo>
                  <a:lnTo>
                    <a:pt x="1230" y="3392"/>
                  </a:lnTo>
                  <a:lnTo>
                    <a:pt x="1229" y="3396"/>
                  </a:lnTo>
                  <a:lnTo>
                    <a:pt x="1226" y="3395"/>
                  </a:lnTo>
                  <a:lnTo>
                    <a:pt x="1219" y="3396"/>
                  </a:lnTo>
                  <a:lnTo>
                    <a:pt x="1216" y="3392"/>
                  </a:lnTo>
                  <a:lnTo>
                    <a:pt x="1214" y="3392"/>
                  </a:lnTo>
                  <a:lnTo>
                    <a:pt x="1205" y="3399"/>
                  </a:lnTo>
                  <a:lnTo>
                    <a:pt x="1205" y="3403"/>
                  </a:lnTo>
                  <a:lnTo>
                    <a:pt x="1201" y="3408"/>
                  </a:lnTo>
                  <a:lnTo>
                    <a:pt x="1196" y="3408"/>
                  </a:lnTo>
                  <a:lnTo>
                    <a:pt x="1193" y="3412"/>
                  </a:lnTo>
                  <a:lnTo>
                    <a:pt x="1187" y="3413"/>
                  </a:lnTo>
                  <a:lnTo>
                    <a:pt x="1186" y="3417"/>
                  </a:lnTo>
                  <a:lnTo>
                    <a:pt x="1182" y="3417"/>
                  </a:lnTo>
                  <a:lnTo>
                    <a:pt x="1179" y="3417"/>
                  </a:lnTo>
                  <a:lnTo>
                    <a:pt x="1161" y="3425"/>
                  </a:lnTo>
                  <a:lnTo>
                    <a:pt x="1155" y="3423"/>
                  </a:lnTo>
                  <a:lnTo>
                    <a:pt x="1152" y="3428"/>
                  </a:lnTo>
                  <a:lnTo>
                    <a:pt x="1154" y="3431"/>
                  </a:lnTo>
                  <a:lnTo>
                    <a:pt x="1151" y="3437"/>
                  </a:lnTo>
                  <a:lnTo>
                    <a:pt x="1151" y="3440"/>
                  </a:lnTo>
                  <a:lnTo>
                    <a:pt x="1147" y="3441"/>
                  </a:lnTo>
                  <a:lnTo>
                    <a:pt x="1144" y="3440"/>
                  </a:lnTo>
                  <a:lnTo>
                    <a:pt x="1139" y="3440"/>
                  </a:lnTo>
                  <a:lnTo>
                    <a:pt x="1135" y="3443"/>
                  </a:lnTo>
                  <a:lnTo>
                    <a:pt x="1135" y="3449"/>
                  </a:lnTo>
                  <a:lnTo>
                    <a:pt x="1127" y="3451"/>
                  </a:lnTo>
                  <a:lnTo>
                    <a:pt x="1122" y="3458"/>
                  </a:lnTo>
                  <a:lnTo>
                    <a:pt x="1121" y="3462"/>
                  </a:lnTo>
                  <a:lnTo>
                    <a:pt x="1115" y="3467"/>
                  </a:lnTo>
                  <a:lnTo>
                    <a:pt x="1115" y="3474"/>
                  </a:lnTo>
                  <a:lnTo>
                    <a:pt x="1107" y="3480"/>
                  </a:lnTo>
                  <a:lnTo>
                    <a:pt x="1102" y="3482"/>
                  </a:lnTo>
                  <a:lnTo>
                    <a:pt x="1097" y="3482"/>
                  </a:lnTo>
                  <a:lnTo>
                    <a:pt x="1091" y="3482"/>
                  </a:lnTo>
                  <a:lnTo>
                    <a:pt x="1086" y="3478"/>
                  </a:lnTo>
                  <a:lnTo>
                    <a:pt x="1080" y="3478"/>
                  </a:lnTo>
                  <a:lnTo>
                    <a:pt x="1076" y="3474"/>
                  </a:lnTo>
                  <a:lnTo>
                    <a:pt x="1070" y="3471"/>
                  </a:lnTo>
                  <a:lnTo>
                    <a:pt x="1063" y="3473"/>
                  </a:lnTo>
                  <a:lnTo>
                    <a:pt x="1055" y="3466"/>
                  </a:lnTo>
                  <a:lnTo>
                    <a:pt x="1055" y="3459"/>
                  </a:lnTo>
                  <a:lnTo>
                    <a:pt x="1048" y="3459"/>
                  </a:lnTo>
                  <a:lnTo>
                    <a:pt x="1042" y="3457"/>
                  </a:lnTo>
                  <a:lnTo>
                    <a:pt x="1038" y="3454"/>
                  </a:lnTo>
                  <a:lnTo>
                    <a:pt x="1034" y="3454"/>
                  </a:lnTo>
                  <a:lnTo>
                    <a:pt x="1031" y="3451"/>
                  </a:lnTo>
                  <a:lnTo>
                    <a:pt x="1023" y="3449"/>
                  </a:lnTo>
                  <a:lnTo>
                    <a:pt x="1020" y="3451"/>
                  </a:lnTo>
                  <a:lnTo>
                    <a:pt x="1016" y="3453"/>
                  </a:lnTo>
                  <a:lnTo>
                    <a:pt x="1013" y="3457"/>
                  </a:lnTo>
                  <a:lnTo>
                    <a:pt x="1012" y="3457"/>
                  </a:lnTo>
                  <a:lnTo>
                    <a:pt x="1009" y="3457"/>
                  </a:lnTo>
                  <a:lnTo>
                    <a:pt x="1008" y="3454"/>
                  </a:lnTo>
                  <a:lnTo>
                    <a:pt x="1005" y="3454"/>
                  </a:lnTo>
                  <a:lnTo>
                    <a:pt x="997" y="3459"/>
                  </a:lnTo>
                  <a:lnTo>
                    <a:pt x="997" y="3463"/>
                  </a:lnTo>
                  <a:lnTo>
                    <a:pt x="995" y="3463"/>
                  </a:lnTo>
                  <a:lnTo>
                    <a:pt x="992" y="3466"/>
                  </a:lnTo>
                  <a:lnTo>
                    <a:pt x="987" y="3463"/>
                  </a:lnTo>
                  <a:lnTo>
                    <a:pt x="980" y="3471"/>
                  </a:lnTo>
                  <a:lnTo>
                    <a:pt x="966" y="3476"/>
                  </a:lnTo>
                  <a:lnTo>
                    <a:pt x="965" y="3479"/>
                  </a:lnTo>
                  <a:lnTo>
                    <a:pt x="966" y="3482"/>
                  </a:lnTo>
                  <a:lnTo>
                    <a:pt x="958" y="3486"/>
                  </a:lnTo>
                  <a:lnTo>
                    <a:pt x="952" y="3484"/>
                  </a:lnTo>
                  <a:lnTo>
                    <a:pt x="942" y="3484"/>
                  </a:lnTo>
                  <a:lnTo>
                    <a:pt x="941" y="3488"/>
                  </a:lnTo>
                  <a:lnTo>
                    <a:pt x="934" y="3490"/>
                  </a:lnTo>
                  <a:lnTo>
                    <a:pt x="930" y="3486"/>
                  </a:lnTo>
                  <a:lnTo>
                    <a:pt x="926" y="3486"/>
                  </a:lnTo>
                  <a:lnTo>
                    <a:pt x="920" y="3490"/>
                  </a:lnTo>
                  <a:lnTo>
                    <a:pt x="913" y="3490"/>
                  </a:lnTo>
                  <a:lnTo>
                    <a:pt x="908" y="3490"/>
                  </a:lnTo>
                  <a:lnTo>
                    <a:pt x="902" y="3500"/>
                  </a:lnTo>
                  <a:lnTo>
                    <a:pt x="901" y="3504"/>
                  </a:lnTo>
                  <a:lnTo>
                    <a:pt x="895" y="3507"/>
                  </a:lnTo>
                  <a:lnTo>
                    <a:pt x="894" y="3511"/>
                  </a:lnTo>
                  <a:lnTo>
                    <a:pt x="891" y="3512"/>
                  </a:lnTo>
                  <a:lnTo>
                    <a:pt x="888" y="3512"/>
                  </a:lnTo>
                  <a:lnTo>
                    <a:pt x="886" y="3508"/>
                  </a:lnTo>
                  <a:lnTo>
                    <a:pt x="883" y="3508"/>
                  </a:lnTo>
                  <a:lnTo>
                    <a:pt x="870" y="3508"/>
                  </a:lnTo>
                  <a:lnTo>
                    <a:pt x="865" y="3511"/>
                  </a:lnTo>
                  <a:lnTo>
                    <a:pt x="859" y="3515"/>
                  </a:lnTo>
                  <a:lnTo>
                    <a:pt x="858" y="3520"/>
                  </a:lnTo>
                  <a:lnTo>
                    <a:pt x="858" y="3523"/>
                  </a:lnTo>
                  <a:lnTo>
                    <a:pt x="859" y="3528"/>
                  </a:lnTo>
                  <a:lnTo>
                    <a:pt x="859" y="3533"/>
                  </a:lnTo>
                  <a:lnTo>
                    <a:pt x="855" y="3537"/>
                  </a:lnTo>
                  <a:lnTo>
                    <a:pt x="853" y="3538"/>
                  </a:lnTo>
                  <a:lnTo>
                    <a:pt x="855" y="3542"/>
                  </a:lnTo>
                  <a:lnTo>
                    <a:pt x="855" y="3545"/>
                  </a:lnTo>
                  <a:lnTo>
                    <a:pt x="847" y="3548"/>
                  </a:lnTo>
                  <a:lnTo>
                    <a:pt x="845" y="3550"/>
                  </a:lnTo>
                  <a:lnTo>
                    <a:pt x="845" y="3553"/>
                  </a:lnTo>
                  <a:lnTo>
                    <a:pt x="844" y="3557"/>
                  </a:lnTo>
                  <a:lnTo>
                    <a:pt x="834" y="3559"/>
                  </a:lnTo>
                  <a:lnTo>
                    <a:pt x="834" y="3565"/>
                  </a:lnTo>
                  <a:lnTo>
                    <a:pt x="830" y="3569"/>
                  </a:lnTo>
                  <a:lnTo>
                    <a:pt x="820" y="3570"/>
                  </a:lnTo>
                  <a:lnTo>
                    <a:pt x="813" y="3573"/>
                  </a:lnTo>
                  <a:lnTo>
                    <a:pt x="810" y="3582"/>
                  </a:lnTo>
                  <a:lnTo>
                    <a:pt x="805" y="3587"/>
                  </a:lnTo>
                  <a:lnTo>
                    <a:pt x="806" y="3591"/>
                  </a:lnTo>
                  <a:lnTo>
                    <a:pt x="799" y="3598"/>
                  </a:lnTo>
                  <a:lnTo>
                    <a:pt x="796" y="3599"/>
                  </a:lnTo>
                  <a:lnTo>
                    <a:pt x="794" y="3598"/>
                  </a:lnTo>
                  <a:lnTo>
                    <a:pt x="790" y="3598"/>
                  </a:lnTo>
                  <a:lnTo>
                    <a:pt x="787" y="3602"/>
                  </a:lnTo>
                  <a:lnTo>
                    <a:pt x="784" y="3605"/>
                  </a:lnTo>
                  <a:lnTo>
                    <a:pt x="776" y="3609"/>
                  </a:lnTo>
                  <a:lnTo>
                    <a:pt x="774" y="3615"/>
                  </a:lnTo>
                  <a:lnTo>
                    <a:pt x="776" y="3619"/>
                  </a:lnTo>
                  <a:lnTo>
                    <a:pt x="776" y="3621"/>
                  </a:lnTo>
                  <a:lnTo>
                    <a:pt x="771" y="3627"/>
                  </a:lnTo>
                  <a:lnTo>
                    <a:pt x="770" y="3627"/>
                  </a:lnTo>
                  <a:lnTo>
                    <a:pt x="757" y="3627"/>
                  </a:lnTo>
                  <a:lnTo>
                    <a:pt x="755" y="3631"/>
                  </a:lnTo>
                  <a:lnTo>
                    <a:pt x="751" y="3631"/>
                  </a:lnTo>
                  <a:lnTo>
                    <a:pt x="746" y="3624"/>
                  </a:lnTo>
                  <a:lnTo>
                    <a:pt x="742" y="3623"/>
                  </a:lnTo>
                  <a:lnTo>
                    <a:pt x="738" y="3619"/>
                  </a:lnTo>
                  <a:lnTo>
                    <a:pt x="734" y="3616"/>
                  </a:lnTo>
                  <a:lnTo>
                    <a:pt x="732" y="3616"/>
                  </a:lnTo>
                  <a:lnTo>
                    <a:pt x="727" y="3617"/>
                  </a:lnTo>
                  <a:lnTo>
                    <a:pt x="721" y="3615"/>
                  </a:lnTo>
                  <a:lnTo>
                    <a:pt x="720" y="3612"/>
                  </a:lnTo>
                  <a:lnTo>
                    <a:pt x="720" y="3605"/>
                  </a:lnTo>
                  <a:lnTo>
                    <a:pt x="718" y="3604"/>
                  </a:lnTo>
                  <a:lnTo>
                    <a:pt x="715" y="3602"/>
                  </a:lnTo>
                  <a:lnTo>
                    <a:pt x="709" y="3602"/>
                  </a:lnTo>
                  <a:lnTo>
                    <a:pt x="705" y="3592"/>
                  </a:lnTo>
                  <a:lnTo>
                    <a:pt x="702" y="3590"/>
                  </a:lnTo>
                  <a:lnTo>
                    <a:pt x="696" y="3587"/>
                  </a:lnTo>
                  <a:lnTo>
                    <a:pt x="695" y="3587"/>
                  </a:lnTo>
                  <a:lnTo>
                    <a:pt x="691" y="3586"/>
                  </a:lnTo>
                  <a:lnTo>
                    <a:pt x="688" y="3587"/>
                  </a:lnTo>
                  <a:lnTo>
                    <a:pt x="685" y="3587"/>
                  </a:lnTo>
                  <a:lnTo>
                    <a:pt x="682" y="3587"/>
                  </a:lnTo>
                  <a:lnTo>
                    <a:pt x="674" y="3592"/>
                  </a:lnTo>
                  <a:lnTo>
                    <a:pt x="670" y="3592"/>
                  </a:lnTo>
                  <a:lnTo>
                    <a:pt x="667" y="3595"/>
                  </a:lnTo>
                  <a:lnTo>
                    <a:pt x="667" y="3598"/>
                  </a:lnTo>
                  <a:lnTo>
                    <a:pt x="665" y="3602"/>
                  </a:lnTo>
                  <a:lnTo>
                    <a:pt x="662" y="3615"/>
                  </a:lnTo>
                  <a:lnTo>
                    <a:pt x="656" y="3619"/>
                  </a:lnTo>
                  <a:lnTo>
                    <a:pt x="648" y="3620"/>
                  </a:lnTo>
                  <a:lnTo>
                    <a:pt x="646" y="3623"/>
                  </a:lnTo>
                  <a:lnTo>
                    <a:pt x="646" y="3627"/>
                  </a:lnTo>
                  <a:lnTo>
                    <a:pt x="634" y="3631"/>
                  </a:lnTo>
                  <a:lnTo>
                    <a:pt x="630" y="3631"/>
                  </a:lnTo>
                  <a:lnTo>
                    <a:pt x="628" y="3628"/>
                  </a:lnTo>
                  <a:lnTo>
                    <a:pt x="623" y="3631"/>
                  </a:lnTo>
                  <a:lnTo>
                    <a:pt x="621" y="3631"/>
                  </a:lnTo>
                  <a:lnTo>
                    <a:pt x="621" y="3628"/>
                  </a:lnTo>
                  <a:lnTo>
                    <a:pt x="617" y="3627"/>
                  </a:lnTo>
                  <a:lnTo>
                    <a:pt x="613" y="3631"/>
                  </a:lnTo>
                  <a:lnTo>
                    <a:pt x="609" y="3632"/>
                  </a:lnTo>
                  <a:lnTo>
                    <a:pt x="606" y="3632"/>
                  </a:lnTo>
                  <a:lnTo>
                    <a:pt x="602" y="3624"/>
                  </a:lnTo>
                  <a:lnTo>
                    <a:pt x="602" y="3619"/>
                  </a:lnTo>
                  <a:lnTo>
                    <a:pt x="598" y="3616"/>
                  </a:lnTo>
                  <a:lnTo>
                    <a:pt x="592" y="3615"/>
                  </a:lnTo>
                  <a:lnTo>
                    <a:pt x="592" y="3609"/>
                  </a:lnTo>
                  <a:lnTo>
                    <a:pt x="589" y="3609"/>
                  </a:lnTo>
                  <a:lnTo>
                    <a:pt x="578" y="3612"/>
                  </a:lnTo>
                  <a:lnTo>
                    <a:pt x="574" y="3609"/>
                  </a:lnTo>
                  <a:lnTo>
                    <a:pt x="571" y="3609"/>
                  </a:lnTo>
                  <a:lnTo>
                    <a:pt x="568" y="3614"/>
                  </a:lnTo>
                  <a:lnTo>
                    <a:pt x="566" y="3614"/>
                  </a:lnTo>
                  <a:lnTo>
                    <a:pt x="556" y="3619"/>
                  </a:lnTo>
                  <a:lnTo>
                    <a:pt x="550" y="3619"/>
                  </a:lnTo>
                  <a:lnTo>
                    <a:pt x="545" y="3616"/>
                  </a:lnTo>
                  <a:lnTo>
                    <a:pt x="539" y="3617"/>
                  </a:lnTo>
                  <a:lnTo>
                    <a:pt x="532" y="3616"/>
                  </a:lnTo>
                  <a:lnTo>
                    <a:pt x="527" y="3617"/>
                  </a:lnTo>
                  <a:lnTo>
                    <a:pt x="523" y="3620"/>
                  </a:lnTo>
                  <a:lnTo>
                    <a:pt x="517" y="3620"/>
                  </a:lnTo>
                  <a:lnTo>
                    <a:pt x="507" y="3623"/>
                  </a:lnTo>
                  <a:lnTo>
                    <a:pt x="506" y="3624"/>
                  </a:lnTo>
                  <a:lnTo>
                    <a:pt x="503" y="3627"/>
                  </a:lnTo>
                  <a:lnTo>
                    <a:pt x="502" y="3623"/>
                  </a:lnTo>
                  <a:lnTo>
                    <a:pt x="504" y="3582"/>
                  </a:lnTo>
                  <a:lnTo>
                    <a:pt x="509" y="3570"/>
                  </a:lnTo>
                  <a:lnTo>
                    <a:pt x="514" y="3561"/>
                  </a:lnTo>
                  <a:lnTo>
                    <a:pt x="524" y="3553"/>
                  </a:lnTo>
                  <a:lnTo>
                    <a:pt x="524" y="3541"/>
                  </a:lnTo>
                  <a:lnTo>
                    <a:pt x="530" y="3508"/>
                  </a:lnTo>
                  <a:lnTo>
                    <a:pt x="576" y="3480"/>
                  </a:lnTo>
                  <a:lnTo>
                    <a:pt x="585" y="3437"/>
                  </a:lnTo>
                  <a:lnTo>
                    <a:pt x="488" y="3378"/>
                  </a:lnTo>
                  <a:lnTo>
                    <a:pt x="479" y="3378"/>
                  </a:lnTo>
                  <a:lnTo>
                    <a:pt x="408" y="3378"/>
                  </a:lnTo>
                  <a:lnTo>
                    <a:pt x="417" y="3268"/>
                  </a:lnTo>
                  <a:lnTo>
                    <a:pt x="413" y="3213"/>
                  </a:lnTo>
                  <a:lnTo>
                    <a:pt x="407" y="3212"/>
                  </a:lnTo>
                  <a:lnTo>
                    <a:pt x="404" y="3209"/>
                  </a:lnTo>
                  <a:lnTo>
                    <a:pt x="402" y="3201"/>
                  </a:lnTo>
                  <a:lnTo>
                    <a:pt x="393" y="3196"/>
                  </a:lnTo>
                  <a:lnTo>
                    <a:pt x="392" y="3189"/>
                  </a:lnTo>
                  <a:lnTo>
                    <a:pt x="377" y="3179"/>
                  </a:lnTo>
                  <a:lnTo>
                    <a:pt x="372" y="3170"/>
                  </a:lnTo>
                  <a:lnTo>
                    <a:pt x="369" y="3168"/>
                  </a:lnTo>
                  <a:lnTo>
                    <a:pt x="361" y="3164"/>
                  </a:lnTo>
                  <a:lnTo>
                    <a:pt x="358" y="3164"/>
                  </a:lnTo>
                  <a:lnTo>
                    <a:pt x="353" y="3168"/>
                  </a:lnTo>
                  <a:lnTo>
                    <a:pt x="343" y="3168"/>
                  </a:lnTo>
                  <a:lnTo>
                    <a:pt x="338" y="3167"/>
                  </a:lnTo>
                  <a:lnTo>
                    <a:pt x="335" y="3163"/>
                  </a:lnTo>
                  <a:lnTo>
                    <a:pt x="329" y="3160"/>
                  </a:lnTo>
                  <a:lnTo>
                    <a:pt x="317" y="3160"/>
                  </a:lnTo>
                  <a:lnTo>
                    <a:pt x="316" y="3159"/>
                  </a:lnTo>
                  <a:lnTo>
                    <a:pt x="307" y="3156"/>
                  </a:lnTo>
                  <a:lnTo>
                    <a:pt x="306" y="3155"/>
                  </a:lnTo>
                  <a:lnTo>
                    <a:pt x="297" y="3152"/>
                  </a:lnTo>
                  <a:lnTo>
                    <a:pt x="291" y="3151"/>
                  </a:lnTo>
                  <a:lnTo>
                    <a:pt x="289" y="3150"/>
                  </a:lnTo>
                  <a:lnTo>
                    <a:pt x="285" y="3150"/>
                  </a:lnTo>
                  <a:lnTo>
                    <a:pt x="282" y="3145"/>
                  </a:lnTo>
                  <a:lnTo>
                    <a:pt x="278" y="3144"/>
                  </a:lnTo>
                  <a:lnTo>
                    <a:pt x="274" y="3140"/>
                  </a:lnTo>
                  <a:lnTo>
                    <a:pt x="271" y="3092"/>
                  </a:lnTo>
                  <a:lnTo>
                    <a:pt x="254" y="3085"/>
                  </a:lnTo>
                  <a:lnTo>
                    <a:pt x="243" y="3078"/>
                  </a:lnTo>
                  <a:lnTo>
                    <a:pt x="237" y="3077"/>
                  </a:lnTo>
                  <a:lnTo>
                    <a:pt x="236" y="3075"/>
                  </a:lnTo>
                  <a:lnTo>
                    <a:pt x="228" y="3070"/>
                  </a:lnTo>
                  <a:lnTo>
                    <a:pt x="218" y="3063"/>
                  </a:lnTo>
                  <a:lnTo>
                    <a:pt x="218" y="3061"/>
                  </a:lnTo>
                  <a:lnTo>
                    <a:pt x="218" y="3059"/>
                  </a:lnTo>
                  <a:lnTo>
                    <a:pt x="215" y="3057"/>
                  </a:lnTo>
                  <a:lnTo>
                    <a:pt x="211" y="3052"/>
                  </a:lnTo>
                  <a:lnTo>
                    <a:pt x="218" y="3018"/>
                  </a:lnTo>
                  <a:lnTo>
                    <a:pt x="225" y="3005"/>
                  </a:lnTo>
                  <a:lnTo>
                    <a:pt x="178" y="3002"/>
                  </a:lnTo>
                  <a:lnTo>
                    <a:pt x="159" y="2986"/>
                  </a:lnTo>
                  <a:lnTo>
                    <a:pt x="108" y="2940"/>
                  </a:lnTo>
                  <a:lnTo>
                    <a:pt x="71" y="2909"/>
                  </a:lnTo>
                  <a:lnTo>
                    <a:pt x="86" y="2857"/>
                  </a:lnTo>
                  <a:lnTo>
                    <a:pt x="90" y="2853"/>
                  </a:lnTo>
                  <a:lnTo>
                    <a:pt x="68" y="2823"/>
                  </a:lnTo>
                  <a:lnTo>
                    <a:pt x="69" y="2822"/>
                  </a:lnTo>
                  <a:lnTo>
                    <a:pt x="69" y="2820"/>
                  </a:lnTo>
                  <a:lnTo>
                    <a:pt x="71" y="2819"/>
                  </a:lnTo>
                  <a:lnTo>
                    <a:pt x="71" y="2816"/>
                  </a:lnTo>
                  <a:lnTo>
                    <a:pt x="73" y="2812"/>
                  </a:lnTo>
                  <a:lnTo>
                    <a:pt x="71" y="2808"/>
                  </a:lnTo>
                  <a:lnTo>
                    <a:pt x="79" y="2808"/>
                  </a:lnTo>
                  <a:lnTo>
                    <a:pt x="82" y="2799"/>
                  </a:lnTo>
                  <a:lnTo>
                    <a:pt x="90" y="2794"/>
                  </a:lnTo>
                  <a:lnTo>
                    <a:pt x="100" y="2792"/>
                  </a:lnTo>
                  <a:lnTo>
                    <a:pt x="104" y="2790"/>
                  </a:lnTo>
                  <a:lnTo>
                    <a:pt x="100" y="2786"/>
                  </a:lnTo>
                  <a:lnTo>
                    <a:pt x="92" y="2782"/>
                  </a:lnTo>
                  <a:lnTo>
                    <a:pt x="89" y="2777"/>
                  </a:lnTo>
                  <a:lnTo>
                    <a:pt x="86" y="2773"/>
                  </a:lnTo>
                  <a:lnTo>
                    <a:pt x="86" y="2764"/>
                  </a:lnTo>
                  <a:lnTo>
                    <a:pt x="73" y="2733"/>
                  </a:lnTo>
                  <a:lnTo>
                    <a:pt x="64" y="2725"/>
                  </a:lnTo>
                  <a:lnTo>
                    <a:pt x="59" y="2710"/>
                  </a:lnTo>
                  <a:lnTo>
                    <a:pt x="15" y="2666"/>
                  </a:lnTo>
                  <a:lnTo>
                    <a:pt x="14" y="2658"/>
                  </a:lnTo>
                  <a:lnTo>
                    <a:pt x="5" y="2657"/>
                  </a:lnTo>
                  <a:lnTo>
                    <a:pt x="1" y="2651"/>
                  </a:lnTo>
                  <a:lnTo>
                    <a:pt x="0" y="2648"/>
                  </a:lnTo>
                  <a:lnTo>
                    <a:pt x="3" y="2642"/>
                  </a:lnTo>
                  <a:lnTo>
                    <a:pt x="3" y="2636"/>
                  </a:lnTo>
                  <a:lnTo>
                    <a:pt x="5" y="2634"/>
                  </a:lnTo>
                  <a:lnTo>
                    <a:pt x="15" y="2633"/>
                  </a:lnTo>
                  <a:lnTo>
                    <a:pt x="18" y="2630"/>
                  </a:lnTo>
                  <a:lnTo>
                    <a:pt x="22" y="2629"/>
                  </a:lnTo>
                  <a:lnTo>
                    <a:pt x="22" y="2625"/>
                  </a:lnTo>
                  <a:lnTo>
                    <a:pt x="26" y="2621"/>
                  </a:lnTo>
                  <a:lnTo>
                    <a:pt x="29" y="2617"/>
                  </a:lnTo>
                  <a:lnTo>
                    <a:pt x="32" y="2616"/>
                  </a:lnTo>
                  <a:lnTo>
                    <a:pt x="34" y="2616"/>
                  </a:lnTo>
                  <a:lnTo>
                    <a:pt x="39" y="2613"/>
                  </a:lnTo>
                  <a:lnTo>
                    <a:pt x="43" y="2613"/>
                  </a:lnTo>
                  <a:lnTo>
                    <a:pt x="47" y="2612"/>
                  </a:lnTo>
                  <a:lnTo>
                    <a:pt x="50" y="2613"/>
                  </a:lnTo>
                  <a:lnTo>
                    <a:pt x="53" y="2613"/>
                  </a:lnTo>
                  <a:lnTo>
                    <a:pt x="57" y="2613"/>
                  </a:lnTo>
                  <a:lnTo>
                    <a:pt x="56" y="2611"/>
                  </a:lnTo>
                  <a:lnTo>
                    <a:pt x="64" y="2605"/>
                  </a:lnTo>
                  <a:lnTo>
                    <a:pt x="65" y="2601"/>
                  </a:lnTo>
                  <a:lnTo>
                    <a:pt x="65" y="2595"/>
                  </a:lnTo>
                  <a:lnTo>
                    <a:pt x="68" y="2591"/>
                  </a:lnTo>
                  <a:lnTo>
                    <a:pt x="68" y="2583"/>
                  </a:lnTo>
                  <a:lnTo>
                    <a:pt x="71" y="2581"/>
                  </a:lnTo>
                  <a:lnTo>
                    <a:pt x="71" y="2576"/>
                  </a:lnTo>
                  <a:lnTo>
                    <a:pt x="75" y="2573"/>
                  </a:lnTo>
                  <a:lnTo>
                    <a:pt x="78" y="2573"/>
                  </a:lnTo>
                  <a:lnTo>
                    <a:pt x="82" y="2571"/>
                  </a:lnTo>
                  <a:lnTo>
                    <a:pt x="89" y="2568"/>
                  </a:lnTo>
                  <a:lnTo>
                    <a:pt x="92" y="2573"/>
                  </a:lnTo>
                  <a:lnTo>
                    <a:pt x="93" y="2576"/>
                  </a:lnTo>
                  <a:lnTo>
                    <a:pt x="101" y="2576"/>
                  </a:lnTo>
                  <a:lnTo>
                    <a:pt x="103" y="2573"/>
                  </a:lnTo>
                  <a:lnTo>
                    <a:pt x="103" y="2568"/>
                  </a:lnTo>
                  <a:lnTo>
                    <a:pt x="103" y="2564"/>
                  </a:lnTo>
                  <a:lnTo>
                    <a:pt x="108" y="2564"/>
                  </a:lnTo>
                  <a:lnTo>
                    <a:pt x="111" y="2563"/>
                  </a:lnTo>
                  <a:lnTo>
                    <a:pt x="112" y="2567"/>
                  </a:lnTo>
                  <a:lnTo>
                    <a:pt x="122" y="2564"/>
                  </a:lnTo>
                  <a:lnTo>
                    <a:pt x="123" y="2561"/>
                  </a:lnTo>
                  <a:lnTo>
                    <a:pt x="126" y="2558"/>
                  </a:lnTo>
                  <a:lnTo>
                    <a:pt x="125" y="2554"/>
                  </a:lnTo>
                  <a:lnTo>
                    <a:pt x="131" y="2550"/>
                  </a:lnTo>
                  <a:lnTo>
                    <a:pt x="131" y="2549"/>
                  </a:lnTo>
                  <a:lnTo>
                    <a:pt x="133" y="2546"/>
                  </a:lnTo>
                  <a:lnTo>
                    <a:pt x="133" y="2542"/>
                  </a:lnTo>
                  <a:lnTo>
                    <a:pt x="134" y="2542"/>
                  </a:lnTo>
                  <a:lnTo>
                    <a:pt x="134" y="2545"/>
                  </a:lnTo>
                  <a:lnTo>
                    <a:pt x="137" y="2542"/>
                  </a:lnTo>
                  <a:lnTo>
                    <a:pt x="137" y="2539"/>
                  </a:lnTo>
                  <a:lnTo>
                    <a:pt x="139" y="2539"/>
                  </a:lnTo>
                  <a:lnTo>
                    <a:pt x="140" y="2541"/>
                  </a:lnTo>
                  <a:lnTo>
                    <a:pt x="144" y="2542"/>
                  </a:lnTo>
                  <a:lnTo>
                    <a:pt x="148" y="2542"/>
                  </a:lnTo>
                  <a:lnTo>
                    <a:pt x="159" y="2539"/>
                  </a:lnTo>
                  <a:lnTo>
                    <a:pt x="164" y="2536"/>
                  </a:lnTo>
                  <a:lnTo>
                    <a:pt x="168" y="2534"/>
                  </a:lnTo>
                  <a:lnTo>
                    <a:pt x="169" y="2531"/>
                  </a:lnTo>
                  <a:lnTo>
                    <a:pt x="171" y="2524"/>
                  </a:lnTo>
                  <a:lnTo>
                    <a:pt x="173" y="2520"/>
                  </a:lnTo>
                  <a:lnTo>
                    <a:pt x="172" y="2514"/>
                  </a:lnTo>
                  <a:lnTo>
                    <a:pt x="173" y="2512"/>
                  </a:lnTo>
                  <a:lnTo>
                    <a:pt x="176" y="2512"/>
                  </a:lnTo>
                  <a:lnTo>
                    <a:pt x="182" y="2524"/>
                  </a:lnTo>
                  <a:lnTo>
                    <a:pt x="186" y="2528"/>
                  </a:lnTo>
                  <a:lnTo>
                    <a:pt x="194" y="2531"/>
                  </a:lnTo>
                  <a:lnTo>
                    <a:pt x="198" y="2531"/>
                  </a:lnTo>
                  <a:lnTo>
                    <a:pt x="206" y="2530"/>
                  </a:lnTo>
                  <a:lnTo>
                    <a:pt x="208" y="2528"/>
                  </a:lnTo>
                  <a:lnTo>
                    <a:pt x="212" y="2520"/>
                  </a:lnTo>
                  <a:lnTo>
                    <a:pt x="214" y="2520"/>
                  </a:lnTo>
                  <a:lnTo>
                    <a:pt x="218" y="2520"/>
                  </a:lnTo>
                  <a:lnTo>
                    <a:pt x="219" y="2522"/>
                  </a:lnTo>
                  <a:lnTo>
                    <a:pt x="221" y="2524"/>
                  </a:lnTo>
                  <a:lnTo>
                    <a:pt x="229" y="2520"/>
                  </a:lnTo>
                  <a:lnTo>
                    <a:pt x="235" y="2522"/>
                  </a:lnTo>
                  <a:lnTo>
                    <a:pt x="246" y="2537"/>
                  </a:lnTo>
                  <a:lnTo>
                    <a:pt x="263" y="2549"/>
                  </a:lnTo>
                  <a:lnTo>
                    <a:pt x="268" y="2556"/>
                  </a:lnTo>
                  <a:lnTo>
                    <a:pt x="275" y="2559"/>
                  </a:lnTo>
                  <a:lnTo>
                    <a:pt x="285" y="2567"/>
                  </a:lnTo>
                  <a:lnTo>
                    <a:pt x="293" y="2568"/>
                  </a:lnTo>
                  <a:lnTo>
                    <a:pt x="302" y="2568"/>
                  </a:lnTo>
                  <a:lnTo>
                    <a:pt x="304" y="2567"/>
                  </a:lnTo>
                  <a:lnTo>
                    <a:pt x="307" y="2564"/>
                  </a:lnTo>
                  <a:lnTo>
                    <a:pt x="310" y="2558"/>
                  </a:lnTo>
                  <a:lnTo>
                    <a:pt x="310" y="2554"/>
                  </a:lnTo>
                  <a:lnTo>
                    <a:pt x="313" y="2546"/>
                  </a:lnTo>
                  <a:lnTo>
                    <a:pt x="322" y="2539"/>
                  </a:lnTo>
                  <a:lnTo>
                    <a:pt x="329" y="2530"/>
                  </a:lnTo>
                  <a:lnTo>
                    <a:pt x="333" y="2528"/>
                  </a:lnTo>
                  <a:lnTo>
                    <a:pt x="343" y="2526"/>
                  </a:lnTo>
                  <a:lnTo>
                    <a:pt x="349" y="2520"/>
                  </a:lnTo>
                  <a:lnTo>
                    <a:pt x="356" y="2518"/>
                  </a:lnTo>
                  <a:lnTo>
                    <a:pt x="357" y="2516"/>
                  </a:lnTo>
                  <a:lnTo>
                    <a:pt x="357" y="2508"/>
                  </a:lnTo>
                  <a:lnTo>
                    <a:pt x="354" y="2491"/>
                  </a:lnTo>
                  <a:lnTo>
                    <a:pt x="350" y="2477"/>
                  </a:lnTo>
                  <a:lnTo>
                    <a:pt x="352" y="2463"/>
                  </a:lnTo>
                  <a:lnTo>
                    <a:pt x="350" y="2452"/>
                  </a:lnTo>
                  <a:lnTo>
                    <a:pt x="357" y="2421"/>
                  </a:lnTo>
                  <a:lnTo>
                    <a:pt x="360" y="2416"/>
                  </a:lnTo>
                  <a:lnTo>
                    <a:pt x="361" y="2410"/>
                  </a:lnTo>
                  <a:lnTo>
                    <a:pt x="369" y="2399"/>
                  </a:lnTo>
                  <a:lnTo>
                    <a:pt x="371" y="2393"/>
                  </a:lnTo>
                  <a:lnTo>
                    <a:pt x="374" y="2389"/>
                  </a:lnTo>
                  <a:lnTo>
                    <a:pt x="360" y="2370"/>
                  </a:lnTo>
                  <a:lnTo>
                    <a:pt x="360" y="2367"/>
                  </a:lnTo>
                  <a:lnTo>
                    <a:pt x="360" y="2352"/>
                  </a:lnTo>
                  <a:lnTo>
                    <a:pt x="352" y="2343"/>
                  </a:lnTo>
                  <a:lnTo>
                    <a:pt x="347" y="2335"/>
                  </a:lnTo>
                  <a:lnTo>
                    <a:pt x="344" y="2326"/>
                  </a:lnTo>
                  <a:lnTo>
                    <a:pt x="342" y="2322"/>
                  </a:lnTo>
                  <a:lnTo>
                    <a:pt x="333" y="2318"/>
                  </a:lnTo>
                  <a:lnTo>
                    <a:pt x="329" y="2317"/>
                  </a:lnTo>
                  <a:lnTo>
                    <a:pt x="321" y="2314"/>
                  </a:lnTo>
                  <a:lnTo>
                    <a:pt x="310" y="2309"/>
                  </a:lnTo>
                  <a:lnTo>
                    <a:pt x="307" y="2303"/>
                  </a:lnTo>
                  <a:lnTo>
                    <a:pt x="310" y="2300"/>
                  </a:lnTo>
                  <a:lnTo>
                    <a:pt x="310" y="2296"/>
                  </a:lnTo>
                  <a:lnTo>
                    <a:pt x="304" y="2288"/>
                  </a:lnTo>
                  <a:lnTo>
                    <a:pt x="297" y="2283"/>
                  </a:lnTo>
                  <a:lnTo>
                    <a:pt x="294" y="2272"/>
                  </a:lnTo>
                  <a:lnTo>
                    <a:pt x="289" y="2272"/>
                  </a:lnTo>
                  <a:lnTo>
                    <a:pt x="288" y="2268"/>
                  </a:lnTo>
                  <a:lnTo>
                    <a:pt x="288" y="2265"/>
                  </a:lnTo>
                  <a:lnTo>
                    <a:pt x="292" y="2265"/>
                  </a:lnTo>
                  <a:lnTo>
                    <a:pt x="292" y="2264"/>
                  </a:lnTo>
                  <a:lnTo>
                    <a:pt x="286" y="2264"/>
                  </a:lnTo>
                  <a:lnTo>
                    <a:pt x="283" y="2261"/>
                  </a:lnTo>
                  <a:lnTo>
                    <a:pt x="288" y="2259"/>
                  </a:lnTo>
                  <a:lnTo>
                    <a:pt x="288" y="2253"/>
                  </a:lnTo>
                  <a:lnTo>
                    <a:pt x="291" y="2252"/>
                  </a:lnTo>
                  <a:lnTo>
                    <a:pt x="291" y="2253"/>
                  </a:lnTo>
                  <a:lnTo>
                    <a:pt x="293" y="2253"/>
                  </a:lnTo>
                  <a:lnTo>
                    <a:pt x="293" y="2250"/>
                  </a:lnTo>
                  <a:lnTo>
                    <a:pt x="416" y="2251"/>
                  </a:lnTo>
                  <a:lnTo>
                    <a:pt x="443" y="2251"/>
                  </a:lnTo>
                  <a:lnTo>
                    <a:pt x="443" y="2086"/>
                  </a:lnTo>
                  <a:lnTo>
                    <a:pt x="449" y="2060"/>
                  </a:lnTo>
                  <a:lnTo>
                    <a:pt x="445" y="2059"/>
                  </a:lnTo>
                  <a:lnTo>
                    <a:pt x="445" y="1974"/>
                  </a:lnTo>
                  <a:lnTo>
                    <a:pt x="486" y="1861"/>
                  </a:lnTo>
                  <a:lnTo>
                    <a:pt x="532" y="1731"/>
                  </a:lnTo>
                  <a:lnTo>
                    <a:pt x="536" y="1726"/>
                  </a:lnTo>
                  <a:lnTo>
                    <a:pt x="542" y="1726"/>
                  </a:lnTo>
                  <a:lnTo>
                    <a:pt x="538" y="1723"/>
                  </a:lnTo>
                  <a:lnTo>
                    <a:pt x="536" y="1719"/>
                  </a:lnTo>
                  <a:lnTo>
                    <a:pt x="534" y="1716"/>
                  </a:lnTo>
                  <a:lnTo>
                    <a:pt x="521" y="1707"/>
                  </a:lnTo>
                  <a:lnTo>
                    <a:pt x="518" y="1712"/>
                  </a:lnTo>
                  <a:lnTo>
                    <a:pt x="516" y="1708"/>
                  </a:lnTo>
                  <a:lnTo>
                    <a:pt x="514" y="1707"/>
                  </a:lnTo>
                  <a:lnTo>
                    <a:pt x="509" y="1707"/>
                  </a:lnTo>
                  <a:lnTo>
                    <a:pt x="507" y="1708"/>
                  </a:lnTo>
                  <a:lnTo>
                    <a:pt x="507" y="1712"/>
                  </a:lnTo>
                  <a:lnTo>
                    <a:pt x="504" y="1714"/>
                  </a:lnTo>
                  <a:lnTo>
                    <a:pt x="502" y="1712"/>
                  </a:lnTo>
                  <a:lnTo>
                    <a:pt x="499" y="1708"/>
                  </a:lnTo>
                  <a:lnTo>
                    <a:pt x="495" y="1703"/>
                  </a:lnTo>
                  <a:lnTo>
                    <a:pt x="486" y="1699"/>
                  </a:lnTo>
                  <a:lnTo>
                    <a:pt x="477" y="1689"/>
                  </a:lnTo>
                  <a:lnTo>
                    <a:pt x="474" y="1689"/>
                  </a:lnTo>
                  <a:lnTo>
                    <a:pt x="460" y="1680"/>
                  </a:lnTo>
                  <a:lnTo>
                    <a:pt x="453" y="1678"/>
                  </a:lnTo>
                  <a:lnTo>
                    <a:pt x="449" y="1672"/>
                  </a:lnTo>
                  <a:lnTo>
                    <a:pt x="449" y="1667"/>
                  </a:lnTo>
                  <a:lnTo>
                    <a:pt x="439" y="1663"/>
                  </a:lnTo>
                  <a:lnTo>
                    <a:pt x="438" y="1662"/>
                  </a:lnTo>
                  <a:lnTo>
                    <a:pt x="433" y="1650"/>
                  </a:lnTo>
                  <a:lnTo>
                    <a:pt x="433" y="1641"/>
                  </a:lnTo>
                  <a:lnTo>
                    <a:pt x="432" y="1636"/>
                  </a:lnTo>
                  <a:lnTo>
                    <a:pt x="425" y="1622"/>
                  </a:lnTo>
                  <a:lnTo>
                    <a:pt x="421" y="1621"/>
                  </a:lnTo>
                  <a:lnTo>
                    <a:pt x="418" y="1620"/>
                  </a:lnTo>
                  <a:lnTo>
                    <a:pt x="413" y="1602"/>
                  </a:lnTo>
                  <a:lnTo>
                    <a:pt x="407" y="1600"/>
                  </a:lnTo>
                  <a:lnTo>
                    <a:pt x="404" y="1596"/>
                  </a:lnTo>
                  <a:lnTo>
                    <a:pt x="403" y="1595"/>
                  </a:lnTo>
                  <a:lnTo>
                    <a:pt x="399" y="1599"/>
                  </a:lnTo>
                  <a:lnTo>
                    <a:pt x="396" y="1599"/>
                  </a:lnTo>
                  <a:lnTo>
                    <a:pt x="389" y="1597"/>
                  </a:lnTo>
                  <a:lnTo>
                    <a:pt x="381" y="1592"/>
                  </a:lnTo>
                  <a:lnTo>
                    <a:pt x="375" y="1599"/>
                  </a:lnTo>
                  <a:lnTo>
                    <a:pt x="367" y="1599"/>
                  </a:lnTo>
                  <a:lnTo>
                    <a:pt x="360" y="1588"/>
                  </a:lnTo>
                  <a:lnTo>
                    <a:pt x="349" y="1584"/>
                  </a:lnTo>
                  <a:lnTo>
                    <a:pt x="341" y="1576"/>
                  </a:lnTo>
                  <a:lnTo>
                    <a:pt x="339" y="1574"/>
                  </a:lnTo>
                  <a:lnTo>
                    <a:pt x="339" y="1568"/>
                  </a:lnTo>
                  <a:lnTo>
                    <a:pt x="341" y="1565"/>
                  </a:lnTo>
                  <a:lnTo>
                    <a:pt x="321" y="1554"/>
                  </a:lnTo>
                  <a:lnTo>
                    <a:pt x="318" y="1551"/>
                  </a:lnTo>
                  <a:lnTo>
                    <a:pt x="316" y="1550"/>
                  </a:lnTo>
                  <a:lnTo>
                    <a:pt x="302" y="1539"/>
                  </a:lnTo>
                  <a:lnTo>
                    <a:pt x="299" y="1539"/>
                  </a:lnTo>
                  <a:lnTo>
                    <a:pt x="297" y="1542"/>
                  </a:lnTo>
                  <a:lnTo>
                    <a:pt x="291" y="1539"/>
                  </a:lnTo>
                  <a:lnTo>
                    <a:pt x="286" y="1534"/>
                  </a:lnTo>
                  <a:lnTo>
                    <a:pt x="281" y="1532"/>
                  </a:lnTo>
                  <a:lnTo>
                    <a:pt x="272" y="1517"/>
                  </a:lnTo>
                  <a:lnTo>
                    <a:pt x="274" y="1512"/>
                  </a:lnTo>
                  <a:lnTo>
                    <a:pt x="281" y="1501"/>
                  </a:lnTo>
                  <a:lnTo>
                    <a:pt x="281" y="1497"/>
                  </a:lnTo>
                  <a:lnTo>
                    <a:pt x="285" y="1487"/>
                  </a:lnTo>
                  <a:lnTo>
                    <a:pt x="285" y="1483"/>
                  </a:lnTo>
                  <a:lnTo>
                    <a:pt x="282" y="1477"/>
                  </a:lnTo>
                  <a:lnTo>
                    <a:pt x="278" y="1456"/>
                  </a:lnTo>
                  <a:lnTo>
                    <a:pt x="282" y="1453"/>
                  </a:lnTo>
                  <a:lnTo>
                    <a:pt x="307" y="1450"/>
                  </a:lnTo>
                  <a:lnTo>
                    <a:pt x="313" y="1448"/>
                  </a:lnTo>
                  <a:lnTo>
                    <a:pt x="314" y="1446"/>
                  </a:lnTo>
                  <a:lnTo>
                    <a:pt x="316" y="1442"/>
                  </a:lnTo>
                  <a:lnTo>
                    <a:pt x="314" y="1411"/>
                  </a:lnTo>
                  <a:lnTo>
                    <a:pt x="316" y="1400"/>
                  </a:lnTo>
                  <a:lnTo>
                    <a:pt x="316" y="1384"/>
                  </a:lnTo>
                  <a:lnTo>
                    <a:pt x="318" y="1384"/>
                  </a:lnTo>
                  <a:lnTo>
                    <a:pt x="331" y="1389"/>
                  </a:lnTo>
                  <a:lnTo>
                    <a:pt x="344" y="1389"/>
                  </a:lnTo>
                  <a:lnTo>
                    <a:pt x="361" y="1385"/>
                  </a:lnTo>
                  <a:lnTo>
                    <a:pt x="374" y="1378"/>
                  </a:lnTo>
                  <a:lnTo>
                    <a:pt x="375" y="1378"/>
                  </a:lnTo>
                  <a:lnTo>
                    <a:pt x="382" y="1375"/>
                  </a:lnTo>
                  <a:lnTo>
                    <a:pt x="388" y="1383"/>
                  </a:lnTo>
                  <a:lnTo>
                    <a:pt x="392" y="1381"/>
                  </a:lnTo>
                  <a:lnTo>
                    <a:pt x="393" y="1385"/>
                  </a:lnTo>
                  <a:lnTo>
                    <a:pt x="394" y="1388"/>
                  </a:lnTo>
                  <a:lnTo>
                    <a:pt x="396" y="1386"/>
                  </a:lnTo>
                  <a:lnTo>
                    <a:pt x="397" y="1385"/>
                  </a:lnTo>
                  <a:lnTo>
                    <a:pt x="403" y="1383"/>
                  </a:lnTo>
                  <a:lnTo>
                    <a:pt x="402" y="1378"/>
                  </a:lnTo>
                  <a:lnTo>
                    <a:pt x="396" y="1375"/>
                  </a:lnTo>
                  <a:lnTo>
                    <a:pt x="393" y="1367"/>
                  </a:lnTo>
                  <a:lnTo>
                    <a:pt x="389" y="1365"/>
                  </a:lnTo>
                  <a:lnTo>
                    <a:pt x="391" y="1356"/>
                  </a:lnTo>
                  <a:lnTo>
                    <a:pt x="388" y="1352"/>
                  </a:lnTo>
                  <a:lnTo>
                    <a:pt x="389" y="1348"/>
                  </a:lnTo>
                  <a:lnTo>
                    <a:pt x="388" y="1343"/>
                  </a:lnTo>
                  <a:lnTo>
                    <a:pt x="392" y="1339"/>
                  </a:lnTo>
                  <a:lnTo>
                    <a:pt x="388" y="1336"/>
                  </a:lnTo>
                  <a:lnTo>
                    <a:pt x="386" y="1328"/>
                  </a:lnTo>
                  <a:lnTo>
                    <a:pt x="377" y="1326"/>
                  </a:lnTo>
                  <a:lnTo>
                    <a:pt x="381" y="1322"/>
                  </a:lnTo>
                  <a:lnTo>
                    <a:pt x="379" y="1311"/>
                  </a:lnTo>
                  <a:lnTo>
                    <a:pt x="383" y="1307"/>
                  </a:lnTo>
                  <a:lnTo>
                    <a:pt x="379" y="1303"/>
                  </a:lnTo>
                  <a:lnTo>
                    <a:pt x="385" y="1298"/>
                  </a:lnTo>
                  <a:lnTo>
                    <a:pt x="382" y="1293"/>
                  </a:lnTo>
                  <a:lnTo>
                    <a:pt x="379" y="1292"/>
                  </a:lnTo>
                  <a:lnTo>
                    <a:pt x="375" y="1294"/>
                  </a:lnTo>
                  <a:lnTo>
                    <a:pt x="374" y="1302"/>
                  </a:lnTo>
                  <a:lnTo>
                    <a:pt x="368" y="1303"/>
                  </a:lnTo>
                  <a:lnTo>
                    <a:pt x="364" y="1303"/>
                  </a:lnTo>
                  <a:lnTo>
                    <a:pt x="360" y="1298"/>
                  </a:lnTo>
                  <a:lnTo>
                    <a:pt x="360" y="1296"/>
                  </a:lnTo>
                  <a:lnTo>
                    <a:pt x="363" y="1294"/>
                  </a:lnTo>
                  <a:lnTo>
                    <a:pt x="364" y="1289"/>
                  </a:lnTo>
                  <a:lnTo>
                    <a:pt x="363" y="1277"/>
                  </a:lnTo>
                  <a:lnTo>
                    <a:pt x="371" y="1269"/>
                  </a:lnTo>
                  <a:lnTo>
                    <a:pt x="369" y="1268"/>
                  </a:lnTo>
                  <a:lnTo>
                    <a:pt x="363" y="1268"/>
                  </a:lnTo>
                  <a:lnTo>
                    <a:pt x="357" y="1261"/>
                  </a:lnTo>
                  <a:lnTo>
                    <a:pt x="357" y="1255"/>
                  </a:lnTo>
                  <a:lnTo>
                    <a:pt x="354" y="1251"/>
                  </a:lnTo>
                  <a:lnTo>
                    <a:pt x="356" y="1246"/>
                  </a:lnTo>
                  <a:lnTo>
                    <a:pt x="356" y="1236"/>
                  </a:lnTo>
                  <a:lnTo>
                    <a:pt x="352" y="1232"/>
                  </a:lnTo>
                  <a:lnTo>
                    <a:pt x="350" y="1231"/>
                  </a:lnTo>
                  <a:lnTo>
                    <a:pt x="354" y="1224"/>
                  </a:lnTo>
                  <a:lnTo>
                    <a:pt x="354" y="1220"/>
                  </a:lnTo>
                  <a:lnTo>
                    <a:pt x="357" y="1217"/>
                  </a:lnTo>
                  <a:lnTo>
                    <a:pt x="357" y="1210"/>
                  </a:lnTo>
                  <a:lnTo>
                    <a:pt x="356" y="1206"/>
                  </a:lnTo>
                  <a:lnTo>
                    <a:pt x="353" y="1202"/>
                  </a:lnTo>
                  <a:lnTo>
                    <a:pt x="352" y="1202"/>
                  </a:lnTo>
                  <a:lnTo>
                    <a:pt x="344" y="1205"/>
                  </a:lnTo>
                  <a:lnTo>
                    <a:pt x="339" y="1198"/>
                  </a:lnTo>
                  <a:lnTo>
                    <a:pt x="339" y="1195"/>
                  </a:lnTo>
                  <a:lnTo>
                    <a:pt x="344" y="1192"/>
                  </a:lnTo>
                  <a:lnTo>
                    <a:pt x="344" y="1187"/>
                  </a:lnTo>
                  <a:lnTo>
                    <a:pt x="349" y="1186"/>
                  </a:lnTo>
                  <a:lnTo>
                    <a:pt x="356" y="1184"/>
                  </a:lnTo>
                  <a:lnTo>
                    <a:pt x="361" y="1182"/>
                  </a:lnTo>
                  <a:lnTo>
                    <a:pt x="367" y="1173"/>
                  </a:lnTo>
                  <a:lnTo>
                    <a:pt x="369" y="1157"/>
                  </a:lnTo>
                  <a:lnTo>
                    <a:pt x="375" y="1153"/>
                  </a:lnTo>
                  <a:lnTo>
                    <a:pt x="385" y="1149"/>
                  </a:lnTo>
                  <a:lnTo>
                    <a:pt x="393" y="1143"/>
                  </a:lnTo>
                  <a:lnTo>
                    <a:pt x="411" y="1142"/>
                  </a:lnTo>
                  <a:lnTo>
                    <a:pt x="417" y="1137"/>
                  </a:lnTo>
                  <a:lnTo>
                    <a:pt x="432" y="1103"/>
                  </a:lnTo>
                  <a:lnTo>
                    <a:pt x="447" y="1081"/>
                  </a:lnTo>
                  <a:lnTo>
                    <a:pt x="454" y="1063"/>
                  </a:lnTo>
                  <a:lnTo>
                    <a:pt x="456" y="1068"/>
                  </a:lnTo>
                  <a:lnTo>
                    <a:pt x="478" y="1072"/>
                  </a:lnTo>
                  <a:lnTo>
                    <a:pt x="486" y="1072"/>
                  </a:lnTo>
                  <a:lnTo>
                    <a:pt x="495" y="1074"/>
                  </a:lnTo>
                  <a:lnTo>
                    <a:pt x="499" y="1068"/>
                  </a:lnTo>
                  <a:lnTo>
                    <a:pt x="502" y="1066"/>
                  </a:lnTo>
                  <a:lnTo>
                    <a:pt x="506" y="1066"/>
                  </a:lnTo>
                  <a:lnTo>
                    <a:pt x="517" y="1070"/>
                  </a:lnTo>
                  <a:lnTo>
                    <a:pt x="518" y="1074"/>
                  </a:lnTo>
                  <a:lnTo>
                    <a:pt x="516" y="1081"/>
                  </a:lnTo>
                  <a:lnTo>
                    <a:pt x="520" y="1082"/>
                  </a:lnTo>
                  <a:lnTo>
                    <a:pt x="521" y="1086"/>
                  </a:lnTo>
                  <a:lnTo>
                    <a:pt x="518" y="1093"/>
                  </a:lnTo>
                  <a:lnTo>
                    <a:pt x="518" y="1094"/>
                  </a:lnTo>
                  <a:lnTo>
                    <a:pt x="520" y="1097"/>
                  </a:lnTo>
                  <a:lnTo>
                    <a:pt x="534" y="1100"/>
                  </a:lnTo>
                  <a:lnTo>
                    <a:pt x="535" y="1108"/>
                  </a:lnTo>
                  <a:lnTo>
                    <a:pt x="531" y="1112"/>
                  </a:lnTo>
                  <a:lnTo>
                    <a:pt x="530" y="1116"/>
                  </a:lnTo>
                  <a:lnTo>
                    <a:pt x="530" y="1119"/>
                  </a:lnTo>
                  <a:lnTo>
                    <a:pt x="534" y="1119"/>
                  </a:lnTo>
                  <a:lnTo>
                    <a:pt x="535" y="1120"/>
                  </a:lnTo>
                  <a:lnTo>
                    <a:pt x="536" y="1128"/>
                  </a:lnTo>
                  <a:lnTo>
                    <a:pt x="538" y="1131"/>
                  </a:lnTo>
                  <a:lnTo>
                    <a:pt x="542" y="1135"/>
                  </a:lnTo>
                  <a:lnTo>
                    <a:pt x="542" y="1143"/>
                  </a:lnTo>
                  <a:lnTo>
                    <a:pt x="543" y="1145"/>
                  </a:lnTo>
                  <a:lnTo>
                    <a:pt x="546" y="1147"/>
                  </a:lnTo>
                  <a:lnTo>
                    <a:pt x="552" y="1142"/>
                  </a:lnTo>
                  <a:lnTo>
                    <a:pt x="556" y="1143"/>
                  </a:lnTo>
                  <a:lnTo>
                    <a:pt x="566" y="1157"/>
                  </a:lnTo>
                  <a:lnTo>
                    <a:pt x="574" y="1161"/>
                  </a:lnTo>
                  <a:lnTo>
                    <a:pt x="577" y="1168"/>
                  </a:lnTo>
                  <a:lnTo>
                    <a:pt x="588" y="1175"/>
                  </a:lnTo>
                  <a:lnTo>
                    <a:pt x="593" y="1178"/>
                  </a:lnTo>
                  <a:lnTo>
                    <a:pt x="602" y="1178"/>
                  </a:lnTo>
                  <a:lnTo>
                    <a:pt x="616" y="1173"/>
                  </a:lnTo>
                  <a:lnTo>
                    <a:pt x="638" y="1130"/>
                  </a:lnTo>
                  <a:lnTo>
                    <a:pt x="646" y="1120"/>
                  </a:lnTo>
                  <a:lnTo>
                    <a:pt x="652" y="1119"/>
                  </a:lnTo>
                  <a:lnTo>
                    <a:pt x="656" y="1120"/>
                  </a:lnTo>
                  <a:lnTo>
                    <a:pt x="660" y="1120"/>
                  </a:lnTo>
                  <a:lnTo>
                    <a:pt x="667" y="1124"/>
                  </a:lnTo>
                  <a:lnTo>
                    <a:pt x="667" y="1127"/>
                  </a:lnTo>
                  <a:lnTo>
                    <a:pt x="671" y="1131"/>
                  </a:lnTo>
                  <a:lnTo>
                    <a:pt x="674" y="1131"/>
                  </a:lnTo>
                  <a:lnTo>
                    <a:pt x="678" y="1131"/>
                  </a:lnTo>
                  <a:lnTo>
                    <a:pt x="681" y="1135"/>
                  </a:lnTo>
                  <a:lnTo>
                    <a:pt x="684" y="1135"/>
                  </a:lnTo>
                  <a:lnTo>
                    <a:pt x="685" y="1133"/>
                  </a:lnTo>
                  <a:lnTo>
                    <a:pt x="691" y="1133"/>
                  </a:lnTo>
                  <a:lnTo>
                    <a:pt x="695" y="1135"/>
                  </a:lnTo>
                  <a:lnTo>
                    <a:pt x="698" y="1142"/>
                  </a:lnTo>
                  <a:lnTo>
                    <a:pt x="699" y="1142"/>
                  </a:lnTo>
                  <a:lnTo>
                    <a:pt x="724" y="1032"/>
                  </a:lnTo>
                  <a:lnTo>
                    <a:pt x="728" y="1025"/>
                  </a:lnTo>
                  <a:lnTo>
                    <a:pt x="726" y="1011"/>
                  </a:lnTo>
                  <a:lnTo>
                    <a:pt x="723" y="993"/>
                  </a:lnTo>
                  <a:lnTo>
                    <a:pt x="720" y="978"/>
                  </a:lnTo>
                  <a:lnTo>
                    <a:pt x="721" y="970"/>
                  </a:lnTo>
                  <a:lnTo>
                    <a:pt x="712" y="951"/>
                  </a:lnTo>
                  <a:lnTo>
                    <a:pt x="706" y="948"/>
                  </a:lnTo>
                  <a:lnTo>
                    <a:pt x="730" y="917"/>
                  </a:lnTo>
                  <a:lnTo>
                    <a:pt x="727" y="917"/>
                  </a:lnTo>
                  <a:lnTo>
                    <a:pt x="726" y="914"/>
                  </a:lnTo>
                  <a:lnTo>
                    <a:pt x="723" y="913"/>
                  </a:lnTo>
                  <a:lnTo>
                    <a:pt x="717" y="907"/>
                  </a:lnTo>
                  <a:lnTo>
                    <a:pt x="717" y="899"/>
                  </a:lnTo>
                  <a:lnTo>
                    <a:pt x="716" y="899"/>
                  </a:lnTo>
                  <a:lnTo>
                    <a:pt x="718" y="899"/>
                  </a:lnTo>
                  <a:lnTo>
                    <a:pt x="718" y="898"/>
                  </a:lnTo>
                  <a:lnTo>
                    <a:pt x="713" y="895"/>
                  </a:lnTo>
                  <a:lnTo>
                    <a:pt x="712" y="895"/>
                  </a:lnTo>
                  <a:lnTo>
                    <a:pt x="707" y="895"/>
                  </a:lnTo>
                  <a:lnTo>
                    <a:pt x="705" y="888"/>
                  </a:lnTo>
                  <a:lnTo>
                    <a:pt x="699" y="884"/>
                  </a:lnTo>
                  <a:lnTo>
                    <a:pt x="695" y="884"/>
                  </a:lnTo>
                  <a:lnTo>
                    <a:pt x="690" y="876"/>
                  </a:lnTo>
                  <a:lnTo>
                    <a:pt x="688" y="876"/>
                  </a:lnTo>
                  <a:lnTo>
                    <a:pt x="688" y="875"/>
                  </a:lnTo>
                  <a:lnTo>
                    <a:pt x="690" y="872"/>
                  </a:lnTo>
                  <a:lnTo>
                    <a:pt x="688" y="870"/>
                  </a:lnTo>
                  <a:lnTo>
                    <a:pt x="680" y="869"/>
                  </a:lnTo>
                  <a:lnTo>
                    <a:pt x="673" y="871"/>
                  </a:lnTo>
                  <a:lnTo>
                    <a:pt x="670" y="867"/>
                  </a:lnTo>
                  <a:lnTo>
                    <a:pt x="666" y="866"/>
                  </a:lnTo>
                  <a:lnTo>
                    <a:pt x="666" y="862"/>
                  </a:lnTo>
                  <a:lnTo>
                    <a:pt x="663" y="862"/>
                  </a:lnTo>
                  <a:lnTo>
                    <a:pt x="653" y="864"/>
                  </a:lnTo>
                  <a:lnTo>
                    <a:pt x="643" y="862"/>
                  </a:lnTo>
                  <a:lnTo>
                    <a:pt x="652" y="836"/>
                  </a:lnTo>
                  <a:lnTo>
                    <a:pt x="653" y="822"/>
                  </a:lnTo>
                  <a:lnTo>
                    <a:pt x="657" y="808"/>
                  </a:lnTo>
                  <a:lnTo>
                    <a:pt x="659" y="795"/>
                  </a:lnTo>
                  <a:lnTo>
                    <a:pt x="662" y="785"/>
                  </a:lnTo>
                  <a:lnTo>
                    <a:pt x="660" y="775"/>
                  </a:lnTo>
                  <a:lnTo>
                    <a:pt x="663" y="763"/>
                  </a:lnTo>
                  <a:lnTo>
                    <a:pt x="659" y="753"/>
                  </a:lnTo>
                  <a:lnTo>
                    <a:pt x="659" y="746"/>
                  </a:lnTo>
                  <a:lnTo>
                    <a:pt x="657" y="742"/>
                  </a:lnTo>
                  <a:lnTo>
                    <a:pt x="627" y="724"/>
                  </a:lnTo>
                  <a:lnTo>
                    <a:pt x="624" y="722"/>
                  </a:lnTo>
                  <a:lnTo>
                    <a:pt x="624" y="718"/>
                  </a:lnTo>
                  <a:lnTo>
                    <a:pt x="627" y="678"/>
                  </a:lnTo>
                  <a:lnTo>
                    <a:pt x="626" y="671"/>
                  </a:lnTo>
                  <a:lnTo>
                    <a:pt x="606" y="641"/>
                  </a:lnTo>
                  <a:lnTo>
                    <a:pt x="635" y="581"/>
                  </a:lnTo>
                  <a:lnTo>
                    <a:pt x="643" y="559"/>
                  </a:lnTo>
                  <a:lnTo>
                    <a:pt x="656" y="510"/>
                  </a:lnTo>
                  <a:lnTo>
                    <a:pt x="657" y="497"/>
                  </a:lnTo>
                  <a:lnTo>
                    <a:pt x="651" y="486"/>
                  </a:lnTo>
                  <a:lnTo>
                    <a:pt x="645" y="472"/>
                  </a:lnTo>
                  <a:lnTo>
                    <a:pt x="645" y="469"/>
                  </a:lnTo>
                  <a:lnTo>
                    <a:pt x="649" y="457"/>
                  </a:lnTo>
                  <a:lnTo>
                    <a:pt x="659" y="417"/>
                  </a:lnTo>
                  <a:lnTo>
                    <a:pt x="660" y="401"/>
                  </a:lnTo>
                  <a:lnTo>
                    <a:pt x="674" y="386"/>
                  </a:lnTo>
                  <a:lnTo>
                    <a:pt x="681" y="376"/>
                  </a:lnTo>
                  <a:lnTo>
                    <a:pt x="680" y="372"/>
                  </a:lnTo>
                  <a:lnTo>
                    <a:pt x="678" y="368"/>
                  </a:lnTo>
                  <a:lnTo>
                    <a:pt x="673" y="364"/>
                  </a:lnTo>
                  <a:lnTo>
                    <a:pt x="668" y="364"/>
                  </a:lnTo>
                  <a:lnTo>
                    <a:pt x="667" y="364"/>
                  </a:lnTo>
                  <a:lnTo>
                    <a:pt x="666" y="360"/>
                  </a:lnTo>
                  <a:lnTo>
                    <a:pt x="665" y="356"/>
                  </a:lnTo>
                  <a:lnTo>
                    <a:pt x="652" y="352"/>
                  </a:lnTo>
                  <a:lnTo>
                    <a:pt x="635" y="344"/>
                  </a:lnTo>
                  <a:lnTo>
                    <a:pt x="709" y="210"/>
                  </a:lnTo>
                  <a:lnTo>
                    <a:pt x="745" y="185"/>
                  </a:lnTo>
                  <a:lnTo>
                    <a:pt x="773" y="181"/>
                  </a:lnTo>
                  <a:lnTo>
                    <a:pt x="798" y="175"/>
                  </a:lnTo>
                  <a:lnTo>
                    <a:pt x="820" y="169"/>
                  </a:lnTo>
                  <a:lnTo>
                    <a:pt x="873" y="153"/>
                  </a:lnTo>
                  <a:lnTo>
                    <a:pt x="901" y="102"/>
                  </a:lnTo>
                  <a:lnTo>
                    <a:pt x="906" y="94"/>
                  </a:lnTo>
                  <a:lnTo>
                    <a:pt x="909" y="87"/>
                  </a:lnTo>
                  <a:lnTo>
                    <a:pt x="913" y="78"/>
                  </a:lnTo>
                  <a:lnTo>
                    <a:pt x="925" y="59"/>
                  </a:lnTo>
                  <a:lnTo>
                    <a:pt x="926" y="57"/>
                  </a:lnTo>
                  <a:lnTo>
                    <a:pt x="911" y="57"/>
                  </a:lnTo>
                  <a:lnTo>
                    <a:pt x="903" y="56"/>
                  </a:lnTo>
                  <a:lnTo>
                    <a:pt x="902" y="42"/>
                  </a:lnTo>
                  <a:lnTo>
                    <a:pt x="905" y="34"/>
                  </a:lnTo>
                  <a:lnTo>
                    <a:pt x="911" y="33"/>
                  </a:lnTo>
                  <a:lnTo>
                    <a:pt x="913" y="31"/>
                  </a:lnTo>
                  <a:lnTo>
                    <a:pt x="923" y="19"/>
                  </a:lnTo>
                  <a:lnTo>
                    <a:pt x="925" y="12"/>
                  </a:lnTo>
                  <a:lnTo>
                    <a:pt x="930" y="0"/>
                  </a:lnTo>
                  <a:lnTo>
                    <a:pt x="931" y="4"/>
                  </a:lnTo>
                  <a:lnTo>
                    <a:pt x="936" y="8"/>
                  </a:lnTo>
                  <a:lnTo>
                    <a:pt x="950" y="7"/>
                  </a:lnTo>
                  <a:lnTo>
                    <a:pt x="972" y="20"/>
                  </a:lnTo>
                  <a:lnTo>
                    <a:pt x="976" y="27"/>
                  </a:lnTo>
                  <a:lnTo>
                    <a:pt x="977" y="33"/>
                  </a:lnTo>
                  <a:lnTo>
                    <a:pt x="981" y="39"/>
                  </a:lnTo>
                  <a:lnTo>
                    <a:pt x="990" y="42"/>
                  </a:lnTo>
                  <a:lnTo>
                    <a:pt x="997" y="57"/>
                  </a:lnTo>
                  <a:lnTo>
                    <a:pt x="1008" y="65"/>
                  </a:lnTo>
                  <a:lnTo>
                    <a:pt x="1036" y="78"/>
                  </a:lnTo>
                  <a:lnTo>
                    <a:pt x="1050" y="78"/>
                  </a:lnTo>
                  <a:lnTo>
                    <a:pt x="1068" y="82"/>
                  </a:lnTo>
                  <a:lnTo>
                    <a:pt x="1077" y="83"/>
                  </a:lnTo>
                  <a:lnTo>
                    <a:pt x="1090" y="91"/>
                  </a:lnTo>
                  <a:lnTo>
                    <a:pt x="1112" y="94"/>
                  </a:lnTo>
                  <a:lnTo>
                    <a:pt x="1121" y="102"/>
                  </a:lnTo>
                  <a:lnTo>
                    <a:pt x="1129" y="106"/>
                  </a:lnTo>
                  <a:lnTo>
                    <a:pt x="1135" y="112"/>
                  </a:lnTo>
                  <a:lnTo>
                    <a:pt x="1144" y="114"/>
                  </a:lnTo>
                  <a:lnTo>
                    <a:pt x="1146" y="119"/>
                  </a:lnTo>
                  <a:lnTo>
                    <a:pt x="1144" y="124"/>
                  </a:lnTo>
                  <a:lnTo>
                    <a:pt x="1146" y="128"/>
                  </a:lnTo>
                  <a:lnTo>
                    <a:pt x="1147" y="143"/>
                  </a:lnTo>
                  <a:lnTo>
                    <a:pt x="1150" y="146"/>
                  </a:lnTo>
                  <a:lnTo>
                    <a:pt x="1157" y="150"/>
                  </a:lnTo>
                  <a:lnTo>
                    <a:pt x="1160" y="153"/>
                  </a:lnTo>
                  <a:lnTo>
                    <a:pt x="1166" y="158"/>
                  </a:lnTo>
                  <a:lnTo>
                    <a:pt x="1173" y="171"/>
                  </a:lnTo>
                  <a:lnTo>
                    <a:pt x="1180" y="175"/>
                  </a:lnTo>
                  <a:lnTo>
                    <a:pt x="1182" y="181"/>
                  </a:lnTo>
                  <a:lnTo>
                    <a:pt x="1180" y="187"/>
                  </a:lnTo>
                  <a:lnTo>
                    <a:pt x="1182" y="190"/>
                  </a:lnTo>
                  <a:lnTo>
                    <a:pt x="1193" y="191"/>
                  </a:lnTo>
                  <a:lnTo>
                    <a:pt x="1210" y="202"/>
                  </a:lnTo>
                  <a:lnTo>
                    <a:pt x="1215" y="207"/>
                  </a:lnTo>
                  <a:lnTo>
                    <a:pt x="1216" y="211"/>
                  </a:lnTo>
                  <a:lnTo>
                    <a:pt x="1218" y="225"/>
                  </a:lnTo>
                  <a:lnTo>
                    <a:pt x="1212" y="239"/>
                  </a:lnTo>
                  <a:lnTo>
                    <a:pt x="1212" y="244"/>
                  </a:lnTo>
                  <a:lnTo>
                    <a:pt x="1214" y="248"/>
                  </a:lnTo>
                  <a:lnTo>
                    <a:pt x="1219" y="252"/>
                  </a:lnTo>
                  <a:lnTo>
                    <a:pt x="1222" y="258"/>
                  </a:lnTo>
                  <a:lnTo>
                    <a:pt x="1229" y="262"/>
                  </a:lnTo>
                  <a:lnTo>
                    <a:pt x="1232" y="266"/>
                  </a:lnTo>
                  <a:lnTo>
                    <a:pt x="1229" y="281"/>
                  </a:lnTo>
                  <a:lnTo>
                    <a:pt x="1230" y="287"/>
                  </a:lnTo>
                  <a:lnTo>
                    <a:pt x="1235" y="293"/>
                  </a:lnTo>
                  <a:lnTo>
                    <a:pt x="1243" y="300"/>
                  </a:lnTo>
                  <a:lnTo>
                    <a:pt x="1246" y="305"/>
                  </a:lnTo>
                  <a:lnTo>
                    <a:pt x="1246" y="310"/>
                  </a:lnTo>
                  <a:lnTo>
                    <a:pt x="1243" y="325"/>
                  </a:lnTo>
                  <a:lnTo>
                    <a:pt x="1243" y="332"/>
                  </a:lnTo>
                  <a:lnTo>
                    <a:pt x="1264" y="356"/>
                  </a:lnTo>
                  <a:lnTo>
                    <a:pt x="1269" y="372"/>
                  </a:lnTo>
                  <a:lnTo>
                    <a:pt x="1280" y="382"/>
                  </a:lnTo>
                  <a:lnTo>
                    <a:pt x="1282" y="386"/>
                  </a:lnTo>
                  <a:lnTo>
                    <a:pt x="1282" y="399"/>
                  </a:lnTo>
                  <a:lnTo>
                    <a:pt x="1286" y="423"/>
                  </a:lnTo>
                  <a:lnTo>
                    <a:pt x="1289" y="434"/>
                  </a:lnTo>
                  <a:lnTo>
                    <a:pt x="1297" y="447"/>
                  </a:lnTo>
                  <a:lnTo>
                    <a:pt x="1300" y="454"/>
                  </a:lnTo>
                  <a:lnTo>
                    <a:pt x="1302" y="461"/>
                  </a:lnTo>
                  <a:lnTo>
                    <a:pt x="1308" y="468"/>
                  </a:lnTo>
                  <a:lnTo>
                    <a:pt x="1312" y="469"/>
                  </a:lnTo>
                  <a:lnTo>
                    <a:pt x="1328" y="471"/>
                  </a:lnTo>
                  <a:lnTo>
                    <a:pt x="1333" y="476"/>
                  </a:lnTo>
                  <a:lnTo>
                    <a:pt x="1340" y="492"/>
                  </a:lnTo>
                  <a:lnTo>
                    <a:pt x="1346" y="501"/>
                  </a:lnTo>
                  <a:lnTo>
                    <a:pt x="1347" y="505"/>
                  </a:lnTo>
                  <a:lnTo>
                    <a:pt x="1349" y="529"/>
                  </a:lnTo>
                  <a:lnTo>
                    <a:pt x="1354" y="536"/>
                  </a:lnTo>
                  <a:lnTo>
                    <a:pt x="1357" y="541"/>
                  </a:lnTo>
                  <a:lnTo>
                    <a:pt x="1374" y="555"/>
                  </a:lnTo>
                  <a:lnTo>
                    <a:pt x="1378" y="563"/>
                  </a:lnTo>
                  <a:lnTo>
                    <a:pt x="1382" y="572"/>
                  </a:lnTo>
                  <a:lnTo>
                    <a:pt x="1381" y="578"/>
                  </a:lnTo>
                  <a:lnTo>
                    <a:pt x="1378" y="584"/>
                  </a:lnTo>
                  <a:lnTo>
                    <a:pt x="1381" y="592"/>
                  </a:lnTo>
                  <a:lnTo>
                    <a:pt x="1390" y="606"/>
                  </a:lnTo>
                  <a:lnTo>
                    <a:pt x="1395" y="609"/>
                  </a:lnTo>
                  <a:lnTo>
                    <a:pt x="1414" y="614"/>
                  </a:lnTo>
                  <a:lnTo>
                    <a:pt x="1417" y="618"/>
                  </a:lnTo>
                  <a:lnTo>
                    <a:pt x="1418" y="621"/>
                  </a:lnTo>
                  <a:lnTo>
                    <a:pt x="1424" y="639"/>
                  </a:lnTo>
                  <a:lnTo>
                    <a:pt x="1426" y="645"/>
                  </a:lnTo>
                  <a:lnTo>
                    <a:pt x="1431" y="648"/>
                  </a:lnTo>
                  <a:lnTo>
                    <a:pt x="1437" y="653"/>
                  </a:lnTo>
                  <a:lnTo>
                    <a:pt x="1445" y="658"/>
                  </a:lnTo>
                  <a:lnTo>
                    <a:pt x="1446" y="663"/>
                  </a:lnTo>
                  <a:lnTo>
                    <a:pt x="1446" y="667"/>
                  </a:lnTo>
                  <a:lnTo>
                    <a:pt x="1440" y="679"/>
                  </a:lnTo>
                  <a:lnTo>
                    <a:pt x="1442" y="689"/>
                  </a:lnTo>
                  <a:lnTo>
                    <a:pt x="1465" y="708"/>
                  </a:lnTo>
                  <a:lnTo>
                    <a:pt x="1475" y="712"/>
                  </a:lnTo>
                  <a:lnTo>
                    <a:pt x="1487" y="718"/>
                  </a:lnTo>
                  <a:lnTo>
                    <a:pt x="1492" y="718"/>
                  </a:lnTo>
                  <a:lnTo>
                    <a:pt x="1497" y="712"/>
                  </a:lnTo>
                  <a:lnTo>
                    <a:pt x="1504" y="710"/>
                  </a:lnTo>
                  <a:lnTo>
                    <a:pt x="1510" y="712"/>
                  </a:lnTo>
                  <a:lnTo>
                    <a:pt x="1515" y="714"/>
                  </a:lnTo>
                  <a:lnTo>
                    <a:pt x="1526" y="722"/>
                  </a:lnTo>
                  <a:lnTo>
                    <a:pt x="1534" y="724"/>
                  </a:lnTo>
                  <a:lnTo>
                    <a:pt x="1551" y="726"/>
                  </a:lnTo>
                  <a:lnTo>
                    <a:pt x="1557" y="722"/>
                  </a:lnTo>
                  <a:lnTo>
                    <a:pt x="1564" y="718"/>
                  </a:lnTo>
                  <a:lnTo>
                    <a:pt x="1571" y="718"/>
                  </a:lnTo>
                  <a:lnTo>
                    <a:pt x="1575" y="720"/>
                  </a:lnTo>
                  <a:lnTo>
                    <a:pt x="1578" y="722"/>
                  </a:lnTo>
                  <a:lnTo>
                    <a:pt x="1584" y="733"/>
                  </a:lnTo>
                  <a:lnTo>
                    <a:pt x="1593" y="753"/>
                  </a:lnTo>
                  <a:lnTo>
                    <a:pt x="1595" y="760"/>
                  </a:lnTo>
                  <a:lnTo>
                    <a:pt x="1595" y="767"/>
                  </a:lnTo>
                  <a:lnTo>
                    <a:pt x="1587" y="778"/>
                  </a:lnTo>
                  <a:lnTo>
                    <a:pt x="1589" y="787"/>
                  </a:lnTo>
                  <a:lnTo>
                    <a:pt x="1592" y="794"/>
                  </a:lnTo>
                  <a:lnTo>
                    <a:pt x="1599" y="799"/>
                  </a:lnTo>
                  <a:lnTo>
                    <a:pt x="1610" y="800"/>
                  </a:lnTo>
                  <a:lnTo>
                    <a:pt x="1614" y="801"/>
                  </a:lnTo>
                  <a:lnTo>
                    <a:pt x="1618" y="813"/>
                  </a:lnTo>
                  <a:lnTo>
                    <a:pt x="1621" y="813"/>
                  </a:lnTo>
                  <a:lnTo>
                    <a:pt x="1636" y="817"/>
                  </a:lnTo>
                  <a:lnTo>
                    <a:pt x="1641" y="821"/>
                  </a:lnTo>
                  <a:lnTo>
                    <a:pt x="1649" y="830"/>
                  </a:lnTo>
                  <a:lnTo>
                    <a:pt x="1657" y="836"/>
                  </a:lnTo>
                  <a:lnTo>
                    <a:pt x="1659" y="844"/>
                  </a:lnTo>
                  <a:lnTo>
                    <a:pt x="1657" y="850"/>
                  </a:lnTo>
                  <a:lnTo>
                    <a:pt x="1667" y="875"/>
                  </a:lnTo>
                  <a:lnTo>
                    <a:pt x="1669" y="883"/>
                  </a:lnTo>
                  <a:lnTo>
                    <a:pt x="1670" y="884"/>
                  </a:lnTo>
                  <a:lnTo>
                    <a:pt x="1666" y="894"/>
                  </a:lnTo>
                  <a:lnTo>
                    <a:pt x="1664" y="899"/>
                  </a:lnTo>
                  <a:lnTo>
                    <a:pt x="1663" y="903"/>
                  </a:lnTo>
                  <a:lnTo>
                    <a:pt x="1659" y="907"/>
                  </a:lnTo>
                  <a:lnTo>
                    <a:pt x="1659" y="911"/>
                  </a:lnTo>
                  <a:lnTo>
                    <a:pt x="1660" y="913"/>
                  </a:lnTo>
                  <a:lnTo>
                    <a:pt x="1674" y="921"/>
                  </a:lnTo>
                  <a:lnTo>
                    <a:pt x="1677" y="925"/>
                  </a:lnTo>
                  <a:lnTo>
                    <a:pt x="1677" y="932"/>
                  </a:lnTo>
                  <a:lnTo>
                    <a:pt x="1678" y="936"/>
                  </a:lnTo>
                  <a:lnTo>
                    <a:pt x="1689" y="938"/>
                  </a:lnTo>
                  <a:lnTo>
                    <a:pt x="1691" y="940"/>
                  </a:lnTo>
                  <a:lnTo>
                    <a:pt x="1692" y="948"/>
                  </a:lnTo>
                  <a:lnTo>
                    <a:pt x="1716" y="962"/>
                  </a:lnTo>
                  <a:lnTo>
                    <a:pt x="1739" y="970"/>
                  </a:lnTo>
                  <a:lnTo>
                    <a:pt x="1746" y="970"/>
                  </a:lnTo>
                  <a:lnTo>
                    <a:pt x="1755" y="969"/>
                  </a:lnTo>
                  <a:lnTo>
                    <a:pt x="1760" y="969"/>
                  </a:lnTo>
                  <a:lnTo>
                    <a:pt x="1764" y="974"/>
                  </a:lnTo>
                  <a:lnTo>
                    <a:pt x="1769" y="982"/>
                  </a:lnTo>
                  <a:lnTo>
                    <a:pt x="1773" y="986"/>
                  </a:lnTo>
                  <a:lnTo>
                    <a:pt x="1784" y="987"/>
                  </a:lnTo>
                  <a:lnTo>
                    <a:pt x="1803" y="987"/>
                  </a:lnTo>
                  <a:lnTo>
                    <a:pt x="1825" y="995"/>
                  </a:lnTo>
                  <a:lnTo>
                    <a:pt x="1846" y="996"/>
                  </a:lnTo>
                  <a:lnTo>
                    <a:pt x="1866" y="1000"/>
                  </a:lnTo>
                  <a:lnTo>
                    <a:pt x="1875" y="1007"/>
                  </a:lnTo>
                  <a:lnTo>
                    <a:pt x="1883" y="1013"/>
                  </a:lnTo>
                  <a:lnTo>
                    <a:pt x="1892" y="1018"/>
                  </a:lnTo>
                  <a:lnTo>
                    <a:pt x="1905" y="1027"/>
                  </a:lnTo>
                  <a:lnTo>
                    <a:pt x="1923" y="1031"/>
                  </a:lnTo>
                  <a:lnTo>
                    <a:pt x="1928" y="1035"/>
                  </a:lnTo>
                  <a:lnTo>
                    <a:pt x="1942" y="1048"/>
                  </a:lnTo>
                  <a:lnTo>
                    <a:pt x="1956" y="1049"/>
                  </a:lnTo>
                  <a:lnTo>
                    <a:pt x="1962" y="1053"/>
                  </a:lnTo>
                  <a:lnTo>
                    <a:pt x="1970" y="1060"/>
                  </a:lnTo>
                  <a:lnTo>
                    <a:pt x="1980" y="1070"/>
                  </a:lnTo>
                  <a:lnTo>
                    <a:pt x="1980" y="1075"/>
                  </a:lnTo>
                  <a:lnTo>
                    <a:pt x="1977" y="1086"/>
                  </a:lnTo>
                  <a:lnTo>
                    <a:pt x="1977" y="1093"/>
                  </a:lnTo>
                  <a:lnTo>
                    <a:pt x="1981" y="1107"/>
                  </a:lnTo>
                  <a:lnTo>
                    <a:pt x="1987" y="1115"/>
                  </a:lnTo>
                  <a:lnTo>
                    <a:pt x="2001" y="1124"/>
                  </a:lnTo>
                  <a:lnTo>
                    <a:pt x="2010" y="1135"/>
                  </a:lnTo>
                  <a:lnTo>
                    <a:pt x="2012" y="1139"/>
                  </a:lnTo>
                  <a:lnTo>
                    <a:pt x="2012" y="1153"/>
                  </a:lnTo>
                  <a:lnTo>
                    <a:pt x="2015" y="1161"/>
                  </a:lnTo>
                  <a:lnTo>
                    <a:pt x="2019" y="1165"/>
                  </a:lnTo>
                  <a:lnTo>
                    <a:pt x="2021" y="1169"/>
                  </a:lnTo>
                  <a:lnTo>
                    <a:pt x="2038" y="1169"/>
                  </a:lnTo>
                  <a:lnTo>
                    <a:pt x="2049" y="1175"/>
                  </a:lnTo>
                  <a:lnTo>
                    <a:pt x="2058" y="1182"/>
                  </a:lnTo>
                  <a:lnTo>
                    <a:pt x="2063" y="1187"/>
                  </a:lnTo>
                  <a:lnTo>
                    <a:pt x="2066" y="1198"/>
                  </a:lnTo>
                  <a:lnTo>
                    <a:pt x="2070" y="1199"/>
                  </a:lnTo>
                  <a:lnTo>
                    <a:pt x="2080" y="1201"/>
                  </a:lnTo>
                  <a:lnTo>
                    <a:pt x="2088" y="1206"/>
                  </a:lnTo>
                  <a:lnTo>
                    <a:pt x="2095" y="1209"/>
                  </a:lnTo>
                  <a:lnTo>
                    <a:pt x="2101" y="1214"/>
                  </a:lnTo>
                  <a:lnTo>
                    <a:pt x="2102" y="1219"/>
                  </a:lnTo>
                  <a:lnTo>
                    <a:pt x="2110" y="1224"/>
                  </a:lnTo>
                  <a:lnTo>
                    <a:pt x="2115" y="1231"/>
                  </a:lnTo>
                  <a:lnTo>
                    <a:pt x="2121" y="1244"/>
                  </a:lnTo>
                  <a:lnTo>
                    <a:pt x="2138" y="1247"/>
                  </a:lnTo>
                  <a:lnTo>
                    <a:pt x="2149" y="1259"/>
                  </a:lnTo>
                  <a:lnTo>
                    <a:pt x="2162" y="1262"/>
                  </a:lnTo>
                  <a:lnTo>
                    <a:pt x="2174" y="1299"/>
                  </a:lnTo>
                  <a:lnTo>
                    <a:pt x="2177" y="1303"/>
                  </a:lnTo>
                  <a:lnTo>
                    <a:pt x="2184" y="1315"/>
                  </a:lnTo>
                  <a:lnTo>
                    <a:pt x="2195" y="1340"/>
                  </a:lnTo>
                  <a:lnTo>
                    <a:pt x="2198" y="1355"/>
                  </a:lnTo>
                  <a:lnTo>
                    <a:pt x="2206" y="1373"/>
                  </a:lnTo>
                  <a:lnTo>
                    <a:pt x="2206" y="1377"/>
                  </a:lnTo>
                  <a:lnTo>
                    <a:pt x="2204" y="1381"/>
                  </a:lnTo>
                  <a:lnTo>
                    <a:pt x="2202" y="1388"/>
                  </a:lnTo>
                  <a:lnTo>
                    <a:pt x="2214" y="1401"/>
                  </a:lnTo>
                  <a:lnTo>
                    <a:pt x="2215" y="1405"/>
                  </a:lnTo>
                  <a:lnTo>
                    <a:pt x="2214" y="1411"/>
                  </a:lnTo>
                  <a:lnTo>
                    <a:pt x="2215" y="1418"/>
                  </a:lnTo>
                  <a:lnTo>
                    <a:pt x="2212" y="1422"/>
                  </a:lnTo>
                  <a:lnTo>
                    <a:pt x="2215" y="1431"/>
                  </a:lnTo>
                  <a:lnTo>
                    <a:pt x="2211" y="1438"/>
                  </a:lnTo>
                  <a:lnTo>
                    <a:pt x="2214" y="1440"/>
                  </a:lnTo>
                  <a:lnTo>
                    <a:pt x="2225" y="1438"/>
                  </a:lnTo>
                  <a:lnTo>
                    <a:pt x="2228" y="1442"/>
                  </a:lnTo>
                  <a:lnTo>
                    <a:pt x="2225" y="1446"/>
                  </a:lnTo>
                  <a:lnTo>
                    <a:pt x="2220" y="1448"/>
                  </a:lnTo>
                  <a:lnTo>
                    <a:pt x="2202" y="1448"/>
                  </a:lnTo>
                  <a:lnTo>
                    <a:pt x="2200" y="1453"/>
                  </a:lnTo>
                  <a:lnTo>
                    <a:pt x="2204" y="1459"/>
                  </a:lnTo>
                  <a:lnTo>
                    <a:pt x="2204" y="1460"/>
                  </a:lnTo>
                  <a:lnTo>
                    <a:pt x="2187" y="1464"/>
                  </a:lnTo>
                  <a:lnTo>
                    <a:pt x="2183" y="1468"/>
                  </a:lnTo>
                  <a:lnTo>
                    <a:pt x="2181" y="1471"/>
                  </a:lnTo>
                  <a:lnTo>
                    <a:pt x="2181" y="1476"/>
                  </a:lnTo>
                  <a:lnTo>
                    <a:pt x="2188" y="1483"/>
                  </a:lnTo>
                  <a:lnTo>
                    <a:pt x="2191" y="1495"/>
                  </a:lnTo>
                  <a:lnTo>
                    <a:pt x="2190" y="1501"/>
                  </a:lnTo>
                  <a:lnTo>
                    <a:pt x="2184" y="1509"/>
                  </a:lnTo>
                  <a:lnTo>
                    <a:pt x="2184" y="1517"/>
                  </a:lnTo>
                  <a:lnTo>
                    <a:pt x="2187" y="1520"/>
                  </a:lnTo>
                  <a:lnTo>
                    <a:pt x="2194" y="1525"/>
                  </a:lnTo>
                  <a:lnTo>
                    <a:pt x="2195" y="1529"/>
                  </a:lnTo>
                  <a:lnTo>
                    <a:pt x="2194" y="1532"/>
                  </a:lnTo>
                  <a:lnTo>
                    <a:pt x="2193" y="1532"/>
                  </a:lnTo>
                  <a:lnTo>
                    <a:pt x="2177" y="1532"/>
                  </a:lnTo>
                  <a:lnTo>
                    <a:pt x="2176" y="1539"/>
                  </a:lnTo>
                  <a:lnTo>
                    <a:pt x="2176" y="1543"/>
                  </a:lnTo>
                  <a:lnTo>
                    <a:pt x="2184" y="1546"/>
                  </a:lnTo>
                  <a:lnTo>
                    <a:pt x="2188" y="1551"/>
                  </a:lnTo>
                  <a:lnTo>
                    <a:pt x="2191" y="1551"/>
                  </a:lnTo>
                  <a:lnTo>
                    <a:pt x="2202" y="1543"/>
                  </a:lnTo>
                  <a:lnTo>
                    <a:pt x="2209" y="1542"/>
                  </a:lnTo>
                  <a:lnTo>
                    <a:pt x="2219" y="1543"/>
                  </a:lnTo>
                  <a:lnTo>
                    <a:pt x="2220" y="1546"/>
                  </a:lnTo>
                  <a:lnTo>
                    <a:pt x="2222" y="1554"/>
                  </a:lnTo>
                  <a:lnTo>
                    <a:pt x="2225" y="1558"/>
                  </a:lnTo>
                  <a:lnTo>
                    <a:pt x="2228" y="1558"/>
                  </a:lnTo>
                  <a:lnTo>
                    <a:pt x="2231" y="1552"/>
                  </a:lnTo>
                  <a:lnTo>
                    <a:pt x="2234" y="1552"/>
                  </a:lnTo>
                  <a:lnTo>
                    <a:pt x="2239" y="1564"/>
                  </a:lnTo>
                  <a:lnTo>
                    <a:pt x="2243" y="1570"/>
                  </a:lnTo>
                  <a:lnTo>
                    <a:pt x="2251" y="1576"/>
                  </a:lnTo>
                  <a:lnTo>
                    <a:pt x="2254" y="1583"/>
                  </a:lnTo>
                  <a:lnTo>
                    <a:pt x="2253" y="1584"/>
                  </a:lnTo>
                  <a:lnTo>
                    <a:pt x="2250" y="1587"/>
                  </a:lnTo>
                  <a:close/>
                  <a:moveTo>
                    <a:pt x="1271" y="3107"/>
                  </a:moveTo>
                  <a:lnTo>
                    <a:pt x="1271" y="3111"/>
                  </a:lnTo>
                  <a:lnTo>
                    <a:pt x="1265" y="3111"/>
                  </a:lnTo>
                  <a:lnTo>
                    <a:pt x="1264" y="3110"/>
                  </a:lnTo>
                  <a:lnTo>
                    <a:pt x="1264" y="3107"/>
                  </a:lnTo>
                  <a:lnTo>
                    <a:pt x="1261" y="3110"/>
                  </a:lnTo>
                  <a:lnTo>
                    <a:pt x="1250" y="3111"/>
                  </a:lnTo>
                  <a:lnTo>
                    <a:pt x="1233" y="3118"/>
                  </a:lnTo>
                  <a:lnTo>
                    <a:pt x="1227" y="3115"/>
                  </a:lnTo>
                  <a:lnTo>
                    <a:pt x="1226" y="3115"/>
                  </a:lnTo>
                  <a:lnTo>
                    <a:pt x="1226" y="3114"/>
                  </a:lnTo>
                  <a:lnTo>
                    <a:pt x="1230" y="3105"/>
                  </a:lnTo>
                  <a:lnTo>
                    <a:pt x="1229" y="3097"/>
                  </a:lnTo>
                  <a:lnTo>
                    <a:pt x="1222" y="3089"/>
                  </a:lnTo>
                  <a:lnTo>
                    <a:pt x="1212" y="3085"/>
                  </a:lnTo>
                  <a:lnTo>
                    <a:pt x="1208" y="3075"/>
                  </a:lnTo>
                  <a:lnTo>
                    <a:pt x="1208" y="3070"/>
                  </a:lnTo>
                  <a:lnTo>
                    <a:pt x="1210" y="3069"/>
                  </a:lnTo>
                  <a:lnTo>
                    <a:pt x="1211" y="3069"/>
                  </a:lnTo>
                  <a:lnTo>
                    <a:pt x="1227" y="3080"/>
                  </a:lnTo>
                  <a:lnTo>
                    <a:pt x="1232" y="3080"/>
                  </a:lnTo>
                  <a:lnTo>
                    <a:pt x="1239" y="3078"/>
                  </a:lnTo>
                  <a:lnTo>
                    <a:pt x="1241" y="3080"/>
                  </a:lnTo>
                  <a:lnTo>
                    <a:pt x="1247" y="3085"/>
                  </a:lnTo>
                  <a:lnTo>
                    <a:pt x="1249" y="3085"/>
                  </a:lnTo>
                  <a:lnTo>
                    <a:pt x="1257" y="3092"/>
                  </a:lnTo>
                  <a:lnTo>
                    <a:pt x="1255" y="3095"/>
                  </a:lnTo>
                  <a:lnTo>
                    <a:pt x="1258" y="3098"/>
                  </a:lnTo>
                  <a:lnTo>
                    <a:pt x="1258" y="3101"/>
                  </a:lnTo>
                  <a:lnTo>
                    <a:pt x="1254" y="3103"/>
                  </a:lnTo>
                  <a:lnTo>
                    <a:pt x="1258" y="3103"/>
                  </a:lnTo>
                  <a:lnTo>
                    <a:pt x="1262" y="3098"/>
                  </a:lnTo>
                  <a:lnTo>
                    <a:pt x="1271" y="3107"/>
                  </a:lnTo>
                  <a:close/>
                  <a:moveTo>
                    <a:pt x="1105" y="2375"/>
                  </a:moveTo>
                  <a:lnTo>
                    <a:pt x="1102" y="2375"/>
                  </a:lnTo>
                  <a:lnTo>
                    <a:pt x="1098" y="2374"/>
                  </a:lnTo>
                  <a:lnTo>
                    <a:pt x="1100" y="2375"/>
                  </a:lnTo>
                  <a:lnTo>
                    <a:pt x="1077" y="2371"/>
                  </a:lnTo>
                  <a:lnTo>
                    <a:pt x="1069" y="2367"/>
                  </a:lnTo>
                  <a:lnTo>
                    <a:pt x="1066" y="2367"/>
                  </a:lnTo>
                  <a:lnTo>
                    <a:pt x="1066" y="2363"/>
                  </a:lnTo>
                  <a:lnTo>
                    <a:pt x="1076" y="2359"/>
                  </a:lnTo>
                  <a:lnTo>
                    <a:pt x="1082" y="2359"/>
                  </a:lnTo>
                  <a:lnTo>
                    <a:pt x="1087" y="2363"/>
                  </a:lnTo>
                  <a:lnTo>
                    <a:pt x="1098" y="2367"/>
                  </a:lnTo>
                  <a:lnTo>
                    <a:pt x="1105" y="2375"/>
                  </a:lnTo>
                  <a:close/>
                  <a:moveTo>
                    <a:pt x="1040" y="2363"/>
                  </a:moveTo>
                  <a:lnTo>
                    <a:pt x="1030" y="2355"/>
                  </a:lnTo>
                  <a:lnTo>
                    <a:pt x="1027" y="2351"/>
                  </a:lnTo>
                  <a:lnTo>
                    <a:pt x="1027" y="2345"/>
                  </a:lnTo>
                  <a:lnTo>
                    <a:pt x="1036" y="2345"/>
                  </a:lnTo>
                  <a:lnTo>
                    <a:pt x="1034" y="2354"/>
                  </a:lnTo>
                  <a:lnTo>
                    <a:pt x="1036" y="2358"/>
                  </a:lnTo>
                  <a:lnTo>
                    <a:pt x="1041" y="2363"/>
                  </a:lnTo>
                  <a:lnTo>
                    <a:pt x="1040" y="2363"/>
                  </a:lnTo>
                  <a:close/>
                  <a:moveTo>
                    <a:pt x="1063" y="2719"/>
                  </a:moveTo>
                  <a:lnTo>
                    <a:pt x="1063" y="2723"/>
                  </a:lnTo>
                  <a:lnTo>
                    <a:pt x="1061" y="2723"/>
                  </a:lnTo>
                  <a:lnTo>
                    <a:pt x="1055" y="2719"/>
                  </a:lnTo>
                  <a:lnTo>
                    <a:pt x="1048" y="2721"/>
                  </a:lnTo>
                  <a:lnTo>
                    <a:pt x="1045" y="2719"/>
                  </a:lnTo>
                  <a:lnTo>
                    <a:pt x="1052" y="2711"/>
                  </a:lnTo>
                  <a:lnTo>
                    <a:pt x="1055" y="2711"/>
                  </a:lnTo>
                  <a:lnTo>
                    <a:pt x="1063" y="2719"/>
                  </a:lnTo>
                  <a:close/>
                  <a:moveTo>
                    <a:pt x="1113" y="2400"/>
                  </a:moveTo>
                  <a:lnTo>
                    <a:pt x="1112" y="2400"/>
                  </a:lnTo>
                  <a:lnTo>
                    <a:pt x="1102" y="2388"/>
                  </a:lnTo>
                  <a:lnTo>
                    <a:pt x="1101" y="2384"/>
                  </a:lnTo>
                  <a:lnTo>
                    <a:pt x="1102" y="2381"/>
                  </a:lnTo>
                  <a:lnTo>
                    <a:pt x="1104" y="2384"/>
                  </a:lnTo>
                  <a:lnTo>
                    <a:pt x="1105" y="2384"/>
                  </a:lnTo>
                  <a:lnTo>
                    <a:pt x="1108" y="2384"/>
                  </a:lnTo>
                  <a:lnTo>
                    <a:pt x="1111" y="2388"/>
                  </a:lnTo>
                  <a:lnTo>
                    <a:pt x="1112" y="2396"/>
                  </a:lnTo>
                  <a:lnTo>
                    <a:pt x="1113" y="2400"/>
                  </a:lnTo>
                  <a:close/>
                  <a:moveTo>
                    <a:pt x="1129" y="2395"/>
                  </a:moveTo>
                  <a:lnTo>
                    <a:pt x="1130" y="2397"/>
                  </a:lnTo>
                  <a:lnTo>
                    <a:pt x="1127" y="2399"/>
                  </a:lnTo>
                  <a:lnTo>
                    <a:pt x="1129" y="2400"/>
                  </a:lnTo>
                  <a:lnTo>
                    <a:pt x="1127" y="2400"/>
                  </a:lnTo>
                  <a:lnTo>
                    <a:pt x="1125" y="2400"/>
                  </a:lnTo>
                  <a:lnTo>
                    <a:pt x="1122" y="2396"/>
                  </a:lnTo>
                  <a:lnTo>
                    <a:pt x="1121" y="2396"/>
                  </a:lnTo>
                  <a:lnTo>
                    <a:pt x="1121" y="2392"/>
                  </a:lnTo>
                  <a:lnTo>
                    <a:pt x="1118" y="2389"/>
                  </a:lnTo>
                  <a:lnTo>
                    <a:pt x="1116" y="2389"/>
                  </a:lnTo>
                  <a:lnTo>
                    <a:pt x="1115" y="2389"/>
                  </a:lnTo>
                  <a:lnTo>
                    <a:pt x="1118" y="2396"/>
                  </a:lnTo>
                  <a:lnTo>
                    <a:pt x="1116" y="2397"/>
                  </a:lnTo>
                  <a:lnTo>
                    <a:pt x="1118" y="2400"/>
                  </a:lnTo>
                  <a:lnTo>
                    <a:pt x="1116" y="2400"/>
                  </a:lnTo>
                  <a:lnTo>
                    <a:pt x="1115" y="2389"/>
                  </a:lnTo>
                  <a:lnTo>
                    <a:pt x="1116" y="2388"/>
                  </a:lnTo>
                  <a:lnTo>
                    <a:pt x="1118" y="2388"/>
                  </a:lnTo>
                  <a:lnTo>
                    <a:pt x="1125" y="2392"/>
                  </a:lnTo>
                  <a:lnTo>
                    <a:pt x="1129" y="2395"/>
                  </a:lnTo>
                  <a:close/>
                  <a:moveTo>
                    <a:pt x="1042" y="2347"/>
                  </a:moveTo>
                  <a:lnTo>
                    <a:pt x="1041" y="2358"/>
                  </a:lnTo>
                  <a:lnTo>
                    <a:pt x="1037" y="2355"/>
                  </a:lnTo>
                  <a:lnTo>
                    <a:pt x="1037" y="2350"/>
                  </a:lnTo>
                  <a:lnTo>
                    <a:pt x="1041" y="2340"/>
                  </a:lnTo>
                  <a:lnTo>
                    <a:pt x="1042" y="2347"/>
                  </a:lnTo>
                  <a:close/>
                  <a:moveTo>
                    <a:pt x="1108" y="2475"/>
                  </a:moveTo>
                  <a:lnTo>
                    <a:pt x="1105" y="2479"/>
                  </a:lnTo>
                  <a:lnTo>
                    <a:pt x="1097" y="2477"/>
                  </a:lnTo>
                  <a:lnTo>
                    <a:pt x="1096" y="2475"/>
                  </a:lnTo>
                  <a:lnTo>
                    <a:pt x="1098" y="2474"/>
                  </a:lnTo>
                  <a:lnTo>
                    <a:pt x="1102" y="2471"/>
                  </a:lnTo>
                  <a:lnTo>
                    <a:pt x="1104" y="2470"/>
                  </a:lnTo>
                  <a:lnTo>
                    <a:pt x="1105" y="2470"/>
                  </a:lnTo>
                  <a:lnTo>
                    <a:pt x="1105" y="2471"/>
                  </a:lnTo>
                  <a:lnTo>
                    <a:pt x="1108" y="2475"/>
                  </a:lnTo>
                  <a:close/>
                  <a:moveTo>
                    <a:pt x="1058" y="2377"/>
                  </a:moveTo>
                  <a:lnTo>
                    <a:pt x="1054" y="2377"/>
                  </a:lnTo>
                  <a:lnTo>
                    <a:pt x="1050" y="2376"/>
                  </a:lnTo>
                  <a:lnTo>
                    <a:pt x="1048" y="2375"/>
                  </a:lnTo>
                  <a:lnTo>
                    <a:pt x="1040" y="2365"/>
                  </a:lnTo>
                  <a:lnTo>
                    <a:pt x="1042" y="2363"/>
                  </a:lnTo>
                  <a:lnTo>
                    <a:pt x="1051" y="2372"/>
                  </a:lnTo>
                  <a:lnTo>
                    <a:pt x="1058" y="2377"/>
                  </a:lnTo>
                  <a:close/>
                  <a:moveTo>
                    <a:pt x="1040" y="3009"/>
                  </a:moveTo>
                  <a:lnTo>
                    <a:pt x="1040" y="3011"/>
                  </a:lnTo>
                  <a:lnTo>
                    <a:pt x="1036" y="3018"/>
                  </a:lnTo>
                  <a:lnTo>
                    <a:pt x="1034" y="3022"/>
                  </a:lnTo>
                  <a:lnTo>
                    <a:pt x="1033" y="3022"/>
                  </a:lnTo>
                  <a:lnTo>
                    <a:pt x="1031" y="3022"/>
                  </a:lnTo>
                  <a:lnTo>
                    <a:pt x="1033" y="3018"/>
                  </a:lnTo>
                  <a:lnTo>
                    <a:pt x="1037" y="3009"/>
                  </a:lnTo>
                  <a:lnTo>
                    <a:pt x="1038" y="3007"/>
                  </a:lnTo>
                  <a:lnTo>
                    <a:pt x="1040" y="3009"/>
                  </a:lnTo>
                  <a:close/>
                  <a:moveTo>
                    <a:pt x="1255" y="3118"/>
                  </a:moveTo>
                  <a:lnTo>
                    <a:pt x="1257" y="3120"/>
                  </a:lnTo>
                  <a:lnTo>
                    <a:pt x="1255" y="3122"/>
                  </a:lnTo>
                  <a:lnTo>
                    <a:pt x="1244" y="3123"/>
                  </a:lnTo>
                  <a:lnTo>
                    <a:pt x="1244" y="3122"/>
                  </a:lnTo>
                  <a:lnTo>
                    <a:pt x="1246" y="3122"/>
                  </a:lnTo>
                  <a:lnTo>
                    <a:pt x="1251" y="3118"/>
                  </a:lnTo>
                  <a:lnTo>
                    <a:pt x="1255" y="3118"/>
                  </a:lnTo>
                  <a:close/>
                  <a:moveTo>
                    <a:pt x="1144" y="2399"/>
                  </a:moveTo>
                  <a:lnTo>
                    <a:pt x="1144" y="2400"/>
                  </a:lnTo>
                  <a:lnTo>
                    <a:pt x="1143" y="2400"/>
                  </a:lnTo>
                  <a:lnTo>
                    <a:pt x="1140" y="2400"/>
                  </a:lnTo>
                  <a:lnTo>
                    <a:pt x="1137" y="2395"/>
                  </a:lnTo>
                  <a:lnTo>
                    <a:pt x="1144" y="2399"/>
                  </a:lnTo>
                  <a:close/>
                  <a:moveTo>
                    <a:pt x="1038" y="2848"/>
                  </a:moveTo>
                  <a:lnTo>
                    <a:pt x="1038" y="2849"/>
                  </a:lnTo>
                  <a:lnTo>
                    <a:pt x="1037" y="2848"/>
                  </a:lnTo>
                  <a:lnTo>
                    <a:pt x="1037" y="2847"/>
                  </a:lnTo>
                  <a:lnTo>
                    <a:pt x="1038" y="2848"/>
                  </a:lnTo>
                  <a:close/>
                  <a:moveTo>
                    <a:pt x="1026" y="2887"/>
                  </a:moveTo>
                  <a:lnTo>
                    <a:pt x="1026" y="2890"/>
                  </a:lnTo>
                  <a:lnTo>
                    <a:pt x="1025" y="2891"/>
                  </a:lnTo>
                  <a:lnTo>
                    <a:pt x="1025" y="2890"/>
                  </a:lnTo>
                  <a:lnTo>
                    <a:pt x="1026" y="2887"/>
                  </a:lnTo>
                  <a:close/>
                </a:path>
              </a:pathLst>
            </a:custGeom>
            <a:solidFill>
              <a:srgbClr val="BD81B9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87" name="Freeform 186"/>
          <p:cNvSpPr>
            <a:spLocks noEditPoints="1"/>
          </p:cNvSpPr>
          <p:nvPr/>
        </p:nvSpPr>
        <p:spPr bwMode="auto">
          <a:xfrm>
            <a:off x="989581" y="4718249"/>
            <a:ext cx="88917" cy="61532"/>
          </a:xfrm>
          <a:custGeom>
            <a:avLst/>
            <a:gdLst>
              <a:gd name="T0" fmla="*/ 382 w 446"/>
              <a:gd name="T1" fmla="*/ 130 h 228"/>
              <a:gd name="T2" fmla="*/ 381 w 446"/>
              <a:gd name="T3" fmla="*/ 138 h 228"/>
              <a:gd name="T4" fmla="*/ 372 w 446"/>
              <a:gd name="T5" fmla="*/ 129 h 228"/>
              <a:gd name="T6" fmla="*/ 385 w 446"/>
              <a:gd name="T7" fmla="*/ 127 h 228"/>
              <a:gd name="T8" fmla="*/ 195 w 446"/>
              <a:gd name="T9" fmla="*/ 59 h 228"/>
              <a:gd name="T10" fmla="*/ 182 w 446"/>
              <a:gd name="T11" fmla="*/ 68 h 228"/>
              <a:gd name="T12" fmla="*/ 171 w 446"/>
              <a:gd name="T13" fmla="*/ 80 h 228"/>
              <a:gd name="T14" fmla="*/ 172 w 446"/>
              <a:gd name="T15" fmla="*/ 79 h 228"/>
              <a:gd name="T16" fmla="*/ 142 w 446"/>
              <a:gd name="T17" fmla="*/ 110 h 228"/>
              <a:gd name="T18" fmla="*/ 123 w 446"/>
              <a:gd name="T19" fmla="*/ 138 h 228"/>
              <a:gd name="T20" fmla="*/ 90 w 446"/>
              <a:gd name="T21" fmla="*/ 124 h 228"/>
              <a:gd name="T22" fmla="*/ 82 w 446"/>
              <a:gd name="T23" fmla="*/ 115 h 228"/>
              <a:gd name="T24" fmla="*/ 76 w 446"/>
              <a:gd name="T25" fmla="*/ 108 h 228"/>
              <a:gd name="T26" fmla="*/ 57 w 446"/>
              <a:gd name="T27" fmla="*/ 107 h 228"/>
              <a:gd name="T28" fmla="*/ 48 w 446"/>
              <a:gd name="T29" fmla="*/ 120 h 228"/>
              <a:gd name="T30" fmla="*/ 73 w 446"/>
              <a:gd name="T31" fmla="*/ 92 h 228"/>
              <a:gd name="T32" fmla="*/ 90 w 446"/>
              <a:gd name="T33" fmla="*/ 75 h 228"/>
              <a:gd name="T34" fmla="*/ 97 w 446"/>
              <a:gd name="T35" fmla="*/ 35 h 228"/>
              <a:gd name="T36" fmla="*/ 206 w 446"/>
              <a:gd name="T37" fmla="*/ 34 h 228"/>
              <a:gd name="T38" fmla="*/ 204 w 446"/>
              <a:gd name="T39" fmla="*/ 55 h 228"/>
              <a:gd name="T40" fmla="*/ 98 w 446"/>
              <a:gd name="T41" fmla="*/ 219 h 228"/>
              <a:gd name="T42" fmla="*/ 71 w 446"/>
              <a:gd name="T43" fmla="*/ 213 h 228"/>
              <a:gd name="T44" fmla="*/ 33 w 446"/>
              <a:gd name="T45" fmla="*/ 228 h 228"/>
              <a:gd name="T46" fmla="*/ 19 w 446"/>
              <a:gd name="T47" fmla="*/ 222 h 228"/>
              <a:gd name="T48" fmla="*/ 6 w 446"/>
              <a:gd name="T49" fmla="*/ 215 h 228"/>
              <a:gd name="T50" fmla="*/ 1 w 446"/>
              <a:gd name="T51" fmla="*/ 197 h 228"/>
              <a:gd name="T52" fmla="*/ 19 w 446"/>
              <a:gd name="T53" fmla="*/ 199 h 228"/>
              <a:gd name="T54" fmla="*/ 44 w 446"/>
              <a:gd name="T55" fmla="*/ 174 h 228"/>
              <a:gd name="T56" fmla="*/ 47 w 446"/>
              <a:gd name="T57" fmla="*/ 158 h 228"/>
              <a:gd name="T58" fmla="*/ 43 w 446"/>
              <a:gd name="T59" fmla="*/ 130 h 228"/>
              <a:gd name="T60" fmla="*/ 60 w 446"/>
              <a:gd name="T61" fmla="*/ 127 h 228"/>
              <a:gd name="T62" fmla="*/ 83 w 446"/>
              <a:gd name="T63" fmla="*/ 134 h 228"/>
              <a:gd name="T64" fmla="*/ 92 w 446"/>
              <a:gd name="T65" fmla="*/ 130 h 228"/>
              <a:gd name="T66" fmla="*/ 97 w 446"/>
              <a:gd name="T67" fmla="*/ 135 h 228"/>
              <a:gd name="T68" fmla="*/ 106 w 446"/>
              <a:gd name="T69" fmla="*/ 163 h 228"/>
              <a:gd name="T70" fmla="*/ 129 w 446"/>
              <a:gd name="T71" fmla="*/ 172 h 228"/>
              <a:gd name="T72" fmla="*/ 112 w 446"/>
              <a:gd name="T73" fmla="*/ 200 h 228"/>
              <a:gd name="T74" fmla="*/ 435 w 446"/>
              <a:gd name="T75" fmla="*/ 152 h 228"/>
              <a:gd name="T76" fmla="*/ 421 w 446"/>
              <a:gd name="T77" fmla="*/ 202 h 228"/>
              <a:gd name="T78" fmla="*/ 414 w 446"/>
              <a:gd name="T79" fmla="*/ 215 h 228"/>
              <a:gd name="T80" fmla="*/ 413 w 446"/>
              <a:gd name="T81" fmla="*/ 202 h 228"/>
              <a:gd name="T82" fmla="*/ 406 w 446"/>
              <a:gd name="T83" fmla="*/ 195 h 228"/>
              <a:gd name="T84" fmla="*/ 405 w 446"/>
              <a:gd name="T85" fmla="*/ 187 h 228"/>
              <a:gd name="T86" fmla="*/ 382 w 446"/>
              <a:gd name="T87" fmla="*/ 172 h 228"/>
              <a:gd name="T88" fmla="*/ 378 w 446"/>
              <a:gd name="T89" fmla="*/ 177 h 228"/>
              <a:gd name="T90" fmla="*/ 386 w 446"/>
              <a:gd name="T91" fmla="*/ 178 h 228"/>
              <a:gd name="T92" fmla="*/ 388 w 446"/>
              <a:gd name="T93" fmla="*/ 194 h 228"/>
              <a:gd name="T94" fmla="*/ 372 w 446"/>
              <a:gd name="T95" fmla="*/ 200 h 228"/>
              <a:gd name="T96" fmla="*/ 367 w 446"/>
              <a:gd name="T97" fmla="*/ 191 h 228"/>
              <a:gd name="T98" fmla="*/ 371 w 446"/>
              <a:gd name="T99" fmla="*/ 175 h 228"/>
              <a:gd name="T100" fmla="*/ 388 w 446"/>
              <a:gd name="T101" fmla="*/ 152 h 228"/>
              <a:gd name="T102" fmla="*/ 403 w 446"/>
              <a:gd name="T103" fmla="*/ 141 h 228"/>
              <a:gd name="T104" fmla="*/ 413 w 446"/>
              <a:gd name="T105" fmla="*/ 146 h 228"/>
              <a:gd name="T106" fmla="*/ 418 w 446"/>
              <a:gd name="T107" fmla="*/ 149 h 228"/>
              <a:gd name="T108" fmla="*/ 431 w 446"/>
              <a:gd name="T109" fmla="*/ 140 h 228"/>
              <a:gd name="T110" fmla="*/ 434 w 446"/>
              <a:gd name="T111" fmla="*/ 129 h 228"/>
              <a:gd name="T112" fmla="*/ 445 w 446"/>
              <a:gd name="T113" fmla="*/ 128 h 228"/>
              <a:gd name="T114" fmla="*/ 206 w 446"/>
              <a:gd name="T115" fmla="*/ 83 h 228"/>
              <a:gd name="T116" fmla="*/ 190 w 446"/>
              <a:gd name="T117" fmla="*/ 102 h 228"/>
              <a:gd name="T118" fmla="*/ 192 w 446"/>
              <a:gd name="T119" fmla="*/ 92 h 228"/>
              <a:gd name="T120" fmla="*/ 202 w 446"/>
              <a:gd name="T121" fmla="*/ 87 h 228"/>
              <a:gd name="T122" fmla="*/ 207 w 446"/>
              <a:gd name="T123" fmla="*/ 75 h 228"/>
              <a:gd name="T124" fmla="*/ 207 w 446"/>
              <a:gd name="T125" fmla="*/ 59 h 22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46"/>
              <a:gd name="T190" fmla="*/ 0 h 228"/>
              <a:gd name="T191" fmla="*/ 446 w 446"/>
              <a:gd name="T192" fmla="*/ 228 h 22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46" h="228">
                <a:moveTo>
                  <a:pt x="385" y="127"/>
                </a:moveTo>
                <a:lnTo>
                  <a:pt x="388" y="128"/>
                </a:lnTo>
                <a:lnTo>
                  <a:pt x="382" y="130"/>
                </a:lnTo>
                <a:lnTo>
                  <a:pt x="382" y="135"/>
                </a:lnTo>
                <a:lnTo>
                  <a:pt x="381" y="137"/>
                </a:lnTo>
                <a:lnTo>
                  <a:pt x="381" y="138"/>
                </a:lnTo>
                <a:lnTo>
                  <a:pt x="378" y="137"/>
                </a:lnTo>
                <a:lnTo>
                  <a:pt x="372" y="130"/>
                </a:lnTo>
                <a:lnTo>
                  <a:pt x="372" y="129"/>
                </a:lnTo>
                <a:lnTo>
                  <a:pt x="374" y="128"/>
                </a:lnTo>
                <a:lnTo>
                  <a:pt x="380" y="128"/>
                </a:lnTo>
                <a:lnTo>
                  <a:pt x="385" y="127"/>
                </a:lnTo>
                <a:close/>
                <a:moveTo>
                  <a:pt x="204" y="55"/>
                </a:moveTo>
                <a:lnTo>
                  <a:pt x="197" y="55"/>
                </a:lnTo>
                <a:lnTo>
                  <a:pt x="195" y="59"/>
                </a:lnTo>
                <a:lnTo>
                  <a:pt x="185" y="63"/>
                </a:lnTo>
                <a:lnTo>
                  <a:pt x="183" y="68"/>
                </a:lnTo>
                <a:lnTo>
                  <a:pt x="182" y="68"/>
                </a:lnTo>
                <a:lnTo>
                  <a:pt x="181" y="71"/>
                </a:lnTo>
                <a:lnTo>
                  <a:pt x="172" y="78"/>
                </a:lnTo>
                <a:lnTo>
                  <a:pt x="171" y="80"/>
                </a:lnTo>
                <a:lnTo>
                  <a:pt x="172" y="80"/>
                </a:lnTo>
                <a:lnTo>
                  <a:pt x="174" y="78"/>
                </a:lnTo>
                <a:lnTo>
                  <a:pt x="172" y="79"/>
                </a:lnTo>
                <a:lnTo>
                  <a:pt x="170" y="82"/>
                </a:lnTo>
                <a:lnTo>
                  <a:pt x="153" y="97"/>
                </a:lnTo>
                <a:lnTo>
                  <a:pt x="142" y="110"/>
                </a:lnTo>
                <a:lnTo>
                  <a:pt x="133" y="120"/>
                </a:lnTo>
                <a:lnTo>
                  <a:pt x="126" y="130"/>
                </a:lnTo>
                <a:lnTo>
                  <a:pt x="123" y="138"/>
                </a:lnTo>
                <a:lnTo>
                  <a:pt x="117" y="138"/>
                </a:lnTo>
                <a:lnTo>
                  <a:pt x="104" y="133"/>
                </a:lnTo>
                <a:lnTo>
                  <a:pt x="90" y="124"/>
                </a:lnTo>
                <a:lnTo>
                  <a:pt x="83" y="120"/>
                </a:lnTo>
                <a:lnTo>
                  <a:pt x="82" y="119"/>
                </a:lnTo>
                <a:lnTo>
                  <a:pt x="82" y="115"/>
                </a:lnTo>
                <a:lnTo>
                  <a:pt x="79" y="113"/>
                </a:lnTo>
                <a:lnTo>
                  <a:pt x="78" y="110"/>
                </a:lnTo>
                <a:lnTo>
                  <a:pt x="76" y="108"/>
                </a:lnTo>
                <a:lnTo>
                  <a:pt x="71" y="104"/>
                </a:lnTo>
                <a:lnTo>
                  <a:pt x="61" y="105"/>
                </a:lnTo>
                <a:lnTo>
                  <a:pt x="57" y="107"/>
                </a:lnTo>
                <a:lnTo>
                  <a:pt x="51" y="115"/>
                </a:lnTo>
                <a:lnTo>
                  <a:pt x="53" y="120"/>
                </a:lnTo>
                <a:lnTo>
                  <a:pt x="48" y="120"/>
                </a:lnTo>
                <a:lnTo>
                  <a:pt x="53" y="105"/>
                </a:lnTo>
                <a:lnTo>
                  <a:pt x="56" y="100"/>
                </a:lnTo>
                <a:lnTo>
                  <a:pt x="73" y="92"/>
                </a:lnTo>
                <a:lnTo>
                  <a:pt x="82" y="87"/>
                </a:lnTo>
                <a:lnTo>
                  <a:pt x="86" y="84"/>
                </a:lnTo>
                <a:lnTo>
                  <a:pt x="90" y="75"/>
                </a:lnTo>
                <a:lnTo>
                  <a:pt x="94" y="66"/>
                </a:lnTo>
                <a:lnTo>
                  <a:pt x="97" y="55"/>
                </a:lnTo>
                <a:lnTo>
                  <a:pt x="97" y="35"/>
                </a:lnTo>
                <a:lnTo>
                  <a:pt x="103" y="0"/>
                </a:lnTo>
                <a:lnTo>
                  <a:pt x="122" y="6"/>
                </a:lnTo>
                <a:lnTo>
                  <a:pt x="206" y="34"/>
                </a:lnTo>
                <a:lnTo>
                  <a:pt x="208" y="45"/>
                </a:lnTo>
                <a:lnTo>
                  <a:pt x="208" y="51"/>
                </a:lnTo>
                <a:lnTo>
                  <a:pt x="204" y="55"/>
                </a:lnTo>
                <a:close/>
                <a:moveTo>
                  <a:pt x="112" y="200"/>
                </a:moveTo>
                <a:lnTo>
                  <a:pt x="104" y="220"/>
                </a:lnTo>
                <a:lnTo>
                  <a:pt x="98" y="219"/>
                </a:lnTo>
                <a:lnTo>
                  <a:pt x="94" y="215"/>
                </a:lnTo>
                <a:lnTo>
                  <a:pt x="86" y="213"/>
                </a:lnTo>
                <a:lnTo>
                  <a:pt x="71" y="213"/>
                </a:lnTo>
                <a:lnTo>
                  <a:pt x="58" y="215"/>
                </a:lnTo>
                <a:lnTo>
                  <a:pt x="53" y="220"/>
                </a:lnTo>
                <a:lnTo>
                  <a:pt x="33" y="228"/>
                </a:lnTo>
                <a:lnTo>
                  <a:pt x="29" y="225"/>
                </a:lnTo>
                <a:lnTo>
                  <a:pt x="22" y="222"/>
                </a:lnTo>
                <a:lnTo>
                  <a:pt x="19" y="222"/>
                </a:lnTo>
                <a:lnTo>
                  <a:pt x="14" y="227"/>
                </a:lnTo>
                <a:lnTo>
                  <a:pt x="11" y="225"/>
                </a:lnTo>
                <a:lnTo>
                  <a:pt x="6" y="215"/>
                </a:lnTo>
                <a:lnTo>
                  <a:pt x="0" y="206"/>
                </a:lnTo>
                <a:lnTo>
                  <a:pt x="0" y="200"/>
                </a:lnTo>
                <a:lnTo>
                  <a:pt x="1" y="197"/>
                </a:lnTo>
                <a:lnTo>
                  <a:pt x="6" y="195"/>
                </a:lnTo>
                <a:lnTo>
                  <a:pt x="9" y="195"/>
                </a:lnTo>
                <a:lnTo>
                  <a:pt x="19" y="199"/>
                </a:lnTo>
                <a:lnTo>
                  <a:pt x="26" y="197"/>
                </a:lnTo>
                <a:lnTo>
                  <a:pt x="40" y="182"/>
                </a:lnTo>
                <a:lnTo>
                  <a:pt x="44" y="174"/>
                </a:lnTo>
                <a:lnTo>
                  <a:pt x="46" y="169"/>
                </a:lnTo>
                <a:lnTo>
                  <a:pt x="44" y="159"/>
                </a:lnTo>
                <a:lnTo>
                  <a:pt x="47" y="158"/>
                </a:lnTo>
                <a:lnTo>
                  <a:pt x="44" y="152"/>
                </a:lnTo>
                <a:lnTo>
                  <a:pt x="42" y="140"/>
                </a:lnTo>
                <a:lnTo>
                  <a:pt x="43" y="130"/>
                </a:lnTo>
                <a:lnTo>
                  <a:pt x="47" y="128"/>
                </a:lnTo>
                <a:lnTo>
                  <a:pt x="53" y="125"/>
                </a:lnTo>
                <a:lnTo>
                  <a:pt x="60" y="127"/>
                </a:lnTo>
                <a:lnTo>
                  <a:pt x="76" y="133"/>
                </a:lnTo>
                <a:lnTo>
                  <a:pt x="82" y="133"/>
                </a:lnTo>
                <a:lnTo>
                  <a:pt x="83" y="134"/>
                </a:lnTo>
                <a:lnTo>
                  <a:pt x="87" y="134"/>
                </a:lnTo>
                <a:lnTo>
                  <a:pt x="89" y="130"/>
                </a:lnTo>
                <a:lnTo>
                  <a:pt x="92" y="130"/>
                </a:lnTo>
                <a:lnTo>
                  <a:pt x="94" y="132"/>
                </a:lnTo>
                <a:lnTo>
                  <a:pt x="96" y="135"/>
                </a:lnTo>
                <a:lnTo>
                  <a:pt x="97" y="135"/>
                </a:lnTo>
                <a:lnTo>
                  <a:pt x="97" y="145"/>
                </a:lnTo>
                <a:lnTo>
                  <a:pt x="97" y="150"/>
                </a:lnTo>
                <a:lnTo>
                  <a:pt x="106" y="163"/>
                </a:lnTo>
                <a:lnTo>
                  <a:pt x="108" y="167"/>
                </a:lnTo>
                <a:lnTo>
                  <a:pt x="117" y="171"/>
                </a:lnTo>
                <a:lnTo>
                  <a:pt x="129" y="172"/>
                </a:lnTo>
                <a:lnTo>
                  <a:pt x="135" y="180"/>
                </a:lnTo>
                <a:lnTo>
                  <a:pt x="131" y="188"/>
                </a:lnTo>
                <a:lnTo>
                  <a:pt x="112" y="200"/>
                </a:lnTo>
                <a:close/>
                <a:moveTo>
                  <a:pt x="445" y="128"/>
                </a:moveTo>
                <a:lnTo>
                  <a:pt x="446" y="133"/>
                </a:lnTo>
                <a:lnTo>
                  <a:pt x="435" y="152"/>
                </a:lnTo>
                <a:lnTo>
                  <a:pt x="427" y="169"/>
                </a:lnTo>
                <a:lnTo>
                  <a:pt x="427" y="178"/>
                </a:lnTo>
                <a:lnTo>
                  <a:pt x="421" y="202"/>
                </a:lnTo>
                <a:lnTo>
                  <a:pt x="420" y="207"/>
                </a:lnTo>
                <a:lnTo>
                  <a:pt x="417" y="211"/>
                </a:lnTo>
                <a:lnTo>
                  <a:pt x="414" y="215"/>
                </a:lnTo>
                <a:lnTo>
                  <a:pt x="413" y="211"/>
                </a:lnTo>
                <a:lnTo>
                  <a:pt x="414" y="206"/>
                </a:lnTo>
                <a:lnTo>
                  <a:pt x="413" y="202"/>
                </a:lnTo>
                <a:lnTo>
                  <a:pt x="414" y="200"/>
                </a:lnTo>
                <a:lnTo>
                  <a:pt x="408" y="197"/>
                </a:lnTo>
                <a:lnTo>
                  <a:pt x="406" y="195"/>
                </a:lnTo>
                <a:lnTo>
                  <a:pt x="406" y="191"/>
                </a:lnTo>
                <a:lnTo>
                  <a:pt x="403" y="190"/>
                </a:lnTo>
                <a:lnTo>
                  <a:pt x="405" y="187"/>
                </a:lnTo>
                <a:lnTo>
                  <a:pt x="402" y="178"/>
                </a:lnTo>
                <a:lnTo>
                  <a:pt x="397" y="177"/>
                </a:lnTo>
                <a:lnTo>
                  <a:pt x="382" y="172"/>
                </a:lnTo>
                <a:lnTo>
                  <a:pt x="381" y="169"/>
                </a:lnTo>
                <a:lnTo>
                  <a:pt x="378" y="172"/>
                </a:lnTo>
                <a:lnTo>
                  <a:pt x="378" y="177"/>
                </a:lnTo>
                <a:lnTo>
                  <a:pt x="381" y="178"/>
                </a:lnTo>
                <a:lnTo>
                  <a:pt x="383" y="177"/>
                </a:lnTo>
                <a:lnTo>
                  <a:pt x="386" y="178"/>
                </a:lnTo>
                <a:lnTo>
                  <a:pt x="391" y="186"/>
                </a:lnTo>
                <a:lnTo>
                  <a:pt x="391" y="190"/>
                </a:lnTo>
                <a:lnTo>
                  <a:pt x="388" y="194"/>
                </a:lnTo>
                <a:lnTo>
                  <a:pt x="378" y="199"/>
                </a:lnTo>
                <a:lnTo>
                  <a:pt x="374" y="207"/>
                </a:lnTo>
                <a:lnTo>
                  <a:pt x="372" y="200"/>
                </a:lnTo>
                <a:lnTo>
                  <a:pt x="368" y="197"/>
                </a:lnTo>
                <a:lnTo>
                  <a:pt x="368" y="195"/>
                </a:lnTo>
                <a:lnTo>
                  <a:pt x="367" y="191"/>
                </a:lnTo>
                <a:lnTo>
                  <a:pt x="371" y="186"/>
                </a:lnTo>
                <a:lnTo>
                  <a:pt x="372" y="182"/>
                </a:lnTo>
                <a:lnTo>
                  <a:pt x="371" y="175"/>
                </a:lnTo>
                <a:lnTo>
                  <a:pt x="380" y="162"/>
                </a:lnTo>
                <a:lnTo>
                  <a:pt x="381" y="154"/>
                </a:lnTo>
                <a:lnTo>
                  <a:pt x="388" y="152"/>
                </a:lnTo>
                <a:lnTo>
                  <a:pt x="393" y="145"/>
                </a:lnTo>
                <a:lnTo>
                  <a:pt x="400" y="144"/>
                </a:lnTo>
                <a:lnTo>
                  <a:pt x="403" y="141"/>
                </a:lnTo>
                <a:lnTo>
                  <a:pt x="408" y="142"/>
                </a:lnTo>
                <a:lnTo>
                  <a:pt x="408" y="147"/>
                </a:lnTo>
                <a:lnTo>
                  <a:pt x="413" y="146"/>
                </a:lnTo>
                <a:lnTo>
                  <a:pt x="413" y="150"/>
                </a:lnTo>
                <a:lnTo>
                  <a:pt x="416" y="150"/>
                </a:lnTo>
                <a:lnTo>
                  <a:pt x="418" y="149"/>
                </a:lnTo>
                <a:lnTo>
                  <a:pt x="420" y="146"/>
                </a:lnTo>
                <a:lnTo>
                  <a:pt x="427" y="144"/>
                </a:lnTo>
                <a:lnTo>
                  <a:pt x="431" y="140"/>
                </a:lnTo>
                <a:lnTo>
                  <a:pt x="432" y="137"/>
                </a:lnTo>
                <a:lnTo>
                  <a:pt x="431" y="133"/>
                </a:lnTo>
                <a:lnTo>
                  <a:pt x="434" y="129"/>
                </a:lnTo>
                <a:lnTo>
                  <a:pt x="439" y="129"/>
                </a:lnTo>
                <a:lnTo>
                  <a:pt x="443" y="127"/>
                </a:lnTo>
                <a:lnTo>
                  <a:pt x="445" y="128"/>
                </a:lnTo>
                <a:close/>
                <a:moveTo>
                  <a:pt x="210" y="65"/>
                </a:moveTo>
                <a:lnTo>
                  <a:pt x="210" y="71"/>
                </a:lnTo>
                <a:lnTo>
                  <a:pt x="206" y="83"/>
                </a:lnTo>
                <a:lnTo>
                  <a:pt x="197" y="102"/>
                </a:lnTo>
                <a:lnTo>
                  <a:pt x="195" y="102"/>
                </a:lnTo>
                <a:lnTo>
                  <a:pt x="190" y="102"/>
                </a:lnTo>
                <a:lnTo>
                  <a:pt x="192" y="95"/>
                </a:lnTo>
                <a:lnTo>
                  <a:pt x="190" y="93"/>
                </a:lnTo>
                <a:lnTo>
                  <a:pt x="192" y="92"/>
                </a:lnTo>
                <a:lnTo>
                  <a:pt x="193" y="92"/>
                </a:lnTo>
                <a:lnTo>
                  <a:pt x="192" y="88"/>
                </a:lnTo>
                <a:lnTo>
                  <a:pt x="202" y="87"/>
                </a:lnTo>
                <a:lnTo>
                  <a:pt x="204" y="83"/>
                </a:lnTo>
                <a:lnTo>
                  <a:pt x="206" y="75"/>
                </a:lnTo>
                <a:lnTo>
                  <a:pt x="207" y="75"/>
                </a:lnTo>
                <a:lnTo>
                  <a:pt x="208" y="74"/>
                </a:lnTo>
                <a:lnTo>
                  <a:pt x="206" y="67"/>
                </a:lnTo>
                <a:lnTo>
                  <a:pt x="207" y="59"/>
                </a:lnTo>
                <a:lnTo>
                  <a:pt x="210" y="65"/>
                </a:lnTo>
                <a:close/>
              </a:path>
            </a:pathLst>
          </a:custGeom>
          <a:solidFill>
            <a:srgbClr val="CCCCFF"/>
          </a:solidFill>
          <a:ln w="1270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US" sz="1200"/>
          </a:p>
        </p:txBody>
      </p:sp>
      <p:grpSp>
        <p:nvGrpSpPr>
          <p:cNvPr id="188" name="Group 187"/>
          <p:cNvGrpSpPr>
            <a:grpSpLocks noChangeAspect="1"/>
          </p:cNvGrpSpPr>
          <p:nvPr/>
        </p:nvGrpSpPr>
        <p:grpSpPr>
          <a:xfrm>
            <a:off x="436054" y="1724879"/>
            <a:ext cx="2484503" cy="3200237"/>
            <a:chOff x="609041" y="1620702"/>
            <a:chExt cx="1701378" cy="3509813"/>
          </a:xfrm>
        </p:grpSpPr>
        <p:sp>
          <p:nvSpPr>
            <p:cNvPr id="189" name="Freeform 188"/>
            <p:cNvSpPr>
              <a:spLocks/>
            </p:cNvSpPr>
            <p:nvPr/>
          </p:nvSpPr>
          <p:spPr bwMode="auto">
            <a:xfrm>
              <a:off x="782887" y="3924703"/>
              <a:ext cx="507782" cy="883038"/>
            </a:xfrm>
            <a:custGeom>
              <a:avLst/>
              <a:gdLst>
                <a:gd name="T0" fmla="*/ 2039 w 2547"/>
                <a:gd name="T1" fmla="*/ 3029 h 3272"/>
                <a:gd name="T2" fmla="*/ 1538 w 2547"/>
                <a:gd name="T3" fmla="*/ 3233 h 3272"/>
                <a:gd name="T4" fmla="*/ 1364 w 2547"/>
                <a:gd name="T5" fmla="*/ 3099 h 3272"/>
                <a:gd name="T6" fmla="*/ 1359 w 2547"/>
                <a:gd name="T7" fmla="*/ 3040 h 3272"/>
                <a:gd name="T8" fmla="*/ 1303 w 2547"/>
                <a:gd name="T9" fmla="*/ 3013 h 3272"/>
                <a:gd name="T10" fmla="*/ 1286 w 2547"/>
                <a:gd name="T11" fmla="*/ 2922 h 3272"/>
                <a:gd name="T12" fmla="*/ 1314 w 2547"/>
                <a:gd name="T13" fmla="*/ 2891 h 3272"/>
                <a:gd name="T14" fmla="*/ 1292 w 2547"/>
                <a:gd name="T15" fmla="*/ 2864 h 3272"/>
                <a:gd name="T16" fmla="*/ 1259 w 2547"/>
                <a:gd name="T17" fmla="*/ 2775 h 3272"/>
                <a:gd name="T18" fmla="*/ 1236 w 2547"/>
                <a:gd name="T19" fmla="*/ 2716 h 3272"/>
                <a:gd name="T20" fmla="*/ 1184 w 2547"/>
                <a:gd name="T21" fmla="*/ 2644 h 3272"/>
                <a:gd name="T22" fmla="*/ 1136 w 2547"/>
                <a:gd name="T23" fmla="*/ 2579 h 3272"/>
                <a:gd name="T24" fmla="*/ 1060 w 2547"/>
                <a:gd name="T25" fmla="*/ 2468 h 3272"/>
                <a:gd name="T26" fmla="*/ 953 w 2547"/>
                <a:gd name="T27" fmla="*/ 2428 h 3272"/>
                <a:gd name="T28" fmla="*/ 860 w 2547"/>
                <a:gd name="T29" fmla="*/ 2365 h 3272"/>
                <a:gd name="T30" fmla="*/ 769 w 2547"/>
                <a:gd name="T31" fmla="*/ 2356 h 3272"/>
                <a:gd name="T32" fmla="*/ 704 w 2547"/>
                <a:gd name="T33" fmla="*/ 2336 h 3272"/>
                <a:gd name="T34" fmla="*/ 590 w 2547"/>
                <a:gd name="T35" fmla="*/ 2333 h 3272"/>
                <a:gd name="T36" fmla="*/ 374 w 2547"/>
                <a:gd name="T37" fmla="*/ 2071 h 3272"/>
                <a:gd name="T38" fmla="*/ 101 w 2547"/>
                <a:gd name="T39" fmla="*/ 1185 h 3272"/>
                <a:gd name="T40" fmla="*/ 54 w 2547"/>
                <a:gd name="T41" fmla="*/ 859 h 3272"/>
                <a:gd name="T42" fmla="*/ 740 w 2547"/>
                <a:gd name="T43" fmla="*/ 159 h 3272"/>
                <a:gd name="T44" fmla="*/ 1011 w 2547"/>
                <a:gd name="T45" fmla="*/ 68 h 3272"/>
                <a:gd name="T46" fmla="*/ 1127 w 2547"/>
                <a:gd name="T47" fmla="*/ 85 h 3272"/>
                <a:gd name="T48" fmla="*/ 1217 w 2547"/>
                <a:gd name="T49" fmla="*/ 152 h 3272"/>
                <a:gd name="T50" fmla="*/ 1317 w 2547"/>
                <a:gd name="T51" fmla="*/ 152 h 3272"/>
                <a:gd name="T52" fmla="*/ 1388 w 2547"/>
                <a:gd name="T53" fmla="*/ 214 h 3272"/>
                <a:gd name="T54" fmla="*/ 1479 w 2547"/>
                <a:gd name="T55" fmla="*/ 166 h 3272"/>
                <a:gd name="T56" fmla="*/ 1571 w 2547"/>
                <a:gd name="T57" fmla="*/ 143 h 3272"/>
                <a:gd name="T58" fmla="*/ 1530 w 2547"/>
                <a:gd name="T59" fmla="*/ 245 h 3272"/>
                <a:gd name="T60" fmla="*/ 1630 w 2547"/>
                <a:gd name="T61" fmla="*/ 607 h 3272"/>
                <a:gd name="T62" fmla="*/ 1635 w 2547"/>
                <a:gd name="T63" fmla="*/ 677 h 3272"/>
                <a:gd name="T64" fmla="*/ 1659 w 2547"/>
                <a:gd name="T65" fmla="*/ 776 h 3272"/>
                <a:gd name="T66" fmla="*/ 1666 w 2547"/>
                <a:gd name="T67" fmla="*/ 864 h 3272"/>
                <a:gd name="T68" fmla="*/ 1609 w 2547"/>
                <a:gd name="T69" fmla="*/ 904 h 3272"/>
                <a:gd name="T70" fmla="*/ 1583 w 2547"/>
                <a:gd name="T71" fmla="*/ 989 h 3272"/>
                <a:gd name="T72" fmla="*/ 1609 w 2547"/>
                <a:gd name="T73" fmla="*/ 1054 h 3272"/>
                <a:gd name="T74" fmla="*/ 1723 w 2547"/>
                <a:gd name="T75" fmla="*/ 1121 h 3272"/>
                <a:gd name="T76" fmla="*/ 1769 w 2547"/>
                <a:gd name="T77" fmla="*/ 1202 h 3272"/>
                <a:gd name="T78" fmla="*/ 1898 w 2547"/>
                <a:gd name="T79" fmla="*/ 1307 h 3272"/>
                <a:gd name="T80" fmla="*/ 1916 w 2547"/>
                <a:gd name="T81" fmla="*/ 1373 h 3272"/>
                <a:gd name="T82" fmla="*/ 1976 w 2547"/>
                <a:gd name="T83" fmla="*/ 1426 h 3272"/>
                <a:gd name="T84" fmla="*/ 2025 w 2547"/>
                <a:gd name="T85" fmla="*/ 1498 h 3272"/>
                <a:gd name="T86" fmla="*/ 2044 w 2547"/>
                <a:gd name="T87" fmla="*/ 1555 h 3272"/>
                <a:gd name="T88" fmla="*/ 2064 w 2547"/>
                <a:gd name="T89" fmla="*/ 1618 h 3272"/>
                <a:gd name="T90" fmla="*/ 2050 w 2547"/>
                <a:gd name="T91" fmla="*/ 1640 h 3272"/>
                <a:gd name="T92" fmla="*/ 2055 w 2547"/>
                <a:gd name="T93" fmla="*/ 1693 h 3272"/>
                <a:gd name="T94" fmla="*/ 2078 w 2547"/>
                <a:gd name="T95" fmla="*/ 1748 h 3272"/>
                <a:gd name="T96" fmla="*/ 2117 w 2547"/>
                <a:gd name="T97" fmla="*/ 1780 h 3272"/>
                <a:gd name="T98" fmla="*/ 2114 w 2547"/>
                <a:gd name="T99" fmla="*/ 1813 h 3272"/>
                <a:gd name="T100" fmla="*/ 2094 w 2547"/>
                <a:gd name="T101" fmla="*/ 1870 h 3272"/>
                <a:gd name="T102" fmla="*/ 2119 w 2547"/>
                <a:gd name="T103" fmla="*/ 1901 h 3272"/>
                <a:gd name="T104" fmla="*/ 2114 w 2547"/>
                <a:gd name="T105" fmla="*/ 1940 h 3272"/>
                <a:gd name="T106" fmla="*/ 2108 w 2547"/>
                <a:gd name="T107" fmla="*/ 2010 h 3272"/>
                <a:gd name="T108" fmla="*/ 2119 w 2547"/>
                <a:gd name="T109" fmla="*/ 2049 h 3272"/>
                <a:gd name="T110" fmla="*/ 2108 w 2547"/>
                <a:gd name="T111" fmla="*/ 2103 h 3272"/>
                <a:gd name="T112" fmla="*/ 2104 w 2547"/>
                <a:gd name="T113" fmla="*/ 2163 h 3272"/>
                <a:gd name="T114" fmla="*/ 2144 w 2547"/>
                <a:gd name="T115" fmla="*/ 2219 h 3272"/>
                <a:gd name="T116" fmla="*/ 2307 w 2547"/>
                <a:gd name="T117" fmla="*/ 2580 h 3272"/>
                <a:gd name="T118" fmla="*/ 2418 w 2547"/>
                <a:gd name="T119" fmla="*/ 2552 h 3272"/>
                <a:gd name="T120" fmla="*/ 2498 w 2547"/>
                <a:gd name="T121" fmla="*/ 2638 h 327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547"/>
                <a:gd name="T184" fmla="*/ 0 h 3272"/>
                <a:gd name="T185" fmla="*/ 2547 w 2547"/>
                <a:gd name="T186" fmla="*/ 3272 h 327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547" h="3272">
                  <a:moveTo>
                    <a:pt x="2489" y="2875"/>
                  </a:moveTo>
                  <a:lnTo>
                    <a:pt x="2475" y="2880"/>
                  </a:lnTo>
                  <a:lnTo>
                    <a:pt x="2468" y="2885"/>
                  </a:lnTo>
                  <a:lnTo>
                    <a:pt x="2438" y="2897"/>
                  </a:lnTo>
                  <a:lnTo>
                    <a:pt x="2423" y="2902"/>
                  </a:lnTo>
                  <a:lnTo>
                    <a:pt x="2412" y="2907"/>
                  </a:lnTo>
                  <a:lnTo>
                    <a:pt x="2377" y="2916"/>
                  </a:lnTo>
                  <a:lnTo>
                    <a:pt x="2365" y="2916"/>
                  </a:lnTo>
                  <a:lnTo>
                    <a:pt x="2356" y="2917"/>
                  </a:lnTo>
                  <a:lnTo>
                    <a:pt x="2253" y="2958"/>
                  </a:lnTo>
                  <a:lnTo>
                    <a:pt x="2210" y="2971"/>
                  </a:lnTo>
                  <a:lnTo>
                    <a:pt x="2188" y="2981"/>
                  </a:lnTo>
                  <a:lnTo>
                    <a:pt x="2176" y="2984"/>
                  </a:lnTo>
                  <a:lnTo>
                    <a:pt x="2163" y="2992"/>
                  </a:lnTo>
                  <a:lnTo>
                    <a:pt x="2144" y="2995"/>
                  </a:lnTo>
                  <a:lnTo>
                    <a:pt x="2133" y="2999"/>
                  </a:lnTo>
                  <a:lnTo>
                    <a:pt x="2121" y="3001"/>
                  </a:lnTo>
                  <a:lnTo>
                    <a:pt x="2078" y="3014"/>
                  </a:lnTo>
                  <a:lnTo>
                    <a:pt x="2057" y="3021"/>
                  </a:lnTo>
                  <a:lnTo>
                    <a:pt x="2039" y="3029"/>
                  </a:lnTo>
                  <a:lnTo>
                    <a:pt x="2003" y="3041"/>
                  </a:lnTo>
                  <a:lnTo>
                    <a:pt x="1969" y="3054"/>
                  </a:lnTo>
                  <a:lnTo>
                    <a:pt x="1957" y="3056"/>
                  </a:lnTo>
                  <a:lnTo>
                    <a:pt x="1939" y="3065"/>
                  </a:lnTo>
                  <a:lnTo>
                    <a:pt x="1904" y="3079"/>
                  </a:lnTo>
                  <a:lnTo>
                    <a:pt x="1878" y="3093"/>
                  </a:lnTo>
                  <a:lnTo>
                    <a:pt x="1848" y="3104"/>
                  </a:lnTo>
                  <a:lnTo>
                    <a:pt x="1818" y="3113"/>
                  </a:lnTo>
                  <a:lnTo>
                    <a:pt x="1797" y="3124"/>
                  </a:lnTo>
                  <a:lnTo>
                    <a:pt x="1769" y="3135"/>
                  </a:lnTo>
                  <a:lnTo>
                    <a:pt x="1764" y="3137"/>
                  </a:lnTo>
                  <a:lnTo>
                    <a:pt x="1730" y="3149"/>
                  </a:lnTo>
                  <a:lnTo>
                    <a:pt x="1689" y="3168"/>
                  </a:lnTo>
                  <a:lnTo>
                    <a:pt x="1648" y="3183"/>
                  </a:lnTo>
                  <a:lnTo>
                    <a:pt x="1630" y="3193"/>
                  </a:lnTo>
                  <a:lnTo>
                    <a:pt x="1591" y="3210"/>
                  </a:lnTo>
                  <a:lnTo>
                    <a:pt x="1560" y="3227"/>
                  </a:lnTo>
                  <a:lnTo>
                    <a:pt x="1558" y="3227"/>
                  </a:lnTo>
                  <a:lnTo>
                    <a:pt x="1552" y="3227"/>
                  </a:lnTo>
                  <a:lnTo>
                    <a:pt x="1538" y="3233"/>
                  </a:lnTo>
                  <a:lnTo>
                    <a:pt x="1470" y="3272"/>
                  </a:lnTo>
                  <a:lnTo>
                    <a:pt x="1470" y="3235"/>
                  </a:lnTo>
                  <a:lnTo>
                    <a:pt x="1473" y="3205"/>
                  </a:lnTo>
                  <a:lnTo>
                    <a:pt x="1470" y="3191"/>
                  </a:lnTo>
                  <a:lnTo>
                    <a:pt x="1469" y="3170"/>
                  </a:lnTo>
                  <a:lnTo>
                    <a:pt x="1466" y="3163"/>
                  </a:lnTo>
                  <a:lnTo>
                    <a:pt x="1457" y="3149"/>
                  </a:lnTo>
                  <a:lnTo>
                    <a:pt x="1442" y="3127"/>
                  </a:lnTo>
                  <a:lnTo>
                    <a:pt x="1355" y="3129"/>
                  </a:lnTo>
                  <a:lnTo>
                    <a:pt x="1355" y="3124"/>
                  </a:lnTo>
                  <a:lnTo>
                    <a:pt x="1359" y="3123"/>
                  </a:lnTo>
                  <a:lnTo>
                    <a:pt x="1359" y="3120"/>
                  </a:lnTo>
                  <a:lnTo>
                    <a:pt x="1362" y="3112"/>
                  </a:lnTo>
                  <a:lnTo>
                    <a:pt x="1360" y="3111"/>
                  </a:lnTo>
                  <a:lnTo>
                    <a:pt x="1357" y="3110"/>
                  </a:lnTo>
                  <a:lnTo>
                    <a:pt x="1357" y="3108"/>
                  </a:lnTo>
                  <a:lnTo>
                    <a:pt x="1359" y="3108"/>
                  </a:lnTo>
                  <a:lnTo>
                    <a:pt x="1357" y="3104"/>
                  </a:lnTo>
                  <a:lnTo>
                    <a:pt x="1362" y="3100"/>
                  </a:lnTo>
                  <a:lnTo>
                    <a:pt x="1364" y="3099"/>
                  </a:lnTo>
                  <a:lnTo>
                    <a:pt x="1366" y="3094"/>
                  </a:lnTo>
                  <a:lnTo>
                    <a:pt x="1370" y="3091"/>
                  </a:lnTo>
                  <a:lnTo>
                    <a:pt x="1371" y="3088"/>
                  </a:lnTo>
                  <a:lnTo>
                    <a:pt x="1370" y="3082"/>
                  </a:lnTo>
                  <a:lnTo>
                    <a:pt x="1371" y="3079"/>
                  </a:lnTo>
                  <a:lnTo>
                    <a:pt x="1369" y="3073"/>
                  </a:lnTo>
                  <a:lnTo>
                    <a:pt x="1364" y="3073"/>
                  </a:lnTo>
                  <a:lnTo>
                    <a:pt x="1359" y="3075"/>
                  </a:lnTo>
                  <a:lnTo>
                    <a:pt x="1353" y="3068"/>
                  </a:lnTo>
                  <a:lnTo>
                    <a:pt x="1349" y="3066"/>
                  </a:lnTo>
                  <a:lnTo>
                    <a:pt x="1348" y="3065"/>
                  </a:lnTo>
                  <a:lnTo>
                    <a:pt x="1348" y="3063"/>
                  </a:lnTo>
                  <a:lnTo>
                    <a:pt x="1350" y="3062"/>
                  </a:lnTo>
                  <a:lnTo>
                    <a:pt x="1349" y="3056"/>
                  </a:lnTo>
                  <a:lnTo>
                    <a:pt x="1353" y="3056"/>
                  </a:lnTo>
                  <a:lnTo>
                    <a:pt x="1353" y="3053"/>
                  </a:lnTo>
                  <a:lnTo>
                    <a:pt x="1355" y="3049"/>
                  </a:lnTo>
                  <a:lnTo>
                    <a:pt x="1355" y="3046"/>
                  </a:lnTo>
                  <a:lnTo>
                    <a:pt x="1357" y="3045"/>
                  </a:lnTo>
                  <a:lnTo>
                    <a:pt x="1359" y="3040"/>
                  </a:lnTo>
                  <a:lnTo>
                    <a:pt x="1360" y="3041"/>
                  </a:lnTo>
                  <a:lnTo>
                    <a:pt x="1363" y="3038"/>
                  </a:lnTo>
                  <a:lnTo>
                    <a:pt x="1363" y="3037"/>
                  </a:lnTo>
                  <a:lnTo>
                    <a:pt x="1360" y="3033"/>
                  </a:lnTo>
                  <a:lnTo>
                    <a:pt x="1357" y="3033"/>
                  </a:lnTo>
                  <a:lnTo>
                    <a:pt x="1355" y="3033"/>
                  </a:lnTo>
                  <a:lnTo>
                    <a:pt x="1352" y="3033"/>
                  </a:lnTo>
                  <a:lnTo>
                    <a:pt x="1348" y="3032"/>
                  </a:lnTo>
                  <a:lnTo>
                    <a:pt x="1344" y="3032"/>
                  </a:lnTo>
                  <a:lnTo>
                    <a:pt x="1341" y="3031"/>
                  </a:lnTo>
                  <a:lnTo>
                    <a:pt x="1334" y="3032"/>
                  </a:lnTo>
                  <a:lnTo>
                    <a:pt x="1330" y="3029"/>
                  </a:lnTo>
                  <a:lnTo>
                    <a:pt x="1322" y="3028"/>
                  </a:lnTo>
                  <a:lnTo>
                    <a:pt x="1321" y="3025"/>
                  </a:lnTo>
                  <a:lnTo>
                    <a:pt x="1317" y="3025"/>
                  </a:lnTo>
                  <a:lnTo>
                    <a:pt x="1316" y="3023"/>
                  </a:lnTo>
                  <a:lnTo>
                    <a:pt x="1313" y="3021"/>
                  </a:lnTo>
                  <a:lnTo>
                    <a:pt x="1302" y="3021"/>
                  </a:lnTo>
                  <a:lnTo>
                    <a:pt x="1300" y="3017"/>
                  </a:lnTo>
                  <a:lnTo>
                    <a:pt x="1303" y="3013"/>
                  </a:lnTo>
                  <a:lnTo>
                    <a:pt x="1303" y="3009"/>
                  </a:lnTo>
                  <a:lnTo>
                    <a:pt x="1296" y="3003"/>
                  </a:lnTo>
                  <a:lnTo>
                    <a:pt x="1295" y="3000"/>
                  </a:lnTo>
                  <a:lnTo>
                    <a:pt x="1295" y="2998"/>
                  </a:lnTo>
                  <a:lnTo>
                    <a:pt x="1300" y="2975"/>
                  </a:lnTo>
                  <a:lnTo>
                    <a:pt x="1299" y="2972"/>
                  </a:lnTo>
                  <a:lnTo>
                    <a:pt x="1295" y="2969"/>
                  </a:lnTo>
                  <a:lnTo>
                    <a:pt x="1296" y="2967"/>
                  </a:lnTo>
                  <a:lnTo>
                    <a:pt x="1300" y="2967"/>
                  </a:lnTo>
                  <a:lnTo>
                    <a:pt x="1302" y="2964"/>
                  </a:lnTo>
                  <a:lnTo>
                    <a:pt x="1302" y="2961"/>
                  </a:lnTo>
                  <a:lnTo>
                    <a:pt x="1297" y="2958"/>
                  </a:lnTo>
                  <a:lnTo>
                    <a:pt x="1299" y="2955"/>
                  </a:lnTo>
                  <a:lnTo>
                    <a:pt x="1302" y="2954"/>
                  </a:lnTo>
                  <a:lnTo>
                    <a:pt x="1303" y="2950"/>
                  </a:lnTo>
                  <a:lnTo>
                    <a:pt x="1302" y="2946"/>
                  </a:lnTo>
                  <a:lnTo>
                    <a:pt x="1295" y="2945"/>
                  </a:lnTo>
                  <a:lnTo>
                    <a:pt x="1286" y="2939"/>
                  </a:lnTo>
                  <a:lnTo>
                    <a:pt x="1285" y="2936"/>
                  </a:lnTo>
                  <a:lnTo>
                    <a:pt x="1286" y="2922"/>
                  </a:lnTo>
                  <a:lnTo>
                    <a:pt x="1289" y="2917"/>
                  </a:lnTo>
                  <a:lnTo>
                    <a:pt x="1294" y="2913"/>
                  </a:lnTo>
                  <a:lnTo>
                    <a:pt x="1295" y="2911"/>
                  </a:lnTo>
                  <a:lnTo>
                    <a:pt x="1295" y="2907"/>
                  </a:lnTo>
                  <a:lnTo>
                    <a:pt x="1296" y="2905"/>
                  </a:lnTo>
                  <a:lnTo>
                    <a:pt x="1300" y="2908"/>
                  </a:lnTo>
                  <a:lnTo>
                    <a:pt x="1302" y="2907"/>
                  </a:lnTo>
                  <a:lnTo>
                    <a:pt x="1299" y="2907"/>
                  </a:lnTo>
                  <a:lnTo>
                    <a:pt x="1300" y="2904"/>
                  </a:lnTo>
                  <a:lnTo>
                    <a:pt x="1306" y="2902"/>
                  </a:lnTo>
                  <a:lnTo>
                    <a:pt x="1306" y="2900"/>
                  </a:lnTo>
                  <a:lnTo>
                    <a:pt x="1309" y="2900"/>
                  </a:lnTo>
                  <a:lnTo>
                    <a:pt x="1309" y="2899"/>
                  </a:lnTo>
                  <a:lnTo>
                    <a:pt x="1311" y="2897"/>
                  </a:lnTo>
                  <a:lnTo>
                    <a:pt x="1313" y="2899"/>
                  </a:lnTo>
                  <a:lnTo>
                    <a:pt x="1316" y="2897"/>
                  </a:lnTo>
                  <a:lnTo>
                    <a:pt x="1317" y="2899"/>
                  </a:lnTo>
                  <a:lnTo>
                    <a:pt x="1319" y="2897"/>
                  </a:lnTo>
                  <a:lnTo>
                    <a:pt x="1317" y="2894"/>
                  </a:lnTo>
                  <a:lnTo>
                    <a:pt x="1314" y="2891"/>
                  </a:lnTo>
                  <a:lnTo>
                    <a:pt x="1316" y="2889"/>
                  </a:lnTo>
                  <a:lnTo>
                    <a:pt x="1316" y="2888"/>
                  </a:lnTo>
                  <a:lnTo>
                    <a:pt x="1316" y="2885"/>
                  </a:lnTo>
                  <a:lnTo>
                    <a:pt x="1314" y="2884"/>
                  </a:lnTo>
                  <a:lnTo>
                    <a:pt x="1313" y="2885"/>
                  </a:lnTo>
                  <a:lnTo>
                    <a:pt x="1306" y="2884"/>
                  </a:lnTo>
                  <a:lnTo>
                    <a:pt x="1305" y="2885"/>
                  </a:lnTo>
                  <a:lnTo>
                    <a:pt x="1302" y="2885"/>
                  </a:lnTo>
                  <a:lnTo>
                    <a:pt x="1296" y="2883"/>
                  </a:lnTo>
                  <a:lnTo>
                    <a:pt x="1297" y="2880"/>
                  </a:lnTo>
                  <a:lnTo>
                    <a:pt x="1295" y="2879"/>
                  </a:lnTo>
                  <a:lnTo>
                    <a:pt x="1297" y="2877"/>
                  </a:lnTo>
                  <a:lnTo>
                    <a:pt x="1295" y="2876"/>
                  </a:lnTo>
                  <a:lnTo>
                    <a:pt x="1297" y="2874"/>
                  </a:lnTo>
                  <a:lnTo>
                    <a:pt x="1296" y="2872"/>
                  </a:lnTo>
                  <a:lnTo>
                    <a:pt x="1294" y="2872"/>
                  </a:lnTo>
                  <a:lnTo>
                    <a:pt x="1292" y="2871"/>
                  </a:lnTo>
                  <a:lnTo>
                    <a:pt x="1292" y="2867"/>
                  </a:lnTo>
                  <a:lnTo>
                    <a:pt x="1294" y="2866"/>
                  </a:lnTo>
                  <a:lnTo>
                    <a:pt x="1292" y="2864"/>
                  </a:lnTo>
                  <a:lnTo>
                    <a:pt x="1294" y="2863"/>
                  </a:lnTo>
                  <a:lnTo>
                    <a:pt x="1286" y="2860"/>
                  </a:lnTo>
                  <a:lnTo>
                    <a:pt x="1288" y="2858"/>
                  </a:lnTo>
                  <a:lnTo>
                    <a:pt x="1291" y="2857"/>
                  </a:lnTo>
                  <a:lnTo>
                    <a:pt x="1289" y="2854"/>
                  </a:lnTo>
                  <a:lnTo>
                    <a:pt x="1291" y="2854"/>
                  </a:lnTo>
                  <a:lnTo>
                    <a:pt x="1291" y="2852"/>
                  </a:lnTo>
                  <a:lnTo>
                    <a:pt x="1291" y="2851"/>
                  </a:lnTo>
                  <a:lnTo>
                    <a:pt x="1285" y="2851"/>
                  </a:lnTo>
                  <a:lnTo>
                    <a:pt x="1285" y="2850"/>
                  </a:lnTo>
                  <a:lnTo>
                    <a:pt x="1296" y="2834"/>
                  </a:lnTo>
                  <a:lnTo>
                    <a:pt x="1306" y="2824"/>
                  </a:lnTo>
                  <a:lnTo>
                    <a:pt x="1327" y="2775"/>
                  </a:lnTo>
                  <a:lnTo>
                    <a:pt x="1288" y="2775"/>
                  </a:lnTo>
                  <a:lnTo>
                    <a:pt x="1272" y="2775"/>
                  </a:lnTo>
                  <a:lnTo>
                    <a:pt x="1260" y="2785"/>
                  </a:lnTo>
                  <a:lnTo>
                    <a:pt x="1256" y="2787"/>
                  </a:lnTo>
                  <a:lnTo>
                    <a:pt x="1256" y="2782"/>
                  </a:lnTo>
                  <a:lnTo>
                    <a:pt x="1260" y="2779"/>
                  </a:lnTo>
                  <a:lnTo>
                    <a:pt x="1259" y="2775"/>
                  </a:lnTo>
                  <a:lnTo>
                    <a:pt x="1261" y="2772"/>
                  </a:lnTo>
                  <a:lnTo>
                    <a:pt x="1263" y="2766"/>
                  </a:lnTo>
                  <a:lnTo>
                    <a:pt x="1259" y="2763"/>
                  </a:lnTo>
                  <a:lnTo>
                    <a:pt x="1256" y="2764"/>
                  </a:lnTo>
                  <a:lnTo>
                    <a:pt x="1252" y="2762"/>
                  </a:lnTo>
                  <a:lnTo>
                    <a:pt x="1252" y="2760"/>
                  </a:lnTo>
                  <a:lnTo>
                    <a:pt x="1250" y="2758"/>
                  </a:lnTo>
                  <a:lnTo>
                    <a:pt x="1250" y="2755"/>
                  </a:lnTo>
                  <a:lnTo>
                    <a:pt x="1241" y="2750"/>
                  </a:lnTo>
                  <a:lnTo>
                    <a:pt x="1239" y="2750"/>
                  </a:lnTo>
                  <a:lnTo>
                    <a:pt x="1234" y="2745"/>
                  </a:lnTo>
                  <a:lnTo>
                    <a:pt x="1232" y="2742"/>
                  </a:lnTo>
                  <a:lnTo>
                    <a:pt x="1235" y="2737"/>
                  </a:lnTo>
                  <a:lnTo>
                    <a:pt x="1234" y="2730"/>
                  </a:lnTo>
                  <a:lnTo>
                    <a:pt x="1235" y="2726"/>
                  </a:lnTo>
                  <a:lnTo>
                    <a:pt x="1236" y="2726"/>
                  </a:lnTo>
                  <a:lnTo>
                    <a:pt x="1234" y="2722"/>
                  </a:lnTo>
                  <a:lnTo>
                    <a:pt x="1238" y="2721"/>
                  </a:lnTo>
                  <a:lnTo>
                    <a:pt x="1239" y="2718"/>
                  </a:lnTo>
                  <a:lnTo>
                    <a:pt x="1236" y="2716"/>
                  </a:lnTo>
                  <a:lnTo>
                    <a:pt x="1236" y="2713"/>
                  </a:lnTo>
                  <a:lnTo>
                    <a:pt x="1232" y="2711"/>
                  </a:lnTo>
                  <a:lnTo>
                    <a:pt x="1232" y="2706"/>
                  </a:lnTo>
                  <a:lnTo>
                    <a:pt x="1230" y="2701"/>
                  </a:lnTo>
                  <a:lnTo>
                    <a:pt x="1227" y="2700"/>
                  </a:lnTo>
                  <a:lnTo>
                    <a:pt x="1222" y="2700"/>
                  </a:lnTo>
                  <a:lnTo>
                    <a:pt x="1221" y="2700"/>
                  </a:lnTo>
                  <a:lnTo>
                    <a:pt x="1211" y="2684"/>
                  </a:lnTo>
                  <a:lnTo>
                    <a:pt x="1213" y="2681"/>
                  </a:lnTo>
                  <a:lnTo>
                    <a:pt x="1211" y="2677"/>
                  </a:lnTo>
                  <a:lnTo>
                    <a:pt x="1209" y="2677"/>
                  </a:lnTo>
                  <a:lnTo>
                    <a:pt x="1206" y="2675"/>
                  </a:lnTo>
                  <a:lnTo>
                    <a:pt x="1206" y="2671"/>
                  </a:lnTo>
                  <a:lnTo>
                    <a:pt x="1200" y="2664"/>
                  </a:lnTo>
                  <a:lnTo>
                    <a:pt x="1197" y="2661"/>
                  </a:lnTo>
                  <a:lnTo>
                    <a:pt x="1196" y="2659"/>
                  </a:lnTo>
                  <a:lnTo>
                    <a:pt x="1191" y="2655"/>
                  </a:lnTo>
                  <a:lnTo>
                    <a:pt x="1189" y="2651"/>
                  </a:lnTo>
                  <a:lnTo>
                    <a:pt x="1185" y="2648"/>
                  </a:lnTo>
                  <a:lnTo>
                    <a:pt x="1184" y="2644"/>
                  </a:lnTo>
                  <a:lnTo>
                    <a:pt x="1182" y="2642"/>
                  </a:lnTo>
                  <a:lnTo>
                    <a:pt x="1181" y="2633"/>
                  </a:lnTo>
                  <a:lnTo>
                    <a:pt x="1178" y="2627"/>
                  </a:lnTo>
                  <a:lnTo>
                    <a:pt x="1178" y="2626"/>
                  </a:lnTo>
                  <a:lnTo>
                    <a:pt x="1174" y="2624"/>
                  </a:lnTo>
                  <a:lnTo>
                    <a:pt x="1175" y="2619"/>
                  </a:lnTo>
                  <a:lnTo>
                    <a:pt x="1174" y="2617"/>
                  </a:lnTo>
                  <a:lnTo>
                    <a:pt x="1174" y="2616"/>
                  </a:lnTo>
                  <a:lnTo>
                    <a:pt x="1167" y="2610"/>
                  </a:lnTo>
                  <a:lnTo>
                    <a:pt x="1163" y="2610"/>
                  </a:lnTo>
                  <a:lnTo>
                    <a:pt x="1160" y="2605"/>
                  </a:lnTo>
                  <a:lnTo>
                    <a:pt x="1161" y="2599"/>
                  </a:lnTo>
                  <a:lnTo>
                    <a:pt x="1157" y="2597"/>
                  </a:lnTo>
                  <a:lnTo>
                    <a:pt x="1155" y="2596"/>
                  </a:lnTo>
                  <a:lnTo>
                    <a:pt x="1152" y="2597"/>
                  </a:lnTo>
                  <a:lnTo>
                    <a:pt x="1150" y="2597"/>
                  </a:lnTo>
                  <a:lnTo>
                    <a:pt x="1150" y="2594"/>
                  </a:lnTo>
                  <a:lnTo>
                    <a:pt x="1142" y="2588"/>
                  </a:lnTo>
                  <a:lnTo>
                    <a:pt x="1142" y="2581"/>
                  </a:lnTo>
                  <a:lnTo>
                    <a:pt x="1136" y="2579"/>
                  </a:lnTo>
                  <a:lnTo>
                    <a:pt x="1135" y="2576"/>
                  </a:lnTo>
                  <a:lnTo>
                    <a:pt x="1135" y="2564"/>
                  </a:lnTo>
                  <a:lnTo>
                    <a:pt x="1138" y="2559"/>
                  </a:lnTo>
                  <a:lnTo>
                    <a:pt x="1138" y="2555"/>
                  </a:lnTo>
                  <a:lnTo>
                    <a:pt x="1145" y="2547"/>
                  </a:lnTo>
                  <a:lnTo>
                    <a:pt x="1145" y="2534"/>
                  </a:lnTo>
                  <a:lnTo>
                    <a:pt x="1143" y="2532"/>
                  </a:lnTo>
                  <a:lnTo>
                    <a:pt x="1145" y="2526"/>
                  </a:lnTo>
                  <a:lnTo>
                    <a:pt x="1142" y="2512"/>
                  </a:lnTo>
                  <a:lnTo>
                    <a:pt x="1143" y="2501"/>
                  </a:lnTo>
                  <a:lnTo>
                    <a:pt x="1141" y="2489"/>
                  </a:lnTo>
                  <a:lnTo>
                    <a:pt x="1127" y="2481"/>
                  </a:lnTo>
                  <a:lnTo>
                    <a:pt x="1122" y="2481"/>
                  </a:lnTo>
                  <a:lnTo>
                    <a:pt x="1118" y="2478"/>
                  </a:lnTo>
                  <a:lnTo>
                    <a:pt x="1120" y="2477"/>
                  </a:lnTo>
                  <a:lnTo>
                    <a:pt x="1100" y="2474"/>
                  </a:lnTo>
                  <a:lnTo>
                    <a:pt x="1088" y="2467"/>
                  </a:lnTo>
                  <a:lnTo>
                    <a:pt x="1084" y="2467"/>
                  </a:lnTo>
                  <a:lnTo>
                    <a:pt x="1075" y="2465"/>
                  </a:lnTo>
                  <a:lnTo>
                    <a:pt x="1060" y="2468"/>
                  </a:lnTo>
                  <a:lnTo>
                    <a:pt x="1054" y="2467"/>
                  </a:lnTo>
                  <a:lnTo>
                    <a:pt x="1050" y="2468"/>
                  </a:lnTo>
                  <a:lnTo>
                    <a:pt x="1046" y="2462"/>
                  </a:lnTo>
                  <a:lnTo>
                    <a:pt x="1040" y="2457"/>
                  </a:lnTo>
                  <a:lnTo>
                    <a:pt x="1039" y="2452"/>
                  </a:lnTo>
                  <a:lnTo>
                    <a:pt x="1036" y="2449"/>
                  </a:lnTo>
                  <a:lnTo>
                    <a:pt x="1035" y="2445"/>
                  </a:lnTo>
                  <a:lnTo>
                    <a:pt x="1032" y="2444"/>
                  </a:lnTo>
                  <a:lnTo>
                    <a:pt x="1031" y="2442"/>
                  </a:lnTo>
                  <a:lnTo>
                    <a:pt x="1020" y="2435"/>
                  </a:lnTo>
                  <a:lnTo>
                    <a:pt x="1010" y="2431"/>
                  </a:lnTo>
                  <a:lnTo>
                    <a:pt x="1000" y="2440"/>
                  </a:lnTo>
                  <a:lnTo>
                    <a:pt x="995" y="2442"/>
                  </a:lnTo>
                  <a:lnTo>
                    <a:pt x="987" y="2439"/>
                  </a:lnTo>
                  <a:lnTo>
                    <a:pt x="983" y="2431"/>
                  </a:lnTo>
                  <a:lnTo>
                    <a:pt x="979" y="2432"/>
                  </a:lnTo>
                  <a:lnTo>
                    <a:pt x="970" y="2428"/>
                  </a:lnTo>
                  <a:lnTo>
                    <a:pt x="960" y="2430"/>
                  </a:lnTo>
                  <a:lnTo>
                    <a:pt x="957" y="2428"/>
                  </a:lnTo>
                  <a:lnTo>
                    <a:pt x="953" y="2428"/>
                  </a:lnTo>
                  <a:lnTo>
                    <a:pt x="949" y="2427"/>
                  </a:lnTo>
                  <a:lnTo>
                    <a:pt x="946" y="2427"/>
                  </a:lnTo>
                  <a:lnTo>
                    <a:pt x="943" y="2425"/>
                  </a:lnTo>
                  <a:lnTo>
                    <a:pt x="931" y="2408"/>
                  </a:lnTo>
                  <a:lnTo>
                    <a:pt x="926" y="2408"/>
                  </a:lnTo>
                  <a:lnTo>
                    <a:pt x="922" y="2407"/>
                  </a:lnTo>
                  <a:lnTo>
                    <a:pt x="921" y="2399"/>
                  </a:lnTo>
                  <a:lnTo>
                    <a:pt x="917" y="2397"/>
                  </a:lnTo>
                  <a:lnTo>
                    <a:pt x="912" y="2385"/>
                  </a:lnTo>
                  <a:lnTo>
                    <a:pt x="906" y="2387"/>
                  </a:lnTo>
                  <a:lnTo>
                    <a:pt x="898" y="2381"/>
                  </a:lnTo>
                  <a:lnTo>
                    <a:pt x="896" y="2377"/>
                  </a:lnTo>
                  <a:lnTo>
                    <a:pt x="892" y="2373"/>
                  </a:lnTo>
                  <a:lnTo>
                    <a:pt x="889" y="2373"/>
                  </a:lnTo>
                  <a:lnTo>
                    <a:pt x="887" y="2369"/>
                  </a:lnTo>
                  <a:lnTo>
                    <a:pt x="885" y="2368"/>
                  </a:lnTo>
                  <a:lnTo>
                    <a:pt x="882" y="2368"/>
                  </a:lnTo>
                  <a:lnTo>
                    <a:pt x="881" y="2370"/>
                  </a:lnTo>
                  <a:lnTo>
                    <a:pt x="871" y="2365"/>
                  </a:lnTo>
                  <a:lnTo>
                    <a:pt x="860" y="2365"/>
                  </a:lnTo>
                  <a:lnTo>
                    <a:pt x="853" y="2361"/>
                  </a:lnTo>
                  <a:lnTo>
                    <a:pt x="844" y="2361"/>
                  </a:lnTo>
                  <a:lnTo>
                    <a:pt x="840" y="2358"/>
                  </a:lnTo>
                  <a:lnTo>
                    <a:pt x="835" y="2360"/>
                  </a:lnTo>
                  <a:lnTo>
                    <a:pt x="830" y="2358"/>
                  </a:lnTo>
                  <a:lnTo>
                    <a:pt x="829" y="2358"/>
                  </a:lnTo>
                  <a:lnTo>
                    <a:pt x="829" y="2360"/>
                  </a:lnTo>
                  <a:lnTo>
                    <a:pt x="823" y="2361"/>
                  </a:lnTo>
                  <a:lnTo>
                    <a:pt x="819" y="2365"/>
                  </a:lnTo>
                  <a:lnTo>
                    <a:pt x="814" y="2363"/>
                  </a:lnTo>
                  <a:lnTo>
                    <a:pt x="810" y="2365"/>
                  </a:lnTo>
                  <a:lnTo>
                    <a:pt x="805" y="2363"/>
                  </a:lnTo>
                  <a:lnTo>
                    <a:pt x="803" y="2362"/>
                  </a:lnTo>
                  <a:lnTo>
                    <a:pt x="797" y="2362"/>
                  </a:lnTo>
                  <a:lnTo>
                    <a:pt x="793" y="2363"/>
                  </a:lnTo>
                  <a:lnTo>
                    <a:pt x="790" y="2368"/>
                  </a:lnTo>
                  <a:lnTo>
                    <a:pt x="787" y="2368"/>
                  </a:lnTo>
                  <a:lnTo>
                    <a:pt x="782" y="2365"/>
                  </a:lnTo>
                  <a:lnTo>
                    <a:pt x="780" y="2362"/>
                  </a:lnTo>
                  <a:lnTo>
                    <a:pt x="769" y="2356"/>
                  </a:lnTo>
                  <a:lnTo>
                    <a:pt x="761" y="2350"/>
                  </a:lnTo>
                  <a:lnTo>
                    <a:pt x="758" y="2352"/>
                  </a:lnTo>
                  <a:lnTo>
                    <a:pt x="750" y="2348"/>
                  </a:lnTo>
                  <a:lnTo>
                    <a:pt x="748" y="2350"/>
                  </a:lnTo>
                  <a:lnTo>
                    <a:pt x="747" y="2349"/>
                  </a:lnTo>
                  <a:lnTo>
                    <a:pt x="743" y="2357"/>
                  </a:lnTo>
                  <a:lnTo>
                    <a:pt x="740" y="2352"/>
                  </a:lnTo>
                  <a:lnTo>
                    <a:pt x="735" y="2350"/>
                  </a:lnTo>
                  <a:lnTo>
                    <a:pt x="729" y="2350"/>
                  </a:lnTo>
                  <a:lnTo>
                    <a:pt x="725" y="2345"/>
                  </a:lnTo>
                  <a:lnTo>
                    <a:pt x="721" y="2344"/>
                  </a:lnTo>
                  <a:lnTo>
                    <a:pt x="721" y="2341"/>
                  </a:lnTo>
                  <a:lnTo>
                    <a:pt x="718" y="2343"/>
                  </a:lnTo>
                  <a:lnTo>
                    <a:pt x="718" y="2338"/>
                  </a:lnTo>
                  <a:lnTo>
                    <a:pt x="715" y="2336"/>
                  </a:lnTo>
                  <a:lnTo>
                    <a:pt x="711" y="2336"/>
                  </a:lnTo>
                  <a:lnTo>
                    <a:pt x="710" y="2337"/>
                  </a:lnTo>
                  <a:lnTo>
                    <a:pt x="708" y="2336"/>
                  </a:lnTo>
                  <a:lnTo>
                    <a:pt x="707" y="2337"/>
                  </a:lnTo>
                  <a:lnTo>
                    <a:pt x="704" y="2336"/>
                  </a:lnTo>
                  <a:lnTo>
                    <a:pt x="702" y="2337"/>
                  </a:lnTo>
                  <a:lnTo>
                    <a:pt x="698" y="2337"/>
                  </a:lnTo>
                  <a:lnTo>
                    <a:pt x="696" y="2336"/>
                  </a:lnTo>
                  <a:lnTo>
                    <a:pt x="693" y="2337"/>
                  </a:lnTo>
                  <a:lnTo>
                    <a:pt x="690" y="2333"/>
                  </a:lnTo>
                  <a:lnTo>
                    <a:pt x="686" y="2333"/>
                  </a:lnTo>
                  <a:lnTo>
                    <a:pt x="682" y="2335"/>
                  </a:lnTo>
                  <a:lnTo>
                    <a:pt x="677" y="2333"/>
                  </a:lnTo>
                  <a:lnTo>
                    <a:pt x="675" y="2337"/>
                  </a:lnTo>
                  <a:lnTo>
                    <a:pt x="669" y="2335"/>
                  </a:lnTo>
                  <a:lnTo>
                    <a:pt x="655" y="2335"/>
                  </a:lnTo>
                  <a:lnTo>
                    <a:pt x="654" y="2330"/>
                  </a:lnTo>
                  <a:lnTo>
                    <a:pt x="647" y="2330"/>
                  </a:lnTo>
                  <a:lnTo>
                    <a:pt x="644" y="2330"/>
                  </a:lnTo>
                  <a:lnTo>
                    <a:pt x="622" y="2325"/>
                  </a:lnTo>
                  <a:lnTo>
                    <a:pt x="616" y="2325"/>
                  </a:lnTo>
                  <a:lnTo>
                    <a:pt x="612" y="2328"/>
                  </a:lnTo>
                  <a:lnTo>
                    <a:pt x="612" y="2330"/>
                  </a:lnTo>
                  <a:lnTo>
                    <a:pt x="598" y="2330"/>
                  </a:lnTo>
                  <a:lnTo>
                    <a:pt x="590" y="2333"/>
                  </a:lnTo>
                  <a:lnTo>
                    <a:pt x="588" y="2336"/>
                  </a:lnTo>
                  <a:lnTo>
                    <a:pt x="584" y="2336"/>
                  </a:lnTo>
                  <a:lnTo>
                    <a:pt x="583" y="2338"/>
                  </a:lnTo>
                  <a:lnTo>
                    <a:pt x="580" y="2338"/>
                  </a:lnTo>
                  <a:lnTo>
                    <a:pt x="571" y="2345"/>
                  </a:lnTo>
                  <a:lnTo>
                    <a:pt x="561" y="2347"/>
                  </a:lnTo>
                  <a:lnTo>
                    <a:pt x="559" y="2349"/>
                  </a:lnTo>
                  <a:lnTo>
                    <a:pt x="545" y="2355"/>
                  </a:lnTo>
                  <a:lnTo>
                    <a:pt x="541" y="2358"/>
                  </a:lnTo>
                  <a:lnTo>
                    <a:pt x="522" y="2363"/>
                  </a:lnTo>
                  <a:lnTo>
                    <a:pt x="486" y="2307"/>
                  </a:lnTo>
                  <a:lnTo>
                    <a:pt x="465" y="2136"/>
                  </a:lnTo>
                  <a:lnTo>
                    <a:pt x="463" y="2133"/>
                  </a:lnTo>
                  <a:lnTo>
                    <a:pt x="463" y="2129"/>
                  </a:lnTo>
                  <a:lnTo>
                    <a:pt x="463" y="2127"/>
                  </a:lnTo>
                  <a:lnTo>
                    <a:pt x="463" y="2125"/>
                  </a:lnTo>
                  <a:lnTo>
                    <a:pt x="459" y="2122"/>
                  </a:lnTo>
                  <a:lnTo>
                    <a:pt x="458" y="2120"/>
                  </a:lnTo>
                  <a:lnTo>
                    <a:pt x="456" y="2120"/>
                  </a:lnTo>
                  <a:lnTo>
                    <a:pt x="374" y="2071"/>
                  </a:lnTo>
                  <a:lnTo>
                    <a:pt x="316" y="1938"/>
                  </a:lnTo>
                  <a:lnTo>
                    <a:pt x="312" y="1861"/>
                  </a:lnTo>
                  <a:lnTo>
                    <a:pt x="298" y="1843"/>
                  </a:lnTo>
                  <a:lnTo>
                    <a:pt x="291" y="1831"/>
                  </a:lnTo>
                  <a:lnTo>
                    <a:pt x="221" y="1760"/>
                  </a:lnTo>
                  <a:lnTo>
                    <a:pt x="207" y="1746"/>
                  </a:lnTo>
                  <a:lnTo>
                    <a:pt x="199" y="1688"/>
                  </a:lnTo>
                  <a:lnTo>
                    <a:pt x="203" y="1573"/>
                  </a:lnTo>
                  <a:lnTo>
                    <a:pt x="206" y="1543"/>
                  </a:lnTo>
                  <a:lnTo>
                    <a:pt x="206" y="1541"/>
                  </a:lnTo>
                  <a:lnTo>
                    <a:pt x="206" y="1539"/>
                  </a:lnTo>
                  <a:lnTo>
                    <a:pt x="209" y="1508"/>
                  </a:lnTo>
                  <a:lnTo>
                    <a:pt x="173" y="1402"/>
                  </a:lnTo>
                  <a:lnTo>
                    <a:pt x="170" y="1394"/>
                  </a:lnTo>
                  <a:lnTo>
                    <a:pt x="162" y="1366"/>
                  </a:lnTo>
                  <a:lnTo>
                    <a:pt x="159" y="1358"/>
                  </a:lnTo>
                  <a:lnTo>
                    <a:pt x="148" y="1325"/>
                  </a:lnTo>
                  <a:lnTo>
                    <a:pt x="129" y="1274"/>
                  </a:lnTo>
                  <a:lnTo>
                    <a:pt x="124" y="1258"/>
                  </a:lnTo>
                  <a:lnTo>
                    <a:pt x="101" y="1185"/>
                  </a:lnTo>
                  <a:lnTo>
                    <a:pt x="81" y="1126"/>
                  </a:lnTo>
                  <a:lnTo>
                    <a:pt x="74" y="1108"/>
                  </a:lnTo>
                  <a:lnTo>
                    <a:pt x="51" y="1037"/>
                  </a:lnTo>
                  <a:lnTo>
                    <a:pt x="34" y="988"/>
                  </a:lnTo>
                  <a:lnTo>
                    <a:pt x="34" y="984"/>
                  </a:lnTo>
                  <a:lnTo>
                    <a:pt x="29" y="972"/>
                  </a:lnTo>
                  <a:lnTo>
                    <a:pt x="23" y="954"/>
                  </a:lnTo>
                  <a:lnTo>
                    <a:pt x="17" y="934"/>
                  </a:lnTo>
                  <a:lnTo>
                    <a:pt x="16" y="931"/>
                  </a:lnTo>
                  <a:lnTo>
                    <a:pt x="10" y="914"/>
                  </a:lnTo>
                  <a:lnTo>
                    <a:pt x="9" y="910"/>
                  </a:lnTo>
                  <a:lnTo>
                    <a:pt x="4" y="899"/>
                  </a:lnTo>
                  <a:lnTo>
                    <a:pt x="4" y="896"/>
                  </a:lnTo>
                  <a:lnTo>
                    <a:pt x="3" y="896"/>
                  </a:lnTo>
                  <a:lnTo>
                    <a:pt x="2" y="896"/>
                  </a:lnTo>
                  <a:lnTo>
                    <a:pt x="2" y="894"/>
                  </a:lnTo>
                  <a:lnTo>
                    <a:pt x="0" y="894"/>
                  </a:lnTo>
                  <a:lnTo>
                    <a:pt x="23" y="880"/>
                  </a:lnTo>
                  <a:lnTo>
                    <a:pt x="43" y="867"/>
                  </a:lnTo>
                  <a:lnTo>
                    <a:pt x="54" y="859"/>
                  </a:lnTo>
                  <a:lnTo>
                    <a:pt x="63" y="854"/>
                  </a:lnTo>
                  <a:lnTo>
                    <a:pt x="143" y="772"/>
                  </a:lnTo>
                  <a:lnTo>
                    <a:pt x="162" y="757"/>
                  </a:lnTo>
                  <a:lnTo>
                    <a:pt x="181" y="731"/>
                  </a:lnTo>
                  <a:lnTo>
                    <a:pt x="234" y="678"/>
                  </a:lnTo>
                  <a:lnTo>
                    <a:pt x="245" y="670"/>
                  </a:lnTo>
                  <a:lnTo>
                    <a:pt x="269" y="645"/>
                  </a:lnTo>
                  <a:lnTo>
                    <a:pt x="303" y="608"/>
                  </a:lnTo>
                  <a:lnTo>
                    <a:pt x="341" y="570"/>
                  </a:lnTo>
                  <a:lnTo>
                    <a:pt x="372" y="539"/>
                  </a:lnTo>
                  <a:lnTo>
                    <a:pt x="380" y="529"/>
                  </a:lnTo>
                  <a:lnTo>
                    <a:pt x="394" y="514"/>
                  </a:lnTo>
                  <a:lnTo>
                    <a:pt x="477" y="430"/>
                  </a:lnTo>
                  <a:lnTo>
                    <a:pt x="484" y="424"/>
                  </a:lnTo>
                  <a:lnTo>
                    <a:pt x="517" y="390"/>
                  </a:lnTo>
                  <a:lnTo>
                    <a:pt x="531" y="375"/>
                  </a:lnTo>
                  <a:lnTo>
                    <a:pt x="641" y="259"/>
                  </a:lnTo>
                  <a:lnTo>
                    <a:pt x="648" y="253"/>
                  </a:lnTo>
                  <a:lnTo>
                    <a:pt x="661" y="241"/>
                  </a:lnTo>
                  <a:lnTo>
                    <a:pt x="740" y="159"/>
                  </a:lnTo>
                  <a:lnTo>
                    <a:pt x="766" y="131"/>
                  </a:lnTo>
                  <a:lnTo>
                    <a:pt x="796" y="101"/>
                  </a:lnTo>
                  <a:lnTo>
                    <a:pt x="870" y="26"/>
                  </a:lnTo>
                  <a:lnTo>
                    <a:pt x="890" y="5"/>
                  </a:lnTo>
                  <a:lnTo>
                    <a:pt x="903" y="1"/>
                  </a:lnTo>
                  <a:lnTo>
                    <a:pt x="914" y="0"/>
                  </a:lnTo>
                  <a:lnTo>
                    <a:pt x="923" y="1"/>
                  </a:lnTo>
                  <a:lnTo>
                    <a:pt x="946" y="14"/>
                  </a:lnTo>
                  <a:lnTo>
                    <a:pt x="956" y="19"/>
                  </a:lnTo>
                  <a:lnTo>
                    <a:pt x="961" y="26"/>
                  </a:lnTo>
                  <a:lnTo>
                    <a:pt x="965" y="27"/>
                  </a:lnTo>
                  <a:lnTo>
                    <a:pt x="971" y="31"/>
                  </a:lnTo>
                  <a:lnTo>
                    <a:pt x="974" y="31"/>
                  </a:lnTo>
                  <a:lnTo>
                    <a:pt x="975" y="38"/>
                  </a:lnTo>
                  <a:lnTo>
                    <a:pt x="981" y="46"/>
                  </a:lnTo>
                  <a:lnTo>
                    <a:pt x="992" y="50"/>
                  </a:lnTo>
                  <a:lnTo>
                    <a:pt x="997" y="56"/>
                  </a:lnTo>
                  <a:lnTo>
                    <a:pt x="1003" y="59"/>
                  </a:lnTo>
                  <a:lnTo>
                    <a:pt x="1007" y="64"/>
                  </a:lnTo>
                  <a:lnTo>
                    <a:pt x="1011" y="68"/>
                  </a:lnTo>
                  <a:lnTo>
                    <a:pt x="1015" y="68"/>
                  </a:lnTo>
                  <a:lnTo>
                    <a:pt x="1021" y="68"/>
                  </a:lnTo>
                  <a:lnTo>
                    <a:pt x="1025" y="67"/>
                  </a:lnTo>
                  <a:lnTo>
                    <a:pt x="1031" y="67"/>
                  </a:lnTo>
                  <a:lnTo>
                    <a:pt x="1039" y="64"/>
                  </a:lnTo>
                  <a:lnTo>
                    <a:pt x="1059" y="71"/>
                  </a:lnTo>
                  <a:lnTo>
                    <a:pt x="1067" y="68"/>
                  </a:lnTo>
                  <a:lnTo>
                    <a:pt x="1082" y="65"/>
                  </a:lnTo>
                  <a:lnTo>
                    <a:pt x="1085" y="65"/>
                  </a:lnTo>
                  <a:lnTo>
                    <a:pt x="1086" y="72"/>
                  </a:lnTo>
                  <a:lnTo>
                    <a:pt x="1089" y="75"/>
                  </a:lnTo>
                  <a:lnTo>
                    <a:pt x="1093" y="76"/>
                  </a:lnTo>
                  <a:lnTo>
                    <a:pt x="1099" y="79"/>
                  </a:lnTo>
                  <a:lnTo>
                    <a:pt x="1103" y="79"/>
                  </a:lnTo>
                  <a:lnTo>
                    <a:pt x="1104" y="79"/>
                  </a:lnTo>
                  <a:lnTo>
                    <a:pt x="1106" y="76"/>
                  </a:lnTo>
                  <a:lnTo>
                    <a:pt x="1107" y="80"/>
                  </a:lnTo>
                  <a:lnTo>
                    <a:pt x="1113" y="79"/>
                  </a:lnTo>
                  <a:lnTo>
                    <a:pt x="1121" y="81"/>
                  </a:lnTo>
                  <a:lnTo>
                    <a:pt x="1127" y="85"/>
                  </a:lnTo>
                  <a:lnTo>
                    <a:pt x="1134" y="89"/>
                  </a:lnTo>
                  <a:lnTo>
                    <a:pt x="1134" y="93"/>
                  </a:lnTo>
                  <a:lnTo>
                    <a:pt x="1132" y="94"/>
                  </a:lnTo>
                  <a:lnTo>
                    <a:pt x="1132" y="97"/>
                  </a:lnTo>
                  <a:lnTo>
                    <a:pt x="1138" y="104"/>
                  </a:lnTo>
                  <a:lnTo>
                    <a:pt x="1150" y="107"/>
                  </a:lnTo>
                  <a:lnTo>
                    <a:pt x="1157" y="107"/>
                  </a:lnTo>
                  <a:lnTo>
                    <a:pt x="1163" y="109"/>
                  </a:lnTo>
                  <a:lnTo>
                    <a:pt x="1182" y="119"/>
                  </a:lnTo>
                  <a:lnTo>
                    <a:pt x="1188" y="129"/>
                  </a:lnTo>
                  <a:lnTo>
                    <a:pt x="1186" y="131"/>
                  </a:lnTo>
                  <a:lnTo>
                    <a:pt x="1186" y="134"/>
                  </a:lnTo>
                  <a:lnTo>
                    <a:pt x="1194" y="137"/>
                  </a:lnTo>
                  <a:lnTo>
                    <a:pt x="1199" y="135"/>
                  </a:lnTo>
                  <a:lnTo>
                    <a:pt x="1203" y="138"/>
                  </a:lnTo>
                  <a:lnTo>
                    <a:pt x="1205" y="139"/>
                  </a:lnTo>
                  <a:lnTo>
                    <a:pt x="1209" y="143"/>
                  </a:lnTo>
                  <a:lnTo>
                    <a:pt x="1211" y="147"/>
                  </a:lnTo>
                  <a:lnTo>
                    <a:pt x="1217" y="150"/>
                  </a:lnTo>
                  <a:lnTo>
                    <a:pt x="1217" y="152"/>
                  </a:lnTo>
                  <a:lnTo>
                    <a:pt x="1222" y="156"/>
                  </a:lnTo>
                  <a:lnTo>
                    <a:pt x="1227" y="158"/>
                  </a:lnTo>
                  <a:lnTo>
                    <a:pt x="1231" y="154"/>
                  </a:lnTo>
                  <a:lnTo>
                    <a:pt x="1236" y="155"/>
                  </a:lnTo>
                  <a:lnTo>
                    <a:pt x="1239" y="151"/>
                  </a:lnTo>
                  <a:lnTo>
                    <a:pt x="1245" y="150"/>
                  </a:lnTo>
                  <a:lnTo>
                    <a:pt x="1252" y="152"/>
                  </a:lnTo>
                  <a:lnTo>
                    <a:pt x="1259" y="156"/>
                  </a:lnTo>
                  <a:lnTo>
                    <a:pt x="1266" y="156"/>
                  </a:lnTo>
                  <a:lnTo>
                    <a:pt x="1269" y="155"/>
                  </a:lnTo>
                  <a:lnTo>
                    <a:pt x="1277" y="143"/>
                  </a:lnTo>
                  <a:lnTo>
                    <a:pt x="1278" y="142"/>
                  </a:lnTo>
                  <a:lnTo>
                    <a:pt x="1282" y="143"/>
                  </a:lnTo>
                  <a:lnTo>
                    <a:pt x="1286" y="138"/>
                  </a:lnTo>
                  <a:lnTo>
                    <a:pt x="1289" y="138"/>
                  </a:lnTo>
                  <a:lnTo>
                    <a:pt x="1294" y="143"/>
                  </a:lnTo>
                  <a:lnTo>
                    <a:pt x="1305" y="150"/>
                  </a:lnTo>
                  <a:lnTo>
                    <a:pt x="1309" y="150"/>
                  </a:lnTo>
                  <a:lnTo>
                    <a:pt x="1313" y="152"/>
                  </a:lnTo>
                  <a:lnTo>
                    <a:pt x="1317" y="152"/>
                  </a:lnTo>
                  <a:lnTo>
                    <a:pt x="1325" y="159"/>
                  </a:lnTo>
                  <a:lnTo>
                    <a:pt x="1327" y="161"/>
                  </a:lnTo>
                  <a:lnTo>
                    <a:pt x="1325" y="162"/>
                  </a:lnTo>
                  <a:lnTo>
                    <a:pt x="1325" y="166"/>
                  </a:lnTo>
                  <a:lnTo>
                    <a:pt x="1331" y="174"/>
                  </a:lnTo>
                  <a:lnTo>
                    <a:pt x="1332" y="178"/>
                  </a:lnTo>
                  <a:lnTo>
                    <a:pt x="1334" y="180"/>
                  </a:lnTo>
                  <a:lnTo>
                    <a:pt x="1327" y="192"/>
                  </a:lnTo>
                  <a:lnTo>
                    <a:pt x="1327" y="194"/>
                  </a:lnTo>
                  <a:lnTo>
                    <a:pt x="1330" y="200"/>
                  </a:lnTo>
                  <a:lnTo>
                    <a:pt x="1332" y="200"/>
                  </a:lnTo>
                  <a:lnTo>
                    <a:pt x="1334" y="203"/>
                  </a:lnTo>
                  <a:lnTo>
                    <a:pt x="1344" y="203"/>
                  </a:lnTo>
                  <a:lnTo>
                    <a:pt x="1346" y="206"/>
                  </a:lnTo>
                  <a:lnTo>
                    <a:pt x="1348" y="209"/>
                  </a:lnTo>
                  <a:lnTo>
                    <a:pt x="1352" y="211"/>
                  </a:lnTo>
                  <a:lnTo>
                    <a:pt x="1367" y="211"/>
                  </a:lnTo>
                  <a:lnTo>
                    <a:pt x="1374" y="213"/>
                  </a:lnTo>
                  <a:lnTo>
                    <a:pt x="1380" y="211"/>
                  </a:lnTo>
                  <a:lnTo>
                    <a:pt x="1388" y="214"/>
                  </a:lnTo>
                  <a:lnTo>
                    <a:pt x="1395" y="214"/>
                  </a:lnTo>
                  <a:lnTo>
                    <a:pt x="1402" y="218"/>
                  </a:lnTo>
                  <a:lnTo>
                    <a:pt x="1410" y="218"/>
                  </a:lnTo>
                  <a:lnTo>
                    <a:pt x="1419" y="217"/>
                  </a:lnTo>
                  <a:lnTo>
                    <a:pt x="1419" y="209"/>
                  </a:lnTo>
                  <a:lnTo>
                    <a:pt x="1420" y="206"/>
                  </a:lnTo>
                  <a:lnTo>
                    <a:pt x="1426" y="206"/>
                  </a:lnTo>
                  <a:lnTo>
                    <a:pt x="1430" y="203"/>
                  </a:lnTo>
                  <a:lnTo>
                    <a:pt x="1431" y="199"/>
                  </a:lnTo>
                  <a:lnTo>
                    <a:pt x="1435" y="196"/>
                  </a:lnTo>
                  <a:lnTo>
                    <a:pt x="1435" y="192"/>
                  </a:lnTo>
                  <a:lnTo>
                    <a:pt x="1438" y="188"/>
                  </a:lnTo>
                  <a:lnTo>
                    <a:pt x="1452" y="184"/>
                  </a:lnTo>
                  <a:lnTo>
                    <a:pt x="1459" y="175"/>
                  </a:lnTo>
                  <a:lnTo>
                    <a:pt x="1463" y="172"/>
                  </a:lnTo>
                  <a:lnTo>
                    <a:pt x="1463" y="168"/>
                  </a:lnTo>
                  <a:lnTo>
                    <a:pt x="1467" y="168"/>
                  </a:lnTo>
                  <a:lnTo>
                    <a:pt x="1470" y="169"/>
                  </a:lnTo>
                  <a:lnTo>
                    <a:pt x="1476" y="169"/>
                  </a:lnTo>
                  <a:lnTo>
                    <a:pt x="1479" y="166"/>
                  </a:lnTo>
                  <a:lnTo>
                    <a:pt x="1479" y="164"/>
                  </a:lnTo>
                  <a:lnTo>
                    <a:pt x="1480" y="162"/>
                  </a:lnTo>
                  <a:lnTo>
                    <a:pt x="1484" y="162"/>
                  </a:lnTo>
                  <a:lnTo>
                    <a:pt x="1487" y="162"/>
                  </a:lnTo>
                  <a:lnTo>
                    <a:pt x="1490" y="162"/>
                  </a:lnTo>
                  <a:lnTo>
                    <a:pt x="1494" y="155"/>
                  </a:lnTo>
                  <a:lnTo>
                    <a:pt x="1499" y="151"/>
                  </a:lnTo>
                  <a:lnTo>
                    <a:pt x="1502" y="147"/>
                  </a:lnTo>
                  <a:lnTo>
                    <a:pt x="1510" y="143"/>
                  </a:lnTo>
                  <a:lnTo>
                    <a:pt x="1510" y="139"/>
                  </a:lnTo>
                  <a:lnTo>
                    <a:pt x="1517" y="135"/>
                  </a:lnTo>
                  <a:lnTo>
                    <a:pt x="1537" y="131"/>
                  </a:lnTo>
                  <a:lnTo>
                    <a:pt x="1540" y="133"/>
                  </a:lnTo>
                  <a:lnTo>
                    <a:pt x="1544" y="133"/>
                  </a:lnTo>
                  <a:lnTo>
                    <a:pt x="1551" y="129"/>
                  </a:lnTo>
                  <a:lnTo>
                    <a:pt x="1554" y="129"/>
                  </a:lnTo>
                  <a:lnTo>
                    <a:pt x="1559" y="131"/>
                  </a:lnTo>
                  <a:lnTo>
                    <a:pt x="1563" y="131"/>
                  </a:lnTo>
                  <a:lnTo>
                    <a:pt x="1570" y="138"/>
                  </a:lnTo>
                  <a:lnTo>
                    <a:pt x="1571" y="143"/>
                  </a:lnTo>
                  <a:lnTo>
                    <a:pt x="1577" y="146"/>
                  </a:lnTo>
                  <a:lnTo>
                    <a:pt x="1580" y="147"/>
                  </a:lnTo>
                  <a:lnTo>
                    <a:pt x="1583" y="150"/>
                  </a:lnTo>
                  <a:lnTo>
                    <a:pt x="1587" y="147"/>
                  </a:lnTo>
                  <a:lnTo>
                    <a:pt x="1596" y="155"/>
                  </a:lnTo>
                  <a:lnTo>
                    <a:pt x="1601" y="155"/>
                  </a:lnTo>
                  <a:lnTo>
                    <a:pt x="1583" y="178"/>
                  </a:lnTo>
                  <a:lnTo>
                    <a:pt x="1577" y="178"/>
                  </a:lnTo>
                  <a:lnTo>
                    <a:pt x="1576" y="172"/>
                  </a:lnTo>
                  <a:lnTo>
                    <a:pt x="1569" y="176"/>
                  </a:lnTo>
                  <a:lnTo>
                    <a:pt x="1555" y="176"/>
                  </a:lnTo>
                  <a:lnTo>
                    <a:pt x="1552" y="180"/>
                  </a:lnTo>
                  <a:lnTo>
                    <a:pt x="1551" y="187"/>
                  </a:lnTo>
                  <a:lnTo>
                    <a:pt x="1556" y="200"/>
                  </a:lnTo>
                  <a:lnTo>
                    <a:pt x="1558" y="206"/>
                  </a:lnTo>
                  <a:lnTo>
                    <a:pt x="1552" y="214"/>
                  </a:lnTo>
                  <a:lnTo>
                    <a:pt x="1535" y="218"/>
                  </a:lnTo>
                  <a:lnTo>
                    <a:pt x="1531" y="222"/>
                  </a:lnTo>
                  <a:lnTo>
                    <a:pt x="1527" y="231"/>
                  </a:lnTo>
                  <a:lnTo>
                    <a:pt x="1530" y="245"/>
                  </a:lnTo>
                  <a:lnTo>
                    <a:pt x="1527" y="249"/>
                  </a:lnTo>
                  <a:lnTo>
                    <a:pt x="1524" y="250"/>
                  </a:lnTo>
                  <a:lnTo>
                    <a:pt x="1519" y="246"/>
                  </a:lnTo>
                  <a:lnTo>
                    <a:pt x="1513" y="248"/>
                  </a:lnTo>
                  <a:lnTo>
                    <a:pt x="1492" y="301"/>
                  </a:lnTo>
                  <a:lnTo>
                    <a:pt x="1499" y="312"/>
                  </a:lnTo>
                  <a:lnTo>
                    <a:pt x="1516" y="346"/>
                  </a:lnTo>
                  <a:lnTo>
                    <a:pt x="1499" y="378"/>
                  </a:lnTo>
                  <a:lnTo>
                    <a:pt x="1498" y="386"/>
                  </a:lnTo>
                  <a:lnTo>
                    <a:pt x="1520" y="441"/>
                  </a:lnTo>
                  <a:lnTo>
                    <a:pt x="1562" y="504"/>
                  </a:lnTo>
                  <a:lnTo>
                    <a:pt x="1567" y="514"/>
                  </a:lnTo>
                  <a:lnTo>
                    <a:pt x="1596" y="539"/>
                  </a:lnTo>
                  <a:lnTo>
                    <a:pt x="1638" y="556"/>
                  </a:lnTo>
                  <a:lnTo>
                    <a:pt x="1631" y="577"/>
                  </a:lnTo>
                  <a:lnTo>
                    <a:pt x="1626" y="583"/>
                  </a:lnTo>
                  <a:lnTo>
                    <a:pt x="1624" y="587"/>
                  </a:lnTo>
                  <a:lnTo>
                    <a:pt x="1626" y="598"/>
                  </a:lnTo>
                  <a:lnTo>
                    <a:pt x="1624" y="602"/>
                  </a:lnTo>
                  <a:lnTo>
                    <a:pt x="1630" y="607"/>
                  </a:lnTo>
                  <a:lnTo>
                    <a:pt x="1629" y="611"/>
                  </a:lnTo>
                  <a:lnTo>
                    <a:pt x="1627" y="615"/>
                  </a:lnTo>
                  <a:lnTo>
                    <a:pt x="1629" y="620"/>
                  </a:lnTo>
                  <a:lnTo>
                    <a:pt x="1633" y="624"/>
                  </a:lnTo>
                  <a:lnTo>
                    <a:pt x="1643" y="626"/>
                  </a:lnTo>
                  <a:lnTo>
                    <a:pt x="1645" y="629"/>
                  </a:lnTo>
                  <a:lnTo>
                    <a:pt x="1647" y="633"/>
                  </a:lnTo>
                  <a:lnTo>
                    <a:pt x="1649" y="636"/>
                  </a:lnTo>
                  <a:lnTo>
                    <a:pt x="1649" y="638"/>
                  </a:lnTo>
                  <a:lnTo>
                    <a:pt x="1652" y="641"/>
                  </a:lnTo>
                  <a:lnTo>
                    <a:pt x="1651" y="648"/>
                  </a:lnTo>
                  <a:lnTo>
                    <a:pt x="1654" y="653"/>
                  </a:lnTo>
                  <a:lnTo>
                    <a:pt x="1655" y="656"/>
                  </a:lnTo>
                  <a:lnTo>
                    <a:pt x="1654" y="660"/>
                  </a:lnTo>
                  <a:lnTo>
                    <a:pt x="1655" y="664"/>
                  </a:lnTo>
                  <a:lnTo>
                    <a:pt x="1654" y="669"/>
                  </a:lnTo>
                  <a:lnTo>
                    <a:pt x="1652" y="673"/>
                  </a:lnTo>
                  <a:lnTo>
                    <a:pt x="1649" y="676"/>
                  </a:lnTo>
                  <a:lnTo>
                    <a:pt x="1637" y="676"/>
                  </a:lnTo>
                  <a:lnTo>
                    <a:pt x="1635" y="677"/>
                  </a:lnTo>
                  <a:lnTo>
                    <a:pt x="1635" y="685"/>
                  </a:lnTo>
                  <a:lnTo>
                    <a:pt x="1638" y="694"/>
                  </a:lnTo>
                  <a:lnTo>
                    <a:pt x="1635" y="699"/>
                  </a:lnTo>
                  <a:lnTo>
                    <a:pt x="1634" y="705"/>
                  </a:lnTo>
                  <a:lnTo>
                    <a:pt x="1635" y="708"/>
                  </a:lnTo>
                  <a:lnTo>
                    <a:pt x="1633" y="713"/>
                  </a:lnTo>
                  <a:lnTo>
                    <a:pt x="1631" y="722"/>
                  </a:lnTo>
                  <a:lnTo>
                    <a:pt x="1626" y="727"/>
                  </a:lnTo>
                  <a:lnTo>
                    <a:pt x="1626" y="733"/>
                  </a:lnTo>
                  <a:lnTo>
                    <a:pt x="1627" y="735"/>
                  </a:lnTo>
                  <a:lnTo>
                    <a:pt x="1627" y="743"/>
                  </a:lnTo>
                  <a:lnTo>
                    <a:pt x="1629" y="744"/>
                  </a:lnTo>
                  <a:lnTo>
                    <a:pt x="1627" y="747"/>
                  </a:lnTo>
                  <a:lnTo>
                    <a:pt x="1629" y="750"/>
                  </a:lnTo>
                  <a:lnTo>
                    <a:pt x="1637" y="753"/>
                  </a:lnTo>
                  <a:lnTo>
                    <a:pt x="1648" y="763"/>
                  </a:lnTo>
                  <a:lnTo>
                    <a:pt x="1658" y="764"/>
                  </a:lnTo>
                  <a:lnTo>
                    <a:pt x="1662" y="770"/>
                  </a:lnTo>
                  <a:lnTo>
                    <a:pt x="1662" y="775"/>
                  </a:lnTo>
                  <a:lnTo>
                    <a:pt x="1659" y="776"/>
                  </a:lnTo>
                  <a:lnTo>
                    <a:pt x="1662" y="778"/>
                  </a:lnTo>
                  <a:lnTo>
                    <a:pt x="1662" y="780"/>
                  </a:lnTo>
                  <a:lnTo>
                    <a:pt x="1659" y="782"/>
                  </a:lnTo>
                  <a:lnTo>
                    <a:pt x="1656" y="785"/>
                  </a:lnTo>
                  <a:lnTo>
                    <a:pt x="1656" y="788"/>
                  </a:lnTo>
                  <a:lnTo>
                    <a:pt x="1648" y="802"/>
                  </a:lnTo>
                  <a:lnTo>
                    <a:pt x="1648" y="809"/>
                  </a:lnTo>
                  <a:lnTo>
                    <a:pt x="1649" y="812"/>
                  </a:lnTo>
                  <a:lnTo>
                    <a:pt x="1652" y="813"/>
                  </a:lnTo>
                  <a:lnTo>
                    <a:pt x="1652" y="818"/>
                  </a:lnTo>
                  <a:lnTo>
                    <a:pt x="1652" y="825"/>
                  </a:lnTo>
                  <a:lnTo>
                    <a:pt x="1654" y="832"/>
                  </a:lnTo>
                  <a:lnTo>
                    <a:pt x="1658" y="838"/>
                  </a:lnTo>
                  <a:lnTo>
                    <a:pt x="1656" y="842"/>
                  </a:lnTo>
                  <a:lnTo>
                    <a:pt x="1663" y="847"/>
                  </a:lnTo>
                  <a:lnTo>
                    <a:pt x="1665" y="855"/>
                  </a:lnTo>
                  <a:lnTo>
                    <a:pt x="1672" y="859"/>
                  </a:lnTo>
                  <a:lnTo>
                    <a:pt x="1672" y="860"/>
                  </a:lnTo>
                  <a:lnTo>
                    <a:pt x="1670" y="863"/>
                  </a:lnTo>
                  <a:lnTo>
                    <a:pt x="1666" y="864"/>
                  </a:lnTo>
                  <a:lnTo>
                    <a:pt x="1662" y="860"/>
                  </a:lnTo>
                  <a:lnTo>
                    <a:pt x="1655" y="860"/>
                  </a:lnTo>
                  <a:lnTo>
                    <a:pt x="1647" y="855"/>
                  </a:lnTo>
                  <a:lnTo>
                    <a:pt x="1644" y="855"/>
                  </a:lnTo>
                  <a:lnTo>
                    <a:pt x="1640" y="856"/>
                  </a:lnTo>
                  <a:lnTo>
                    <a:pt x="1629" y="864"/>
                  </a:lnTo>
                  <a:lnTo>
                    <a:pt x="1626" y="864"/>
                  </a:lnTo>
                  <a:lnTo>
                    <a:pt x="1621" y="860"/>
                  </a:lnTo>
                  <a:lnTo>
                    <a:pt x="1617" y="862"/>
                  </a:lnTo>
                  <a:lnTo>
                    <a:pt x="1617" y="863"/>
                  </a:lnTo>
                  <a:lnTo>
                    <a:pt x="1619" y="865"/>
                  </a:lnTo>
                  <a:lnTo>
                    <a:pt x="1616" y="868"/>
                  </a:lnTo>
                  <a:lnTo>
                    <a:pt x="1617" y="869"/>
                  </a:lnTo>
                  <a:lnTo>
                    <a:pt x="1612" y="877"/>
                  </a:lnTo>
                  <a:lnTo>
                    <a:pt x="1612" y="881"/>
                  </a:lnTo>
                  <a:lnTo>
                    <a:pt x="1608" y="885"/>
                  </a:lnTo>
                  <a:lnTo>
                    <a:pt x="1613" y="892"/>
                  </a:lnTo>
                  <a:lnTo>
                    <a:pt x="1615" y="894"/>
                  </a:lnTo>
                  <a:lnTo>
                    <a:pt x="1609" y="902"/>
                  </a:lnTo>
                  <a:lnTo>
                    <a:pt x="1609" y="904"/>
                  </a:lnTo>
                  <a:lnTo>
                    <a:pt x="1609" y="907"/>
                  </a:lnTo>
                  <a:lnTo>
                    <a:pt x="1613" y="912"/>
                  </a:lnTo>
                  <a:lnTo>
                    <a:pt x="1609" y="914"/>
                  </a:lnTo>
                  <a:lnTo>
                    <a:pt x="1610" y="917"/>
                  </a:lnTo>
                  <a:lnTo>
                    <a:pt x="1608" y="918"/>
                  </a:lnTo>
                  <a:lnTo>
                    <a:pt x="1609" y="922"/>
                  </a:lnTo>
                  <a:lnTo>
                    <a:pt x="1606" y="927"/>
                  </a:lnTo>
                  <a:lnTo>
                    <a:pt x="1605" y="937"/>
                  </a:lnTo>
                  <a:lnTo>
                    <a:pt x="1602" y="939"/>
                  </a:lnTo>
                  <a:lnTo>
                    <a:pt x="1601" y="944"/>
                  </a:lnTo>
                  <a:lnTo>
                    <a:pt x="1596" y="952"/>
                  </a:lnTo>
                  <a:lnTo>
                    <a:pt x="1598" y="956"/>
                  </a:lnTo>
                  <a:lnTo>
                    <a:pt x="1596" y="960"/>
                  </a:lnTo>
                  <a:lnTo>
                    <a:pt x="1592" y="963"/>
                  </a:lnTo>
                  <a:lnTo>
                    <a:pt x="1594" y="971"/>
                  </a:lnTo>
                  <a:lnTo>
                    <a:pt x="1590" y="975"/>
                  </a:lnTo>
                  <a:lnTo>
                    <a:pt x="1591" y="980"/>
                  </a:lnTo>
                  <a:lnTo>
                    <a:pt x="1585" y="984"/>
                  </a:lnTo>
                  <a:lnTo>
                    <a:pt x="1588" y="989"/>
                  </a:lnTo>
                  <a:lnTo>
                    <a:pt x="1583" y="989"/>
                  </a:lnTo>
                  <a:lnTo>
                    <a:pt x="1580" y="996"/>
                  </a:lnTo>
                  <a:lnTo>
                    <a:pt x="1581" y="1000"/>
                  </a:lnTo>
                  <a:lnTo>
                    <a:pt x="1577" y="1003"/>
                  </a:lnTo>
                  <a:lnTo>
                    <a:pt x="1584" y="1008"/>
                  </a:lnTo>
                  <a:lnTo>
                    <a:pt x="1590" y="1012"/>
                  </a:lnTo>
                  <a:lnTo>
                    <a:pt x="1588" y="1019"/>
                  </a:lnTo>
                  <a:lnTo>
                    <a:pt x="1590" y="1025"/>
                  </a:lnTo>
                  <a:lnTo>
                    <a:pt x="1592" y="1025"/>
                  </a:lnTo>
                  <a:lnTo>
                    <a:pt x="1594" y="1025"/>
                  </a:lnTo>
                  <a:lnTo>
                    <a:pt x="1592" y="1028"/>
                  </a:lnTo>
                  <a:lnTo>
                    <a:pt x="1596" y="1028"/>
                  </a:lnTo>
                  <a:lnTo>
                    <a:pt x="1596" y="1031"/>
                  </a:lnTo>
                  <a:lnTo>
                    <a:pt x="1599" y="1033"/>
                  </a:lnTo>
                  <a:lnTo>
                    <a:pt x="1599" y="1038"/>
                  </a:lnTo>
                  <a:lnTo>
                    <a:pt x="1602" y="1042"/>
                  </a:lnTo>
                  <a:lnTo>
                    <a:pt x="1604" y="1046"/>
                  </a:lnTo>
                  <a:lnTo>
                    <a:pt x="1606" y="1047"/>
                  </a:lnTo>
                  <a:lnTo>
                    <a:pt x="1606" y="1054"/>
                  </a:lnTo>
                  <a:lnTo>
                    <a:pt x="1609" y="1055"/>
                  </a:lnTo>
                  <a:lnTo>
                    <a:pt x="1609" y="1054"/>
                  </a:lnTo>
                  <a:lnTo>
                    <a:pt x="1610" y="1054"/>
                  </a:lnTo>
                  <a:lnTo>
                    <a:pt x="1612" y="1056"/>
                  </a:lnTo>
                  <a:lnTo>
                    <a:pt x="1615" y="1059"/>
                  </a:lnTo>
                  <a:lnTo>
                    <a:pt x="1617" y="1063"/>
                  </a:lnTo>
                  <a:lnTo>
                    <a:pt x="1617" y="1066"/>
                  </a:lnTo>
                  <a:lnTo>
                    <a:pt x="1621" y="1072"/>
                  </a:lnTo>
                  <a:lnTo>
                    <a:pt x="1623" y="1083"/>
                  </a:lnTo>
                  <a:lnTo>
                    <a:pt x="1626" y="1090"/>
                  </a:lnTo>
                  <a:lnTo>
                    <a:pt x="1629" y="1090"/>
                  </a:lnTo>
                  <a:lnTo>
                    <a:pt x="1634" y="1085"/>
                  </a:lnTo>
                  <a:lnTo>
                    <a:pt x="1651" y="1083"/>
                  </a:lnTo>
                  <a:lnTo>
                    <a:pt x="1655" y="1093"/>
                  </a:lnTo>
                  <a:lnTo>
                    <a:pt x="1666" y="1096"/>
                  </a:lnTo>
                  <a:lnTo>
                    <a:pt x="1675" y="1100"/>
                  </a:lnTo>
                  <a:lnTo>
                    <a:pt x="1681" y="1105"/>
                  </a:lnTo>
                  <a:lnTo>
                    <a:pt x="1689" y="1108"/>
                  </a:lnTo>
                  <a:lnTo>
                    <a:pt x="1695" y="1113"/>
                  </a:lnTo>
                  <a:lnTo>
                    <a:pt x="1701" y="1120"/>
                  </a:lnTo>
                  <a:lnTo>
                    <a:pt x="1711" y="1121"/>
                  </a:lnTo>
                  <a:lnTo>
                    <a:pt x="1723" y="1121"/>
                  </a:lnTo>
                  <a:lnTo>
                    <a:pt x="1729" y="1124"/>
                  </a:lnTo>
                  <a:lnTo>
                    <a:pt x="1730" y="1128"/>
                  </a:lnTo>
                  <a:lnTo>
                    <a:pt x="1729" y="1132"/>
                  </a:lnTo>
                  <a:lnTo>
                    <a:pt x="1733" y="1141"/>
                  </a:lnTo>
                  <a:lnTo>
                    <a:pt x="1733" y="1143"/>
                  </a:lnTo>
                  <a:lnTo>
                    <a:pt x="1739" y="1150"/>
                  </a:lnTo>
                  <a:lnTo>
                    <a:pt x="1740" y="1153"/>
                  </a:lnTo>
                  <a:lnTo>
                    <a:pt x="1744" y="1154"/>
                  </a:lnTo>
                  <a:lnTo>
                    <a:pt x="1756" y="1158"/>
                  </a:lnTo>
                  <a:lnTo>
                    <a:pt x="1761" y="1162"/>
                  </a:lnTo>
                  <a:lnTo>
                    <a:pt x="1758" y="1166"/>
                  </a:lnTo>
                  <a:lnTo>
                    <a:pt x="1753" y="1171"/>
                  </a:lnTo>
                  <a:lnTo>
                    <a:pt x="1753" y="1179"/>
                  </a:lnTo>
                  <a:lnTo>
                    <a:pt x="1755" y="1183"/>
                  </a:lnTo>
                  <a:lnTo>
                    <a:pt x="1764" y="1180"/>
                  </a:lnTo>
                  <a:lnTo>
                    <a:pt x="1766" y="1184"/>
                  </a:lnTo>
                  <a:lnTo>
                    <a:pt x="1769" y="1188"/>
                  </a:lnTo>
                  <a:lnTo>
                    <a:pt x="1766" y="1193"/>
                  </a:lnTo>
                  <a:lnTo>
                    <a:pt x="1766" y="1196"/>
                  </a:lnTo>
                  <a:lnTo>
                    <a:pt x="1769" y="1202"/>
                  </a:lnTo>
                  <a:lnTo>
                    <a:pt x="1786" y="1215"/>
                  </a:lnTo>
                  <a:lnTo>
                    <a:pt x="1794" y="1215"/>
                  </a:lnTo>
                  <a:lnTo>
                    <a:pt x="1804" y="1225"/>
                  </a:lnTo>
                  <a:lnTo>
                    <a:pt x="1822" y="1233"/>
                  </a:lnTo>
                  <a:lnTo>
                    <a:pt x="1830" y="1246"/>
                  </a:lnTo>
                  <a:lnTo>
                    <a:pt x="1829" y="1252"/>
                  </a:lnTo>
                  <a:lnTo>
                    <a:pt x="1830" y="1255"/>
                  </a:lnTo>
                  <a:lnTo>
                    <a:pt x="1843" y="1263"/>
                  </a:lnTo>
                  <a:lnTo>
                    <a:pt x="1848" y="1274"/>
                  </a:lnTo>
                  <a:lnTo>
                    <a:pt x="1865" y="1278"/>
                  </a:lnTo>
                  <a:lnTo>
                    <a:pt x="1869" y="1277"/>
                  </a:lnTo>
                  <a:lnTo>
                    <a:pt x="1879" y="1270"/>
                  </a:lnTo>
                  <a:lnTo>
                    <a:pt x="1880" y="1270"/>
                  </a:lnTo>
                  <a:lnTo>
                    <a:pt x="1883" y="1270"/>
                  </a:lnTo>
                  <a:lnTo>
                    <a:pt x="1886" y="1278"/>
                  </a:lnTo>
                  <a:lnTo>
                    <a:pt x="1883" y="1282"/>
                  </a:lnTo>
                  <a:lnTo>
                    <a:pt x="1881" y="1286"/>
                  </a:lnTo>
                  <a:lnTo>
                    <a:pt x="1884" y="1291"/>
                  </a:lnTo>
                  <a:lnTo>
                    <a:pt x="1894" y="1296"/>
                  </a:lnTo>
                  <a:lnTo>
                    <a:pt x="1898" y="1307"/>
                  </a:lnTo>
                  <a:lnTo>
                    <a:pt x="1904" y="1314"/>
                  </a:lnTo>
                  <a:lnTo>
                    <a:pt x="1909" y="1315"/>
                  </a:lnTo>
                  <a:lnTo>
                    <a:pt x="1911" y="1317"/>
                  </a:lnTo>
                  <a:lnTo>
                    <a:pt x="1911" y="1319"/>
                  </a:lnTo>
                  <a:lnTo>
                    <a:pt x="1908" y="1322"/>
                  </a:lnTo>
                  <a:lnTo>
                    <a:pt x="1909" y="1328"/>
                  </a:lnTo>
                  <a:lnTo>
                    <a:pt x="1911" y="1329"/>
                  </a:lnTo>
                  <a:lnTo>
                    <a:pt x="1915" y="1331"/>
                  </a:lnTo>
                  <a:lnTo>
                    <a:pt x="1915" y="1333"/>
                  </a:lnTo>
                  <a:lnTo>
                    <a:pt x="1912" y="1340"/>
                  </a:lnTo>
                  <a:lnTo>
                    <a:pt x="1914" y="1341"/>
                  </a:lnTo>
                  <a:lnTo>
                    <a:pt x="1916" y="1345"/>
                  </a:lnTo>
                  <a:lnTo>
                    <a:pt x="1919" y="1348"/>
                  </a:lnTo>
                  <a:lnTo>
                    <a:pt x="1921" y="1354"/>
                  </a:lnTo>
                  <a:lnTo>
                    <a:pt x="1923" y="1358"/>
                  </a:lnTo>
                  <a:lnTo>
                    <a:pt x="1921" y="1359"/>
                  </a:lnTo>
                  <a:lnTo>
                    <a:pt x="1919" y="1361"/>
                  </a:lnTo>
                  <a:lnTo>
                    <a:pt x="1918" y="1367"/>
                  </a:lnTo>
                  <a:lnTo>
                    <a:pt x="1919" y="1370"/>
                  </a:lnTo>
                  <a:lnTo>
                    <a:pt x="1916" y="1373"/>
                  </a:lnTo>
                  <a:lnTo>
                    <a:pt x="1916" y="1376"/>
                  </a:lnTo>
                  <a:lnTo>
                    <a:pt x="1919" y="1379"/>
                  </a:lnTo>
                  <a:lnTo>
                    <a:pt x="1923" y="1379"/>
                  </a:lnTo>
                  <a:lnTo>
                    <a:pt x="1930" y="1384"/>
                  </a:lnTo>
                  <a:lnTo>
                    <a:pt x="1936" y="1386"/>
                  </a:lnTo>
                  <a:lnTo>
                    <a:pt x="1939" y="1389"/>
                  </a:lnTo>
                  <a:lnTo>
                    <a:pt x="1941" y="1393"/>
                  </a:lnTo>
                  <a:lnTo>
                    <a:pt x="1941" y="1398"/>
                  </a:lnTo>
                  <a:lnTo>
                    <a:pt x="1943" y="1399"/>
                  </a:lnTo>
                  <a:lnTo>
                    <a:pt x="1944" y="1403"/>
                  </a:lnTo>
                  <a:lnTo>
                    <a:pt x="1955" y="1408"/>
                  </a:lnTo>
                  <a:lnTo>
                    <a:pt x="1954" y="1412"/>
                  </a:lnTo>
                  <a:lnTo>
                    <a:pt x="1954" y="1416"/>
                  </a:lnTo>
                  <a:lnTo>
                    <a:pt x="1957" y="1419"/>
                  </a:lnTo>
                  <a:lnTo>
                    <a:pt x="1955" y="1424"/>
                  </a:lnTo>
                  <a:lnTo>
                    <a:pt x="1957" y="1428"/>
                  </a:lnTo>
                  <a:lnTo>
                    <a:pt x="1961" y="1431"/>
                  </a:lnTo>
                  <a:lnTo>
                    <a:pt x="1966" y="1427"/>
                  </a:lnTo>
                  <a:lnTo>
                    <a:pt x="1972" y="1424"/>
                  </a:lnTo>
                  <a:lnTo>
                    <a:pt x="1976" y="1426"/>
                  </a:lnTo>
                  <a:lnTo>
                    <a:pt x="1982" y="1423"/>
                  </a:lnTo>
                  <a:lnTo>
                    <a:pt x="1985" y="1424"/>
                  </a:lnTo>
                  <a:lnTo>
                    <a:pt x="1990" y="1433"/>
                  </a:lnTo>
                  <a:lnTo>
                    <a:pt x="1989" y="1437"/>
                  </a:lnTo>
                  <a:lnTo>
                    <a:pt x="1983" y="1443"/>
                  </a:lnTo>
                  <a:lnTo>
                    <a:pt x="1985" y="1446"/>
                  </a:lnTo>
                  <a:lnTo>
                    <a:pt x="1988" y="1448"/>
                  </a:lnTo>
                  <a:lnTo>
                    <a:pt x="2007" y="1456"/>
                  </a:lnTo>
                  <a:lnTo>
                    <a:pt x="2007" y="1460"/>
                  </a:lnTo>
                  <a:lnTo>
                    <a:pt x="2008" y="1464"/>
                  </a:lnTo>
                  <a:lnTo>
                    <a:pt x="2007" y="1469"/>
                  </a:lnTo>
                  <a:lnTo>
                    <a:pt x="2013" y="1476"/>
                  </a:lnTo>
                  <a:lnTo>
                    <a:pt x="2016" y="1477"/>
                  </a:lnTo>
                  <a:lnTo>
                    <a:pt x="2028" y="1480"/>
                  </a:lnTo>
                  <a:lnTo>
                    <a:pt x="2029" y="1483"/>
                  </a:lnTo>
                  <a:lnTo>
                    <a:pt x="2032" y="1486"/>
                  </a:lnTo>
                  <a:lnTo>
                    <a:pt x="2032" y="1489"/>
                  </a:lnTo>
                  <a:lnTo>
                    <a:pt x="2028" y="1491"/>
                  </a:lnTo>
                  <a:lnTo>
                    <a:pt x="2025" y="1495"/>
                  </a:lnTo>
                  <a:lnTo>
                    <a:pt x="2025" y="1498"/>
                  </a:lnTo>
                  <a:lnTo>
                    <a:pt x="2025" y="1502"/>
                  </a:lnTo>
                  <a:lnTo>
                    <a:pt x="2032" y="1505"/>
                  </a:lnTo>
                  <a:lnTo>
                    <a:pt x="2035" y="1506"/>
                  </a:lnTo>
                  <a:lnTo>
                    <a:pt x="2038" y="1506"/>
                  </a:lnTo>
                  <a:lnTo>
                    <a:pt x="2040" y="1505"/>
                  </a:lnTo>
                  <a:lnTo>
                    <a:pt x="2044" y="1505"/>
                  </a:lnTo>
                  <a:lnTo>
                    <a:pt x="2046" y="1506"/>
                  </a:lnTo>
                  <a:lnTo>
                    <a:pt x="2041" y="1510"/>
                  </a:lnTo>
                  <a:lnTo>
                    <a:pt x="2046" y="1516"/>
                  </a:lnTo>
                  <a:lnTo>
                    <a:pt x="2043" y="1519"/>
                  </a:lnTo>
                  <a:lnTo>
                    <a:pt x="2043" y="1522"/>
                  </a:lnTo>
                  <a:lnTo>
                    <a:pt x="2047" y="1522"/>
                  </a:lnTo>
                  <a:lnTo>
                    <a:pt x="2047" y="1523"/>
                  </a:lnTo>
                  <a:lnTo>
                    <a:pt x="2043" y="1527"/>
                  </a:lnTo>
                  <a:lnTo>
                    <a:pt x="2043" y="1535"/>
                  </a:lnTo>
                  <a:lnTo>
                    <a:pt x="2046" y="1539"/>
                  </a:lnTo>
                  <a:lnTo>
                    <a:pt x="2043" y="1545"/>
                  </a:lnTo>
                  <a:lnTo>
                    <a:pt x="2040" y="1548"/>
                  </a:lnTo>
                  <a:lnTo>
                    <a:pt x="2041" y="1551"/>
                  </a:lnTo>
                  <a:lnTo>
                    <a:pt x="2044" y="1555"/>
                  </a:lnTo>
                  <a:lnTo>
                    <a:pt x="2049" y="1555"/>
                  </a:lnTo>
                  <a:lnTo>
                    <a:pt x="2053" y="1555"/>
                  </a:lnTo>
                  <a:lnTo>
                    <a:pt x="2055" y="1555"/>
                  </a:lnTo>
                  <a:lnTo>
                    <a:pt x="2057" y="1558"/>
                  </a:lnTo>
                  <a:lnTo>
                    <a:pt x="2060" y="1561"/>
                  </a:lnTo>
                  <a:lnTo>
                    <a:pt x="2063" y="1568"/>
                  </a:lnTo>
                  <a:lnTo>
                    <a:pt x="2068" y="1573"/>
                  </a:lnTo>
                  <a:lnTo>
                    <a:pt x="2066" y="1577"/>
                  </a:lnTo>
                  <a:lnTo>
                    <a:pt x="2063" y="1577"/>
                  </a:lnTo>
                  <a:lnTo>
                    <a:pt x="2063" y="1581"/>
                  </a:lnTo>
                  <a:lnTo>
                    <a:pt x="2064" y="1585"/>
                  </a:lnTo>
                  <a:lnTo>
                    <a:pt x="2060" y="1589"/>
                  </a:lnTo>
                  <a:lnTo>
                    <a:pt x="2058" y="1594"/>
                  </a:lnTo>
                  <a:lnTo>
                    <a:pt x="2060" y="1599"/>
                  </a:lnTo>
                  <a:lnTo>
                    <a:pt x="2064" y="1603"/>
                  </a:lnTo>
                  <a:lnTo>
                    <a:pt x="2063" y="1611"/>
                  </a:lnTo>
                  <a:lnTo>
                    <a:pt x="2066" y="1614"/>
                  </a:lnTo>
                  <a:lnTo>
                    <a:pt x="2066" y="1615"/>
                  </a:lnTo>
                  <a:lnTo>
                    <a:pt x="2064" y="1615"/>
                  </a:lnTo>
                  <a:lnTo>
                    <a:pt x="2064" y="1618"/>
                  </a:lnTo>
                  <a:lnTo>
                    <a:pt x="2069" y="1622"/>
                  </a:lnTo>
                  <a:lnTo>
                    <a:pt x="2076" y="1620"/>
                  </a:lnTo>
                  <a:lnTo>
                    <a:pt x="2083" y="1619"/>
                  </a:lnTo>
                  <a:lnTo>
                    <a:pt x="2086" y="1619"/>
                  </a:lnTo>
                  <a:lnTo>
                    <a:pt x="2088" y="1620"/>
                  </a:lnTo>
                  <a:lnTo>
                    <a:pt x="2086" y="1630"/>
                  </a:lnTo>
                  <a:lnTo>
                    <a:pt x="2079" y="1635"/>
                  </a:lnTo>
                  <a:lnTo>
                    <a:pt x="2075" y="1636"/>
                  </a:lnTo>
                  <a:lnTo>
                    <a:pt x="2068" y="1634"/>
                  </a:lnTo>
                  <a:lnTo>
                    <a:pt x="2065" y="1632"/>
                  </a:lnTo>
                  <a:lnTo>
                    <a:pt x="2064" y="1632"/>
                  </a:lnTo>
                  <a:lnTo>
                    <a:pt x="2061" y="1638"/>
                  </a:lnTo>
                  <a:lnTo>
                    <a:pt x="2066" y="1640"/>
                  </a:lnTo>
                  <a:lnTo>
                    <a:pt x="2066" y="1642"/>
                  </a:lnTo>
                  <a:lnTo>
                    <a:pt x="2064" y="1643"/>
                  </a:lnTo>
                  <a:lnTo>
                    <a:pt x="2063" y="1647"/>
                  </a:lnTo>
                  <a:lnTo>
                    <a:pt x="2061" y="1648"/>
                  </a:lnTo>
                  <a:lnTo>
                    <a:pt x="2054" y="1648"/>
                  </a:lnTo>
                  <a:lnTo>
                    <a:pt x="2053" y="1643"/>
                  </a:lnTo>
                  <a:lnTo>
                    <a:pt x="2050" y="1640"/>
                  </a:lnTo>
                  <a:lnTo>
                    <a:pt x="2044" y="1640"/>
                  </a:lnTo>
                  <a:lnTo>
                    <a:pt x="2041" y="1643"/>
                  </a:lnTo>
                  <a:lnTo>
                    <a:pt x="2040" y="1644"/>
                  </a:lnTo>
                  <a:lnTo>
                    <a:pt x="2040" y="1648"/>
                  </a:lnTo>
                  <a:lnTo>
                    <a:pt x="2041" y="1654"/>
                  </a:lnTo>
                  <a:lnTo>
                    <a:pt x="2044" y="1656"/>
                  </a:lnTo>
                  <a:lnTo>
                    <a:pt x="2043" y="1659"/>
                  </a:lnTo>
                  <a:lnTo>
                    <a:pt x="2044" y="1661"/>
                  </a:lnTo>
                  <a:lnTo>
                    <a:pt x="2040" y="1670"/>
                  </a:lnTo>
                  <a:lnTo>
                    <a:pt x="2039" y="1674"/>
                  </a:lnTo>
                  <a:lnTo>
                    <a:pt x="2041" y="1677"/>
                  </a:lnTo>
                  <a:lnTo>
                    <a:pt x="2051" y="1677"/>
                  </a:lnTo>
                  <a:lnTo>
                    <a:pt x="2054" y="1680"/>
                  </a:lnTo>
                  <a:lnTo>
                    <a:pt x="2061" y="1682"/>
                  </a:lnTo>
                  <a:lnTo>
                    <a:pt x="2061" y="1684"/>
                  </a:lnTo>
                  <a:lnTo>
                    <a:pt x="2061" y="1685"/>
                  </a:lnTo>
                  <a:lnTo>
                    <a:pt x="2058" y="1686"/>
                  </a:lnTo>
                  <a:lnTo>
                    <a:pt x="2058" y="1688"/>
                  </a:lnTo>
                  <a:lnTo>
                    <a:pt x="2060" y="1690"/>
                  </a:lnTo>
                  <a:lnTo>
                    <a:pt x="2055" y="1693"/>
                  </a:lnTo>
                  <a:lnTo>
                    <a:pt x="2055" y="1697"/>
                  </a:lnTo>
                  <a:lnTo>
                    <a:pt x="2058" y="1699"/>
                  </a:lnTo>
                  <a:lnTo>
                    <a:pt x="2057" y="1704"/>
                  </a:lnTo>
                  <a:lnTo>
                    <a:pt x="2057" y="1705"/>
                  </a:lnTo>
                  <a:lnTo>
                    <a:pt x="2060" y="1709"/>
                  </a:lnTo>
                  <a:lnTo>
                    <a:pt x="2064" y="1709"/>
                  </a:lnTo>
                  <a:lnTo>
                    <a:pt x="2065" y="1711"/>
                  </a:lnTo>
                  <a:lnTo>
                    <a:pt x="2066" y="1711"/>
                  </a:lnTo>
                  <a:lnTo>
                    <a:pt x="2069" y="1709"/>
                  </a:lnTo>
                  <a:lnTo>
                    <a:pt x="2072" y="1711"/>
                  </a:lnTo>
                  <a:lnTo>
                    <a:pt x="2072" y="1715"/>
                  </a:lnTo>
                  <a:lnTo>
                    <a:pt x="2075" y="1715"/>
                  </a:lnTo>
                  <a:lnTo>
                    <a:pt x="2074" y="1719"/>
                  </a:lnTo>
                  <a:lnTo>
                    <a:pt x="2078" y="1726"/>
                  </a:lnTo>
                  <a:lnTo>
                    <a:pt x="2078" y="1729"/>
                  </a:lnTo>
                  <a:lnTo>
                    <a:pt x="2075" y="1731"/>
                  </a:lnTo>
                  <a:lnTo>
                    <a:pt x="2076" y="1738"/>
                  </a:lnTo>
                  <a:lnTo>
                    <a:pt x="2078" y="1741"/>
                  </a:lnTo>
                  <a:lnTo>
                    <a:pt x="2076" y="1742"/>
                  </a:lnTo>
                  <a:lnTo>
                    <a:pt x="2078" y="1748"/>
                  </a:lnTo>
                  <a:lnTo>
                    <a:pt x="2083" y="1749"/>
                  </a:lnTo>
                  <a:lnTo>
                    <a:pt x="2090" y="1748"/>
                  </a:lnTo>
                  <a:lnTo>
                    <a:pt x="2090" y="1747"/>
                  </a:lnTo>
                  <a:lnTo>
                    <a:pt x="2090" y="1746"/>
                  </a:lnTo>
                  <a:lnTo>
                    <a:pt x="2093" y="1744"/>
                  </a:lnTo>
                  <a:lnTo>
                    <a:pt x="2097" y="1747"/>
                  </a:lnTo>
                  <a:lnTo>
                    <a:pt x="2101" y="1746"/>
                  </a:lnTo>
                  <a:lnTo>
                    <a:pt x="2107" y="1748"/>
                  </a:lnTo>
                  <a:lnTo>
                    <a:pt x="2110" y="1757"/>
                  </a:lnTo>
                  <a:lnTo>
                    <a:pt x="2108" y="1759"/>
                  </a:lnTo>
                  <a:lnTo>
                    <a:pt x="2105" y="1760"/>
                  </a:lnTo>
                  <a:lnTo>
                    <a:pt x="2105" y="1764"/>
                  </a:lnTo>
                  <a:lnTo>
                    <a:pt x="2107" y="1767"/>
                  </a:lnTo>
                  <a:lnTo>
                    <a:pt x="2111" y="1768"/>
                  </a:lnTo>
                  <a:lnTo>
                    <a:pt x="2113" y="1774"/>
                  </a:lnTo>
                  <a:lnTo>
                    <a:pt x="2111" y="1777"/>
                  </a:lnTo>
                  <a:lnTo>
                    <a:pt x="2113" y="1777"/>
                  </a:lnTo>
                  <a:lnTo>
                    <a:pt x="2115" y="1776"/>
                  </a:lnTo>
                  <a:lnTo>
                    <a:pt x="2115" y="1779"/>
                  </a:lnTo>
                  <a:lnTo>
                    <a:pt x="2117" y="1780"/>
                  </a:lnTo>
                  <a:lnTo>
                    <a:pt x="2115" y="1784"/>
                  </a:lnTo>
                  <a:lnTo>
                    <a:pt x="2114" y="1784"/>
                  </a:lnTo>
                  <a:lnTo>
                    <a:pt x="2113" y="1784"/>
                  </a:lnTo>
                  <a:lnTo>
                    <a:pt x="2111" y="1783"/>
                  </a:lnTo>
                  <a:lnTo>
                    <a:pt x="2110" y="1785"/>
                  </a:lnTo>
                  <a:lnTo>
                    <a:pt x="2111" y="1786"/>
                  </a:lnTo>
                  <a:lnTo>
                    <a:pt x="2113" y="1786"/>
                  </a:lnTo>
                  <a:lnTo>
                    <a:pt x="2114" y="1789"/>
                  </a:lnTo>
                  <a:lnTo>
                    <a:pt x="2114" y="1791"/>
                  </a:lnTo>
                  <a:lnTo>
                    <a:pt x="2117" y="1791"/>
                  </a:lnTo>
                  <a:lnTo>
                    <a:pt x="2121" y="1797"/>
                  </a:lnTo>
                  <a:lnTo>
                    <a:pt x="2125" y="1797"/>
                  </a:lnTo>
                  <a:lnTo>
                    <a:pt x="2126" y="1799"/>
                  </a:lnTo>
                  <a:lnTo>
                    <a:pt x="2126" y="1801"/>
                  </a:lnTo>
                  <a:lnTo>
                    <a:pt x="2122" y="1804"/>
                  </a:lnTo>
                  <a:lnTo>
                    <a:pt x="2122" y="1808"/>
                  </a:lnTo>
                  <a:lnTo>
                    <a:pt x="2119" y="1809"/>
                  </a:lnTo>
                  <a:lnTo>
                    <a:pt x="2115" y="1811"/>
                  </a:lnTo>
                  <a:lnTo>
                    <a:pt x="2114" y="1811"/>
                  </a:lnTo>
                  <a:lnTo>
                    <a:pt x="2114" y="1813"/>
                  </a:lnTo>
                  <a:lnTo>
                    <a:pt x="2108" y="1818"/>
                  </a:lnTo>
                  <a:lnTo>
                    <a:pt x="2107" y="1823"/>
                  </a:lnTo>
                  <a:lnTo>
                    <a:pt x="2111" y="1823"/>
                  </a:lnTo>
                  <a:lnTo>
                    <a:pt x="2114" y="1827"/>
                  </a:lnTo>
                  <a:lnTo>
                    <a:pt x="2121" y="1827"/>
                  </a:lnTo>
                  <a:lnTo>
                    <a:pt x="2124" y="1827"/>
                  </a:lnTo>
                  <a:lnTo>
                    <a:pt x="2122" y="1831"/>
                  </a:lnTo>
                  <a:lnTo>
                    <a:pt x="2117" y="1838"/>
                  </a:lnTo>
                  <a:lnTo>
                    <a:pt x="2110" y="1841"/>
                  </a:lnTo>
                  <a:lnTo>
                    <a:pt x="2108" y="1844"/>
                  </a:lnTo>
                  <a:lnTo>
                    <a:pt x="2108" y="1851"/>
                  </a:lnTo>
                  <a:lnTo>
                    <a:pt x="2113" y="1855"/>
                  </a:lnTo>
                  <a:lnTo>
                    <a:pt x="2110" y="1856"/>
                  </a:lnTo>
                  <a:lnTo>
                    <a:pt x="2110" y="1860"/>
                  </a:lnTo>
                  <a:lnTo>
                    <a:pt x="2105" y="1861"/>
                  </a:lnTo>
                  <a:lnTo>
                    <a:pt x="2103" y="1864"/>
                  </a:lnTo>
                  <a:lnTo>
                    <a:pt x="2101" y="1866"/>
                  </a:lnTo>
                  <a:lnTo>
                    <a:pt x="2100" y="1864"/>
                  </a:lnTo>
                  <a:lnTo>
                    <a:pt x="2099" y="1867"/>
                  </a:lnTo>
                  <a:lnTo>
                    <a:pt x="2094" y="1870"/>
                  </a:lnTo>
                  <a:lnTo>
                    <a:pt x="2096" y="1872"/>
                  </a:lnTo>
                  <a:lnTo>
                    <a:pt x="2093" y="1876"/>
                  </a:lnTo>
                  <a:lnTo>
                    <a:pt x="2096" y="1876"/>
                  </a:lnTo>
                  <a:lnTo>
                    <a:pt x="2096" y="1880"/>
                  </a:lnTo>
                  <a:lnTo>
                    <a:pt x="2093" y="1880"/>
                  </a:lnTo>
                  <a:lnTo>
                    <a:pt x="2090" y="1880"/>
                  </a:lnTo>
                  <a:lnTo>
                    <a:pt x="2089" y="1880"/>
                  </a:lnTo>
                  <a:lnTo>
                    <a:pt x="2089" y="1884"/>
                  </a:lnTo>
                  <a:lnTo>
                    <a:pt x="2086" y="1886"/>
                  </a:lnTo>
                  <a:lnTo>
                    <a:pt x="2085" y="1888"/>
                  </a:lnTo>
                  <a:lnTo>
                    <a:pt x="2079" y="1889"/>
                  </a:lnTo>
                  <a:lnTo>
                    <a:pt x="2079" y="1892"/>
                  </a:lnTo>
                  <a:lnTo>
                    <a:pt x="2086" y="1893"/>
                  </a:lnTo>
                  <a:lnTo>
                    <a:pt x="2088" y="1896"/>
                  </a:lnTo>
                  <a:lnTo>
                    <a:pt x="2091" y="1896"/>
                  </a:lnTo>
                  <a:lnTo>
                    <a:pt x="2101" y="1892"/>
                  </a:lnTo>
                  <a:lnTo>
                    <a:pt x="2107" y="1884"/>
                  </a:lnTo>
                  <a:lnTo>
                    <a:pt x="2113" y="1884"/>
                  </a:lnTo>
                  <a:lnTo>
                    <a:pt x="2114" y="1895"/>
                  </a:lnTo>
                  <a:lnTo>
                    <a:pt x="2119" y="1901"/>
                  </a:lnTo>
                  <a:lnTo>
                    <a:pt x="2118" y="1903"/>
                  </a:lnTo>
                  <a:lnTo>
                    <a:pt x="2117" y="1909"/>
                  </a:lnTo>
                  <a:lnTo>
                    <a:pt x="2121" y="1910"/>
                  </a:lnTo>
                  <a:lnTo>
                    <a:pt x="2126" y="1909"/>
                  </a:lnTo>
                  <a:lnTo>
                    <a:pt x="2126" y="1914"/>
                  </a:lnTo>
                  <a:lnTo>
                    <a:pt x="2125" y="1917"/>
                  </a:lnTo>
                  <a:lnTo>
                    <a:pt x="2124" y="1917"/>
                  </a:lnTo>
                  <a:lnTo>
                    <a:pt x="2122" y="1920"/>
                  </a:lnTo>
                  <a:lnTo>
                    <a:pt x="2124" y="1920"/>
                  </a:lnTo>
                  <a:lnTo>
                    <a:pt x="2125" y="1921"/>
                  </a:lnTo>
                  <a:lnTo>
                    <a:pt x="2129" y="1922"/>
                  </a:lnTo>
                  <a:lnTo>
                    <a:pt x="2130" y="1923"/>
                  </a:lnTo>
                  <a:lnTo>
                    <a:pt x="2130" y="1926"/>
                  </a:lnTo>
                  <a:lnTo>
                    <a:pt x="2128" y="1928"/>
                  </a:lnTo>
                  <a:lnTo>
                    <a:pt x="2121" y="1928"/>
                  </a:lnTo>
                  <a:lnTo>
                    <a:pt x="2118" y="1929"/>
                  </a:lnTo>
                  <a:lnTo>
                    <a:pt x="2118" y="1933"/>
                  </a:lnTo>
                  <a:lnTo>
                    <a:pt x="2113" y="1934"/>
                  </a:lnTo>
                  <a:lnTo>
                    <a:pt x="2110" y="1937"/>
                  </a:lnTo>
                  <a:lnTo>
                    <a:pt x="2114" y="1940"/>
                  </a:lnTo>
                  <a:lnTo>
                    <a:pt x="2113" y="1946"/>
                  </a:lnTo>
                  <a:lnTo>
                    <a:pt x="2115" y="1950"/>
                  </a:lnTo>
                  <a:lnTo>
                    <a:pt x="2110" y="1955"/>
                  </a:lnTo>
                  <a:lnTo>
                    <a:pt x="2108" y="1960"/>
                  </a:lnTo>
                  <a:lnTo>
                    <a:pt x="2110" y="1963"/>
                  </a:lnTo>
                  <a:lnTo>
                    <a:pt x="2110" y="1966"/>
                  </a:lnTo>
                  <a:lnTo>
                    <a:pt x="2107" y="1968"/>
                  </a:lnTo>
                  <a:lnTo>
                    <a:pt x="2107" y="1973"/>
                  </a:lnTo>
                  <a:lnTo>
                    <a:pt x="2100" y="1980"/>
                  </a:lnTo>
                  <a:lnTo>
                    <a:pt x="2100" y="1982"/>
                  </a:lnTo>
                  <a:lnTo>
                    <a:pt x="2100" y="1984"/>
                  </a:lnTo>
                  <a:lnTo>
                    <a:pt x="2104" y="1985"/>
                  </a:lnTo>
                  <a:lnTo>
                    <a:pt x="2105" y="1990"/>
                  </a:lnTo>
                  <a:lnTo>
                    <a:pt x="2107" y="1991"/>
                  </a:lnTo>
                  <a:lnTo>
                    <a:pt x="2107" y="1993"/>
                  </a:lnTo>
                  <a:lnTo>
                    <a:pt x="2110" y="1996"/>
                  </a:lnTo>
                  <a:lnTo>
                    <a:pt x="2108" y="2000"/>
                  </a:lnTo>
                  <a:lnTo>
                    <a:pt x="2111" y="2004"/>
                  </a:lnTo>
                  <a:lnTo>
                    <a:pt x="2108" y="2008"/>
                  </a:lnTo>
                  <a:lnTo>
                    <a:pt x="2108" y="2010"/>
                  </a:lnTo>
                  <a:lnTo>
                    <a:pt x="2105" y="2013"/>
                  </a:lnTo>
                  <a:lnTo>
                    <a:pt x="2108" y="2016"/>
                  </a:lnTo>
                  <a:lnTo>
                    <a:pt x="2110" y="2015"/>
                  </a:lnTo>
                  <a:lnTo>
                    <a:pt x="2110" y="2017"/>
                  </a:lnTo>
                  <a:lnTo>
                    <a:pt x="2111" y="2018"/>
                  </a:lnTo>
                  <a:lnTo>
                    <a:pt x="2107" y="2020"/>
                  </a:lnTo>
                  <a:lnTo>
                    <a:pt x="2105" y="2025"/>
                  </a:lnTo>
                  <a:lnTo>
                    <a:pt x="2103" y="2027"/>
                  </a:lnTo>
                  <a:lnTo>
                    <a:pt x="2101" y="2025"/>
                  </a:lnTo>
                  <a:lnTo>
                    <a:pt x="2099" y="2029"/>
                  </a:lnTo>
                  <a:lnTo>
                    <a:pt x="2103" y="2034"/>
                  </a:lnTo>
                  <a:lnTo>
                    <a:pt x="2104" y="2034"/>
                  </a:lnTo>
                  <a:lnTo>
                    <a:pt x="2107" y="2037"/>
                  </a:lnTo>
                  <a:lnTo>
                    <a:pt x="2104" y="2040"/>
                  </a:lnTo>
                  <a:lnTo>
                    <a:pt x="2104" y="2044"/>
                  </a:lnTo>
                  <a:lnTo>
                    <a:pt x="2108" y="2044"/>
                  </a:lnTo>
                  <a:lnTo>
                    <a:pt x="2110" y="2045"/>
                  </a:lnTo>
                  <a:lnTo>
                    <a:pt x="2114" y="2047"/>
                  </a:lnTo>
                  <a:lnTo>
                    <a:pt x="2114" y="2049"/>
                  </a:lnTo>
                  <a:lnTo>
                    <a:pt x="2119" y="2049"/>
                  </a:lnTo>
                  <a:lnTo>
                    <a:pt x="2121" y="2054"/>
                  </a:lnTo>
                  <a:lnTo>
                    <a:pt x="2118" y="2057"/>
                  </a:lnTo>
                  <a:lnTo>
                    <a:pt x="2113" y="2059"/>
                  </a:lnTo>
                  <a:lnTo>
                    <a:pt x="2103" y="2062"/>
                  </a:lnTo>
                  <a:lnTo>
                    <a:pt x="2103" y="2065"/>
                  </a:lnTo>
                  <a:lnTo>
                    <a:pt x="2099" y="2063"/>
                  </a:lnTo>
                  <a:lnTo>
                    <a:pt x="2097" y="2065"/>
                  </a:lnTo>
                  <a:lnTo>
                    <a:pt x="2099" y="2066"/>
                  </a:lnTo>
                  <a:lnTo>
                    <a:pt x="2097" y="2067"/>
                  </a:lnTo>
                  <a:lnTo>
                    <a:pt x="2096" y="2067"/>
                  </a:lnTo>
                  <a:lnTo>
                    <a:pt x="2094" y="2067"/>
                  </a:lnTo>
                  <a:lnTo>
                    <a:pt x="2097" y="2071"/>
                  </a:lnTo>
                  <a:lnTo>
                    <a:pt x="2097" y="2077"/>
                  </a:lnTo>
                  <a:lnTo>
                    <a:pt x="2101" y="2079"/>
                  </a:lnTo>
                  <a:lnTo>
                    <a:pt x="2104" y="2079"/>
                  </a:lnTo>
                  <a:lnTo>
                    <a:pt x="2103" y="2083"/>
                  </a:lnTo>
                  <a:lnTo>
                    <a:pt x="2100" y="2087"/>
                  </a:lnTo>
                  <a:lnTo>
                    <a:pt x="2103" y="2092"/>
                  </a:lnTo>
                  <a:lnTo>
                    <a:pt x="2111" y="2099"/>
                  </a:lnTo>
                  <a:lnTo>
                    <a:pt x="2108" y="2103"/>
                  </a:lnTo>
                  <a:lnTo>
                    <a:pt x="2107" y="2104"/>
                  </a:lnTo>
                  <a:lnTo>
                    <a:pt x="2104" y="2107"/>
                  </a:lnTo>
                  <a:lnTo>
                    <a:pt x="2105" y="2109"/>
                  </a:lnTo>
                  <a:lnTo>
                    <a:pt x="2103" y="2112"/>
                  </a:lnTo>
                  <a:lnTo>
                    <a:pt x="2107" y="2115"/>
                  </a:lnTo>
                  <a:lnTo>
                    <a:pt x="2110" y="2116"/>
                  </a:lnTo>
                  <a:lnTo>
                    <a:pt x="2110" y="2124"/>
                  </a:lnTo>
                  <a:lnTo>
                    <a:pt x="2113" y="2132"/>
                  </a:lnTo>
                  <a:lnTo>
                    <a:pt x="2110" y="2138"/>
                  </a:lnTo>
                  <a:lnTo>
                    <a:pt x="2105" y="2142"/>
                  </a:lnTo>
                  <a:lnTo>
                    <a:pt x="2104" y="2145"/>
                  </a:lnTo>
                  <a:lnTo>
                    <a:pt x="2105" y="2149"/>
                  </a:lnTo>
                  <a:lnTo>
                    <a:pt x="2108" y="2150"/>
                  </a:lnTo>
                  <a:lnTo>
                    <a:pt x="2111" y="2150"/>
                  </a:lnTo>
                  <a:lnTo>
                    <a:pt x="2114" y="2149"/>
                  </a:lnTo>
                  <a:lnTo>
                    <a:pt x="2117" y="2152"/>
                  </a:lnTo>
                  <a:lnTo>
                    <a:pt x="2113" y="2158"/>
                  </a:lnTo>
                  <a:lnTo>
                    <a:pt x="2111" y="2159"/>
                  </a:lnTo>
                  <a:lnTo>
                    <a:pt x="2107" y="2161"/>
                  </a:lnTo>
                  <a:lnTo>
                    <a:pt x="2104" y="2163"/>
                  </a:lnTo>
                  <a:lnTo>
                    <a:pt x="2105" y="2165"/>
                  </a:lnTo>
                  <a:lnTo>
                    <a:pt x="2107" y="2169"/>
                  </a:lnTo>
                  <a:lnTo>
                    <a:pt x="2111" y="2170"/>
                  </a:lnTo>
                  <a:lnTo>
                    <a:pt x="2113" y="2174"/>
                  </a:lnTo>
                  <a:lnTo>
                    <a:pt x="2110" y="2179"/>
                  </a:lnTo>
                  <a:lnTo>
                    <a:pt x="2104" y="2179"/>
                  </a:lnTo>
                  <a:lnTo>
                    <a:pt x="2104" y="2183"/>
                  </a:lnTo>
                  <a:lnTo>
                    <a:pt x="2107" y="2187"/>
                  </a:lnTo>
                  <a:lnTo>
                    <a:pt x="2108" y="2195"/>
                  </a:lnTo>
                  <a:lnTo>
                    <a:pt x="2114" y="2206"/>
                  </a:lnTo>
                  <a:lnTo>
                    <a:pt x="2113" y="2208"/>
                  </a:lnTo>
                  <a:lnTo>
                    <a:pt x="2115" y="2209"/>
                  </a:lnTo>
                  <a:lnTo>
                    <a:pt x="2115" y="2213"/>
                  </a:lnTo>
                  <a:lnTo>
                    <a:pt x="2117" y="2213"/>
                  </a:lnTo>
                  <a:lnTo>
                    <a:pt x="2117" y="2221"/>
                  </a:lnTo>
                  <a:lnTo>
                    <a:pt x="2118" y="2224"/>
                  </a:lnTo>
                  <a:lnTo>
                    <a:pt x="2124" y="2224"/>
                  </a:lnTo>
                  <a:lnTo>
                    <a:pt x="2129" y="2220"/>
                  </a:lnTo>
                  <a:lnTo>
                    <a:pt x="2136" y="2223"/>
                  </a:lnTo>
                  <a:lnTo>
                    <a:pt x="2144" y="2219"/>
                  </a:lnTo>
                  <a:lnTo>
                    <a:pt x="2153" y="2224"/>
                  </a:lnTo>
                  <a:lnTo>
                    <a:pt x="2155" y="2232"/>
                  </a:lnTo>
                  <a:lnTo>
                    <a:pt x="2163" y="2234"/>
                  </a:lnTo>
                  <a:lnTo>
                    <a:pt x="2165" y="2320"/>
                  </a:lnTo>
                  <a:lnTo>
                    <a:pt x="2167" y="2362"/>
                  </a:lnTo>
                  <a:lnTo>
                    <a:pt x="2165" y="2445"/>
                  </a:lnTo>
                  <a:lnTo>
                    <a:pt x="2182" y="2464"/>
                  </a:lnTo>
                  <a:lnTo>
                    <a:pt x="2200" y="2490"/>
                  </a:lnTo>
                  <a:lnTo>
                    <a:pt x="2207" y="2497"/>
                  </a:lnTo>
                  <a:lnTo>
                    <a:pt x="2208" y="2502"/>
                  </a:lnTo>
                  <a:lnTo>
                    <a:pt x="2214" y="2509"/>
                  </a:lnTo>
                  <a:lnTo>
                    <a:pt x="2227" y="2524"/>
                  </a:lnTo>
                  <a:lnTo>
                    <a:pt x="2243" y="2539"/>
                  </a:lnTo>
                  <a:lnTo>
                    <a:pt x="2281" y="2593"/>
                  </a:lnTo>
                  <a:lnTo>
                    <a:pt x="2282" y="2594"/>
                  </a:lnTo>
                  <a:lnTo>
                    <a:pt x="2286" y="2591"/>
                  </a:lnTo>
                  <a:lnTo>
                    <a:pt x="2290" y="2588"/>
                  </a:lnTo>
                  <a:lnTo>
                    <a:pt x="2298" y="2588"/>
                  </a:lnTo>
                  <a:lnTo>
                    <a:pt x="2304" y="2584"/>
                  </a:lnTo>
                  <a:lnTo>
                    <a:pt x="2307" y="2580"/>
                  </a:lnTo>
                  <a:lnTo>
                    <a:pt x="2315" y="2580"/>
                  </a:lnTo>
                  <a:lnTo>
                    <a:pt x="2317" y="2579"/>
                  </a:lnTo>
                  <a:lnTo>
                    <a:pt x="2323" y="2577"/>
                  </a:lnTo>
                  <a:lnTo>
                    <a:pt x="2325" y="2580"/>
                  </a:lnTo>
                  <a:lnTo>
                    <a:pt x="2329" y="2580"/>
                  </a:lnTo>
                  <a:lnTo>
                    <a:pt x="2331" y="2577"/>
                  </a:lnTo>
                  <a:lnTo>
                    <a:pt x="2339" y="2576"/>
                  </a:lnTo>
                  <a:lnTo>
                    <a:pt x="2340" y="2571"/>
                  </a:lnTo>
                  <a:lnTo>
                    <a:pt x="2343" y="2568"/>
                  </a:lnTo>
                  <a:lnTo>
                    <a:pt x="2364" y="2561"/>
                  </a:lnTo>
                  <a:lnTo>
                    <a:pt x="2371" y="2560"/>
                  </a:lnTo>
                  <a:lnTo>
                    <a:pt x="2381" y="2554"/>
                  </a:lnTo>
                  <a:lnTo>
                    <a:pt x="2385" y="2554"/>
                  </a:lnTo>
                  <a:lnTo>
                    <a:pt x="2390" y="2556"/>
                  </a:lnTo>
                  <a:lnTo>
                    <a:pt x="2393" y="2556"/>
                  </a:lnTo>
                  <a:lnTo>
                    <a:pt x="2402" y="2551"/>
                  </a:lnTo>
                  <a:lnTo>
                    <a:pt x="2409" y="2549"/>
                  </a:lnTo>
                  <a:lnTo>
                    <a:pt x="2413" y="2549"/>
                  </a:lnTo>
                  <a:lnTo>
                    <a:pt x="2417" y="2552"/>
                  </a:lnTo>
                  <a:lnTo>
                    <a:pt x="2418" y="2552"/>
                  </a:lnTo>
                  <a:lnTo>
                    <a:pt x="2429" y="2549"/>
                  </a:lnTo>
                  <a:lnTo>
                    <a:pt x="2431" y="2547"/>
                  </a:lnTo>
                  <a:lnTo>
                    <a:pt x="2434" y="2543"/>
                  </a:lnTo>
                  <a:lnTo>
                    <a:pt x="2445" y="2537"/>
                  </a:lnTo>
                  <a:lnTo>
                    <a:pt x="2457" y="2536"/>
                  </a:lnTo>
                  <a:lnTo>
                    <a:pt x="2464" y="2536"/>
                  </a:lnTo>
                  <a:lnTo>
                    <a:pt x="2474" y="2532"/>
                  </a:lnTo>
                  <a:lnTo>
                    <a:pt x="2485" y="2532"/>
                  </a:lnTo>
                  <a:lnTo>
                    <a:pt x="2499" y="2526"/>
                  </a:lnTo>
                  <a:lnTo>
                    <a:pt x="2508" y="2527"/>
                  </a:lnTo>
                  <a:lnTo>
                    <a:pt x="2510" y="2530"/>
                  </a:lnTo>
                  <a:lnTo>
                    <a:pt x="2510" y="2532"/>
                  </a:lnTo>
                  <a:lnTo>
                    <a:pt x="2449" y="2594"/>
                  </a:lnTo>
                  <a:lnTo>
                    <a:pt x="2449" y="2596"/>
                  </a:lnTo>
                  <a:lnTo>
                    <a:pt x="2464" y="2597"/>
                  </a:lnTo>
                  <a:lnTo>
                    <a:pt x="2468" y="2601"/>
                  </a:lnTo>
                  <a:lnTo>
                    <a:pt x="2473" y="2610"/>
                  </a:lnTo>
                  <a:lnTo>
                    <a:pt x="2477" y="2617"/>
                  </a:lnTo>
                  <a:lnTo>
                    <a:pt x="2488" y="2630"/>
                  </a:lnTo>
                  <a:lnTo>
                    <a:pt x="2498" y="2638"/>
                  </a:lnTo>
                  <a:lnTo>
                    <a:pt x="2527" y="2672"/>
                  </a:lnTo>
                  <a:lnTo>
                    <a:pt x="2406" y="2733"/>
                  </a:lnTo>
                  <a:lnTo>
                    <a:pt x="2407" y="2758"/>
                  </a:lnTo>
                  <a:lnTo>
                    <a:pt x="2407" y="2801"/>
                  </a:lnTo>
                  <a:lnTo>
                    <a:pt x="2516" y="2810"/>
                  </a:lnTo>
                  <a:lnTo>
                    <a:pt x="2547" y="2855"/>
                  </a:lnTo>
                  <a:lnTo>
                    <a:pt x="2539" y="2855"/>
                  </a:lnTo>
                  <a:lnTo>
                    <a:pt x="2489" y="2875"/>
                  </a:lnTo>
                  <a:close/>
                </a:path>
              </a:pathLst>
            </a:custGeom>
            <a:solidFill>
              <a:srgbClr val="00B0F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90" name="Freeform 189"/>
            <p:cNvSpPr>
              <a:spLocks/>
            </p:cNvSpPr>
            <p:nvPr/>
          </p:nvSpPr>
          <p:spPr bwMode="auto">
            <a:xfrm>
              <a:off x="953145" y="2857068"/>
              <a:ext cx="348490" cy="1126469"/>
            </a:xfrm>
            <a:custGeom>
              <a:avLst/>
              <a:gdLst>
                <a:gd name="T0" fmla="*/ 1527 w 1748"/>
                <a:gd name="T1" fmla="*/ 539 h 4174"/>
                <a:gd name="T2" fmla="*/ 1461 w 1748"/>
                <a:gd name="T3" fmla="*/ 888 h 4174"/>
                <a:gd name="T4" fmla="*/ 1481 w 1748"/>
                <a:gd name="T5" fmla="*/ 1191 h 4174"/>
                <a:gd name="T6" fmla="*/ 1535 w 1748"/>
                <a:gd name="T7" fmla="*/ 1228 h 4174"/>
                <a:gd name="T8" fmla="*/ 1499 w 1748"/>
                <a:gd name="T9" fmla="*/ 1464 h 4174"/>
                <a:gd name="T10" fmla="*/ 1364 w 1748"/>
                <a:gd name="T11" fmla="*/ 1476 h 4174"/>
                <a:gd name="T12" fmla="*/ 1335 w 1748"/>
                <a:gd name="T13" fmla="*/ 1399 h 4174"/>
                <a:gd name="T14" fmla="*/ 1167 w 1748"/>
                <a:gd name="T15" fmla="*/ 1515 h 4174"/>
                <a:gd name="T16" fmla="*/ 1181 w 1748"/>
                <a:gd name="T17" fmla="*/ 1597 h 4174"/>
                <a:gd name="T18" fmla="*/ 1204 w 1748"/>
                <a:gd name="T19" fmla="*/ 1657 h 4174"/>
                <a:gd name="T20" fmla="*/ 1192 w 1748"/>
                <a:gd name="T21" fmla="*/ 1707 h 4174"/>
                <a:gd name="T22" fmla="*/ 1090 w 1748"/>
                <a:gd name="T23" fmla="*/ 1846 h 4174"/>
                <a:gd name="T24" fmla="*/ 1214 w 1748"/>
                <a:gd name="T25" fmla="*/ 1928 h 4174"/>
                <a:gd name="T26" fmla="*/ 1304 w 1748"/>
                <a:gd name="T27" fmla="*/ 2028 h 4174"/>
                <a:gd name="T28" fmla="*/ 1263 w 1748"/>
                <a:gd name="T29" fmla="*/ 2388 h 4174"/>
                <a:gd name="T30" fmla="*/ 1122 w 1748"/>
                <a:gd name="T31" fmla="*/ 2617 h 4174"/>
                <a:gd name="T32" fmla="*/ 1175 w 1748"/>
                <a:gd name="T33" fmla="*/ 2750 h 4174"/>
                <a:gd name="T34" fmla="*/ 1103 w 1748"/>
                <a:gd name="T35" fmla="*/ 2896 h 4174"/>
                <a:gd name="T36" fmla="*/ 990 w 1748"/>
                <a:gd name="T37" fmla="*/ 2843 h 4174"/>
                <a:gd name="T38" fmla="*/ 944 w 1748"/>
                <a:gd name="T39" fmla="*/ 2887 h 4174"/>
                <a:gd name="T40" fmla="*/ 883 w 1748"/>
                <a:gd name="T41" fmla="*/ 2924 h 4174"/>
                <a:gd name="T42" fmla="*/ 821 w 1748"/>
                <a:gd name="T43" fmla="*/ 2971 h 4174"/>
                <a:gd name="T44" fmla="*/ 891 w 1748"/>
                <a:gd name="T45" fmla="*/ 3141 h 4174"/>
                <a:gd name="T46" fmla="*/ 1054 w 1748"/>
                <a:gd name="T47" fmla="*/ 3404 h 4174"/>
                <a:gd name="T48" fmla="*/ 1171 w 1748"/>
                <a:gd name="T49" fmla="*/ 3497 h 4174"/>
                <a:gd name="T50" fmla="*/ 1342 w 1748"/>
                <a:gd name="T51" fmla="*/ 3882 h 4174"/>
                <a:gd name="T52" fmla="*/ 1263 w 1748"/>
                <a:gd name="T53" fmla="*/ 3995 h 4174"/>
                <a:gd name="T54" fmla="*/ 1209 w 1748"/>
                <a:gd name="T55" fmla="*/ 4037 h 4174"/>
                <a:gd name="T56" fmla="*/ 1124 w 1748"/>
                <a:gd name="T57" fmla="*/ 4036 h 4174"/>
                <a:gd name="T58" fmla="*/ 1014 w 1748"/>
                <a:gd name="T59" fmla="*/ 4021 h 4174"/>
                <a:gd name="T60" fmla="*/ 908 w 1748"/>
                <a:gd name="T61" fmla="*/ 4023 h 4174"/>
                <a:gd name="T62" fmla="*/ 812 w 1748"/>
                <a:gd name="T63" fmla="*/ 4083 h 4174"/>
                <a:gd name="T64" fmla="*/ 709 w 1748"/>
                <a:gd name="T65" fmla="*/ 4087 h 4174"/>
                <a:gd name="T66" fmla="*/ 616 w 1748"/>
                <a:gd name="T67" fmla="*/ 4125 h 4174"/>
                <a:gd name="T68" fmla="*/ 520 w 1748"/>
                <a:gd name="T69" fmla="*/ 4169 h 4174"/>
                <a:gd name="T70" fmla="*/ 455 w 1748"/>
                <a:gd name="T71" fmla="*/ 4106 h 4174"/>
                <a:gd name="T72" fmla="*/ 357 w 1748"/>
                <a:gd name="T73" fmla="*/ 4103 h 4174"/>
                <a:gd name="T74" fmla="*/ 259 w 1748"/>
                <a:gd name="T75" fmla="*/ 4035 h 4174"/>
                <a:gd name="T76" fmla="*/ 149 w 1748"/>
                <a:gd name="T77" fmla="*/ 4015 h 4174"/>
                <a:gd name="T78" fmla="*/ 13 w 1748"/>
                <a:gd name="T79" fmla="*/ 3792 h 4174"/>
                <a:gd name="T80" fmla="*/ 225 w 1748"/>
                <a:gd name="T81" fmla="*/ 3354 h 4174"/>
                <a:gd name="T82" fmla="*/ 405 w 1748"/>
                <a:gd name="T83" fmla="*/ 3048 h 4174"/>
                <a:gd name="T84" fmla="*/ 553 w 1748"/>
                <a:gd name="T85" fmla="*/ 2741 h 4174"/>
                <a:gd name="T86" fmla="*/ 391 w 1748"/>
                <a:gd name="T87" fmla="*/ 2542 h 4174"/>
                <a:gd name="T88" fmla="*/ 390 w 1748"/>
                <a:gd name="T89" fmla="*/ 2277 h 4174"/>
                <a:gd name="T90" fmla="*/ 271 w 1748"/>
                <a:gd name="T91" fmla="*/ 2048 h 4174"/>
                <a:gd name="T92" fmla="*/ 473 w 1748"/>
                <a:gd name="T93" fmla="*/ 1856 h 4174"/>
                <a:gd name="T94" fmla="*/ 547 w 1748"/>
                <a:gd name="T95" fmla="*/ 1601 h 4174"/>
                <a:gd name="T96" fmla="*/ 485 w 1748"/>
                <a:gd name="T97" fmla="*/ 1399 h 4174"/>
                <a:gd name="T98" fmla="*/ 522 w 1748"/>
                <a:gd name="T99" fmla="*/ 1120 h 4174"/>
                <a:gd name="T100" fmla="*/ 477 w 1748"/>
                <a:gd name="T101" fmla="*/ 907 h 4174"/>
                <a:gd name="T102" fmla="*/ 569 w 1748"/>
                <a:gd name="T103" fmla="*/ 696 h 4174"/>
                <a:gd name="T104" fmla="*/ 611 w 1748"/>
                <a:gd name="T105" fmla="*/ 598 h 4174"/>
                <a:gd name="T106" fmla="*/ 637 w 1748"/>
                <a:gd name="T107" fmla="*/ 514 h 4174"/>
                <a:gd name="T108" fmla="*/ 704 w 1748"/>
                <a:gd name="T109" fmla="*/ 412 h 4174"/>
                <a:gd name="T110" fmla="*/ 759 w 1748"/>
                <a:gd name="T111" fmla="*/ 283 h 4174"/>
                <a:gd name="T112" fmla="*/ 827 w 1748"/>
                <a:gd name="T113" fmla="*/ 212 h 4174"/>
                <a:gd name="T114" fmla="*/ 876 w 1748"/>
                <a:gd name="T115" fmla="*/ 105 h 4174"/>
                <a:gd name="T116" fmla="*/ 1004 w 1748"/>
                <a:gd name="T117" fmla="*/ 34 h 4174"/>
                <a:gd name="T118" fmla="*/ 1125 w 1748"/>
                <a:gd name="T119" fmla="*/ 6 h 4174"/>
                <a:gd name="T120" fmla="*/ 1303 w 1748"/>
                <a:gd name="T121" fmla="*/ 149 h 4174"/>
                <a:gd name="T122" fmla="*/ 1483 w 1748"/>
                <a:gd name="T123" fmla="*/ 262 h 4174"/>
                <a:gd name="T124" fmla="*/ 1713 w 1748"/>
                <a:gd name="T125" fmla="*/ 315 h 417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748"/>
                <a:gd name="T190" fmla="*/ 0 h 4174"/>
                <a:gd name="T191" fmla="*/ 1748 w 1748"/>
                <a:gd name="T192" fmla="*/ 4174 h 417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748" h="4174">
                  <a:moveTo>
                    <a:pt x="1743" y="341"/>
                  </a:moveTo>
                  <a:lnTo>
                    <a:pt x="1741" y="348"/>
                  </a:lnTo>
                  <a:lnTo>
                    <a:pt x="1731" y="360"/>
                  </a:lnTo>
                  <a:lnTo>
                    <a:pt x="1729" y="362"/>
                  </a:lnTo>
                  <a:lnTo>
                    <a:pt x="1723" y="363"/>
                  </a:lnTo>
                  <a:lnTo>
                    <a:pt x="1720" y="371"/>
                  </a:lnTo>
                  <a:lnTo>
                    <a:pt x="1721" y="385"/>
                  </a:lnTo>
                  <a:lnTo>
                    <a:pt x="1729" y="386"/>
                  </a:lnTo>
                  <a:lnTo>
                    <a:pt x="1744" y="386"/>
                  </a:lnTo>
                  <a:lnTo>
                    <a:pt x="1743" y="388"/>
                  </a:lnTo>
                  <a:lnTo>
                    <a:pt x="1731" y="407"/>
                  </a:lnTo>
                  <a:lnTo>
                    <a:pt x="1727" y="416"/>
                  </a:lnTo>
                  <a:lnTo>
                    <a:pt x="1724" y="423"/>
                  </a:lnTo>
                  <a:lnTo>
                    <a:pt x="1719" y="431"/>
                  </a:lnTo>
                  <a:lnTo>
                    <a:pt x="1691" y="482"/>
                  </a:lnTo>
                  <a:lnTo>
                    <a:pt x="1638" y="498"/>
                  </a:lnTo>
                  <a:lnTo>
                    <a:pt x="1616" y="504"/>
                  </a:lnTo>
                  <a:lnTo>
                    <a:pt x="1591" y="510"/>
                  </a:lnTo>
                  <a:lnTo>
                    <a:pt x="1563" y="514"/>
                  </a:lnTo>
                  <a:lnTo>
                    <a:pt x="1527" y="539"/>
                  </a:lnTo>
                  <a:lnTo>
                    <a:pt x="1453" y="673"/>
                  </a:lnTo>
                  <a:lnTo>
                    <a:pt x="1470" y="681"/>
                  </a:lnTo>
                  <a:lnTo>
                    <a:pt x="1483" y="685"/>
                  </a:lnTo>
                  <a:lnTo>
                    <a:pt x="1484" y="689"/>
                  </a:lnTo>
                  <a:lnTo>
                    <a:pt x="1485" y="693"/>
                  </a:lnTo>
                  <a:lnTo>
                    <a:pt x="1486" y="693"/>
                  </a:lnTo>
                  <a:lnTo>
                    <a:pt x="1491" y="693"/>
                  </a:lnTo>
                  <a:lnTo>
                    <a:pt x="1496" y="697"/>
                  </a:lnTo>
                  <a:lnTo>
                    <a:pt x="1498" y="701"/>
                  </a:lnTo>
                  <a:lnTo>
                    <a:pt x="1499" y="705"/>
                  </a:lnTo>
                  <a:lnTo>
                    <a:pt x="1492" y="715"/>
                  </a:lnTo>
                  <a:lnTo>
                    <a:pt x="1478" y="730"/>
                  </a:lnTo>
                  <a:lnTo>
                    <a:pt x="1477" y="746"/>
                  </a:lnTo>
                  <a:lnTo>
                    <a:pt x="1467" y="786"/>
                  </a:lnTo>
                  <a:lnTo>
                    <a:pt x="1463" y="798"/>
                  </a:lnTo>
                  <a:lnTo>
                    <a:pt x="1463" y="801"/>
                  </a:lnTo>
                  <a:lnTo>
                    <a:pt x="1469" y="815"/>
                  </a:lnTo>
                  <a:lnTo>
                    <a:pt x="1475" y="826"/>
                  </a:lnTo>
                  <a:lnTo>
                    <a:pt x="1474" y="839"/>
                  </a:lnTo>
                  <a:lnTo>
                    <a:pt x="1461" y="888"/>
                  </a:lnTo>
                  <a:lnTo>
                    <a:pt x="1453" y="910"/>
                  </a:lnTo>
                  <a:lnTo>
                    <a:pt x="1424" y="970"/>
                  </a:lnTo>
                  <a:lnTo>
                    <a:pt x="1444" y="1000"/>
                  </a:lnTo>
                  <a:lnTo>
                    <a:pt x="1445" y="1007"/>
                  </a:lnTo>
                  <a:lnTo>
                    <a:pt x="1442" y="1047"/>
                  </a:lnTo>
                  <a:lnTo>
                    <a:pt x="1442" y="1051"/>
                  </a:lnTo>
                  <a:lnTo>
                    <a:pt x="1445" y="1053"/>
                  </a:lnTo>
                  <a:lnTo>
                    <a:pt x="1475" y="1071"/>
                  </a:lnTo>
                  <a:lnTo>
                    <a:pt x="1477" y="1075"/>
                  </a:lnTo>
                  <a:lnTo>
                    <a:pt x="1477" y="1082"/>
                  </a:lnTo>
                  <a:lnTo>
                    <a:pt x="1481" y="1092"/>
                  </a:lnTo>
                  <a:lnTo>
                    <a:pt x="1478" y="1104"/>
                  </a:lnTo>
                  <a:lnTo>
                    <a:pt x="1480" y="1114"/>
                  </a:lnTo>
                  <a:lnTo>
                    <a:pt x="1477" y="1124"/>
                  </a:lnTo>
                  <a:lnTo>
                    <a:pt x="1475" y="1137"/>
                  </a:lnTo>
                  <a:lnTo>
                    <a:pt x="1471" y="1151"/>
                  </a:lnTo>
                  <a:lnTo>
                    <a:pt x="1470" y="1165"/>
                  </a:lnTo>
                  <a:lnTo>
                    <a:pt x="1461" y="1191"/>
                  </a:lnTo>
                  <a:lnTo>
                    <a:pt x="1471" y="1193"/>
                  </a:lnTo>
                  <a:lnTo>
                    <a:pt x="1481" y="1191"/>
                  </a:lnTo>
                  <a:lnTo>
                    <a:pt x="1484" y="1191"/>
                  </a:lnTo>
                  <a:lnTo>
                    <a:pt x="1484" y="1195"/>
                  </a:lnTo>
                  <a:lnTo>
                    <a:pt x="1488" y="1196"/>
                  </a:lnTo>
                  <a:lnTo>
                    <a:pt x="1491" y="1200"/>
                  </a:lnTo>
                  <a:lnTo>
                    <a:pt x="1498" y="1198"/>
                  </a:lnTo>
                  <a:lnTo>
                    <a:pt x="1506" y="1199"/>
                  </a:lnTo>
                  <a:lnTo>
                    <a:pt x="1508" y="1201"/>
                  </a:lnTo>
                  <a:lnTo>
                    <a:pt x="1506" y="1204"/>
                  </a:lnTo>
                  <a:lnTo>
                    <a:pt x="1506" y="1205"/>
                  </a:lnTo>
                  <a:lnTo>
                    <a:pt x="1508" y="1205"/>
                  </a:lnTo>
                  <a:lnTo>
                    <a:pt x="1513" y="1213"/>
                  </a:lnTo>
                  <a:lnTo>
                    <a:pt x="1517" y="1213"/>
                  </a:lnTo>
                  <a:lnTo>
                    <a:pt x="1523" y="1217"/>
                  </a:lnTo>
                  <a:lnTo>
                    <a:pt x="1525" y="1224"/>
                  </a:lnTo>
                  <a:lnTo>
                    <a:pt x="1530" y="1224"/>
                  </a:lnTo>
                  <a:lnTo>
                    <a:pt x="1531" y="1224"/>
                  </a:lnTo>
                  <a:lnTo>
                    <a:pt x="1536" y="1227"/>
                  </a:lnTo>
                  <a:lnTo>
                    <a:pt x="1536" y="1228"/>
                  </a:lnTo>
                  <a:lnTo>
                    <a:pt x="1534" y="1228"/>
                  </a:lnTo>
                  <a:lnTo>
                    <a:pt x="1535" y="1228"/>
                  </a:lnTo>
                  <a:lnTo>
                    <a:pt x="1535" y="1236"/>
                  </a:lnTo>
                  <a:lnTo>
                    <a:pt x="1541" y="1242"/>
                  </a:lnTo>
                  <a:lnTo>
                    <a:pt x="1544" y="1243"/>
                  </a:lnTo>
                  <a:lnTo>
                    <a:pt x="1545" y="1246"/>
                  </a:lnTo>
                  <a:lnTo>
                    <a:pt x="1548" y="1246"/>
                  </a:lnTo>
                  <a:lnTo>
                    <a:pt x="1524" y="1277"/>
                  </a:lnTo>
                  <a:lnTo>
                    <a:pt x="1530" y="1280"/>
                  </a:lnTo>
                  <a:lnTo>
                    <a:pt x="1539" y="1299"/>
                  </a:lnTo>
                  <a:lnTo>
                    <a:pt x="1538" y="1307"/>
                  </a:lnTo>
                  <a:lnTo>
                    <a:pt x="1541" y="1322"/>
                  </a:lnTo>
                  <a:lnTo>
                    <a:pt x="1544" y="1340"/>
                  </a:lnTo>
                  <a:lnTo>
                    <a:pt x="1546" y="1354"/>
                  </a:lnTo>
                  <a:lnTo>
                    <a:pt x="1542" y="1361"/>
                  </a:lnTo>
                  <a:lnTo>
                    <a:pt x="1517" y="1471"/>
                  </a:lnTo>
                  <a:lnTo>
                    <a:pt x="1516" y="1471"/>
                  </a:lnTo>
                  <a:lnTo>
                    <a:pt x="1513" y="1464"/>
                  </a:lnTo>
                  <a:lnTo>
                    <a:pt x="1509" y="1462"/>
                  </a:lnTo>
                  <a:lnTo>
                    <a:pt x="1503" y="1462"/>
                  </a:lnTo>
                  <a:lnTo>
                    <a:pt x="1502" y="1464"/>
                  </a:lnTo>
                  <a:lnTo>
                    <a:pt x="1499" y="1464"/>
                  </a:lnTo>
                  <a:lnTo>
                    <a:pt x="1496" y="1460"/>
                  </a:lnTo>
                  <a:lnTo>
                    <a:pt x="1492" y="1460"/>
                  </a:lnTo>
                  <a:lnTo>
                    <a:pt x="1489" y="1460"/>
                  </a:lnTo>
                  <a:lnTo>
                    <a:pt x="1485" y="1456"/>
                  </a:lnTo>
                  <a:lnTo>
                    <a:pt x="1485" y="1453"/>
                  </a:lnTo>
                  <a:lnTo>
                    <a:pt x="1478" y="1449"/>
                  </a:lnTo>
                  <a:lnTo>
                    <a:pt x="1474" y="1449"/>
                  </a:lnTo>
                  <a:lnTo>
                    <a:pt x="1470" y="1448"/>
                  </a:lnTo>
                  <a:lnTo>
                    <a:pt x="1464" y="1449"/>
                  </a:lnTo>
                  <a:lnTo>
                    <a:pt x="1456" y="1459"/>
                  </a:lnTo>
                  <a:lnTo>
                    <a:pt x="1434" y="1502"/>
                  </a:lnTo>
                  <a:lnTo>
                    <a:pt x="1420" y="1507"/>
                  </a:lnTo>
                  <a:lnTo>
                    <a:pt x="1411" y="1507"/>
                  </a:lnTo>
                  <a:lnTo>
                    <a:pt x="1406" y="1504"/>
                  </a:lnTo>
                  <a:lnTo>
                    <a:pt x="1395" y="1497"/>
                  </a:lnTo>
                  <a:lnTo>
                    <a:pt x="1392" y="1490"/>
                  </a:lnTo>
                  <a:lnTo>
                    <a:pt x="1384" y="1486"/>
                  </a:lnTo>
                  <a:lnTo>
                    <a:pt x="1374" y="1472"/>
                  </a:lnTo>
                  <a:lnTo>
                    <a:pt x="1370" y="1471"/>
                  </a:lnTo>
                  <a:lnTo>
                    <a:pt x="1364" y="1476"/>
                  </a:lnTo>
                  <a:lnTo>
                    <a:pt x="1361" y="1474"/>
                  </a:lnTo>
                  <a:lnTo>
                    <a:pt x="1360" y="1472"/>
                  </a:lnTo>
                  <a:lnTo>
                    <a:pt x="1360" y="1464"/>
                  </a:lnTo>
                  <a:lnTo>
                    <a:pt x="1356" y="1460"/>
                  </a:lnTo>
                  <a:lnTo>
                    <a:pt x="1354" y="1457"/>
                  </a:lnTo>
                  <a:lnTo>
                    <a:pt x="1353" y="1449"/>
                  </a:lnTo>
                  <a:lnTo>
                    <a:pt x="1352" y="1448"/>
                  </a:lnTo>
                  <a:lnTo>
                    <a:pt x="1348" y="1448"/>
                  </a:lnTo>
                  <a:lnTo>
                    <a:pt x="1348" y="1445"/>
                  </a:lnTo>
                  <a:lnTo>
                    <a:pt x="1349" y="1441"/>
                  </a:lnTo>
                  <a:lnTo>
                    <a:pt x="1353" y="1437"/>
                  </a:lnTo>
                  <a:lnTo>
                    <a:pt x="1352" y="1429"/>
                  </a:lnTo>
                  <a:lnTo>
                    <a:pt x="1338" y="1426"/>
                  </a:lnTo>
                  <a:lnTo>
                    <a:pt x="1336" y="1423"/>
                  </a:lnTo>
                  <a:lnTo>
                    <a:pt x="1336" y="1422"/>
                  </a:lnTo>
                  <a:lnTo>
                    <a:pt x="1339" y="1415"/>
                  </a:lnTo>
                  <a:lnTo>
                    <a:pt x="1338" y="1411"/>
                  </a:lnTo>
                  <a:lnTo>
                    <a:pt x="1334" y="1410"/>
                  </a:lnTo>
                  <a:lnTo>
                    <a:pt x="1336" y="1403"/>
                  </a:lnTo>
                  <a:lnTo>
                    <a:pt x="1335" y="1399"/>
                  </a:lnTo>
                  <a:lnTo>
                    <a:pt x="1324" y="1395"/>
                  </a:lnTo>
                  <a:lnTo>
                    <a:pt x="1320" y="1395"/>
                  </a:lnTo>
                  <a:lnTo>
                    <a:pt x="1317" y="1397"/>
                  </a:lnTo>
                  <a:lnTo>
                    <a:pt x="1313" y="1403"/>
                  </a:lnTo>
                  <a:lnTo>
                    <a:pt x="1304" y="1401"/>
                  </a:lnTo>
                  <a:lnTo>
                    <a:pt x="1296" y="1401"/>
                  </a:lnTo>
                  <a:lnTo>
                    <a:pt x="1274" y="1397"/>
                  </a:lnTo>
                  <a:lnTo>
                    <a:pt x="1272" y="1392"/>
                  </a:lnTo>
                  <a:lnTo>
                    <a:pt x="1265" y="1410"/>
                  </a:lnTo>
                  <a:lnTo>
                    <a:pt x="1250" y="1432"/>
                  </a:lnTo>
                  <a:lnTo>
                    <a:pt x="1235" y="1466"/>
                  </a:lnTo>
                  <a:lnTo>
                    <a:pt x="1229" y="1471"/>
                  </a:lnTo>
                  <a:lnTo>
                    <a:pt x="1211" y="1472"/>
                  </a:lnTo>
                  <a:lnTo>
                    <a:pt x="1203" y="1478"/>
                  </a:lnTo>
                  <a:lnTo>
                    <a:pt x="1193" y="1482"/>
                  </a:lnTo>
                  <a:lnTo>
                    <a:pt x="1187" y="1486"/>
                  </a:lnTo>
                  <a:lnTo>
                    <a:pt x="1185" y="1502"/>
                  </a:lnTo>
                  <a:lnTo>
                    <a:pt x="1179" y="1511"/>
                  </a:lnTo>
                  <a:lnTo>
                    <a:pt x="1174" y="1513"/>
                  </a:lnTo>
                  <a:lnTo>
                    <a:pt x="1167" y="1515"/>
                  </a:lnTo>
                  <a:lnTo>
                    <a:pt x="1162" y="1516"/>
                  </a:lnTo>
                  <a:lnTo>
                    <a:pt x="1162" y="1521"/>
                  </a:lnTo>
                  <a:lnTo>
                    <a:pt x="1157" y="1524"/>
                  </a:lnTo>
                  <a:lnTo>
                    <a:pt x="1157" y="1527"/>
                  </a:lnTo>
                  <a:lnTo>
                    <a:pt x="1162" y="1534"/>
                  </a:lnTo>
                  <a:lnTo>
                    <a:pt x="1170" y="1531"/>
                  </a:lnTo>
                  <a:lnTo>
                    <a:pt x="1171" y="1531"/>
                  </a:lnTo>
                  <a:lnTo>
                    <a:pt x="1174" y="1535"/>
                  </a:lnTo>
                  <a:lnTo>
                    <a:pt x="1175" y="1539"/>
                  </a:lnTo>
                  <a:lnTo>
                    <a:pt x="1175" y="1546"/>
                  </a:lnTo>
                  <a:lnTo>
                    <a:pt x="1172" y="1549"/>
                  </a:lnTo>
                  <a:lnTo>
                    <a:pt x="1172" y="1553"/>
                  </a:lnTo>
                  <a:lnTo>
                    <a:pt x="1168" y="1560"/>
                  </a:lnTo>
                  <a:lnTo>
                    <a:pt x="1170" y="1561"/>
                  </a:lnTo>
                  <a:lnTo>
                    <a:pt x="1174" y="1565"/>
                  </a:lnTo>
                  <a:lnTo>
                    <a:pt x="1174" y="1575"/>
                  </a:lnTo>
                  <a:lnTo>
                    <a:pt x="1172" y="1580"/>
                  </a:lnTo>
                  <a:lnTo>
                    <a:pt x="1175" y="1584"/>
                  </a:lnTo>
                  <a:lnTo>
                    <a:pt x="1175" y="1590"/>
                  </a:lnTo>
                  <a:lnTo>
                    <a:pt x="1181" y="1597"/>
                  </a:lnTo>
                  <a:lnTo>
                    <a:pt x="1187" y="1597"/>
                  </a:lnTo>
                  <a:lnTo>
                    <a:pt x="1189" y="1598"/>
                  </a:lnTo>
                  <a:lnTo>
                    <a:pt x="1181" y="1606"/>
                  </a:lnTo>
                  <a:lnTo>
                    <a:pt x="1182" y="1618"/>
                  </a:lnTo>
                  <a:lnTo>
                    <a:pt x="1181" y="1623"/>
                  </a:lnTo>
                  <a:lnTo>
                    <a:pt x="1178" y="1625"/>
                  </a:lnTo>
                  <a:lnTo>
                    <a:pt x="1178" y="1627"/>
                  </a:lnTo>
                  <a:lnTo>
                    <a:pt x="1182" y="1632"/>
                  </a:lnTo>
                  <a:lnTo>
                    <a:pt x="1186" y="1632"/>
                  </a:lnTo>
                  <a:lnTo>
                    <a:pt x="1192" y="1631"/>
                  </a:lnTo>
                  <a:lnTo>
                    <a:pt x="1193" y="1623"/>
                  </a:lnTo>
                  <a:lnTo>
                    <a:pt x="1197" y="1621"/>
                  </a:lnTo>
                  <a:lnTo>
                    <a:pt x="1200" y="1622"/>
                  </a:lnTo>
                  <a:lnTo>
                    <a:pt x="1203" y="1627"/>
                  </a:lnTo>
                  <a:lnTo>
                    <a:pt x="1197" y="1632"/>
                  </a:lnTo>
                  <a:lnTo>
                    <a:pt x="1201" y="1636"/>
                  </a:lnTo>
                  <a:lnTo>
                    <a:pt x="1197" y="1640"/>
                  </a:lnTo>
                  <a:lnTo>
                    <a:pt x="1199" y="1651"/>
                  </a:lnTo>
                  <a:lnTo>
                    <a:pt x="1195" y="1655"/>
                  </a:lnTo>
                  <a:lnTo>
                    <a:pt x="1204" y="1657"/>
                  </a:lnTo>
                  <a:lnTo>
                    <a:pt x="1206" y="1665"/>
                  </a:lnTo>
                  <a:lnTo>
                    <a:pt x="1210" y="1668"/>
                  </a:lnTo>
                  <a:lnTo>
                    <a:pt x="1206" y="1672"/>
                  </a:lnTo>
                  <a:lnTo>
                    <a:pt x="1207" y="1677"/>
                  </a:lnTo>
                  <a:lnTo>
                    <a:pt x="1206" y="1681"/>
                  </a:lnTo>
                  <a:lnTo>
                    <a:pt x="1209" y="1685"/>
                  </a:lnTo>
                  <a:lnTo>
                    <a:pt x="1207" y="1694"/>
                  </a:lnTo>
                  <a:lnTo>
                    <a:pt x="1211" y="1696"/>
                  </a:lnTo>
                  <a:lnTo>
                    <a:pt x="1214" y="1704"/>
                  </a:lnTo>
                  <a:lnTo>
                    <a:pt x="1220" y="1707"/>
                  </a:lnTo>
                  <a:lnTo>
                    <a:pt x="1221" y="1712"/>
                  </a:lnTo>
                  <a:lnTo>
                    <a:pt x="1215" y="1714"/>
                  </a:lnTo>
                  <a:lnTo>
                    <a:pt x="1214" y="1715"/>
                  </a:lnTo>
                  <a:lnTo>
                    <a:pt x="1212" y="1717"/>
                  </a:lnTo>
                  <a:lnTo>
                    <a:pt x="1211" y="1714"/>
                  </a:lnTo>
                  <a:lnTo>
                    <a:pt x="1210" y="1710"/>
                  </a:lnTo>
                  <a:lnTo>
                    <a:pt x="1206" y="1712"/>
                  </a:lnTo>
                  <a:lnTo>
                    <a:pt x="1200" y="1704"/>
                  </a:lnTo>
                  <a:lnTo>
                    <a:pt x="1193" y="1707"/>
                  </a:lnTo>
                  <a:lnTo>
                    <a:pt x="1192" y="1707"/>
                  </a:lnTo>
                  <a:lnTo>
                    <a:pt x="1179" y="1714"/>
                  </a:lnTo>
                  <a:lnTo>
                    <a:pt x="1162" y="1718"/>
                  </a:lnTo>
                  <a:lnTo>
                    <a:pt x="1149" y="1718"/>
                  </a:lnTo>
                  <a:lnTo>
                    <a:pt x="1136" y="1713"/>
                  </a:lnTo>
                  <a:lnTo>
                    <a:pt x="1134" y="1713"/>
                  </a:lnTo>
                  <a:lnTo>
                    <a:pt x="1134" y="1729"/>
                  </a:lnTo>
                  <a:lnTo>
                    <a:pt x="1132" y="1740"/>
                  </a:lnTo>
                  <a:lnTo>
                    <a:pt x="1134" y="1771"/>
                  </a:lnTo>
                  <a:lnTo>
                    <a:pt x="1132" y="1775"/>
                  </a:lnTo>
                  <a:lnTo>
                    <a:pt x="1131" y="1777"/>
                  </a:lnTo>
                  <a:lnTo>
                    <a:pt x="1125" y="1779"/>
                  </a:lnTo>
                  <a:lnTo>
                    <a:pt x="1100" y="1782"/>
                  </a:lnTo>
                  <a:lnTo>
                    <a:pt x="1096" y="1785"/>
                  </a:lnTo>
                  <a:lnTo>
                    <a:pt x="1100" y="1806"/>
                  </a:lnTo>
                  <a:lnTo>
                    <a:pt x="1103" y="1812"/>
                  </a:lnTo>
                  <a:lnTo>
                    <a:pt x="1103" y="1816"/>
                  </a:lnTo>
                  <a:lnTo>
                    <a:pt x="1099" y="1826"/>
                  </a:lnTo>
                  <a:lnTo>
                    <a:pt x="1099" y="1830"/>
                  </a:lnTo>
                  <a:lnTo>
                    <a:pt x="1092" y="1841"/>
                  </a:lnTo>
                  <a:lnTo>
                    <a:pt x="1090" y="1846"/>
                  </a:lnTo>
                  <a:lnTo>
                    <a:pt x="1099" y="1861"/>
                  </a:lnTo>
                  <a:lnTo>
                    <a:pt x="1104" y="1863"/>
                  </a:lnTo>
                  <a:lnTo>
                    <a:pt x="1109" y="1868"/>
                  </a:lnTo>
                  <a:lnTo>
                    <a:pt x="1115" y="1871"/>
                  </a:lnTo>
                  <a:lnTo>
                    <a:pt x="1117" y="1868"/>
                  </a:lnTo>
                  <a:lnTo>
                    <a:pt x="1120" y="1868"/>
                  </a:lnTo>
                  <a:lnTo>
                    <a:pt x="1134" y="1879"/>
                  </a:lnTo>
                  <a:lnTo>
                    <a:pt x="1136" y="1880"/>
                  </a:lnTo>
                  <a:lnTo>
                    <a:pt x="1139" y="1883"/>
                  </a:lnTo>
                  <a:lnTo>
                    <a:pt x="1159" y="1894"/>
                  </a:lnTo>
                  <a:lnTo>
                    <a:pt x="1157" y="1897"/>
                  </a:lnTo>
                  <a:lnTo>
                    <a:pt x="1157" y="1903"/>
                  </a:lnTo>
                  <a:lnTo>
                    <a:pt x="1159" y="1905"/>
                  </a:lnTo>
                  <a:lnTo>
                    <a:pt x="1167" y="1913"/>
                  </a:lnTo>
                  <a:lnTo>
                    <a:pt x="1178" y="1917"/>
                  </a:lnTo>
                  <a:lnTo>
                    <a:pt x="1185" y="1928"/>
                  </a:lnTo>
                  <a:lnTo>
                    <a:pt x="1193" y="1928"/>
                  </a:lnTo>
                  <a:lnTo>
                    <a:pt x="1199" y="1921"/>
                  </a:lnTo>
                  <a:lnTo>
                    <a:pt x="1207" y="1926"/>
                  </a:lnTo>
                  <a:lnTo>
                    <a:pt x="1214" y="1928"/>
                  </a:lnTo>
                  <a:lnTo>
                    <a:pt x="1217" y="1928"/>
                  </a:lnTo>
                  <a:lnTo>
                    <a:pt x="1221" y="1924"/>
                  </a:lnTo>
                  <a:lnTo>
                    <a:pt x="1222" y="1925"/>
                  </a:lnTo>
                  <a:lnTo>
                    <a:pt x="1225" y="1929"/>
                  </a:lnTo>
                  <a:lnTo>
                    <a:pt x="1231" y="1931"/>
                  </a:lnTo>
                  <a:lnTo>
                    <a:pt x="1236" y="1949"/>
                  </a:lnTo>
                  <a:lnTo>
                    <a:pt x="1239" y="1950"/>
                  </a:lnTo>
                  <a:lnTo>
                    <a:pt x="1243" y="1951"/>
                  </a:lnTo>
                  <a:lnTo>
                    <a:pt x="1250" y="1965"/>
                  </a:lnTo>
                  <a:lnTo>
                    <a:pt x="1251" y="1970"/>
                  </a:lnTo>
                  <a:lnTo>
                    <a:pt x="1251" y="1979"/>
                  </a:lnTo>
                  <a:lnTo>
                    <a:pt x="1256" y="1991"/>
                  </a:lnTo>
                  <a:lnTo>
                    <a:pt x="1257" y="1992"/>
                  </a:lnTo>
                  <a:lnTo>
                    <a:pt x="1267" y="1996"/>
                  </a:lnTo>
                  <a:lnTo>
                    <a:pt x="1267" y="2001"/>
                  </a:lnTo>
                  <a:lnTo>
                    <a:pt x="1271" y="2007"/>
                  </a:lnTo>
                  <a:lnTo>
                    <a:pt x="1278" y="2009"/>
                  </a:lnTo>
                  <a:lnTo>
                    <a:pt x="1292" y="2018"/>
                  </a:lnTo>
                  <a:lnTo>
                    <a:pt x="1295" y="2018"/>
                  </a:lnTo>
                  <a:lnTo>
                    <a:pt x="1304" y="2028"/>
                  </a:lnTo>
                  <a:lnTo>
                    <a:pt x="1313" y="2032"/>
                  </a:lnTo>
                  <a:lnTo>
                    <a:pt x="1317" y="2037"/>
                  </a:lnTo>
                  <a:lnTo>
                    <a:pt x="1320" y="2041"/>
                  </a:lnTo>
                  <a:lnTo>
                    <a:pt x="1322" y="2043"/>
                  </a:lnTo>
                  <a:lnTo>
                    <a:pt x="1325" y="2041"/>
                  </a:lnTo>
                  <a:lnTo>
                    <a:pt x="1325" y="2037"/>
                  </a:lnTo>
                  <a:lnTo>
                    <a:pt x="1327" y="2036"/>
                  </a:lnTo>
                  <a:lnTo>
                    <a:pt x="1332" y="2036"/>
                  </a:lnTo>
                  <a:lnTo>
                    <a:pt x="1334" y="2037"/>
                  </a:lnTo>
                  <a:lnTo>
                    <a:pt x="1336" y="2041"/>
                  </a:lnTo>
                  <a:lnTo>
                    <a:pt x="1339" y="2036"/>
                  </a:lnTo>
                  <a:lnTo>
                    <a:pt x="1352" y="2045"/>
                  </a:lnTo>
                  <a:lnTo>
                    <a:pt x="1354" y="2048"/>
                  </a:lnTo>
                  <a:lnTo>
                    <a:pt x="1356" y="2052"/>
                  </a:lnTo>
                  <a:lnTo>
                    <a:pt x="1360" y="2055"/>
                  </a:lnTo>
                  <a:lnTo>
                    <a:pt x="1354" y="2055"/>
                  </a:lnTo>
                  <a:lnTo>
                    <a:pt x="1350" y="2060"/>
                  </a:lnTo>
                  <a:lnTo>
                    <a:pt x="1304" y="2190"/>
                  </a:lnTo>
                  <a:lnTo>
                    <a:pt x="1263" y="2303"/>
                  </a:lnTo>
                  <a:lnTo>
                    <a:pt x="1263" y="2388"/>
                  </a:lnTo>
                  <a:lnTo>
                    <a:pt x="1267" y="2389"/>
                  </a:lnTo>
                  <a:lnTo>
                    <a:pt x="1261" y="2415"/>
                  </a:lnTo>
                  <a:lnTo>
                    <a:pt x="1261" y="2580"/>
                  </a:lnTo>
                  <a:lnTo>
                    <a:pt x="1234" y="2580"/>
                  </a:lnTo>
                  <a:lnTo>
                    <a:pt x="1111" y="2579"/>
                  </a:lnTo>
                  <a:lnTo>
                    <a:pt x="1111" y="2582"/>
                  </a:lnTo>
                  <a:lnTo>
                    <a:pt x="1109" y="2582"/>
                  </a:lnTo>
                  <a:lnTo>
                    <a:pt x="1109" y="2581"/>
                  </a:lnTo>
                  <a:lnTo>
                    <a:pt x="1106" y="2582"/>
                  </a:lnTo>
                  <a:lnTo>
                    <a:pt x="1106" y="2588"/>
                  </a:lnTo>
                  <a:lnTo>
                    <a:pt x="1101" y="2590"/>
                  </a:lnTo>
                  <a:lnTo>
                    <a:pt x="1104" y="2593"/>
                  </a:lnTo>
                  <a:lnTo>
                    <a:pt x="1110" y="2593"/>
                  </a:lnTo>
                  <a:lnTo>
                    <a:pt x="1110" y="2594"/>
                  </a:lnTo>
                  <a:lnTo>
                    <a:pt x="1106" y="2594"/>
                  </a:lnTo>
                  <a:lnTo>
                    <a:pt x="1106" y="2597"/>
                  </a:lnTo>
                  <a:lnTo>
                    <a:pt x="1107" y="2601"/>
                  </a:lnTo>
                  <a:lnTo>
                    <a:pt x="1112" y="2601"/>
                  </a:lnTo>
                  <a:lnTo>
                    <a:pt x="1115" y="2612"/>
                  </a:lnTo>
                  <a:lnTo>
                    <a:pt x="1122" y="2617"/>
                  </a:lnTo>
                  <a:lnTo>
                    <a:pt x="1128" y="2625"/>
                  </a:lnTo>
                  <a:lnTo>
                    <a:pt x="1128" y="2629"/>
                  </a:lnTo>
                  <a:lnTo>
                    <a:pt x="1125" y="2632"/>
                  </a:lnTo>
                  <a:lnTo>
                    <a:pt x="1128" y="2638"/>
                  </a:lnTo>
                  <a:lnTo>
                    <a:pt x="1139" y="2643"/>
                  </a:lnTo>
                  <a:lnTo>
                    <a:pt x="1147" y="2646"/>
                  </a:lnTo>
                  <a:lnTo>
                    <a:pt x="1151" y="2647"/>
                  </a:lnTo>
                  <a:lnTo>
                    <a:pt x="1160" y="2651"/>
                  </a:lnTo>
                  <a:lnTo>
                    <a:pt x="1162" y="2655"/>
                  </a:lnTo>
                  <a:lnTo>
                    <a:pt x="1165" y="2664"/>
                  </a:lnTo>
                  <a:lnTo>
                    <a:pt x="1170" y="2672"/>
                  </a:lnTo>
                  <a:lnTo>
                    <a:pt x="1178" y="2681"/>
                  </a:lnTo>
                  <a:lnTo>
                    <a:pt x="1178" y="2696"/>
                  </a:lnTo>
                  <a:lnTo>
                    <a:pt x="1178" y="2699"/>
                  </a:lnTo>
                  <a:lnTo>
                    <a:pt x="1192" y="2718"/>
                  </a:lnTo>
                  <a:lnTo>
                    <a:pt x="1189" y="2722"/>
                  </a:lnTo>
                  <a:lnTo>
                    <a:pt x="1187" y="2728"/>
                  </a:lnTo>
                  <a:lnTo>
                    <a:pt x="1179" y="2739"/>
                  </a:lnTo>
                  <a:lnTo>
                    <a:pt x="1178" y="2745"/>
                  </a:lnTo>
                  <a:lnTo>
                    <a:pt x="1175" y="2750"/>
                  </a:lnTo>
                  <a:lnTo>
                    <a:pt x="1168" y="2781"/>
                  </a:lnTo>
                  <a:lnTo>
                    <a:pt x="1170" y="2792"/>
                  </a:lnTo>
                  <a:lnTo>
                    <a:pt x="1168" y="2806"/>
                  </a:lnTo>
                  <a:lnTo>
                    <a:pt x="1172" y="2820"/>
                  </a:lnTo>
                  <a:lnTo>
                    <a:pt x="1175" y="2837"/>
                  </a:lnTo>
                  <a:lnTo>
                    <a:pt x="1175" y="2845"/>
                  </a:lnTo>
                  <a:lnTo>
                    <a:pt x="1174" y="2847"/>
                  </a:lnTo>
                  <a:lnTo>
                    <a:pt x="1167" y="2849"/>
                  </a:lnTo>
                  <a:lnTo>
                    <a:pt x="1161" y="2855"/>
                  </a:lnTo>
                  <a:lnTo>
                    <a:pt x="1151" y="2857"/>
                  </a:lnTo>
                  <a:lnTo>
                    <a:pt x="1147" y="2859"/>
                  </a:lnTo>
                  <a:lnTo>
                    <a:pt x="1140" y="2868"/>
                  </a:lnTo>
                  <a:lnTo>
                    <a:pt x="1131" y="2875"/>
                  </a:lnTo>
                  <a:lnTo>
                    <a:pt x="1128" y="2883"/>
                  </a:lnTo>
                  <a:lnTo>
                    <a:pt x="1128" y="2887"/>
                  </a:lnTo>
                  <a:lnTo>
                    <a:pt x="1125" y="2893"/>
                  </a:lnTo>
                  <a:lnTo>
                    <a:pt x="1122" y="2896"/>
                  </a:lnTo>
                  <a:lnTo>
                    <a:pt x="1120" y="2897"/>
                  </a:lnTo>
                  <a:lnTo>
                    <a:pt x="1111" y="2897"/>
                  </a:lnTo>
                  <a:lnTo>
                    <a:pt x="1103" y="2896"/>
                  </a:lnTo>
                  <a:lnTo>
                    <a:pt x="1093" y="2888"/>
                  </a:lnTo>
                  <a:lnTo>
                    <a:pt x="1086" y="2885"/>
                  </a:lnTo>
                  <a:lnTo>
                    <a:pt x="1081" y="2878"/>
                  </a:lnTo>
                  <a:lnTo>
                    <a:pt x="1064" y="2866"/>
                  </a:lnTo>
                  <a:lnTo>
                    <a:pt x="1053" y="2851"/>
                  </a:lnTo>
                  <a:lnTo>
                    <a:pt x="1047" y="2849"/>
                  </a:lnTo>
                  <a:lnTo>
                    <a:pt x="1039" y="2853"/>
                  </a:lnTo>
                  <a:lnTo>
                    <a:pt x="1037" y="2851"/>
                  </a:lnTo>
                  <a:lnTo>
                    <a:pt x="1036" y="2849"/>
                  </a:lnTo>
                  <a:lnTo>
                    <a:pt x="1032" y="2849"/>
                  </a:lnTo>
                  <a:lnTo>
                    <a:pt x="1030" y="2849"/>
                  </a:lnTo>
                  <a:lnTo>
                    <a:pt x="1026" y="2857"/>
                  </a:lnTo>
                  <a:lnTo>
                    <a:pt x="1024" y="2859"/>
                  </a:lnTo>
                  <a:lnTo>
                    <a:pt x="1016" y="2860"/>
                  </a:lnTo>
                  <a:lnTo>
                    <a:pt x="1012" y="2860"/>
                  </a:lnTo>
                  <a:lnTo>
                    <a:pt x="1004" y="2857"/>
                  </a:lnTo>
                  <a:lnTo>
                    <a:pt x="1000" y="2853"/>
                  </a:lnTo>
                  <a:lnTo>
                    <a:pt x="994" y="2841"/>
                  </a:lnTo>
                  <a:lnTo>
                    <a:pt x="991" y="2841"/>
                  </a:lnTo>
                  <a:lnTo>
                    <a:pt x="990" y="2843"/>
                  </a:lnTo>
                  <a:lnTo>
                    <a:pt x="991" y="2849"/>
                  </a:lnTo>
                  <a:lnTo>
                    <a:pt x="989" y="2853"/>
                  </a:lnTo>
                  <a:lnTo>
                    <a:pt x="987" y="2860"/>
                  </a:lnTo>
                  <a:lnTo>
                    <a:pt x="986" y="2863"/>
                  </a:lnTo>
                  <a:lnTo>
                    <a:pt x="982" y="2865"/>
                  </a:lnTo>
                  <a:lnTo>
                    <a:pt x="977" y="2868"/>
                  </a:lnTo>
                  <a:lnTo>
                    <a:pt x="966" y="2871"/>
                  </a:lnTo>
                  <a:lnTo>
                    <a:pt x="962" y="2871"/>
                  </a:lnTo>
                  <a:lnTo>
                    <a:pt x="958" y="2870"/>
                  </a:lnTo>
                  <a:lnTo>
                    <a:pt x="957" y="2868"/>
                  </a:lnTo>
                  <a:lnTo>
                    <a:pt x="955" y="2868"/>
                  </a:lnTo>
                  <a:lnTo>
                    <a:pt x="955" y="2871"/>
                  </a:lnTo>
                  <a:lnTo>
                    <a:pt x="952" y="2874"/>
                  </a:lnTo>
                  <a:lnTo>
                    <a:pt x="952" y="2871"/>
                  </a:lnTo>
                  <a:lnTo>
                    <a:pt x="951" y="2871"/>
                  </a:lnTo>
                  <a:lnTo>
                    <a:pt x="951" y="2875"/>
                  </a:lnTo>
                  <a:lnTo>
                    <a:pt x="949" y="2878"/>
                  </a:lnTo>
                  <a:lnTo>
                    <a:pt x="949" y="2879"/>
                  </a:lnTo>
                  <a:lnTo>
                    <a:pt x="943" y="2883"/>
                  </a:lnTo>
                  <a:lnTo>
                    <a:pt x="944" y="2887"/>
                  </a:lnTo>
                  <a:lnTo>
                    <a:pt x="941" y="2890"/>
                  </a:lnTo>
                  <a:lnTo>
                    <a:pt x="940" y="2893"/>
                  </a:lnTo>
                  <a:lnTo>
                    <a:pt x="930" y="2896"/>
                  </a:lnTo>
                  <a:lnTo>
                    <a:pt x="929" y="2892"/>
                  </a:lnTo>
                  <a:lnTo>
                    <a:pt x="926" y="2893"/>
                  </a:lnTo>
                  <a:lnTo>
                    <a:pt x="921" y="2893"/>
                  </a:lnTo>
                  <a:lnTo>
                    <a:pt x="921" y="2897"/>
                  </a:lnTo>
                  <a:lnTo>
                    <a:pt x="921" y="2902"/>
                  </a:lnTo>
                  <a:lnTo>
                    <a:pt x="919" y="2905"/>
                  </a:lnTo>
                  <a:lnTo>
                    <a:pt x="911" y="2905"/>
                  </a:lnTo>
                  <a:lnTo>
                    <a:pt x="910" y="2902"/>
                  </a:lnTo>
                  <a:lnTo>
                    <a:pt x="907" y="2897"/>
                  </a:lnTo>
                  <a:lnTo>
                    <a:pt x="900" y="2900"/>
                  </a:lnTo>
                  <a:lnTo>
                    <a:pt x="896" y="2902"/>
                  </a:lnTo>
                  <a:lnTo>
                    <a:pt x="893" y="2902"/>
                  </a:lnTo>
                  <a:lnTo>
                    <a:pt x="889" y="2905"/>
                  </a:lnTo>
                  <a:lnTo>
                    <a:pt x="889" y="2910"/>
                  </a:lnTo>
                  <a:lnTo>
                    <a:pt x="886" y="2912"/>
                  </a:lnTo>
                  <a:lnTo>
                    <a:pt x="886" y="2920"/>
                  </a:lnTo>
                  <a:lnTo>
                    <a:pt x="883" y="2924"/>
                  </a:lnTo>
                  <a:lnTo>
                    <a:pt x="883" y="2930"/>
                  </a:lnTo>
                  <a:lnTo>
                    <a:pt x="882" y="2934"/>
                  </a:lnTo>
                  <a:lnTo>
                    <a:pt x="874" y="2940"/>
                  </a:lnTo>
                  <a:lnTo>
                    <a:pt x="875" y="2942"/>
                  </a:lnTo>
                  <a:lnTo>
                    <a:pt x="871" y="2942"/>
                  </a:lnTo>
                  <a:lnTo>
                    <a:pt x="868" y="2942"/>
                  </a:lnTo>
                  <a:lnTo>
                    <a:pt x="865" y="2941"/>
                  </a:lnTo>
                  <a:lnTo>
                    <a:pt x="861" y="2942"/>
                  </a:lnTo>
                  <a:lnTo>
                    <a:pt x="857" y="2942"/>
                  </a:lnTo>
                  <a:lnTo>
                    <a:pt x="852" y="2945"/>
                  </a:lnTo>
                  <a:lnTo>
                    <a:pt x="850" y="2945"/>
                  </a:lnTo>
                  <a:lnTo>
                    <a:pt x="847" y="2946"/>
                  </a:lnTo>
                  <a:lnTo>
                    <a:pt x="844" y="2950"/>
                  </a:lnTo>
                  <a:lnTo>
                    <a:pt x="840" y="2954"/>
                  </a:lnTo>
                  <a:lnTo>
                    <a:pt x="840" y="2958"/>
                  </a:lnTo>
                  <a:lnTo>
                    <a:pt x="836" y="2959"/>
                  </a:lnTo>
                  <a:lnTo>
                    <a:pt x="833" y="2962"/>
                  </a:lnTo>
                  <a:lnTo>
                    <a:pt x="823" y="2963"/>
                  </a:lnTo>
                  <a:lnTo>
                    <a:pt x="821" y="2965"/>
                  </a:lnTo>
                  <a:lnTo>
                    <a:pt x="821" y="2971"/>
                  </a:lnTo>
                  <a:lnTo>
                    <a:pt x="818" y="2977"/>
                  </a:lnTo>
                  <a:lnTo>
                    <a:pt x="819" y="2980"/>
                  </a:lnTo>
                  <a:lnTo>
                    <a:pt x="823" y="2986"/>
                  </a:lnTo>
                  <a:lnTo>
                    <a:pt x="832" y="2987"/>
                  </a:lnTo>
                  <a:lnTo>
                    <a:pt x="833" y="2995"/>
                  </a:lnTo>
                  <a:lnTo>
                    <a:pt x="877" y="3039"/>
                  </a:lnTo>
                  <a:lnTo>
                    <a:pt x="882" y="3054"/>
                  </a:lnTo>
                  <a:lnTo>
                    <a:pt x="891" y="3062"/>
                  </a:lnTo>
                  <a:lnTo>
                    <a:pt x="904" y="3093"/>
                  </a:lnTo>
                  <a:lnTo>
                    <a:pt x="904" y="3102"/>
                  </a:lnTo>
                  <a:lnTo>
                    <a:pt x="907" y="3106"/>
                  </a:lnTo>
                  <a:lnTo>
                    <a:pt x="910" y="3111"/>
                  </a:lnTo>
                  <a:lnTo>
                    <a:pt x="918" y="3115"/>
                  </a:lnTo>
                  <a:lnTo>
                    <a:pt x="922" y="3119"/>
                  </a:lnTo>
                  <a:lnTo>
                    <a:pt x="918" y="3121"/>
                  </a:lnTo>
                  <a:lnTo>
                    <a:pt x="908" y="3123"/>
                  </a:lnTo>
                  <a:lnTo>
                    <a:pt x="900" y="3128"/>
                  </a:lnTo>
                  <a:lnTo>
                    <a:pt x="897" y="3137"/>
                  </a:lnTo>
                  <a:lnTo>
                    <a:pt x="889" y="3137"/>
                  </a:lnTo>
                  <a:lnTo>
                    <a:pt x="891" y="3141"/>
                  </a:lnTo>
                  <a:lnTo>
                    <a:pt x="889" y="3145"/>
                  </a:lnTo>
                  <a:lnTo>
                    <a:pt x="889" y="3148"/>
                  </a:lnTo>
                  <a:lnTo>
                    <a:pt x="887" y="3149"/>
                  </a:lnTo>
                  <a:lnTo>
                    <a:pt x="887" y="3151"/>
                  </a:lnTo>
                  <a:lnTo>
                    <a:pt x="886" y="3152"/>
                  </a:lnTo>
                  <a:lnTo>
                    <a:pt x="908" y="3182"/>
                  </a:lnTo>
                  <a:lnTo>
                    <a:pt x="904" y="3186"/>
                  </a:lnTo>
                  <a:lnTo>
                    <a:pt x="889" y="3238"/>
                  </a:lnTo>
                  <a:lnTo>
                    <a:pt x="926" y="3269"/>
                  </a:lnTo>
                  <a:lnTo>
                    <a:pt x="977" y="3315"/>
                  </a:lnTo>
                  <a:lnTo>
                    <a:pt x="996" y="3331"/>
                  </a:lnTo>
                  <a:lnTo>
                    <a:pt x="1043" y="3334"/>
                  </a:lnTo>
                  <a:lnTo>
                    <a:pt x="1036" y="3347"/>
                  </a:lnTo>
                  <a:lnTo>
                    <a:pt x="1029" y="3381"/>
                  </a:lnTo>
                  <a:lnTo>
                    <a:pt x="1033" y="3386"/>
                  </a:lnTo>
                  <a:lnTo>
                    <a:pt x="1036" y="3388"/>
                  </a:lnTo>
                  <a:lnTo>
                    <a:pt x="1036" y="3390"/>
                  </a:lnTo>
                  <a:lnTo>
                    <a:pt x="1036" y="3392"/>
                  </a:lnTo>
                  <a:lnTo>
                    <a:pt x="1046" y="3399"/>
                  </a:lnTo>
                  <a:lnTo>
                    <a:pt x="1054" y="3404"/>
                  </a:lnTo>
                  <a:lnTo>
                    <a:pt x="1055" y="3406"/>
                  </a:lnTo>
                  <a:lnTo>
                    <a:pt x="1061" y="3407"/>
                  </a:lnTo>
                  <a:lnTo>
                    <a:pt x="1072" y="3414"/>
                  </a:lnTo>
                  <a:lnTo>
                    <a:pt x="1089" y="3421"/>
                  </a:lnTo>
                  <a:lnTo>
                    <a:pt x="1092" y="3469"/>
                  </a:lnTo>
                  <a:lnTo>
                    <a:pt x="1096" y="3473"/>
                  </a:lnTo>
                  <a:lnTo>
                    <a:pt x="1100" y="3474"/>
                  </a:lnTo>
                  <a:lnTo>
                    <a:pt x="1103" y="3479"/>
                  </a:lnTo>
                  <a:lnTo>
                    <a:pt x="1107" y="3479"/>
                  </a:lnTo>
                  <a:lnTo>
                    <a:pt x="1109" y="3480"/>
                  </a:lnTo>
                  <a:lnTo>
                    <a:pt x="1115" y="3481"/>
                  </a:lnTo>
                  <a:lnTo>
                    <a:pt x="1124" y="3484"/>
                  </a:lnTo>
                  <a:lnTo>
                    <a:pt x="1125" y="3485"/>
                  </a:lnTo>
                  <a:lnTo>
                    <a:pt x="1134" y="3488"/>
                  </a:lnTo>
                  <a:lnTo>
                    <a:pt x="1135" y="3489"/>
                  </a:lnTo>
                  <a:lnTo>
                    <a:pt x="1147" y="3489"/>
                  </a:lnTo>
                  <a:lnTo>
                    <a:pt x="1153" y="3492"/>
                  </a:lnTo>
                  <a:lnTo>
                    <a:pt x="1156" y="3496"/>
                  </a:lnTo>
                  <a:lnTo>
                    <a:pt x="1161" y="3497"/>
                  </a:lnTo>
                  <a:lnTo>
                    <a:pt x="1171" y="3497"/>
                  </a:lnTo>
                  <a:lnTo>
                    <a:pt x="1176" y="3493"/>
                  </a:lnTo>
                  <a:lnTo>
                    <a:pt x="1179" y="3493"/>
                  </a:lnTo>
                  <a:lnTo>
                    <a:pt x="1187" y="3497"/>
                  </a:lnTo>
                  <a:lnTo>
                    <a:pt x="1190" y="3499"/>
                  </a:lnTo>
                  <a:lnTo>
                    <a:pt x="1195" y="3508"/>
                  </a:lnTo>
                  <a:lnTo>
                    <a:pt x="1210" y="3518"/>
                  </a:lnTo>
                  <a:lnTo>
                    <a:pt x="1211" y="3525"/>
                  </a:lnTo>
                  <a:lnTo>
                    <a:pt x="1220" y="3530"/>
                  </a:lnTo>
                  <a:lnTo>
                    <a:pt x="1222" y="3538"/>
                  </a:lnTo>
                  <a:lnTo>
                    <a:pt x="1225" y="3541"/>
                  </a:lnTo>
                  <a:lnTo>
                    <a:pt x="1231" y="3542"/>
                  </a:lnTo>
                  <a:lnTo>
                    <a:pt x="1235" y="3597"/>
                  </a:lnTo>
                  <a:lnTo>
                    <a:pt x="1226" y="3707"/>
                  </a:lnTo>
                  <a:lnTo>
                    <a:pt x="1297" y="3707"/>
                  </a:lnTo>
                  <a:lnTo>
                    <a:pt x="1306" y="3707"/>
                  </a:lnTo>
                  <a:lnTo>
                    <a:pt x="1403" y="3766"/>
                  </a:lnTo>
                  <a:lnTo>
                    <a:pt x="1394" y="3809"/>
                  </a:lnTo>
                  <a:lnTo>
                    <a:pt x="1348" y="3837"/>
                  </a:lnTo>
                  <a:lnTo>
                    <a:pt x="1342" y="3870"/>
                  </a:lnTo>
                  <a:lnTo>
                    <a:pt x="1342" y="3882"/>
                  </a:lnTo>
                  <a:lnTo>
                    <a:pt x="1332" y="3890"/>
                  </a:lnTo>
                  <a:lnTo>
                    <a:pt x="1327" y="3899"/>
                  </a:lnTo>
                  <a:lnTo>
                    <a:pt x="1322" y="3911"/>
                  </a:lnTo>
                  <a:lnTo>
                    <a:pt x="1320" y="3952"/>
                  </a:lnTo>
                  <a:lnTo>
                    <a:pt x="1321" y="3956"/>
                  </a:lnTo>
                  <a:lnTo>
                    <a:pt x="1314" y="3957"/>
                  </a:lnTo>
                  <a:lnTo>
                    <a:pt x="1290" y="3957"/>
                  </a:lnTo>
                  <a:lnTo>
                    <a:pt x="1286" y="3953"/>
                  </a:lnTo>
                  <a:lnTo>
                    <a:pt x="1284" y="3953"/>
                  </a:lnTo>
                  <a:lnTo>
                    <a:pt x="1281" y="3953"/>
                  </a:lnTo>
                  <a:lnTo>
                    <a:pt x="1276" y="3957"/>
                  </a:lnTo>
                  <a:lnTo>
                    <a:pt x="1270" y="3960"/>
                  </a:lnTo>
                  <a:lnTo>
                    <a:pt x="1268" y="3965"/>
                  </a:lnTo>
                  <a:lnTo>
                    <a:pt x="1263" y="3966"/>
                  </a:lnTo>
                  <a:lnTo>
                    <a:pt x="1261" y="3969"/>
                  </a:lnTo>
                  <a:lnTo>
                    <a:pt x="1261" y="3975"/>
                  </a:lnTo>
                  <a:lnTo>
                    <a:pt x="1263" y="3979"/>
                  </a:lnTo>
                  <a:lnTo>
                    <a:pt x="1263" y="3983"/>
                  </a:lnTo>
                  <a:lnTo>
                    <a:pt x="1264" y="3987"/>
                  </a:lnTo>
                  <a:lnTo>
                    <a:pt x="1263" y="3995"/>
                  </a:lnTo>
                  <a:lnTo>
                    <a:pt x="1260" y="3998"/>
                  </a:lnTo>
                  <a:lnTo>
                    <a:pt x="1259" y="4004"/>
                  </a:lnTo>
                  <a:lnTo>
                    <a:pt x="1256" y="4006"/>
                  </a:lnTo>
                  <a:lnTo>
                    <a:pt x="1251" y="4006"/>
                  </a:lnTo>
                  <a:lnTo>
                    <a:pt x="1250" y="4008"/>
                  </a:lnTo>
                  <a:lnTo>
                    <a:pt x="1250" y="4012"/>
                  </a:lnTo>
                  <a:lnTo>
                    <a:pt x="1253" y="4013"/>
                  </a:lnTo>
                  <a:lnTo>
                    <a:pt x="1254" y="4015"/>
                  </a:lnTo>
                  <a:lnTo>
                    <a:pt x="1253" y="4016"/>
                  </a:lnTo>
                  <a:lnTo>
                    <a:pt x="1250" y="4019"/>
                  </a:lnTo>
                  <a:lnTo>
                    <a:pt x="1250" y="4023"/>
                  </a:lnTo>
                  <a:lnTo>
                    <a:pt x="1246" y="4024"/>
                  </a:lnTo>
                  <a:lnTo>
                    <a:pt x="1243" y="4028"/>
                  </a:lnTo>
                  <a:lnTo>
                    <a:pt x="1240" y="4028"/>
                  </a:lnTo>
                  <a:lnTo>
                    <a:pt x="1237" y="4027"/>
                  </a:lnTo>
                  <a:lnTo>
                    <a:pt x="1234" y="4027"/>
                  </a:lnTo>
                  <a:lnTo>
                    <a:pt x="1229" y="4032"/>
                  </a:lnTo>
                  <a:lnTo>
                    <a:pt x="1222" y="4032"/>
                  </a:lnTo>
                  <a:lnTo>
                    <a:pt x="1218" y="4035"/>
                  </a:lnTo>
                  <a:lnTo>
                    <a:pt x="1209" y="4037"/>
                  </a:lnTo>
                  <a:lnTo>
                    <a:pt x="1204" y="4040"/>
                  </a:lnTo>
                  <a:lnTo>
                    <a:pt x="1199" y="4037"/>
                  </a:lnTo>
                  <a:lnTo>
                    <a:pt x="1199" y="4035"/>
                  </a:lnTo>
                  <a:lnTo>
                    <a:pt x="1190" y="4032"/>
                  </a:lnTo>
                  <a:lnTo>
                    <a:pt x="1182" y="4024"/>
                  </a:lnTo>
                  <a:lnTo>
                    <a:pt x="1176" y="4024"/>
                  </a:lnTo>
                  <a:lnTo>
                    <a:pt x="1175" y="4020"/>
                  </a:lnTo>
                  <a:lnTo>
                    <a:pt x="1170" y="4020"/>
                  </a:lnTo>
                  <a:lnTo>
                    <a:pt x="1168" y="4021"/>
                  </a:lnTo>
                  <a:lnTo>
                    <a:pt x="1167" y="4021"/>
                  </a:lnTo>
                  <a:lnTo>
                    <a:pt x="1161" y="4018"/>
                  </a:lnTo>
                  <a:lnTo>
                    <a:pt x="1154" y="4019"/>
                  </a:lnTo>
                  <a:lnTo>
                    <a:pt x="1146" y="4018"/>
                  </a:lnTo>
                  <a:lnTo>
                    <a:pt x="1145" y="4015"/>
                  </a:lnTo>
                  <a:lnTo>
                    <a:pt x="1139" y="4016"/>
                  </a:lnTo>
                  <a:lnTo>
                    <a:pt x="1137" y="4021"/>
                  </a:lnTo>
                  <a:lnTo>
                    <a:pt x="1128" y="4024"/>
                  </a:lnTo>
                  <a:lnTo>
                    <a:pt x="1128" y="4027"/>
                  </a:lnTo>
                  <a:lnTo>
                    <a:pt x="1128" y="4032"/>
                  </a:lnTo>
                  <a:lnTo>
                    <a:pt x="1124" y="4036"/>
                  </a:lnTo>
                  <a:lnTo>
                    <a:pt x="1117" y="4040"/>
                  </a:lnTo>
                  <a:lnTo>
                    <a:pt x="1112" y="4038"/>
                  </a:lnTo>
                  <a:lnTo>
                    <a:pt x="1104" y="4045"/>
                  </a:lnTo>
                  <a:lnTo>
                    <a:pt x="1101" y="4047"/>
                  </a:lnTo>
                  <a:lnTo>
                    <a:pt x="1096" y="4043"/>
                  </a:lnTo>
                  <a:lnTo>
                    <a:pt x="1090" y="4041"/>
                  </a:lnTo>
                  <a:lnTo>
                    <a:pt x="1083" y="4036"/>
                  </a:lnTo>
                  <a:lnTo>
                    <a:pt x="1078" y="4037"/>
                  </a:lnTo>
                  <a:lnTo>
                    <a:pt x="1075" y="4032"/>
                  </a:lnTo>
                  <a:lnTo>
                    <a:pt x="1069" y="4032"/>
                  </a:lnTo>
                  <a:lnTo>
                    <a:pt x="1065" y="4035"/>
                  </a:lnTo>
                  <a:lnTo>
                    <a:pt x="1060" y="4027"/>
                  </a:lnTo>
                  <a:lnTo>
                    <a:pt x="1053" y="4024"/>
                  </a:lnTo>
                  <a:lnTo>
                    <a:pt x="1044" y="4021"/>
                  </a:lnTo>
                  <a:lnTo>
                    <a:pt x="1043" y="4020"/>
                  </a:lnTo>
                  <a:lnTo>
                    <a:pt x="1044" y="4015"/>
                  </a:lnTo>
                  <a:lnTo>
                    <a:pt x="1039" y="4012"/>
                  </a:lnTo>
                  <a:lnTo>
                    <a:pt x="1029" y="4012"/>
                  </a:lnTo>
                  <a:lnTo>
                    <a:pt x="1024" y="4019"/>
                  </a:lnTo>
                  <a:lnTo>
                    <a:pt x="1014" y="4021"/>
                  </a:lnTo>
                  <a:lnTo>
                    <a:pt x="1012" y="4021"/>
                  </a:lnTo>
                  <a:lnTo>
                    <a:pt x="1008" y="4019"/>
                  </a:lnTo>
                  <a:lnTo>
                    <a:pt x="1005" y="4018"/>
                  </a:lnTo>
                  <a:lnTo>
                    <a:pt x="1002" y="4019"/>
                  </a:lnTo>
                  <a:lnTo>
                    <a:pt x="999" y="4021"/>
                  </a:lnTo>
                  <a:lnTo>
                    <a:pt x="987" y="4021"/>
                  </a:lnTo>
                  <a:lnTo>
                    <a:pt x="983" y="4020"/>
                  </a:lnTo>
                  <a:lnTo>
                    <a:pt x="975" y="4019"/>
                  </a:lnTo>
                  <a:lnTo>
                    <a:pt x="969" y="4013"/>
                  </a:lnTo>
                  <a:lnTo>
                    <a:pt x="957" y="4015"/>
                  </a:lnTo>
                  <a:lnTo>
                    <a:pt x="954" y="4013"/>
                  </a:lnTo>
                  <a:lnTo>
                    <a:pt x="951" y="4010"/>
                  </a:lnTo>
                  <a:lnTo>
                    <a:pt x="944" y="4010"/>
                  </a:lnTo>
                  <a:lnTo>
                    <a:pt x="941" y="4008"/>
                  </a:lnTo>
                  <a:lnTo>
                    <a:pt x="940" y="4008"/>
                  </a:lnTo>
                  <a:lnTo>
                    <a:pt x="929" y="4010"/>
                  </a:lnTo>
                  <a:lnTo>
                    <a:pt x="927" y="4012"/>
                  </a:lnTo>
                  <a:lnTo>
                    <a:pt x="921" y="4013"/>
                  </a:lnTo>
                  <a:lnTo>
                    <a:pt x="910" y="4019"/>
                  </a:lnTo>
                  <a:lnTo>
                    <a:pt x="908" y="4023"/>
                  </a:lnTo>
                  <a:lnTo>
                    <a:pt x="904" y="4024"/>
                  </a:lnTo>
                  <a:lnTo>
                    <a:pt x="899" y="4035"/>
                  </a:lnTo>
                  <a:lnTo>
                    <a:pt x="893" y="4038"/>
                  </a:lnTo>
                  <a:lnTo>
                    <a:pt x="887" y="4038"/>
                  </a:lnTo>
                  <a:lnTo>
                    <a:pt x="882" y="4044"/>
                  </a:lnTo>
                  <a:lnTo>
                    <a:pt x="880" y="4047"/>
                  </a:lnTo>
                  <a:lnTo>
                    <a:pt x="882" y="4050"/>
                  </a:lnTo>
                  <a:lnTo>
                    <a:pt x="877" y="4062"/>
                  </a:lnTo>
                  <a:lnTo>
                    <a:pt x="875" y="4062"/>
                  </a:lnTo>
                  <a:lnTo>
                    <a:pt x="872" y="4061"/>
                  </a:lnTo>
                  <a:lnTo>
                    <a:pt x="862" y="4069"/>
                  </a:lnTo>
                  <a:lnTo>
                    <a:pt x="861" y="4069"/>
                  </a:lnTo>
                  <a:lnTo>
                    <a:pt x="858" y="4066"/>
                  </a:lnTo>
                  <a:lnTo>
                    <a:pt x="857" y="4068"/>
                  </a:lnTo>
                  <a:lnTo>
                    <a:pt x="847" y="4073"/>
                  </a:lnTo>
                  <a:lnTo>
                    <a:pt x="841" y="4075"/>
                  </a:lnTo>
                  <a:lnTo>
                    <a:pt x="832" y="4080"/>
                  </a:lnTo>
                  <a:lnTo>
                    <a:pt x="822" y="4087"/>
                  </a:lnTo>
                  <a:lnTo>
                    <a:pt x="818" y="4087"/>
                  </a:lnTo>
                  <a:lnTo>
                    <a:pt x="812" y="4083"/>
                  </a:lnTo>
                  <a:lnTo>
                    <a:pt x="808" y="4086"/>
                  </a:lnTo>
                  <a:lnTo>
                    <a:pt x="802" y="4087"/>
                  </a:lnTo>
                  <a:lnTo>
                    <a:pt x="800" y="4087"/>
                  </a:lnTo>
                  <a:lnTo>
                    <a:pt x="797" y="4085"/>
                  </a:lnTo>
                  <a:lnTo>
                    <a:pt x="794" y="4083"/>
                  </a:lnTo>
                  <a:lnTo>
                    <a:pt x="790" y="4083"/>
                  </a:lnTo>
                  <a:lnTo>
                    <a:pt x="786" y="4085"/>
                  </a:lnTo>
                  <a:lnTo>
                    <a:pt x="775" y="4090"/>
                  </a:lnTo>
                  <a:lnTo>
                    <a:pt x="770" y="4102"/>
                  </a:lnTo>
                  <a:lnTo>
                    <a:pt x="767" y="4103"/>
                  </a:lnTo>
                  <a:lnTo>
                    <a:pt x="759" y="4108"/>
                  </a:lnTo>
                  <a:lnTo>
                    <a:pt x="747" y="4111"/>
                  </a:lnTo>
                  <a:lnTo>
                    <a:pt x="742" y="4111"/>
                  </a:lnTo>
                  <a:lnTo>
                    <a:pt x="733" y="4103"/>
                  </a:lnTo>
                  <a:lnTo>
                    <a:pt x="729" y="4106"/>
                  </a:lnTo>
                  <a:lnTo>
                    <a:pt x="726" y="4103"/>
                  </a:lnTo>
                  <a:lnTo>
                    <a:pt x="723" y="4102"/>
                  </a:lnTo>
                  <a:lnTo>
                    <a:pt x="717" y="4099"/>
                  </a:lnTo>
                  <a:lnTo>
                    <a:pt x="716" y="4094"/>
                  </a:lnTo>
                  <a:lnTo>
                    <a:pt x="709" y="4087"/>
                  </a:lnTo>
                  <a:lnTo>
                    <a:pt x="705" y="4087"/>
                  </a:lnTo>
                  <a:lnTo>
                    <a:pt x="700" y="4085"/>
                  </a:lnTo>
                  <a:lnTo>
                    <a:pt x="697" y="4085"/>
                  </a:lnTo>
                  <a:lnTo>
                    <a:pt x="690" y="4089"/>
                  </a:lnTo>
                  <a:lnTo>
                    <a:pt x="686" y="4089"/>
                  </a:lnTo>
                  <a:lnTo>
                    <a:pt x="683" y="4087"/>
                  </a:lnTo>
                  <a:lnTo>
                    <a:pt x="663" y="4091"/>
                  </a:lnTo>
                  <a:lnTo>
                    <a:pt x="656" y="4095"/>
                  </a:lnTo>
                  <a:lnTo>
                    <a:pt x="656" y="4099"/>
                  </a:lnTo>
                  <a:lnTo>
                    <a:pt x="648" y="4103"/>
                  </a:lnTo>
                  <a:lnTo>
                    <a:pt x="645" y="4107"/>
                  </a:lnTo>
                  <a:lnTo>
                    <a:pt x="640" y="4111"/>
                  </a:lnTo>
                  <a:lnTo>
                    <a:pt x="636" y="4118"/>
                  </a:lnTo>
                  <a:lnTo>
                    <a:pt x="633" y="4118"/>
                  </a:lnTo>
                  <a:lnTo>
                    <a:pt x="630" y="4118"/>
                  </a:lnTo>
                  <a:lnTo>
                    <a:pt x="626" y="4118"/>
                  </a:lnTo>
                  <a:lnTo>
                    <a:pt x="625" y="4120"/>
                  </a:lnTo>
                  <a:lnTo>
                    <a:pt x="625" y="4122"/>
                  </a:lnTo>
                  <a:lnTo>
                    <a:pt x="622" y="4125"/>
                  </a:lnTo>
                  <a:lnTo>
                    <a:pt x="616" y="4125"/>
                  </a:lnTo>
                  <a:lnTo>
                    <a:pt x="613" y="4124"/>
                  </a:lnTo>
                  <a:lnTo>
                    <a:pt x="609" y="4124"/>
                  </a:lnTo>
                  <a:lnTo>
                    <a:pt x="609" y="4128"/>
                  </a:lnTo>
                  <a:lnTo>
                    <a:pt x="605" y="4131"/>
                  </a:lnTo>
                  <a:lnTo>
                    <a:pt x="598" y="4140"/>
                  </a:lnTo>
                  <a:lnTo>
                    <a:pt x="584" y="4144"/>
                  </a:lnTo>
                  <a:lnTo>
                    <a:pt x="581" y="4148"/>
                  </a:lnTo>
                  <a:lnTo>
                    <a:pt x="581" y="4152"/>
                  </a:lnTo>
                  <a:lnTo>
                    <a:pt x="577" y="4155"/>
                  </a:lnTo>
                  <a:lnTo>
                    <a:pt x="576" y="4159"/>
                  </a:lnTo>
                  <a:lnTo>
                    <a:pt x="572" y="4162"/>
                  </a:lnTo>
                  <a:lnTo>
                    <a:pt x="566" y="4162"/>
                  </a:lnTo>
                  <a:lnTo>
                    <a:pt x="565" y="4165"/>
                  </a:lnTo>
                  <a:lnTo>
                    <a:pt x="565" y="4173"/>
                  </a:lnTo>
                  <a:lnTo>
                    <a:pt x="556" y="4174"/>
                  </a:lnTo>
                  <a:lnTo>
                    <a:pt x="548" y="4174"/>
                  </a:lnTo>
                  <a:lnTo>
                    <a:pt x="541" y="4170"/>
                  </a:lnTo>
                  <a:lnTo>
                    <a:pt x="534" y="4170"/>
                  </a:lnTo>
                  <a:lnTo>
                    <a:pt x="526" y="4167"/>
                  </a:lnTo>
                  <a:lnTo>
                    <a:pt x="520" y="4169"/>
                  </a:lnTo>
                  <a:lnTo>
                    <a:pt x="513" y="4167"/>
                  </a:lnTo>
                  <a:lnTo>
                    <a:pt x="498" y="4167"/>
                  </a:lnTo>
                  <a:lnTo>
                    <a:pt x="494" y="4165"/>
                  </a:lnTo>
                  <a:lnTo>
                    <a:pt x="492" y="4162"/>
                  </a:lnTo>
                  <a:lnTo>
                    <a:pt x="490" y="4159"/>
                  </a:lnTo>
                  <a:lnTo>
                    <a:pt x="480" y="4159"/>
                  </a:lnTo>
                  <a:lnTo>
                    <a:pt x="478" y="4156"/>
                  </a:lnTo>
                  <a:lnTo>
                    <a:pt x="476" y="4156"/>
                  </a:lnTo>
                  <a:lnTo>
                    <a:pt x="473" y="4150"/>
                  </a:lnTo>
                  <a:lnTo>
                    <a:pt x="473" y="4148"/>
                  </a:lnTo>
                  <a:lnTo>
                    <a:pt x="480" y="4136"/>
                  </a:lnTo>
                  <a:lnTo>
                    <a:pt x="478" y="4134"/>
                  </a:lnTo>
                  <a:lnTo>
                    <a:pt x="477" y="4130"/>
                  </a:lnTo>
                  <a:lnTo>
                    <a:pt x="471" y="4122"/>
                  </a:lnTo>
                  <a:lnTo>
                    <a:pt x="471" y="4118"/>
                  </a:lnTo>
                  <a:lnTo>
                    <a:pt x="473" y="4117"/>
                  </a:lnTo>
                  <a:lnTo>
                    <a:pt x="471" y="4115"/>
                  </a:lnTo>
                  <a:lnTo>
                    <a:pt x="463" y="4108"/>
                  </a:lnTo>
                  <a:lnTo>
                    <a:pt x="459" y="4108"/>
                  </a:lnTo>
                  <a:lnTo>
                    <a:pt x="455" y="4106"/>
                  </a:lnTo>
                  <a:lnTo>
                    <a:pt x="451" y="4106"/>
                  </a:lnTo>
                  <a:lnTo>
                    <a:pt x="440" y="4099"/>
                  </a:lnTo>
                  <a:lnTo>
                    <a:pt x="435" y="4094"/>
                  </a:lnTo>
                  <a:lnTo>
                    <a:pt x="432" y="4094"/>
                  </a:lnTo>
                  <a:lnTo>
                    <a:pt x="428" y="4099"/>
                  </a:lnTo>
                  <a:lnTo>
                    <a:pt x="424" y="4098"/>
                  </a:lnTo>
                  <a:lnTo>
                    <a:pt x="423" y="4099"/>
                  </a:lnTo>
                  <a:lnTo>
                    <a:pt x="415" y="4111"/>
                  </a:lnTo>
                  <a:lnTo>
                    <a:pt x="412" y="4112"/>
                  </a:lnTo>
                  <a:lnTo>
                    <a:pt x="405" y="4112"/>
                  </a:lnTo>
                  <a:lnTo>
                    <a:pt x="398" y="4108"/>
                  </a:lnTo>
                  <a:lnTo>
                    <a:pt x="391" y="4106"/>
                  </a:lnTo>
                  <a:lnTo>
                    <a:pt x="385" y="4107"/>
                  </a:lnTo>
                  <a:lnTo>
                    <a:pt x="382" y="4111"/>
                  </a:lnTo>
                  <a:lnTo>
                    <a:pt x="377" y="4110"/>
                  </a:lnTo>
                  <a:lnTo>
                    <a:pt x="373" y="4114"/>
                  </a:lnTo>
                  <a:lnTo>
                    <a:pt x="368" y="4112"/>
                  </a:lnTo>
                  <a:lnTo>
                    <a:pt x="363" y="4108"/>
                  </a:lnTo>
                  <a:lnTo>
                    <a:pt x="363" y="4106"/>
                  </a:lnTo>
                  <a:lnTo>
                    <a:pt x="357" y="4103"/>
                  </a:lnTo>
                  <a:lnTo>
                    <a:pt x="355" y="4099"/>
                  </a:lnTo>
                  <a:lnTo>
                    <a:pt x="351" y="4095"/>
                  </a:lnTo>
                  <a:lnTo>
                    <a:pt x="349" y="4094"/>
                  </a:lnTo>
                  <a:lnTo>
                    <a:pt x="345" y="4091"/>
                  </a:lnTo>
                  <a:lnTo>
                    <a:pt x="340" y="4093"/>
                  </a:lnTo>
                  <a:lnTo>
                    <a:pt x="332" y="4090"/>
                  </a:lnTo>
                  <a:lnTo>
                    <a:pt x="332" y="4087"/>
                  </a:lnTo>
                  <a:lnTo>
                    <a:pt x="334" y="4085"/>
                  </a:lnTo>
                  <a:lnTo>
                    <a:pt x="328" y="4075"/>
                  </a:lnTo>
                  <a:lnTo>
                    <a:pt x="309" y="4065"/>
                  </a:lnTo>
                  <a:lnTo>
                    <a:pt x="303" y="4063"/>
                  </a:lnTo>
                  <a:lnTo>
                    <a:pt x="296" y="4063"/>
                  </a:lnTo>
                  <a:lnTo>
                    <a:pt x="284" y="4060"/>
                  </a:lnTo>
                  <a:lnTo>
                    <a:pt x="278" y="4053"/>
                  </a:lnTo>
                  <a:lnTo>
                    <a:pt x="278" y="4050"/>
                  </a:lnTo>
                  <a:lnTo>
                    <a:pt x="280" y="4049"/>
                  </a:lnTo>
                  <a:lnTo>
                    <a:pt x="280" y="4045"/>
                  </a:lnTo>
                  <a:lnTo>
                    <a:pt x="273" y="4041"/>
                  </a:lnTo>
                  <a:lnTo>
                    <a:pt x="267" y="4037"/>
                  </a:lnTo>
                  <a:lnTo>
                    <a:pt x="259" y="4035"/>
                  </a:lnTo>
                  <a:lnTo>
                    <a:pt x="253" y="4036"/>
                  </a:lnTo>
                  <a:lnTo>
                    <a:pt x="252" y="4032"/>
                  </a:lnTo>
                  <a:lnTo>
                    <a:pt x="250" y="4035"/>
                  </a:lnTo>
                  <a:lnTo>
                    <a:pt x="249" y="4035"/>
                  </a:lnTo>
                  <a:lnTo>
                    <a:pt x="245" y="4035"/>
                  </a:lnTo>
                  <a:lnTo>
                    <a:pt x="239" y="4032"/>
                  </a:lnTo>
                  <a:lnTo>
                    <a:pt x="235" y="4031"/>
                  </a:lnTo>
                  <a:lnTo>
                    <a:pt x="232" y="4028"/>
                  </a:lnTo>
                  <a:lnTo>
                    <a:pt x="231" y="4021"/>
                  </a:lnTo>
                  <a:lnTo>
                    <a:pt x="228" y="4021"/>
                  </a:lnTo>
                  <a:lnTo>
                    <a:pt x="213" y="4024"/>
                  </a:lnTo>
                  <a:lnTo>
                    <a:pt x="205" y="4027"/>
                  </a:lnTo>
                  <a:lnTo>
                    <a:pt x="185" y="4020"/>
                  </a:lnTo>
                  <a:lnTo>
                    <a:pt x="177" y="4023"/>
                  </a:lnTo>
                  <a:lnTo>
                    <a:pt x="171" y="4023"/>
                  </a:lnTo>
                  <a:lnTo>
                    <a:pt x="167" y="4024"/>
                  </a:lnTo>
                  <a:lnTo>
                    <a:pt x="161" y="4024"/>
                  </a:lnTo>
                  <a:lnTo>
                    <a:pt x="157" y="4024"/>
                  </a:lnTo>
                  <a:lnTo>
                    <a:pt x="153" y="4020"/>
                  </a:lnTo>
                  <a:lnTo>
                    <a:pt x="149" y="4015"/>
                  </a:lnTo>
                  <a:lnTo>
                    <a:pt x="143" y="4012"/>
                  </a:lnTo>
                  <a:lnTo>
                    <a:pt x="138" y="4006"/>
                  </a:lnTo>
                  <a:lnTo>
                    <a:pt x="127" y="4002"/>
                  </a:lnTo>
                  <a:lnTo>
                    <a:pt x="121" y="3994"/>
                  </a:lnTo>
                  <a:lnTo>
                    <a:pt x="120" y="3987"/>
                  </a:lnTo>
                  <a:lnTo>
                    <a:pt x="117" y="3987"/>
                  </a:lnTo>
                  <a:lnTo>
                    <a:pt x="111" y="3983"/>
                  </a:lnTo>
                  <a:lnTo>
                    <a:pt x="107" y="3982"/>
                  </a:lnTo>
                  <a:lnTo>
                    <a:pt x="102" y="3975"/>
                  </a:lnTo>
                  <a:lnTo>
                    <a:pt x="92" y="3970"/>
                  </a:lnTo>
                  <a:lnTo>
                    <a:pt x="88" y="3957"/>
                  </a:lnTo>
                  <a:lnTo>
                    <a:pt x="68" y="3928"/>
                  </a:lnTo>
                  <a:lnTo>
                    <a:pt x="53" y="3908"/>
                  </a:lnTo>
                  <a:lnTo>
                    <a:pt x="44" y="3890"/>
                  </a:lnTo>
                  <a:lnTo>
                    <a:pt x="27" y="3873"/>
                  </a:lnTo>
                  <a:lnTo>
                    <a:pt x="22" y="3862"/>
                  </a:lnTo>
                  <a:lnTo>
                    <a:pt x="32" y="3849"/>
                  </a:lnTo>
                  <a:lnTo>
                    <a:pt x="32" y="3844"/>
                  </a:lnTo>
                  <a:lnTo>
                    <a:pt x="0" y="3817"/>
                  </a:lnTo>
                  <a:lnTo>
                    <a:pt x="13" y="3792"/>
                  </a:lnTo>
                  <a:lnTo>
                    <a:pt x="29" y="3777"/>
                  </a:lnTo>
                  <a:lnTo>
                    <a:pt x="53" y="3750"/>
                  </a:lnTo>
                  <a:lnTo>
                    <a:pt x="58" y="3744"/>
                  </a:lnTo>
                  <a:lnTo>
                    <a:pt x="63" y="3740"/>
                  </a:lnTo>
                  <a:lnTo>
                    <a:pt x="92" y="3701"/>
                  </a:lnTo>
                  <a:lnTo>
                    <a:pt x="121" y="3634"/>
                  </a:lnTo>
                  <a:lnTo>
                    <a:pt x="121" y="3631"/>
                  </a:lnTo>
                  <a:lnTo>
                    <a:pt x="122" y="3618"/>
                  </a:lnTo>
                  <a:lnTo>
                    <a:pt x="122" y="3617"/>
                  </a:lnTo>
                  <a:lnTo>
                    <a:pt x="106" y="3547"/>
                  </a:lnTo>
                  <a:lnTo>
                    <a:pt x="104" y="3498"/>
                  </a:lnTo>
                  <a:lnTo>
                    <a:pt x="100" y="3459"/>
                  </a:lnTo>
                  <a:lnTo>
                    <a:pt x="96" y="3444"/>
                  </a:lnTo>
                  <a:lnTo>
                    <a:pt x="96" y="3440"/>
                  </a:lnTo>
                  <a:lnTo>
                    <a:pt x="95" y="3432"/>
                  </a:lnTo>
                  <a:lnTo>
                    <a:pt x="102" y="3399"/>
                  </a:lnTo>
                  <a:lnTo>
                    <a:pt x="153" y="3357"/>
                  </a:lnTo>
                  <a:lnTo>
                    <a:pt x="161" y="3354"/>
                  </a:lnTo>
                  <a:lnTo>
                    <a:pt x="216" y="3354"/>
                  </a:lnTo>
                  <a:lnTo>
                    <a:pt x="225" y="3354"/>
                  </a:lnTo>
                  <a:lnTo>
                    <a:pt x="234" y="3355"/>
                  </a:lnTo>
                  <a:lnTo>
                    <a:pt x="249" y="3343"/>
                  </a:lnTo>
                  <a:lnTo>
                    <a:pt x="260" y="3324"/>
                  </a:lnTo>
                  <a:lnTo>
                    <a:pt x="274" y="3298"/>
                  </a:lnTo>
                  <a:lnTo>
                    <a:pt x="298" y="3261"/>
                  </a:lnTo>
                  <a:lnTo>
                    <a:pt x="316" y="3239"/>
                  </a:lnTo>
                  <a:lnTo>
                    <a:pt x="331" y="3223"/>
                  </a:lnTo>
                  <a:lnTo>
                    <a:pt x="338" y="3215"/>
                  </a:lnTo>
                  <a:lnTo>
                    <a:pt x="346" y="3205"/>
                  </a:lnTo>
                  <a:lnTo>
                    <a:pt x="349" y="3186"/>
                  </a:lnTo>
                  <a:lnTo>
                    <a:pt x="355" y="3176"/>
                  </a:lnTo>
                  <a:lnTo>
                    <a:pt x="371" y="3160"/>
                  </a:lnTo>
                  <a:lnTo>
                    <a:pt x="399" y="3133"/>
                  </a:lnTo>
                  <a:lnTo>
                    <a:pt x="396" y="3124"/>
                  </a:lnTo>
                  <a:lnTo>
                    <a:pt x="402" y="3096"/>
                  </a:lnTo>
                  <a:lnTo>
                    <a:pt x="388" y="3089"/>
                  </a:lnTo>
                  <a:lnTo>
                    <a:pt x="380" y="3079"/>
                  </a:lnTo>
                  <a:lnTo>
                    <a:pt x="387" y="3065"/>
                  </a:lnTo>
                  <a:lnTo>
                    <a:pt x="406" y="3056"/>
                  </a:lnTo>
                  <a:lnTo>
                    <a:pt x="405" y="3048"/>
                  </a:lnTo>
                  <a:lnTo>
                    <a:pt x="393" y="3029"/>
                  </a:lnTo>
                  <a:lnTo>
                    <a:pt x="403" y="2991"/>
                  </a:lnTo>
                  <a:lnTo>
                    <a:pt x="405" y="2991"/>
                  </a:lnTo>
                  <a:lnTo>
                    <a:pt x="413" y="2986"/>
                  </a:lnTo>
                  <a:lnTo>
                    <a:pt x="418" y="2986"/>
                  </a:lnTo>
                  <a:lnTo>
                    <a:pt x="424" y="2995"/>
                  </a:lnTo>
                  <a:lnTo>
                    <a:pt x="437" y="2999"/>
                  </a:lnTo>
                  <a:lnTo>
                    <a:pt x="445" y="2995"/>
                  </a:lnTo>
                  <a:lnTo>
                    <a:pt x="443" y="2962"/>
                  </a:lnTo>
                  <a:lnTo>
                    <a:pt x="440" y="2950"/>
                  </a:lnTo>
                  <a:lnTo>
                    <a:pt x="445" y="2942"/>
                  </a:lnTo>
                  <a:lnTo>
                    <a:pt x="452" y="2938"/>
                  </a:lnTo>
                  <a:lnTo>
                    <a:pt x="473" y="2935"/>
                  </a:lnTo>
                  <a:lnTo>
                    <a:pt x="510" y="2922"/>
                  </a:lnTo>
                  <a:lnTo>
                    <a:pt x="517" y="2919"/>
                  </a:lnTo>
                  <a:lnTo>
                    <a:pt x="530" y="2871"/>
                  </a:lnTo>
                  <a:lnTo>
                    <a:pt x="531" y="2849"/>
                  </a:lnTo>
                  <a:lnTo>
                    <a:pt x="548" y="2770"/>
                  </a:lnTo>
                  <a:lnTo>
                    <a:pt x="547" y="2759"/>
                  </a:lnTo>
                  <a:lnTo>
                    <a:pt x="553" y="2741"/>
                  </a:lnTo>
                  <a:lnTo>
                    <a:pt x="552" y="2729"/>
                  </a:lnTo>
                  <a:lnTo>
                    <a:pt x="547" y="2722"/>
                  </a:lnTo>
                  <a:lnTo>
                    <a:pt x="540" y="2714"/>
                  </a:lnTo>
                  <a:lnTo>
                    <a:pt x="496" y="2696"/>
                  </a:lnTo>
                  <a:lnTo>
                    <a:pt x="476" y="2681"/>
                  </a:lnTo>
                  <a:lnTo>
                    <a:pt x="474" y="2672"/>
                  </a:lnTo>
                  <a:lnTo>
                    <a:pt x="492" y="2655"/>
                  </a:lnTo>
                  <a:lnTo>
                    <a:pt x="492" y="2639"/>
                  </a:lnTo>
                  <a:lnTo>
                    <a:pt x="484" y="2625"/>
                  </a:lnTo>
                  <a:lnTo>
                    <a:pt x="478" y="2625"/>
                  </a:lnTo>
                  <a:lnTo>
                    <a:pt x="466" y="2635"/>
                  </a:lnTo>
                  <a:lnTo>
                    <a:pt x="452" y="2639"/>
                  </a:lnTo>
                  <a:lnTo>
                    <a:pt x="420" y="2650"/>
                  </a:lnTo>
                  <a:lnTo>
                    <a:pt x="388" y="2650"/>
                  </a:lnTo>
                  <a:lnTo>
                    <a:pt x="377" y="2643"/>
                  </a:lnTo>
                  <a:lnTo>
                    <a:pt x="377" y="2635"/>
                  </a:lnTo>
                  <a:lnTo>
                    <a:pt x="390" y="2606"/>
                  </a:lnTo>
                  <a:lnTo>
                    <a:pt x="391" y="2601"/>
                  </a:lnTo>
                  <a:lnTo>
                    <a:pt x="387" y="2589"/>
                  </a:lnTo>
                  <a:lnTo>
                    <a:pt x="391" y="2542"/>
                  </a:lnTo>
                  <a:lnTo>
                    <a:pt x="390" y="2535"/>
                  </a:lnTo>
                  <a:lnTo>
                    <a:pt x="381" y="2523"/>
                  </a:lnTo>
                  <a:lnTo>
                    <a:pt x="381" y="2512"/>
                  </a:lnTo>
                  <a:lnTo>
                    <a:pt x="384" y="2490"/>
                  </a:lnTo>
                  <a:lnTo>
                    <a:pt x="384" y="2482"/>
                  </a:lnTo>
                  <a:lnTo>
                    <a:pt x="343" y="2481"/>
                  </a:lnTo>
                  <a:lnTo>
                    <a:pt x="330" y="2468"/>
                  </a:lnTo>
                  <a:lnTo>
                    <a:pt x="332" y="2445"/>
                  </a:lnTo>
                  <a:lnTo>
                    <a:pt x="331" y="2428"/>
                  </a:lnTo>
                  <a:lnTo>
                    <a:pt x="337" y="2416"/>
                  </a:lnTo>
                  <a:lnTo>
                    <a:pt x="337" y="2407"/>
                  </a:lnTo>
                  <a:lnTo>
                    <a:pt x="332" y="2402"/>
                  </a:lnTo>
                  <a:lnTo>
                    <a:pt x="331" y="2399"/>
                  </a:lnTo>
                  <a:lnTo>
                    <a:pt x="328" y="2397"/>
                  </a:lnTo>
                  <a:lnTo>
                    <a:pt x="330" y="2389"/>
                  </a:lnTo>
                  <a:lnTo>
                    <a:pt x="356" y="2369"/>
                  </a:lnTo>
                  <a:lnTo>
                    <a:pt x="388" y="2336"/>
                  </a:lnTo>
                  <a:lnTo>
                    <a:pt x="391" y="2323"/>
                  </a:lnTo>
                  <a:lnTo>
                    <a:pt x="388" y="2286"/>
                  </a:lnTo>
                  <a:lnTo>
                    <a:pt x="390" y="2277"/>
                  </a:lnTo>
                  <a:lnTo>
                    <a:pt x="391" y="2276"/>
                  </a:lnTo>
                  <a:lnTo>
                    <a:pt x="398" y="2242"/>
                  </a:lnTo>
                  <a:lnTo>
                    <a:pt x="410" y="2190"/>
                  </a:lnTo>
                  <a:lnTo>
                    <a:pt x="410" y="2178"/>
                  </a:lnTo>
                  <a:lnTo>
                    <a:pt x="406" y="2166"/>
                  </a:lnTo>
                  <a:lnTo>
                    <a:pt x="395" y="2161"/>
                  </a:lnTo>
                  <a:lnTo>
                    <a:pt x="390" y="2152"/>
                  </a:lnTo>
                  <a:lnTo>
                    <a:pt x="385" y="2119"/>
                  </a:lnTo>
                  <a:lnTo>
                    <a:pt x="376" y="2112"/>
                  </a:lnTo>
                  <a:lnTo>
                    <a:pt x="366" y="2113"/>
                  </a:lnTo>
                  <a:lnTo>
                    <a:pt x="356" y="2113"/>
                  </a:lnTo>
                  <a:lnTo>
                    <a:pt x="351" y="2113"/>
                  </a:lnTo>
                  <a:lnTo>
                    <a:pt x="342" y="2115"/>
                  </a:lnTo>
                  <a:lnTo>
                    <a:pt x="320" y="2123"/>
                  </a:lnTo>
                  <a:lnTo>
                    <a:pt x="302" y="2123"/>
                  </a:lnTo>
                  <a:lnTo>
                    <a:pt x="287" y="2119"/>
                  </a:lnTo>
                  <a:lnTo>
                    <a:pt x="281" y="2115"/>
                  </a:lnTo>
                  <a:lnTo>
                    <a:pt x="276" y="2100"/>
                  </a:lnTo>
                  <a:lnTo>
                    <a:pt x="268" y="2052"/>
                  </a:lnTo>
                  <a:lnTo>
                    <a:pt x="271" y="2048"/>
                  </a:lnTo>
                  <a:lnTo>
                    <a:pt x="273" y="2048"/>
                  </a:lnTo>
                  <a:lnTo>
                    <a:pt x="288" y="2043"/>
                  </a:lnTo>
                  <a:lnTo>
                    <a:pt x="292" y="2040"/>
                  </a:lnTo>
                  <a:lnTo>
                    <a:pt x="288" y="2011"/>
                  </a:lnTo>
                  <a:lnTo>
                    <a:pt x="271" y="1984"/>
                  </a:lnTo>
                  <a:lnTo>
                    <a:pt x="271" y="1975"/>
                  </a:lnTo>
                  <a:lnTo>
                    <a:pt x="278" y="1966"/>
                  </a:lnTo>
                  <a:lnTo>
                    <a:pt x="299" y="1953"/>
                  </a:lnTo>
                  <a:lnTo>
                    <a:pt x="306" y="1953"/>
                  </a:lnTo>
                  <a:lnTo>
                    <a:pt x="316" y="1950"/>
                  </a:lnTo>
                  <a:lnTo>
                    <a:pt x="330" y="1938"/>
                  </a:lnTo>
                  <a:lnTo>
                    <a:pt x="370" y="1921"/>
                  </a:lnTo>
                  <a:lnTo>
                    <a:pt x="382" y="1921"/>
                  </a:lnTo>
                  <a:lnTo>
                    <a:pt x="410" y="1936"/>
                  </a:lnTo>
                  <a:lnTo>
                    <a:pt x="423" y="1936"/>
                  </a:lnTo>
                  <a:lnTo>
                    <a:pt x="445" y="1920"/>
                  </a:lnTo>
                  <a:lnTo>
                    <a:pt x="451" y="1912"/>
                  </a:lnTo>
                  <a:lnTo>
                    <a:pt x="455" y="1894"/>
                  </a:lnTo>
                  <a:lnTo>
                    <a:pt x="468" y="1864"/>
                  </a:lnTo>
                  <a:lnTo>
                    <a:pt x="473" y="1856"/>
                  </a:lnTo>
                  <a:lnTo>
                    <a:pt x="471" y="1850"/>
                  </a:lnTo>
                  <a:lnTo>
                    <a:pt x="437" y="1796"/>
                  </a:lnTo>
                  <a:lnTo>
                    <a:pt x="428" y="1771"/>
                  </a:lnTo>
                  <a:lnTo>
                    <a:pt x="417" y="1762"/>
                  </a:lnTo>
                  <a:lnTo>
                    <a:pt x="426" y="1744"/>
                  </a:lnTo>
                  <a:lnTo>
                    <a:pt x="424" y="1732"/>
                  </a:lnTo>
                  <a:lnTo>
                    <a:pt x="416" y="1715"/>
                  </a:lnTo>
                  <a:lnTo>
                    <a:pt x="421" y="1704"/>
                  </a:lnTo>
                  <a:lnTo>
                    <a:pt x="428" y="1702"/>
                  </a:lnTo>
                  <a:lnTo>
                    <a:pt x="432" y="1696"/>
                  </a:lnTo>
                  <a:lnTo>
                    <a:pt x="441" y="1700"/>
                  </a:lnTo>
                  <a:lnTo>
                    <a:pt x="465" y="1690"/>
                  </a:lnTo>
                  <a:lnTo>
                    <a:pt x="477" y="1680"/>
                  </a:lnTo>
                  <a:lnTo>
                    <a:pt x="492" y="1689"/>
                  </a:lnTo>
                  <a:lnTo>
                    <a:pt x="520" y="1677"/>
                  </a:lnTo>
                  <a:lnTo>
                    <a:pt x="527" y="1663"/>
                  </a:lnTo>
                  <a:lnTo>
                    <a:pt x="527" y="1653"/>
                  </a:lnTo>
                  <a:lnTo>
                    <a:pt x="522" y="1643"/>
                  </a:lnTo>
                  <a:lnTo>
                    <a:pt x="528" y="1610"/>
                  </a:lnTo>
                  <a:lnTo>
                    <a:pt x="547" y="1601"/>
                  </a:lnTo>
                  <a:lnTo>
                    <a:pt x="548" y="1600"/>
                  </a:lnTo>
                  <a:lnTo>
                    <a:pt x="549" y="1596"/>
                  </a:lnTo>
                  <a:lnTo>
                    <a:pt x="553" y="1586"/>
                  </a:lnTo>
                  <a:lnTo>
                    <a:pt x="540" y="1572"/>
                  </a:lnTo>
                  <a:lnTo>
                    <a:pt x="541" y="1564"/>
                  </a:lnTo>
                  <a:lnTo>
                    <a:pt x="534" y="1557"/>
                  </a:lnTo>
                  <a:lnTo>
                    <a:pt x="519" y="1552"/>
                  </a:lnTo>
                  <a:lnTo>
                    <a:pt x="510" y="1539"/>
                  </a:lnTo>
                  <a:lnTo>
                    <a:pt x="508" y="1515"/>
                  </a:lnTo>
                  <a:lnTo>
                    <a:pt x="516" y="1489"/>
                  </a:lnTo>
                  <a:lnTo>
                    <a:pt x="516" y="1479"/>
                  </a:lnTo>
                  <a:lnTo>
                    <a:pt x="508" y="1460"/>
                  </a:lnTo>
                  <a:lnTo>
                    <a:pt x="508" y="1459"/>
                  </a:lnTo>
                  <a:lnTo>
                    <a:pt x="508" y="1456"/>
                  </a:lnTo>
                  <a:lnTo>
                    <a:pt x="506" y="1449"/>
                  </a:lnTo>
                  <a:lnTo>
                    <a:pt x="508" y="1434"/>
                  </a:lnTo>
                  <a:lnTo>
                    <a:pt x="499" y="1422"/>
                  </a:lnTo>
                  <a:lnTo>
                    <a:pt x="491" y="1419"/>
                  </a:lnTo>
                  <a:lnTo>
                    <a:pt x="487" y="1410"/>
                  </a:lnTo>
                  <a:lnTo>
                    <a:pt x="485" y="1399"/>
                  </a:lnTo>
                  <a:lnTo>
                    <a:pt x="488" y="1382"/>
                  </a:lnTo>
                  <a:lnTo>
                    <a:pt x="477" y="1352"/>
                  </a:lnTo>
                  <a:lnTo>
                    <a:pt x="476" y="1339"/>
                  </a:lnTo>
                  <a:lnTo>
                    <a:pt x="468" y="1322"/>
                  </a:lnTo>
                  <a:lnTo>
                    <a:pt x="463" y="1275"/>
                  </a:lnTo>
                  <a:lnTo>
                    <a:pt x="467" y="1266"/>
                  </a:lnTo>
                  <a:lnTo>
                    <a:pt x="470" y="1262"/>
                  </a:lnTo>
                  <a:lnTo>
                    <a:pt x="478" y="1266"/>
                  </a:lnTo>
                  <a:lnTo>
                    <a:pt x="484" y="1258"/>
                  </a:lnTo>
                  <a:lnTo>
                    <a:pt x="491" y="1228"/>
                  </a:lnTo>
                  <a:lnTo>
                    <a:pt x="474" y="1224"/>
                  </a:lnTo>
                  <a:lnTo>
                    <a:pt x="471" y="1213"/>
                  </a:lnTo>
                  <a:lnTo>
                    <a:pt x="471" y="1201"/>
                  </a:lnTo>
                  <a:lnTo>
                    <a:pt x="478" y="1179"/>
                  </a:lnTo>
                  <a:lnTo>
                    <a:pt x="477" y="1149"/>
                  </a:lnTo>
                  <a:lnTo>
                    <a:pt x="484" y="1137"/>
                  </a:lnTo>
                  <a:lnTo>
                    <a:pt x="501" y="1138"/>
                  </a:lnTo>
                  <a:lnTo>
                    <a:pt x="517" y="1137"/>
                  </a:lnTo>
                  <a:lnTo>
                    <a:pt x="519" y="1129"/>
                  </a:lnTo>
                  <a:lnTo>
                    <a:pt x="522" y="1120"/>
                  </a:lnTo>
                  <a:lnTo>
                    <a:pt x="520" y="1111"/>
                  </a:lnTo>
                  <a:lnTo>
                    <a:pt x="530" y="1105"/>
                  </a:lnTo>
                  <a:lnTo>
                    <a:pt x="530" y="1101"/>
                  </a:lnTo>
                  <a:lnTo>
                    <a:pt x="523" y="1096"/>
                  </a:lnTo>
                  <a:lnTo>
                    <a:pt x="510" y="1086"/>
                  </a:lnTo>
                  <a:lnTo>
                    <a:pt x="510" y="1075"/>
                  </a:lnTo>
                  <a:lnTo>
                    <a:pt x="512" y="1071"/>
                  </a:lnTo>
                  <a:lnTo>
                    <a:pt x="519" y="1074"/>
                  </a:lnTo>
                  <a:lnTo>
                    <a:pt x="526" y="1071"/>
                  </a:lnTo>
                  <a:lnTo>
                    <a:pt x="520" y="1066"/>
                  </a:lnTo>
                  <a:lnTo>
                    <a:pt x="519" y="1057"/>
                  </a:lnTo>
                  <a:lnTo>
                    <a:pt x="523" y="1030"/>
                  </a:lnTo>
                  <a:lnTo>
                    <a:pt x="530" y="1013"/>
                  </a:lnTo>
                  <a:lnTo>
                    <a:pt x="541" y="1004"/>
                  </a:lnTo>
                  <a:lnTo>
                    <a:pt x="544" y="977"/>
                  </a:lnTo>
                  <a:lnTo>
                    <a:pt x="516" y="950"/>
                  </a:lnTo>
                  <a:lnTo>
                    <a:pt x="494" y="943"/>
                  </a:lnTo>
                  <a:lnTo>
                    <a:pt x="488" y="929"/>
                  </a:lnTo>
                  <a:lnTo>
                    <a:pt x="481" y="920"/>
                  </a:lnTo>
                  <a:lnTo>
                    <a:pt x="477" y="907"/>
                  </a:lnTo>
                  <a:lnTo>
                    <a:pt x="478" y="879"/>
                  </a:lnTo>
                  <a:lnTo>
                    <a:pt x="495" y="858"/>
                  </a:lnTo>
                  <a:lnTo>
                    <a:pt x="508" y="856"/>
                  </a:lnTo>
                  <a:lnTo>
                    <a:pt x="510" y="826"/>
                  </a:lnTo>
                  <a:lnTo>
                    <a:pt x="515" y="813"/>
                  </a:lnTo>
                  <a:lnTo>
                    <a:pt x="526" y="794"/>
                  </a:lnTo>
                  <a:lnTo>
                    <a:pt x="545" y="771"/>
                  </a:lnTo>
                  <a:lnTo>
                    <a:pt x="549" y="763"/>
                  </a:lnTo>
                  <a:lnTo>
                    <a:pt x="552" y="756"/>
                  </a:lnTo>
                  <a:lnTo>
                    <a:pt x="553" y="752"/>
                  </a:lnTo>
                  <a:lnTo>
                    <a:pt x="551" y="750"/>
                  </a:lnTo>
                  <a:lnTo>
                    <a:pt x="549" y="741"/>
                  </a:lnTo>
                  <a:lnTo>
                    <a:pt x="548" y="738"/>
                  </a:lnTo>
                  <a:lnTo>
                    <a:pt x="549" y="734"/>
                  </a:lnTo>
                  <a:lnTo>
                    <a:pt x="555" y="726"/>
                  </a:lnTo>
                  <a:lnTo>
                    <a:pt x="562" y="719"/>
                  </a:lnTo>
                  <a:lnTo>
                    <a:pt x="562" y="711"/>
                  </a:lnTo>
                  <a:lnTo>
                    <a:pt x="565" y="707"/>
                  </a:lnTo>
                  <a:lnTo>
                    <a:pt x="566" y="699"/>
                  </a:lnTo>
                  <a:lnTo>
                    <a:pt x="569" y="696"/>
                  </a:lnTo>
                  <a:lnTo>
                    <a:pt x="569" y="691"/>
                  </a:lnTo>
                  <a:lnTo>
                    <a:pt x="573" y="688"/>
                  </a:lnTo>
                  <a:lnTo>
                    <a:pt x="581" y="684"/>
                  </a:lnTo>
                  <a:lnTo>
                    <a:pt x="583" y="684"/>
                  </a:lnTo>
                  <a:lnTo>
                    <a:pt x="583" y="669"/>
                  </a:lnTo>
                  <a:lnTo>
                    <a:pt x="584" y="661"/>
                  </a:lnTo>
                  <a:lnTo>
                    <a:pt x="584" y="656"/>
                  </a:lnTo>
                  <a:lnTo>
                    <a:pt x="581" y="652"/>
                  </a:lnTo>
                  <a:lnTo>
                    <a:pt x="583" y="648"/>
                  </a:lnTo>
                  <a:lnTo>
                    <a:pt x="581" y="644"/>
                  </a:lnTo>
                  <a:lnTo>
                    <a:pt x="583" y="640"/>
                  </a:lnTo>
                  <a:lnTo>
                    <a:pt x="583" y="636"/>
                  </a:lnTo>
                  <a:lnTo>
                    <a:pt x="586" y="634"/>
                  </a:lnTo>
                  <a:lnTo>
                    <a:pt x="594" y="626"/>
                  </a:lnTo>
                  <a:lnTo>
                    <a:pt x="595" y="624"/>
                  </a:lnTo>
                  <a:lnTo>
                    <a:pt x="595" y="618"/>
                  </a:lnTo>
                  <a:lnTo>
                    <a:pt x="597" y="614"/>
                  </a:lnTo>
                  <a:lnTo>
                    <a:pt x="612" y="602"/>
                  </a:lnTo>
                  <a:lnTo>
                    <a:pt x="612" y="599"/>
                  </a:lnTo>
                  <a:lnTo>
                    <a:pt x="611" y="598"/>
                  </a:lnTo>
                  <a:lnTo>
                    <a:pt x="602" y="595"/>
                  </a:lnTo>
                  <a:lnTo>
                    <a:pt x="601" y="595"/>
                  </a:lnTo>
                  <a:lnTo>
                    <a:pt x="600" y="585"/>
                  </a:lnTo>
                  <a:lnTo>
                    <a:pt x="594" y="581"/>
                  </a:lnTo>
                  <a:lnTo>
                    <a:pt x="592" y="577"/>
                  </a:lnTo>
                  <a:lnTo>
                    <a:pt x="594" y="576"/>
                  </a:lnTo>
                  <a:lnTo>
                    <a:pt x="605" y="572"/>
                  </a:lnTo>
                  <a:lnTo>
                    <a:pt x="606" y="565"/>
                  </a:lnTo>
                  <a:lnTo>
                    <a:pt x="613" y="564"/>
                  </a:lnTo>
                  <a:lnTo>
                    <a:pt x="613" y="554"/>
                  </a:lnTo>
                  <a:lnTo>
                    <a:pt x="615" y="550"/>
                  </a:lnTo>
                  <a:lnTo>
                    <a:pt x="625" y="549"/>
                  </a:lnTo>
                  <a:lnTo>
                    <a:pt x="626" y="543"/>
                  </a:lnTo>
                  <a:lnTo>
                    <a:pt x="625" y="540"/>
                  </a:lnTo>
                  <a:lnTo>
                    <a:pt x="626" y="532"/>
                  </a:lnTo>
                  <a:lnTo>
                    <a:pt x="625" y="524"/>
                  </a:lnTo>
                  <a:lnTo>
                    <a:pt x="626" y="520"/>
                  </a:lnTo>
                  <a:lnTo>
                    <a:pt x="633" y="516"/>
                  </a:lnTo>
                  <a:lnTo>
                    <a:pt x="633" y="514"/>
                  </a:lnTo>
                  <a:lnTo>
                    <a:pt x="637" y="514"/>
                  </a:lnTo>
                  <a:lnTo>
                    <a:pt x="638" y="510"/>
                  </a:lnTo>
                  <a:lnTo>
                    <a:pt x="645" y="510"/>
                  </a:lnTo>
                  <a:lnTo>
                    <a:pt x="647" y="506"/>
                  </a:lnTo>
                  <a:lnTo>
                    <a:pt x="662" y="497"/>
                  </a:lnTo>
                  <a:lnTo>
                    <a:pt x="666" y="493"/>
                  </a:lnTo>
                  <a:lnTo>
                    <a:pt x="672" y="487"/>
                  </a:lnTo>
                  <a:lnTo>
                    <a:pt x="675" y="487"/>
                  </a:lnTo>
                  <a:lnTo>
                    <a:pt x="673" y="486"/>
                  </a:lnTo>
                  <a:lnTo>
                    <a:pt x="679" y="483"/>
                  </a:lnTo>
                  <a:lnTo>
                    <a:pt x="680" y="483"/>
                  </a:lnTo>
                  <a:lnTo>
                    <a:pt x="684" y="479"/>
                  </a:lnTo>
                  <a:lnTo>
                    <a:pt x="687" y="475"/>
                  </a:lnTo>
                  <a:lnTo>
                    <a:pt x="686" y="472"/>
                  </a:lnTo>
                  <a:lnTo>
                    <a:pt x="681" y="465"/>
                  </a:lnTo>
                  <a:lnTo>
                    <a:pt x="683" y="461"/>
                  </a:lnTo>
                  <a:lnTo>
                    <a:pt x="691" y="449"/>
                  </a:lnTo>
                  <a:lnTo>
                    <a:pt x="692" y="438"/>
                  </a:lnTo>
                  <a:lnTo>
                    <a:pt x="700" y="427"/>
                  </a:lnTo>
                  <a:lnTo>
                    <a:pt x="700" y="423"/>
                  </a:lnTo>
                  <a:lnTo>
                    <a:pt x="704" y="412"/>
                  </a:lnTo>
                  <a:lnTo>
                    <a:pt x="706" y="408"/>
                  </a:lnTo>
                  <a:lnTo>
                    <a:pt x="712" y="399"/>
                  </a:lnTo>
                  <a:lnTo>
                    <a:pt x="717" y="393"/>
                  </a:lnTo>
                  <a:lnTo>
                    <a:pt x="727" y="388"/>
                  </a:lnTo>
                  <a:lnTo>
                    <a:pt x="731" y="382"/>
                  </a:lnTo>
                  <a:lnTo>
                    <a:pt x="736" y="378"/>
                  </a:lnTo>
                  <a:lnTo>
                    <a:pt x="738" y="375"/>
                  </a:lnTo>
                  <a:lnTo>
                    <a:pt x="741" y="362"/>
                  </a:lnTo>
                  <a:lnTo>
                    <a:pt x="737" y="356"/>
                  </a:lnTo>
                  <a:lnTo>
                    <a:pt x="741" y="348"/>
                  </a:lnTo>
                  <a:lnTo>
                    <a:pt x="742" y="341"/>
                  </a:lnTo>
                  <a:lnTo>
                    <a:pt x="741" y="333"/>
                  </a:lnTo>
                  <a:lnTo>
                    <a:pt x="742" y="332"/>
                  </a:lnTo>
                  <a:lnTo>
                    <a:pt x="747" y="321"/>
                  </a:lnTo>
                  <a:lnTo>
                    <a:pt x="747" y="315"/>
                  </a:lnTo>
                  <a:lnTo>
                    <a:pt x="748" y="307"/>
                  </a:lnTo>
                  <a:lnTo>
                    <a:pt x="752" y="303"/>
                  </a:lnTo>
                  <a:lnTo>
                    <a:pt x="752" y="295"/>
                  </a:lnTo>
                  <a:lnTo>
                    <a:pt x="761" y="288"/>
                  </a:lnTo>
                  <a:lnTo>
                    <a:pt x="759" y="283"/>
                  </a:lnTo>
                  <a:lnTo>
                    <a:pt x="763" y="276"/>
                  </a:lnTo>
                  <a:lnTo>
                    <a:pt x="767" y="274"/>
                  </a:lnTo>
                  <a:lnTo>
                    <a:pt x="769" y="274"/>
                  </a:lnTo>
                  <a:lnTo>
                    <a:pt x="769" y="270"/>
                  </a:lnTo>
                  <a:lnTo>
                    <a:pt x="767" y="266"/>
                  </a:lnTo>
                  <a:lnTo>
                    <a:pt x="772" y="258"/>
                  </a:lnTo>
                  <a:lnTo>
                    <a:pt x="780" y="251"/>
                  </a:lnTo>
                  <a:lnTo>
                    <a:pt x="780" y="254"/>
                  </a:lnTo>
                  <a:lnTo>
                    <a:pt x="780" y="250"/>
                  </a:lnTo>
                  <a:lnTo>
                    <a:pt x="781" y="247"/>
                  </a:lnTo>
                  <a:lnTo>
                    <a:pt x="786" y="247"/>
                  </a:lnTo>
                  <a:lnTo>
                    <a:pt x="793" y="247"/>
                  </a:lnTo>
                  <a:lnTo>
                    <a:pt x="795" y="247"/>
                  </a:lnTo>
                  <a:lnTo>
                    <a:pt x="801" y="247"/>
                  </a:lnTo>
                  <a:lnTo>
                    <a:pt x="809" y="242"/>
                  </a:lnTo>
                  <a:lnTo>
                    <a:pt x="812" y="228"/>
                  </a:lnTo>
                  <a:lnTo>
                    <a:pt x="818" y="224"/>
                  </a:lnTo>
                  <a:lnTo>
                    <a:pt x="826" y="221"/>
                  </a:lnTo>
                  <a:lnTo>
                    <a:pt x="827" y="217"/>
                  </a:lnTo>
                  <a:lnTo>
                    <a:pt x="827" y="212"/>
                  </a:lnTo>
                  <a:lnTo>
                    <a:pt x="825" y="207"/>
                  </a:lnTo>
                  <a:lnTo>
                    <a:pt x="825" y="201"/>
                  </a:lnTo>
                  <a:lnTo>
                    <a:pt x="833" y="195"/>
                  </a:lnTo>
                  <a:lnTo>
                    <a:pt x="839" y="189"/>
                  </a:lnTo>
                  <a:lnTo>
                    <a:pt x="848" y="184"/>
                  </a:lnTo>
                  <a:lnTo>
                    <a:pt x="851" y="175"/>
                  </a:lnTo>
                  <a:lnTo>
                    <a:pt x="855" y="172"/>
                  </a:lnTo>
                  <a:lnTo>
                    <a:pt x="857" y="171"/>
                  </a:lnTo>
                  <a:lnTo>
                    <a:pt x="860" y="162"/>
                  </a:lnTo>
                  <a:lnTo>
                    <a:pt x="868" y="160"/>
                  </a:lnTo>
                  <a:lnTo>
                    <a:pt x="869" y="157"/>
                  </a:lnTo>
                  <a:lnTo>
                    <a:pt x="866" y="152"/>
                  </a:lnTo>
                  <a:lnTo>
                    <a:pt x="861" y="146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58" y="120"/>
                  </a:lnTo>
                  <a:lnTo>
                    <a:pt x="858" y="113"/>
                  </a:lnTo>
                  <a:lnTo>
                    <a:pt x="860" y="112"/>
                  </a:lnTo>
                  <a:lnTo>
                    <a:pt x="868" y="112"/>
                  </a:lnTo>
                  <a:lnTo>
                    <a:pt x="876" y="105"/>
                  </a:lnTo>
                  <a:lnTo>
                    <a:pt x="877" y="101"/>
                  </a:lnTo>
                  <a:lnTo>
                    <a:pt x="885" y="90"/>
                  </a:lnTo>
                  <a:lnTo>
                    <a:pt x="886" y="79"/>
                  </a:lnTo>
                  <a:lnTo>
                    <a:pt x="887" y="77"/>
                  </a:lnTo>
                  <a:lnTo>
                    <a:pt x="893" y="73"/>
                  </a:lnTo>
                  <a:lnTo>
                    <a:pt x="901" y="75"/>
                  </a:lnTo>
                  <a:lnTo>
                    <a:pt x="912" y="71"/>
                  </a:lnTo>
                  <a:lnTo>
                    <a:pt x="919" y="56"/>
                  </a:lnTo>
                  <a:lnTo>
                    <a:pt x="925" y="48"/>
                  </a:lnTo>
                  <a:lnTo>
                    <a:pt x="930" y="46"/>
                  </a:lnTo>
                  <a:lnTo>
                    <a:pt x="944" y="42"/>
                  </a:lnTo>
                  <a:lnTo>
                    <a:pt x="952" y="34"/>
                  </a:lnTo>
                  <a:lnTo>
                    <a:pt x="957" y="30"/>
                  </a:lnTo>
                  <a:lnTo>
                    <a:pt x="961" y="30"/>
                  </a:lnTo>
                  <a:lnTo>
                    <a:pt x="968" y="34"/>
                  </a:lnTo>
                  <a:lnTo>
                    <a:pt x="974" y="30"/>
                  </a:lnTo>
                  <a:lnTo>
                    <a:pt x="982" y="29"/>
                  </a:lnTo>
                  <a:lnTo>
                    <a:pt x="991" y="33"/>
                  </a:lnTo>
                  <a:lnTo>
                    <a:pt x="994" y="34"/>
                  </a:lnTo>
                  <a:lnTo>
                    <a:pt x="1004" y="34"/>
                  </a:lnTo>
                  <a:lnTo>
                    <a:pt x="1012" y="37"/>
                  </a:lnTo>
                  <a:lnTo>
                    <a:pt x="1018" y="34"/>
                  </a:lnTo>
                  <a:lnTo>
                    <a:pt x="1021" y="34"/>
                  </a:lnTo>
                  <a:lnTo>
                    <a:pt x="1027" y="34"/>
                  </a:lnTo>
                  <a:lnTo>
                    <a:pt x="1030" y="30"/>
                  </a:lnTo>
                  <a:lnTo>
                    <a:pt x="1040" y="29"/>
                  </a:lnTo>
                  <a:lnTo>
                    <a:pt x="1053" y="26"/>
                  </a:lnTo>
                  <a:lnTo>
                    <a:pt x="1061" y="30"/>
                  </a:lnTo>
                  <a:lnTo>
                    <a:pt x="1069" y="26"/>
                  </a:lnTo>
                  <a:lnTo>
                    <a:pt x="1074" y="29"/>
                  </a:lnTo>
                  <a:lnTo>
                    <a:pt x="1078" y="34"/>
                  </a:lnTo>
                  <a:lnTo>
                    <a:pt x="1083" y="37"/>
                  </a:lnTo>
                  <a:lnTo>
                    <a:pt x="1087" y="33"/>
                  </a:lnTo>
                  <a:lnTo>
                    <a:pt x="1089" y="29"/>
                  </a:lnTo>
                  <a:lnTo>
                    <a:pt x="1092" y="26"/>
                  </a:lnTo>
                  <a:lnTo>
                    <a:pt x="1093" y="15"/>
                  </a:lnTo>
                  <a:lnTo>
                    <a:pt x="1103" y="10"/>
                  </a:lnTo>
                  <a:lnTo>
                    <a:pt x="1109" y="8"/>
                  </a:lnTo>
                  <a:lnTo>
                    <a:pt x="1112" y="10"/>
                  </a:lnTo>
                  <a:lnTo>
                    <a:pt x="1125" y="6"/>
                  </a:lnTo>
                  <a:lnTo>
                    <a:pt x="1129" y="6"/>
                  </a:lnTo>
                  <a:lnTo>
                    <a:pt x="1135" y="6"/>
                  </a:lnTo>
                  <a:lnTo>
                    <a:pt x="1146" y="0"/>
                  </a:lnTo>
                  <a:lnTo>
                    <a:pt x="1156" y="8"/>
                  </a:lnTo>
                  <a:lnTo>
                    <a:pt x="1164" y="14"/>
                  </a:lnTo>
                  <a:lnTo>
                    <a:pt x="1184" y="46"/>
                  </a:lnTo>
                  <a:lnTo>
                    <a:pt x="1190" y="60"/>
                  </a:lnTo>
                  <a:lnTo>
                    <a:pt x="1197" y="70"/>
                  </a:lnTo>
                  <a:lnTo>
                    <a:pt x="1210" y="77"/>
                  </a:lnTo>
                  <a:lnTo>
                    <a:pt x="1220" y="85"/>
                  </a:lnTo>
                  <a:lnTo>
                    <a:pt x="1229" y="97"/>
                  </a:lnTo>
                  <a:lnTo>
                    <a:pt x="1234" y="108"/>
                  </a:lnTo>
                  <a:lnTo>
                    <a:pt x="1240" y="113"/>
                  </a:lnTo>
                  <a:lnTo>
                    <a:pt x="1242" y="118"/>
                  </a:lnTo>
                  <a:lnTo>
                    <a:pt x="1246" y="122"/>
                  </a:lnTo>
                  <a:lnTo>
                    <a:pt x="1263" y="134"/>
                  </a:lnTo>
                  <a:lnTo>
                    <a:pt x="1271" y="145"/>
                  </a:lnTo>
                  <a:lnTo>
                    <a:pt x="1278" y="150"/>
                  </a:lnTo>
                  <a:lnTo>
                    <a:pt x="1285" y="150"/>
                  </a:lnTo>
                  <a:lnTo>
                    <a:pt x="1303" y="149"/>
                  </a:lnTo>
                  <a:lnTo>
                    <a:pt x="1311" y="150"/>
                  </a:lnTo>
                  <a:lnTo>
                    <a:pt x="1313" y="154"/>
                  </a:lnTo>
                  <a:lnTo>
                    <a:pt x="1310" y="169"/>
                  </a:lnTo>
                  <a:lnTo>
                    <a:pt x="1310" y="172"/>
                  </a:lnTo>
                  <a:lnTo>
                    <a:pt x="1315" y="179"/>
                  </a:lnTo>
                  <a:lnTo>
                    <a:pt x="1321" y="183"/>
                  </a:lnTo>
                  <a:lnTo>
                    <a:pt x="1328" y="184"/>
                  </a:lnTo>
                  <a:lnTo>
                    <a:pt x="1352" y="184"/>
                  </a:lnTo>
                  <a:lnTo>
                    <a:pt x="1364" y="176"/>
                  </a:lnTo>
                  <a:lnTo>
                    <a:pt x="1368" y="175"/>
                  </a:lnTo>
                  <a:lnTo>
                    <a:pt x="1381" y="184"/>
                  </a:lnTo>
                  <a:lnTo>
                    <a:pt x="1385" y="187"/>
                  </a:lnTo>
                  <a:lnTo>
                    <a:pt x="1406" y="187"/>
                  </a:lnTo>
                  <a:lnTo>
                    <a:pt x="1417" y="191"/>
                  </a:lnTo>
                  <a:lnTo>
                    <a:pt x="1424" y="202"/>
                  </a:lnTo>
                  <a:lnTo>
                    <a:pt x="1436" y="216"/>
                  </a:lnTo>
                  <a:lnTo>
                    <a:pt x="1452" y="239"/>
                  </a:lnTo>
                  <a:lnTo>
                    <a:pt x="1463" y="251"/>
                  </a:lnTo>
                  <a:lnTo>
                    <a:pt x="1477" y="258"/>
                  </a:lnTo>
                  <a:lnTo>
                    <a:pt x="1483" y="262"/>
                  </a:lnTo>
                  <a:lnTo>
                    <a:pt x="1516" y="262"/>
                  </a:lnTo>
                  <a:lnTo>
                    <a:pt x="1520" y="261"/>
                  </a:lnTo>
                  <a:lnTo>
                    <a:pt x="1523" y="254"/>
                  </a:lnTo>
                  <a:lnTo>
                    <a:pt x="1538" y="250"/>
                  </a:lnTo>
                  <a:lnTo>
                    <a:pt x="1544" y="251"/>
                  </a:lnTo>
                  <a:lnTo>
                    <a:pt x="1552" y="258"/>
                  </a:lnTo>
                  <a:lnTo>
                    <a:pt x="1573" y="261"/>
                  </a:lnTo>
                  <a:lnTo>
                    <a:pt x="1594" y="278"/>
                  </a:lnTo>
                  <a:lnTo>
                    <a:pt x="1602" y="281"/>
                  </a:lnTo>
                  <a:lnTo>
                    <a:pt x="1617" y="281"/>
                  </a:lnTo>
                  <a:lnTo>
                    <a:pt x="1671" y="270"/>
                  </a:lnTo>
                  <a:lnTo>
                    <a:pt x="1677" y="270"/>
                  </a:lnTo>
                  <a:lnTo>
                    <a:pt x="1683" y="270"/>
                  </a:lnTo>
                  <a:lnTo>
                    <a:pt x="1690" y="276"/>
                  </a:lnTo>
                  <a:lnTo>
                    <a:pt x="1698" y="284"/>
                  </a:lnTo>
                  <a:lnTo>
                    <a:pt x="1706" y="288"/>
                  </a:lnTo>
                  <a:lnTo>
                    <a:pt x="1708" y="299"/>
                  </a:lnTo>
                  <a:lnTo>
                    <a:pt x="1706" y="307"/>
                  </a:lnTo>
                  <a:lnTo>
                    <a:pt x="1709" y="313"/>
                  </a:lnTo>
                  <a:lnTo>
                    <a:pt x="1713" y="315"/>
                  </a:lnTo>
                  <a:lnTo>
                    <a:pt x="1721" y="313"/>
                  </a:lnTo>
                  <a:lnTo>
                    <a:pt x="1730" y="313"/>
                  </a:lnTo>
                  <a:lnTo>
                    <a:pt x="1745" y="326"/>
                  </a:lnTo>
                  <a:lnTo>
                    <a:pt x="1748" y="329"/>
                  </a:lnTo>
                  <a:lnTo>
                    <a:pt x="1743" y="341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91" name="Freeform 190"/>
            <p:cNvSpPr>
              <a:spLocks/>
            </p:cNvSpPr>
            <p:nvPr/>
          </p:nvSpPr>
          <p:spPr bwMode="auto">
            <a:xfrm>
              <a:off x="609041" y="2338364"/>
              <a:ext cx="821183" cy="803425"/>
            </a:xfrm>
            <a:custGeom>
              <a:avLst/>
              <a:gdLst>
                <a:gd name="T0" fmla="*/ 4106 w 4119"/>
                <a:gd name="T1" fmla="*/ 2864 h 2977"/>
                <a:gd name="T2" fmla="*/ 4019 w 4119"/>
                <a:gd name="T3" fmla="*/ 2963 h 2977"/>
                <a:gd name="T4" fmla="*/ 3846 w 4119"/>
                <a:gd name="T5" fmla="*/ 2712 h 2977"/>
                <a:gd name="T6" fmla="*/ 3726 w 4119"/>
                <a:gd name="T7" fmla="*/ 2432 h 2977"/>
                <a:gd name="T8" fmla="*/ 3471 w 4119"/>
                <a:gd name="T9" fmla="*/ 2248 h 2977"/>
                <a:gd name="T10" fmla="*/ 3107 w 4119"/>
                <a:gd name="T11" fmla="*/ 2106 h 2977"/>
                <a:gd name="T12" fmla="*/ 2838 w 4119"/>
                <a:gd name="T13" fmla="*/ 1932 h 2977"/>
                <a:gd name="T14" fmla="*/ 2638 w 4119"/>
                <a:gd name="T15" fmla="*/ 1993 h 2977"/>
                <a:gd name="T16" fmla="*/ 2535 w 4119"/>
                <a:gd name="T17" fmla="*/ 2164 h 2977"/>
                <a:gd name="T18" fmla="*/ 2443 w 4119"/>
                <a:gd name="T19" fmla="*/ 2315 h 2977"/>
                <a:gd name="T20" fmla="*/ 2341 w 4119"/>
                <a:gd name="T21" fmla="*/ 2472 h 2977"/>
                <a:gd name="T22" fmla="*/ 2292 w 4119"/>
                <a:gd name="T23" fmla="*/ 2621 h 2977"/>
                <a:gd name="T24" fmla="*/ 2213 w 4119"/>
                <a:gd name="T25" fmla="*/ 2218 h 2977"/>
                <a:gd name="T26" fmla="*/ 1482 w 4119"/>
                <a:gd name="T27" fmla="*/ 1964 h 2977"/>
                <a:gd name="T28" fmla="*/ 1125 w 4119"/>
                <a:gd name="T29" fmla="*/ 1764 h 2977"/>
                <a:gd name="T30" fmla="*/ 686 w 4119"/>
                <a:gd name="T31" fmla="*/ 1622 h 2977"/>
                <a:gd name="T32" fmla="*/ 141 w 4119"/>
                <a:gd name="T33" fmla="*/ 1273 h 2977"/>
                <a:gd name="T34" fmla="*/ 135 w 4119"/>
                <a:gd name="T35" fmla="*/ 1210 h 2977"/>
                <a:gd name="T36" fmla="*/ 131 w 4119"/>
                <a:gd name="T37" fmla="*/ 1143 h 2977"/>
                <a:gd name="T38" fmla="*/ 120 w 4119"/>
                <a:gd name="T39" fmla="*/ 1072 h 2977"/>
                <a:gd name="T40" fmla="*/ 73 w 4119"/>
                <a:gd name="T41" fmla="*/ 1024 h 2977"/>
                <a:gd name="T42" fmla="*/ 30 w 4119"/>
                <a:gd name="T43" fmla="*/ 980 h 2977"/>
                <a:gd name="T44" fmla="*/ 10 w 4119"/>
                <a:gd name="T45" fmla="*/ 918 h 2977"/>
                <a:gd name="T46" fmla="*/ 5 w 4119"/>
                <a:gd name="T47" fmla="*/ 850 h 2977"/>
                <a:gd name="T48" fmla="*/ 18 w 4119"/>
                <a:gd name="T49" fmla="*/ 798 h 2977"/>
                <a:gd name="T50" fmla="*/ 80 w 4119"/>
                <a:gd name="T51" fmla="*/ 783 h 2977"/>
                <a:gd name="T52" fmla="*/ 146 w 4119"/>
                <a:gd name="T53" fmla="*/ 762 h 2977"/>
                <a:gd name="T54" fmla="*/ 205 w 4119"/>
                <a:gd name="T55" fmla="*/ 734 h 2977"/>
                <a:gd name="T56" fmla="*/ 266 w 4119"/>
                <a:gd name="T57" fmla="*/ 708 h 2977"/>
                <a:gd name="T58" fmla="*/ 330 w 4119"/>
                <a:gd name="T59" fmla="*/ 684 h 2977"/>
                <a:gd name="T60" fmla="*/ 394 w 4119"/>
                <a:gd name="T61" fmla="*/ 662 h 2977"/>
                <a:gd name="T62" fmla="*/ 454 w 4119"/>
                <a:gd name="T63" fmla="*/ 637 h 2977"/>
                <a:gd name="T64" fmla="*/ 520 w 4119"/>
                <a:gd name="T65" fmla="*/ 620 h 2977"/>
                <a:gd name="T66" fmla="*/ 591 w 4119"/>
                <a:gd name="T67" fmla="*/ 604 h 2977"/>
                <a:gd name="T68" fmla="*/ 660 w 4119"/>
                <a:gd name="T69" fmla="*/ 587 h 2977"/>
                <a:gd name="T70" fmla="*/ 722 w 4119"/>
                <a:gd name="T71" fmla="*/ 570 h 2977"/>
                <a:gd name="T72" fmla="*/ 789 w 4119"/>
                <a:gd name="T73" fmla="*/ 547 h 2977"/>
                <a:gd name="T74" fmla="*/ 860 w 4119"/>
                <a:gd name="T75" fmla="*/ 530 h 2977"/>
                <a:gd name="T76" fmla="*/ 921 w 4119"/>
                <a:gd name="T77" fmla="*/ 517 h 2977"/>
                <a:gd name="T78" fmla="*/ 975 w 4119"/>
                <a:gd name="T79" fmla="*/ 506 h 2977"/>
                <a:gd name="T80" fmla="*/ 1034 w 4119"/>
                <a:gd name="T81" fmla="*/ 488 h 2977"/>
                <a:gd name="T82" fmla="*/ 1093 w 4119"/>
                <a:gd name="T83" fmla="*/ 455 h 2977"/>
                <a:gd name="T84" fmla="*/ 1159 w 4119"/>
                <a:gd name="T85" fmla="*/ 419 h 2977"/>
                <a:gd name="T86" fmla="*/ 1230 w 4119"/>
                <a:gd name="T87" fmla="*/ 401 h 2977"/>
                <a:gd name="T88" fmla="*/ 1292 w 4119"/>
                <a:gd name="T89" fmla="*/ 382 h 2977"/>
                <a:gd name="T90" fmla="*/ 1355 w 4119"/>
                <a:gd name="T91" fmla="*/ 351 h 2977"/>
                <a:gd name="T92" fmla="*/ 1413 w 4119"/>
                <a:gd name="T93" fmla="*/ 329 h 2977"/>
                <a:gd name="T94" fmla="*/ 1482 w 4119"/>
                <a:gd name="T95" fmla="*/ 312 h 2977"/>
                <a:gd name="T96" fmla="*/ 1540 w 4119"/>
                <a:gd name="T97" fmla="*/ 290 h 2977"/>
                <a:gd name="T98" fmla="*/ 1608 w 4119"/>
                <a:gd name="T99" fmla="*/ 268 h 2977"/>
                <a:gd name="T100" fmla="*/ 2463 w 4119"/>
                <a:gd name="T101" fmla="*/ 22 h 2977"/>
                <a:gd name="T102" fmla="*/ 2659 w 4119"/>
                <a:gd name="T103" fmla="*/ 339 h 2977"/>
                <a:gd name="T104" fmla="*/ 2925 w 4119"/>
                <a:gd name="T105" fmla="*/ 413 h 2977"/>
                <a:gd name="T106" fmla="*/ 3354 w 4119"/>
                <a:gd name="T107" fmla="*/ 327 h 2977"/>
                <a:gd name="T108" fmla="*/ 3502 w 4119"/>
                <a:gd name="T109" fmla="*/ 707 h 2977"/>
                <a:gd name="T110" fmla="*/ 3524 w 4119"/>
                <a:gd name="T111" fmla="*/ 998 h 2977"/>
                <a:gd name="T112" fmla="*/ 3378 w 4119"/>
                <a:gd name="T113" fmla="*/ 1344 h 2977"/>
                <a:gd name="T114" fmla="*/ 3343 w 4119"/>
                <a:gd name="T115" fmla="*/ 1621 h 2977"/>
                <a:gd name="T116" fmla="*/ 3539 w 4119"/>
                <a:gd name="T117" fmla="*/ 1951 h 2977"/>
                <a:gd name="T118" fmla="*/ 3862 w 4119"/>
                <a:gd name="T119" fmla="*/ 2259 h 2977"/>
                <a:gd name="T120" fmla="*/ 3926 w 4119"/>
                <a:gd name="T121" fmla="*/ 2484 h 2977"/>
                <a:gd name="T122" fmla="*/ 4093 w 4119"/>
                <a:gd name="T123" fmla="*/ 2583 h 297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119"/>
                <a:gd name="T187" fmla="*/ 0 h 2977"/>
                <a:gd name="T188" fmla="*/ 4119 w 4119"/>
                <a:gd name="T189" fmla="*/ 2977 h 297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119" h="2977">
                  <a:moveTo>
                    <a:pt x="4115" y="2711"/>
                  </a:moveTo>
                  <a:lnTo>
                    <a:pt x="4108" y="2712"/>
                  </a:lnTo>
                  <a:lnTo>
                    <a:pt x="4101" y="2716"/>
                  </a:lnTo>
                  <a:lnTo>
                    <a:pt x="4098" y="2727"/>
                  </a:lnTo>
                  <a:lnTo>
                    <a:pt x="4094" y="2731"/>
                  </a:lnTo>
                  <a:lnTo>
                    <a:pt x="4095" y="2731"/>
                  </a:lnTo>
                  <a:lnTo>
                    <a:pt x="4098" y="2731"/>
                  </a:lnTo>
                  <a:lnTo>
                    <a:pt x="4100" y="2733"/>
                  </a:lnTo>
                  <a:lnTo>
                    <a:pt x="4097" y="2745"/>
                  </a:lnTo>
                  <a:lnTo>
                    <a:pt x="4098" y="2749"/>
                  </a:lnTo>
                  <a:lnTo>
                    <a:pt x="4101" y="2752"/>
                  </a:lnTo>
                  <a:lnTo>
                    <a:pt x="4108" y="2752"/>
                  </a:lnTo>
                  <a:lnTo>
                    <a:pt x="4112" y="2760"/>
                  </a:lnTo>
                  <a:lnTo>
                    <a:pt x="4115" y="2760"/>
                  </a:lnTo>
                  <a:lnTo>
                    <a:pt x="4118" y="2757"/>
                  </a:lnTo>
                  <a:lnTo>
                    <a:pt x="4119" y="2760"/>
                  </a:lnTo>
                  <a:lnTo>
                    <a:pt x="4115" y="2772"/>
                  </a:lnTo>
                  <a:lnTo>
                    <a:pt x="4109" y="2775"/>
                  </a:lnTo>
                  <a:lnTo>
                    <a:pt x="4114" y="2780"/>
                  </a:lnTo>
                  <a:lnTo>
                    <a:pt x="4114" y="2784"/>
                  </a:lnTo>
                  <a:lnTo>
                    <a:pt x="4109" y="2794"/>
                  </a:lnTo>
                  <a:lnTo>
                    <a:pt x="4109" y="2802"/>
                  </a:lnTo>
                  <a:lnTo>
                    <a:pt x="4112" y="2805"/>
                  </a:lnTo>
                  <a:lnTo>
                    <a:pt x="4119" y="2810"/>
                  </a:lnTo>
                  <a:lnTo>
                    <a:pt x="4119" y="2817"/>
                  </a:lnTo>
                  <a:lnTo>
                    <a:pt x="4112" y="2829"/>
                  </a:lnTo>
                  <a:lnTo>
                    <a:pt x="4111" y="2837"/>
                  </a:lnTo>
                  <a:lnTo>
                    <a:pt x="4108" y="2843"/>
                  </a:lnTo>
                  <a:lnTo>
                    <a:pt x="4106" y="2851"/>
                  </a:lnTo>
                  <a:lnTo>
                    <a:pt x="4104" y="2857"/>
                  </a:lnTo>
                  <a:lnTo>
                    <a:pt x="4104" y="2861"/>
                  </a:lnTo>
                  <a:lnTo>
                    <a:pt x="4106" y="2864"/>
                  </a:lnTo>
                  <a:lnTo>
                    <a:pt x="4109" y="2869"/>
                  </a:lnTo>
                  <a:lnTo>
                    <a:pt x="4106" y="2873"/>
                  </a:lnTo>
                  <a:lnTo>
                    <a:pt x="4098" y="2886"/>
                  </a:lnTo>
                  <a:lnTo>
                    <a:pt x="4098" y="2892"/>
                  </a:lnTo>
                  <a:lnTo>
                    <a:pt x="4101" y="2896"/>
                  </a:lnTo>
                  <a:lnTo>
                    <a:pt x="4105" y="2899"/>
                  </a:lnTo>
                  <a:lnTo>
                    <a:pt x="4105" y="2902"/>
                  </a:lnTo>
                  <a:lnTo>
                    <a:pt x="4104" y="2906"/>
                  </a:lnTo>
                  <a:lnTo>
                    <a:pt x="4098" y="2910"/>
                  </a:lnTo>
                  <a:lnTo>
                    <a:pt x="4098" y="2914"/>
                  </a:lnTo>
                  <a:lnTo>
                    <a:pt x="4105" y="2931"/>
                  </a:lnTo>
                  <a:lnTo>
                    <a:pt x="4108" y="2940"/>
                  </a:lnTo>
                  <a:lnTo>
                    <a:pt x="4112" y="2947"/>
                  </a:lnTo>
                  <a:lnTo>
                    <a:pt x="4114" y="2956"/>
                  </a:lnTo>
                  <a:lnTo>
                    <a:pt x="4112" y="2959"/>
                  </a:lnTo>
                  <a:lnTo>
                    <a:pt x="4108" y="2963"/>
                  </a:lnTo>
                  <a:lnTo>
                    <a:pt x="4104" y="2963"/>
                  </a:lnTo>
                  <a:lnTo>
                    <a:pt x="4097" y="2961"/>
                  </a:lnTo>
                  <a:lnTo>
                    <a:pt x="4094" y="2963"/>
                  </a:lnTo>
                  <a:lnTo>
                    <a:pt x="4094" y="2969"/>
                  </a:lnTo>
                  <a:lnTo>
                    <a:pt x="4097" y="2971"/>
                  </a:lnTo>
                  <a:lnTo>
                    <a:pt x="4101" y="2973"/>
                  </a:lnTo>
                  <a:lnTo>
                    <a:pt x="4095" y="2977"/>
                  </a:lnTo>
                  <a:lnTo>
                    <a:pt x="4078" y="2975"/>
                  </a:lnTo>
                  <a:lnTo>
                    <a:pt x="4070" y="2973"/>
                  </a:lnTo>
                  <a:lnTo>
                    <a:pt x="4059" y="2965"/>
                  </a:lnTo>
                  <a:lnTo>
                    <a:pt x="4054" y="2963"/>
                  </a:lnTo>
                  <a:lnTo>
                    <a:pt x="4048" y="2961"/>
                  </a:lnTo>
                  <a:lnTo>
                    <a:pt x="4041" y="2963"/>
                  </a:lnTo>
                  <a:lnTo>
                    <a:pt x="4036" y="2969"/>
                  </a:lnTo>
                  <a:lnTo>
                    <a:pt x="4031" y="2969"/>
                  </a:lnTo>
                  <a:lnTo>
                    <a:pt x="4019" y="2963"/>
                  </a:lnTo>
                  <a:lnTo>
                    <a:pt x="4009" y="2959"/>
                  </a:lnTo>
                  <a:lnTo>
                    <a:pt x="3986" y="2940"/>
                  </a:lnTo>
                  <a:lnTo>
                    <a:pt x="3984" y="2930"/>
                  </a:lnTo>
                  <a:lnTo>
                    <a:pt x="3990" y="2918"/>
                  </a:lnTo>
                  <a:lnTo>
                    <a:pt x="3990" y="2914"/>
                  </a:lnTo>
                  <a:lnTo>
                    <a:pt x="3989" y="2909"/>
                  </a:lnTo>
                  <a:lnTo>
                    <a:pt x="3981" y="2904"/>
                  </a:lnTo>
                  <a:lnTo>
                    <a:pt x="3975" y="2899"/>
                  </a:lnTo>
                  <a:lnTo>
                    <a:pt x="3970" y="2896"/>
                  </a:lnTo>
                  <a:lnTo>
                    <a:pt x="3968" y="2890"/>
                  </a:lnTo>
                  <a:lnTo>
                    <a:pt x="3962" y="2872"/>
                  </a:lnTo>
                  <a:lnTo>
                    <a:pt x="3961" y="2869"/>
                  </a:lnTo>
                  <a:lnTo>
                    <a:pt x="3958" y="2865"/>
                  </a:lnTo>
                  <a:lnTo>
                    <a:pt x="3939" y="2860"/>
                  </a:lnTo>
                  <a:lnTo>
                    <a:pt x="3934" y="2857"/>
                  </a:lnTo>
                  <a:lnTo>
                    <a:pt x="3925" y="2843"/>
                  </a:lnTo>
                  <a:lnTo>
                    <a:pt x="3922" y="2835"/>
                  </a:lnTo>
                  <a:lnTo>
                    <a:pt x="3925" y="2829"/>
                  </a:lnTo>
                  <a:lnTo>
                    <a:pt x="3926" y="2823"/>
                  </a:lnTo>
                  <a:lnTo>
                    <a:pt x="3922" y="2814"/>
                  </a:lnTo>
                  <a:lnTo>
                    <a:pt x="3918" y="2806"/>
                  </a:lnTo>
                  <a:lnTo>
                    <a:pt x="3901" y="2792"/>
                  </a:lnTo>
                  <a:lnTo>
                    <a:pt x="3898" y="2787"/>
                  </a:lnTo>
                  <a:lnTo>
                    <a:pt x="3893" y="2780"/>
                  </a:lnTo>
                  <a:lnTo>
                    <a:pt x="3891" y="2756"/>
                  </a:lnTo>
                  <a:lnTo>
                    <a:pt x="3890" y="2752"/>
                  </a:lnTo>
                  <a:lnTo>
                    <a:pt x="3884" y="2743"/>
                  </a:lnTo>
                  <a:lnTo>
                    <a:pt x="3877" y="2727"/>
                  </a:lnTo>
                  <a:lnTo>
                    <a:pt x="3872" y="2722"/>
                  </a:lnTo>
                  <a:lnTo>
                    <a:pt x="3856" y="2720"/>
                  </a:lnTo>
                  <a:lnTo>
                    <a:pt x="3852" y="2719"/>
                  </a:lnTo>
                  <a:lnTo>
                    <a:pt x="3846" y="2712"/>
                  </a:lnTo>
                  <a:lnTo>
                    <a:pt x="3844" y="2705"/>
                  </a:lnTo>
                  <a:lnTo>
                    <a:pt x="3841" y="2698"/>
                  </a:lnTo>
                  <a:lnTo>
                    <a:pt x="3833" y="2685"/>
                  </a:lnTo>
                  <a:lnTo>
                    <a:pt x="3830" y="2674"/>
                  </a:lnTo>
                  <a:lnTo>
                    <a:pt x="3826" y="2650"/>
                  </a:lnTo>
                  <a:lnTo>
                    <a:pt x="3826" y="2637"/>
                  </a:lnTo>
                  <a:lnTo>
                    <a:pt x="3824" y="2633"/>
                  </a:lnTo>
                  <a:lnTo>
                    <a:pt x="3813" y="2623"/>
                  </a:lnTo>
                  <a:lnTo>
                    <a:pt x="3808" y="2607"/>
                  </a:lnTo>
                  <a:lnTo>
                    <a:pt x="3787" y="2583"/>
                  </a:lnTo>
                  <a:lnTo>
                    <a:pt x="3787" y="2576"/>
                  </a:lnTo>
                  <a:lnTo>
                    <a:pt x="3790" y="2561"/>
                  </a:lnTo>
                  <a:lnTo>
                    <a:pt x="3790" y="2556"/>
                  </a:lnTo>
                  <a:lnTo>
                    <a:pt x="3787" y="2551"/>
                  </a:lnTo>
                  <a:lnTo>
                    <a:pt x="3779" y="2544"/>
                  </a:lnTo>
                  <a:lnTo>
                    <a:pt x="3774" y="2538"/>
                  </a:lnTo>
                  <a:lnTo>
                    <a:pt x="3773" y="2532"/>
                  </a:lnTo>
                  <a:lnTo>
                    <a:pt x="3776" y="2517"/>
                  </a:lnTo>
                  <a:lnTo>
                    <a:pt x="3773" y="2513"/>
                  </a:lnTo>
                  <a:lnTo>
                    <a:pt x="3766" y="2509"/>
                  </a:lnTo>
                  <a:lnTo>
                    <a:pt x="3763" y="2503"/>
                  </a:lnTo>
                  <a:lnTo>
                    <a:pt x="3758" y="2499"/>
                  </a:lnTo>
                  <a:lnTo>
                    <a:pt x="3756" y="2495"/>
                  </a:lnTo>
                  <a:lnTo>
                    <a:pt x="3756" y="2490"/>
                  </a:lnTo>
                  <a:lnTo>
                    <a:pt x="3762" y="2476"/>
                  </a:lnTo>
                  <a:lnTo>
                    <a:pt x="3760" y="2462"/>
                  </a:lnTo>
                  <a:lnTo>
                    <a:pt x="3759" y="2458"/>
                  </a:lnTo>
                  <a:lnTo>
                    <a:pt x="3754" y="2453"/>
                  </a:lnTo>
                  <a:lnTo>
                    <a:pt x="3737" y="2442"/>
                  </a:lnTo>
                  <a:lnTo>
                    <a:pt x="3726" y="2441"/>
                  </a:lnTo>
                  <a:lnTo>
                    <a:pt x="3724" y="2438"/>
                  </a:lnTo>
                  <a:lnTo>
                    <a:pt x="3726" y="2432"/>
                  </a:lnTo>
                  <a:lnTo>
                    <a:pt x="3724" y="2426"/>
                  </a:lnTo>
                  <a:lnTo>
                    <a:pt x="3717" y="2422"/>
                  </a:lnTo>
                  <a:lnTo>
                    <a:pt x="3710" y="2409"/>
                  </a:lnTo>
                  <a:lnTo>
                    <a:pt x="3704" y="2404"/>
                  </a:lnTo>
                  <a:lnTo>
                    <a:pt x="3701" y="2401"/>
                  </a:lnTo>
                  <a:lnTo>
                    <a:pt x="3694" y="2397"/>
                  </a:lnTo>
                  <a:lnTo>
                    <a:pt x="3691" y="2394"/>
                  </a:lnTo>
                  <a:lnTo>
                    <a:pt x="3690" y="2379"/>
                  </a:lnTo>
                  <a:lnTo>
                    <a:pt x="3688" y="2375"/>
                  </a:lnTo>
                  <a:lnTo>
                    <a:pt x="3690" y="2370"/>
                  </a:lnTo>
                  <a:lnTo>
                    <a:pt x="3688" y="2365"/>
                  </a:lnTo>
                  <a:lnTo>
                    <a:pt x="3679" y="2363"/>
                  </a:lnTo>
                  <a:lnTo>
                    <a:pt x="3673" y="2357"/>
                  </a:lnTo>
                  <a:lnTo>
                    <a:pt x="3665" y="2353"/>
                  </a:lnTo>
                  <a:lnTo>
                    <a:pt x="3656" y="2345"/>
                  </a:lnTo>
                  <a:lnTo>
                    <a:pt x="3634" y="2342"/>
                  </a:lnTo>
                  <a:lnTo>
                    <a:pt x="3621" y="2334"/>
                  </a:lnTo>
                  <a:lnTo>
                    <a:pt x="3612" y="2333"/>
                  </a:lnTo>
                  <a:lnTo>
                    <a:pt x="3594" y="2329"/>
                  </a:lnTo>
                  <a:lnTo>
                    <a:pt x="3580" y="2329"/>
                  </a:lnTo>
                  <a:lnTo>
                    <a:pt x="3552" y="2316"/>
                  </a:lnTo>
                  <a:lnTo>
                    <a:pt x="3541" y="2308"/>
                  </a:lnTo>
                  <a:lnTo>
                    <a:pt x="3534" y="2293"/>
                  </a:lnTo>
                  <a:lnTo>
                    <a:pt x="3525" y="2290"/>
                  </a:lnTo>
                  <a:lnTo>
                    <a:pt x="3521" y="2284"/>
                  </a:lnTo>
                  <a:lnTo>
                    <a:pt x="3520" y="2278"/>
                  </a:lnTo>
                  <a:lnTo>
                    <a:pt x="3516" y="2271"/>
                  </a:lnTo>
                  <a:lnTo>
                    <a:pt x="3494" y="2258"/>
                  </a:lnTo>
                  <a:lnTo>
                    <a:pt x="3480" y="2259"/>
                  </a:lnTo>
                  <a:lnTo>
                    <a:pt x="3475" y="2255"/>
                  </a:lnTo>
                  <a:lnTo>
                    <a:pt x="3474" y="2251"/>
                  </a:lnTo>
                  <a:lnTo>
                    <a:pt x="3471" y="2248"/>
                  </a:lnTo>
                  <a:lnTo>
                    <a:pt x="3456" y="2235"/>
                  </a:lnTo>
                  <a:lnTo>
                    <a:pt x="3447" y="2235"/>
                  </a:lnTo>
                  <a:lnTo>
                    <a:pt x="3439" y="2237"/>
                  </a:lnTo>
                  <a:lnTo>
                    <a:pt x="3435" y="2235"/>
                  </a:lnTo>
                  <a:lnTo>
                    <a:pt x="3432" y="2229"/>
                  </a:lnTo>
                  <a:lnTo>
                    <a:pt x="3434" y="2221"/>
                  </a:lnTo>
                  <a:lnTo>
                    <a:pt x="3432" y="2210"/>
                  </a:lnTo>
                  <a:lnTo>
                    <a:pt x="3424" y="2206"/>
                  </a:lnTo>
                  <a:lnTo>
                    <a:pt x="3416" y="2198"/>
                  </a:lnTo>
                  <a:lnTo>
                    <a:pt x="3409" y="2192"/>
                  </a:lnTo>
                  <a:lnTo>
                    <a:pt x="3403" y="2192"/>
                  </a:lnTo>
                  <a:lnTo>
                    <a:pt x="3397" y="2192"/>
                  </a:lnTo>
                  <a:lnTo>
                    <a:pt x="3343" y="2203"/>
                  </a:lnTo>
                  <a:lnTo>
                    <a:pt x="3328" y="2203"/>
                  </a:lnTo>
                  <a:lnTo>
                    <a:pt x="3320" y="2200"/>
                  </a:lnTo>
                  <a:lnTo>
                    <a:pt x="3299" y="2183"/>
                  </a:lnTo>
                  <a:lnTo>
                    <a:pt x="3278" y="2180"/>
                  </a:lnTo>
                  <a:lnTo>
                    <a:pt x="3270" y="2173"/>
                  </a:lnTo>
                  <a:lnTo>
                    <a:pt x="3264" y="2172"/>
                  </a:lnTo>
                  <a:lnTo>
                    <a:pt x="3249" y="2176"/>
                  </a:lnTo>
                  <a:lnTo>
                    <a:pt x="3246" y="2183"/>
                  </a:lnTo>
                  <a:lnTo>
                    <a:pt x="3242" y="2184"/>
                  </a:lnTo>
                  <a:lnTo>
                    <a:pt x="3209" y="2184"/>
                  </a:lnTo>
                  <a:lnTo>
                    <a:pt x="3203" y="2180"/>
                  </a:lnTo>
                  <a:lnTo>
                    <a:pt x="3189" y="2173"/>
                  </a:lnTo>
                  <a:lnTo>
                    <a:pt x="3178" y="2161"/>
                  </a:lnTo>
                  <a:lnTo>
                    <a:pt x="3162" y="2138"/>
                  </a:lnTo>
                  <a:lnTo>
                    <a:pt x="3150" y="2124"/>
                  </a:lnTo>
                  <a:lnTo>
                    <a:pt x="3143" y="2113"/>
                  </a:lnTo>
                  <a:lnTo>
                    <a:pt x="3132" y="2109"/>
                  </a:lnTo>
                  <a:lnTo>
                    <a:pt x="3111" y="2109"/>
                  </a:lnTo>
                  <a:lnTo>
                    <a:pt x="3107" y="2106"/>
                  </a:lnTo>
                  <a:lnTo>
                    <a:pt x="3094" y="2097"/>
                  </a:lnTo>
                  <a:lnTo>
                    <a:pt x="3090" y="2098"/>
                  </a:lnTo>
                  <a:lnTo>
                    <a:pt x="3078" y="2106"/>
                  </a:lnTo>
                  <a:lnTo>
                    <a:pt x="3054" y="2106"/>
                  </a:lnTo>
                  <a:lnTo>
                    <a:pt x="3047" y="2105"/>
                  </a:lnTo>
                  <a:lnTo>
                    <a:pt x="3041" y="2101"/>
                  </a:lnTo>
                  <a:lnTo>
                    <a:pt x="3036" y="2094"/>
                  </a:lnTo>
                  <a:lnTo>
                    <a:pt x="3036" y="2091"/>
                  </a:lnTo>
                  <a:lnTo>
                    <a:pt x="3039" y="2076"/>
                  </a:lnTo>
                  <a:lnTo>
                    <a:pt x="3037" y="2072"/>
                  </a:lnTo>
                  <a:lnTo>
                    <a:pt x="3029" y="2071"/>
                  </a:lnTo>
                  <a:lnTo>
                    <a:pt x="3011" y="2072"/>
                  </a:lnTo>
                  <a:lnTo>
                    <a:pt x="3004" y="2072"/>
                  </a:lnTo>
                  <a:lnTo>
                    <a:pt x="2997" y="2067"/>
                  </a:lnTo>
                  <a:lnTo>
                    <a:pt x="2989" y="2056"/>
                  </a:lnTo>
                  <a:lnTo>
                    <a:pt x="2972" y="2044"/>
                  </a:lnTo>
                  <a:lnTo>
                    <a:pt x="2968" y="2040"/>
                  </a:lnTo>
                  <a:lnTo>
                    <a:pt x="2966" y="2035"/>
                  </a:lnTo>
                  <a:lnTo>
                    <a:pt x="2960" y="2030"/>
                  </a:lnTo>
                  <a:lnTo>
                    <a:pt x="2955" y="2019"/>
                  </a:lnTo>
                  <a:lnTo>
                    <a:pt x="2946" y="2007"/>
                  </a:lnTo>
                  <a:lnTo>
                    <a:pt x="2936" y="1999"/>
                  </a:lnTo>
                  <a:lnTo>
                    <a:pt x="2923" y="1992"/>
                  </a:lnTo>
                  <a:lnTo>
                    <a:pt x="2916" y="1982"/>
                  </a:lnTo>
                  <a:lnTo>
                    <a:pt x="2910" y="1968"/>
                  </a:lnTo>
                  <a:lnTo>
                    <a:pt x="2890" y="1936"/>
                  </a:lnTo>
                  <a:lnTo>
                    <a:pt x="2882" y="1930"/>
                  </a:lnTo>
                  <a:lnTo>
                    <a:pt x="2872" y="1922"/>
                  </a:lnTo>
                  <a:lnTo>
                    <a:pt x="2861" y="1928"/>
                  </a:lnTo>
                  <a:lnTo>
                    <a:pt x="2855" y="1928"/>
                  </a:lnTo>
                  <a:lnTo>
                    <a:pt x="2851" y="1928"/>
                  </a:lnTo>
                  <a:lnTo>
                    <a:pt x="2838" y="1932"/>
                  </a:lnTo>
                  <a:lnTo>
                    <a:pt x="2835" y="1930"/>
                  </a:lnTo>
                  <a:lnTo>
                    <a:pt x="2829" y="1932"/>
                  </a:lnTo>
                  <a:lnTo>
                    <a:pt x="2819" y="1937"/>
                  </a:lnTo>
                  <a:lnTo>
                    <a:pt x="2818" y="1948"/>
                  </a:lnTo>
                  <a:lnTo>
                    <a:pt x="2815" y="1951"/>
                  </a:lnTo>
                  <a:lnTo>
                    <a:pt x="2813" y="1955"/>
                  </a:lnTo>
                  <a:lnTo>
                    <a:pt x="2809" y="1959"/>
                  </a:lnTo>
                  <a:lnTo>
                    <a:pt x="2804" y="1956"/>
                  </a:lnTo>
                  <a:lnTo>
                    <a:pt x="2800" y="1951"/>
                  </a:lnTo>
                  <a:lnTo>
                    <a:pt x="2795" y="1948"/>
                  </a:lnTo>
                  <a:lnTo>
                    <a:pt x="2787" y="1952"/>
                  </a:lnTo>
                  <a:lnTo>
                    <a:pt x="2779" y="1948"/>
                  </a:lnTo>
                  <a:lnTo>
                    <a:pt x="2766" y="1951"/>
                  </a:lnTo>
                  <a:lnTo>
                    <a:pt x="2756" y="1952"/>
                  </a:lnTo>
                  <a:lnTo>
                    <a:pt x="2753" y="1956"/>
                  </a:lnTo>
                  <a:lnTo>
                    <a:pt x="2747" y="1956"/>
                  </a:lnTo>
                  <a:lnTo>
                    <a:pt x="2744" y="1956"/>
                  </a:lnTo>
                  <a:lnTo>
                    <a:pt x="2738" y="1959"/>
                  </a:lnTo>
                  <a:lnTo>
                    <a:pt x="2730" y="1956"/>
                  </a:lnTo>
                  <a:lnTo>
                    <a:pt x="2720" y="1956"/>
                  </a:lnTo>
                  <a:lnTo>
                    <a:pt x="2717" y="1955"/>
                  </a:lnTo>
                  <a:lnTo>
                    <a:pt x="2708" y="1951"/>
                  </a:lnTo>
                  <a:lnTo>
                    <a:pt x="2700" y="1952"/>
                  </a:lnTo>
                  <a:lnTo>
                    <a:pt x="2694" y="1956"/>
                  </a:lnTo>
                  <a:lnTo>
                    <a:pt x="2687" y="1952"/>
                  </a:lnTo>
                  <a:lnTo>
                    <a:pt x="2683" y="1952"/>
                  </a:lnTo>
                  <a:lnTo>
                    <a:pt x="2678" y="1956"/>
                  </a:lnTo>
                  <a:lnTo>
                    <a:pt x="2670" y="1964"/>
                  </a:lnTo>
                  <a:lnTo>
                    <a:pt x="2656" y="1968"/>
                  </a:lnTo>
                  <a:lnTo>
                    <a:pt x="2651" y="1970"/>
                  </a:lnTo>
                  <a:lnTo>
                    <a:pt x="2645" y="1978"/>
                  </a:lnTo>
                  <a:lnTo>
                    <a:pt x="2638" y="1993"/>
                  </a:lnTo>
                  <a:lnTo>
                    <a:pt x="2627" y="1997"/>
                  </a:lnTo>
                  <a:lnTo>
                    <a:pt x="2619" y="1995"/>
                  </a:lnTo>
                  <a:lnTo>
                    <a:pt x="2613" y="1999"/>
                  </a:lnTo>
                  <a:lnTo>
                    <a:pt x="2612" y="2001"/>
                  </a:lnTo>
                  <a:lnTo>
                    <a:pt x="2611" y="2012"/>
                  </a:lnTo>
                  <a:lnTo>
                    <a:pt x="2603" y="2023"/>
                  </a:lnTo>
                  <a:lnTo>
                    <a:pt x="2602" y="2027"/>
                  </a:lnTo>
                  <a:lnTo>
                    <a:pt x="2594" y="2034"/>
                  </a:lnTo>
                  <a:lnTo>
                    <a:pt x="2586" y="2034"/>
                  </a:lnTo>
                  <a:lnTo>
                    <a:pt x="2584" y="2035"/>
                  </a:lnTo>
                  <a:lnTo>
                    <a:pt x="2584" y="2042"/>
                  </a:lnTo>
                  <a:lnTo>
                    <a:pt x="2588" y="2048"/>
                  </a:lnTo>
                  <a:lnTo>
                    <a:pt x="2590" y="2054"/>
                  </a:lnTo>
                  <a:lnTo>
                    <a:pt x="2587" y="2068"/>
                  </a:lnTo>
                  <a:lnTo>
                    <a:pt x="2592" y="2074"/>
                  </a:lnTo>
                  <a:lnTo>
                    <a:pt x="2595" y="2079"/>
                  </a:lnTo>
                  <a:lnTo>
                    <a:pt x="2594" y="2082"/>
                  </a:lnTo>
                  <a:lnTo>
                    <a:pt x="2586" y="2084"/>
                  </a:lnTo>
                  <a:lnTo>
                    <a:pt x="2583" y="2093"/>
                  </a:lnTo>
                  <a:lnTo>
                    <a:pt x="2581" y="2094"/>
                  </a:lnTo>
                  <a:lnTo>
                    <a:pt x="2577" y="2097"/>
                  </a:lnTo>
                  <a:lnTo>
                    <a:pt x="2574" y="2106"/>
                  </a:lnTo>
                  <a:lnTo>
                    <a:pt x="2565" y="2111"/>
                  </a:lnTo>
                  <a:lnTo>
                    <a:pt x="2559" y="2117"/>
                  </a:lnTo>
                  <a:lnTo>
                    <a:pt x="2551" y="2123"/>
                  </a:lnTo>
                  <a:lnTo>
                    <a:pt x="2551" y="2129"/>
                  </a:lnTo>
                  <a:lnTo>
                    <a:pt x="2553" y="2134"/>
                  </a:lnTo>
                  <a:lnTo>
                    <a:pt x="2553" y="2139"/>
                  </a:lnTo>
                  <a:lnTo>
                    <a:pt x="2552" y="2143"/>
                  </a:lnTo>
                  <a:lnTo>
                    <a:pt x="2544" y="2146"/>
                  </a:lnTo>
                  <a:lnTo>
                    <a:pt x="2538" y="2150"/>
                  </a:lnTo>
                  <a:lnTo>
                    <a:pt x="2535" y="2164"/>
                  </a:lnTo>
                  <a:lnTo>
                    <a:pt x="2527" y="2169"/>
                  </a:lnTo>
                  <a:lnTo>
                    <a:pt x="2521" y="2169"/>
                  </a:lnTo>
                  <a:lnTo>
                    <a:pt x="2519" y="2169"/>
                  </a:lnTo>
                  <a:lnTo>
                    <a:pt x="2512" y="2169"/>
                  </a:lnTo>
                  <a:lnTo>
                    <a:pt x="2507" y="2169"/>
                  </a:lnTo>
                  <a:lnTo>
                    <a:pt x="2506" y="2172"/>
                  </a:lnTo>
                  <a:lnTo>
                    <a:pt x="2506" y="2176"/>
                  </a:lnTo>
                  <a:lnTo>
                    <a:pt x="2506" y="2173"/>
                  </a:lnTo>
                  <a:lnTo>
                    <a:pt x="2498" y="2180"/>
                  </a:lnTo>
                  <a:lnTo>
                    <a:pt x="2493" y="2188"/>
                  </a:lnTo>
                  <a:lnTo>
                    <a:pt x="2495" y="2192"/>
                  </a:lnTo>
                  <a:lnTo>
                    <a:pt x="2495" y="2196"/>
                  </a:lnTo>
                  <a:lnTo>
                    <a:pt x="2493" y="2196"/>
                  </a:lnTo>
                  <a:lnTo>
                    <a:pt x="2489" y="2198"/>
                  </a:lnTo>
                  <a:lnTo>
                    <a:pt x="2485" y="2205"/>
                  </a:lnTo>
                  <a:lnTo>
                    <a:pt x="2487" y="2210"/>
                  </a:lnTo>
                  <a:lnTo>
                    <a:pt x="2478" y="2217"/>
                  </a:lnTo>
                  <a:lnTo>
                    <a:pt x="2478" y="2225"/>
                  </a:lnTo>
                  <a:lnTo>
                    <a:pt x="2474" y="2229"/>
                  </a:lnTo>
                  <a:lnTo>
                    <a:pt x="2473" y="2237"/>
                  </a:lnTo>
                  <a:lnTo>
                    <a:pt x="2473" y="2243"/>
                  </a:lnTo>
                  <a:lnTo>
                    <a:pt x="2468" y="2254"/>
                  </a:lnTo>
                  <a:lnTo>
                    <a:pt x="2467" y="2255"/>
                  </a:lnTo>
                  <a:lnTo>
                    <a:pt x="2468" y="2263"/>
                  </a:lnTo>
                  <a:lnTo>
                    <a:pt x="2467" y="2270"/>
                  </a:lnTo>
                  <a:lnTo>
                    <a:pt x="2463" y="2278"/>
                  </a:lnTo>
                  <a:lnTo>
                    <a:pt x="2467" y="2284"/>
                  </a:lnTo>
                  <a:lnTo>
                    <a:pt x="2464" y="2297"/>
                  </a:lnTo>
                  <a:lnTo>
                    <a:pt x="2462" y="2300"/>
                  </a:lnTo>
                  <a:lnTo>
                    <a:pt x="2457" y="2304"/>
                  </a:lnTo>
                  <a:lnTo>
                    <a:pt x="2453" y="2310"/>
                  </a:lnTo>
                  <a:lnTo>
                    <a:pt x="2443" y="2315"/>
                  </a:lnTo>
                  <a:lnTo>
                    <a:pt x="2438" y="2321"/>
                  </a:lnTo>
                  <a:lnTo>
                    <a:pt x="2432" y="2330"/>
                  </a:lnTo>
                  <a:lnTo>
                    <a:pt x="2430" y="2334"/>
                  </a:lnTo>
                  <a:lnTo>
                    <a:pt x="2426" y="2345"/>
                  </a:lnTo>
                  <a:lnTo>
                    <a:pt x="2426" y="2349"/>
                  </a:lnTo>
                  <a:lnTo>
                    <a:pt x="2418" y="2360"/>
                  </a:lnTo>
                  <a:lnTo>
                    <a:pt x="2417" y="2371"/>
                  </a:lnTo>
                  <a:lnTo>
                    <a:pt x="2409" y="2383"/>
                  </a:lnTo>
                  <a:lnTo>
                    <a:pt x="2407" y="2387"/>
                  </a:lnTo>
                  <a:lnTo>
                    <a:pt x="2412" y="2394"/>
                  </a:lnTo>
                  <a:lnTo>
                    <a:pt x="2413" y="2397"/>
                  </a:lnTo>
                  <a:lnTo>
                    <a:pt x="2410" y="2401"/>
                  </a:lnTo>
                  <a:lnTo>
                    <a:pt x="2406" y="2405"/>
                  </a:lnTo>
                  <a:lnTo>
                    <a:pt x="2405" y="2405"/>
                  </a:lnTo>
                  <a:lnTo>
                    <a:pt x="2399" y="2408"/>
                  </a:lnTo>
                  <a:lnTo>
                    <a:pt x="2401" y="2409"/>
                  </a:lnTo>
                  <a:lnTo>
                    <a:pt x="2398" y="2409"/>
                  </a:lnTo>
                  <a:lnTo>
                    <a:pt x="2392" y="2415"/>
                  </a:lnTo>
                  <a:lnTo>
                    <a:pt x="2388" y="2419"/>
                  </a:lnTo>
                  <a:lnTo>
                    <a:pt x="2373" y="2428"/>
                  </a:lnTo>
                  <a:lnTo>
                    <a:pt x="2371" y="2432"/>
                  </a:lnTo>
                  <a:lnTo>
                    <a:pt x="2364" y="2432"/>
                  </a:lnTo>
                  <a:lnTo>
                    <a:pt x="2363" y="2436"/>
                  </a:lnTo>
                  <a:lnTo>
                    <a:pt x="2359" y="2436"/>
                  </a:lnTo>
                  <a:lnTo>
                    <a:pt x="2359" y="2438"/>
                  </a:lnTo>
                  <a:lnTo>
                    <a:pt x="2352" y="2442"/>
                  </a:lnTo>
                  <a:lnTo>
                    <a:pt x="2351" y="2446"/>
                  </a:lnTo>
                  <a:lnTo>
                    <a:pt x="2352" y="2454"/>
                  </a:lnTo>
                  <a:lnTo>
                    <a:pt x="2351" y="2462"/>
                  </a:lnTo>
                  <a:lnTo>
                    <a:pt x="2352" y="2465"/>
                  </a:lnTo>
                  <a:lnTo>
                    <a:pt x="2351" y="2471"/>
                  </a:lnTo>
                  <a:lnTo>
                    <a:pt x="2341" y="2472"/>
                  </a:lnTo>
                  <a:lnTo>
                    <a:pt x="2339" y="2476"/>
                  </a:lnTo>
                  <a:lnTo>
                    <a:pt x="2339" y="2486"/>
                  </a:lnTo>
                  <a:lnTo>
                    <a:pt x="2332" y="2487"/>
                  </a:lnTo>
                  <a:lnTo>
                    <a:pt x="2331" y="2494"/>
                  </a:lnTo>
                  <a:lnTo>
                    <a:pt x="2320" y="2498"/>
                  </a:lnTo>
                  <a:lnTo>
                    <a:pt x="2318" y="2499"/>
                  </a:lnTo>
                  <a:lnTo>
                    <a:pt x="2320" y="2503"/>
                  </a:lnTo>
                  <a:lnTo>
                    <a:pt x="2326" y="2507"/>
                  </a:lnTo>
                  <a:lnTo>
                    <a:pt x="2327" y="2517"/>
                  </a:lnTo>
                  <a:lnTo>
                    <a:pt x="2328" y="2517"/>
                  </a:lnTo>
                  <a:lnTo>
                    <a:pt x="2337" y="2520"/>
                  </a:lnTo>
                  <a:lnTo>
                    <a:pt x="2338" y="2521"/>
                  </a:lnTo>
                  <a:lnTo>
                    <a:pt x="2338" y="2524"/>
                  </a:lnTo>
                  <a:lnTo>
                    <a:pt x="2323" y="2536"/>
                  </a:lnTo>
                  <a:lnTo>
                    <a:pt x="2321" y="2540"/>
                  </a:lnTo>
                  <a:lnTo>
                    <a:pt x="2321" y="2546"/>
                  </a:lnTo>
                  <a:lnTo>
                    <a:pt x="2320" y="2548"/>
                  </a:lnTo>
                  <a:lnTo>
                    <a:pt x="2312" y="2556"/>
                  </a:lnTo>
                  <a:lnTo>
                    <a:pt x="2309" y="2558"/>
                  </a:lnTo>
                  <a:lnTo>
                    <a:pt x="2309" y="2562"/>
                  </a:lnTo>
                  <a:lnTo>
                    <a:pt x="2307" y="2566"/>
                  </a:lnTo>
                  <a:lnTo>
                    <a:pt x="2309" y="2570"/>
                  </a:lnTo>
                  <a:lnTo>
                    <a:pt x="2307" y="2574"/>
                  </a:lnTo>
                  <a:lnTo>
                    <a:pt x="2310" y="2578"/>
                  </a:lnTo>
                  <a:lnTo>
                    <a:pt x="2310" y="2583"/>
                  </a:lnTo>
                  <a:lnTo>
                    <a:pt x="2309" y="2591"/>
                  </a:lnTo>
                  <a:lnTo>
                    <a:pt x="2309" y="2606"/>
                  </a:lnTo>
                  <a:lnTo>
                    <a:pt x="2307" y="2606"/>
                  </a:lnTo>
                  <a:lnTo>
                    <a:pt x="2299" y="2610"/>
                  </a:lnTo>
                  <a:lnTo>
                    <a:pt x="2295" y="2613"/>
                  </a:lnTo>
                  <a:lnTo>
                    <a:pt x="2295" y="2618"/>
                  </a:lnTo>
                  <a:lnTo>
                    <a:pt x="2292" y="2621"/>
                  </a:lnTo>
                  <a:lnTo>
                    <a:pt x="2291" y="2629"/>
                  </a:lnTo>
                  <a:lnTo>
                    <a:pt x="2288" y="2633"/>
                  </a:lnTo>
                  <a:lnTo>
                    <a:pt x="2288" y="2641"/>
                  </a:lnTo>
                  <a:lnTo>
                    <a:pt x="2281" y="2648"/>
                  </a:lnTo>
                  <a:lnTo>
                    <a:pt x="2275" y="2656"/>
                  </a:lnTo>
                  <a:lnTo>
                    <a:pt x="2274" y="2660"/>
                  </a:lnTo>
                  <a:lnTo>
                    <a:pt x="2275" y="2663"/>
                  </a:lnTo>
                  <a:lnTo>
                    <a:pt x="2277" y="2672"/>
                  </a:lnTo>
                  <a:lnTo>
                    <a:pt x="2279" y="2674"/>
                  </a:lnTo>
                  <a:lnTo>
                    <a:pt x="2278" y="2678"/>
                  </a:lnTo>
                  <a:lnTo>
                    <a:pt x="2275" y="2685"/>
                  </a:lnTo>
                  <a:lnTo>
                    <a:pt x="2271" y="2693"/>
                  </a:lnTo>
                  <a:lnTo>
                    <a:pt x="2262" y="2685"/>
                  </a:lnTo>
                  <a:lnTo>
                    <a:pt x="2242" y="2668"/>
                  </a:lnTo>
                  <a:lnTo>
                    <a:pt x="2235" y="2666"/>
                  </a:lnTo>
                  <a:lnTo>
                    <a:pt x="2232" y="2652"/>
                  </a:lnTo>
                  <a:lnTo>
                    <a:pt x="2232" y="2628"/>
                  </a:lnTo>
                  <a:lnTo>
                    <a:pt x="2229" y="2610"/>
                  </a:lnTo>
                  <a:lnTo>
                    <a:pt x="2224" y="2558"/>
                  </a:lnTo>
                  <a:lnTo>
                    <a:pt x="2208" y="2520"/>
                  </a:lnTo>
                  <a:lnTo>
                    <a:pt x="2185" y="2469"/>
                  </a:lnTo>
                  <a:lnTo>
                    <a:pt x="2136" y="2401"/>
                  </a:lnTo>
                  <a:lnTo>
                    <a:pt x="2133" y="2397"/>
                  </a:lnTo>
                  <a:lnTo>
                    <a:pt x="2124" y="2383"/>
                  </a:lnTo>
                  <a:lnTo>
                    <a:pt x="2117" y="2375"/>
                  </a:lnTo>
                  <a:lnTo>
                    <a:pt x="2106" y="2359"/>
                  </a:lnTo>
                  <a:lnTo>
                    <a:pt x="2103" y="2349"/>
                  </a:lnTo>
                  <a:lnTo>
                    <a:pt x="2150" y="2337"/>
                  </a:lnTo>
                  <a:lnTo>
                    <a:pt x="2166" y="2329"/>
                  </a:lnTo>
                  <a:lnTo>
                    <a:pt x="2181" y="2292"/>
                  </a:lnTo>
                  <a:lnTo>
                    <a:pt x="2199" y="2255"/>
                  </a:lnTo>
                  <a:lnTo>
                    <a:pt x="2213" y="2218"/>
                  </a:lnTo>
                  <a:lnTo>
                    <a:pt x="2218" y="2178"/>
                  </a:lnTo>
                  <a:lnTo>
                    <a:pt x="2211" y="2178"/>
                  </a:lnTo>
                  <a:lnTo>
                    <a:pt x="2196" y="2176"/>
                  </a:lnTo>
                  <a:lnTo>
                    <a:pt x="2171" y="2173"/>
                  </a:lnTo>
                  <a:lnTo>
                    <a:pt x="2156" y="2186"/>
                  </a:lnTo>
                  <a:lnTo>
                    <a:pt x="2144" y="2188"/>
                  </a:lnTo>
                  <a:lnTo>
                    <a:pt x="2132" y="2180"/>
                  </a:lnTo>
                  <a:lnTo>
                    <a:pt x="2117" y="2180"/>
                  </a:lnTo>
                  <a:lnTo>
                    <a:pt x="2108" y="2172"/>
                  </a:lnTo>
                  <a:lnTo>
                    <a:pt x="2100" y="2173"/>
                  </a:lnTo>
                  <a:lnTo>
                    <a:pt x="2094" y="2180"/>
                  </a:lnTo>
                  <a:lnTo>
                    <a:pt x="2082" y="2178"/>
                  </a:lnTo>
                  <a:lnTo>
                    <a:pt x="2049" y="2180"/>
                  </a:lnTo>
                  <a:lnTo>
                    <a:pt x="2041" y="2176"/>
                  </a:lnTo>
                  <a:lnTo>
                    <a:pt x="2035" y="2173"/>
                  </a:lnTo>
                  <a:lnTo>
                    <a:pt x="2002" y="2161"/>
                  </a:lnTo>
                  <a:lnTo>
                    <a:pt x="1996" y="2151"/>
                  </a:lnTo>
                  <a:lnTo>
                    <a:pt x="1999" y="2138"/>
                  </a:lnTo>
                  <a:lnTo>
                    <a:pt x="2003" y="2101"/>
                  </a:lnTo>
                  <a:lnTo>
                    <a:pt x="2004" y="2094"/>
                  </a:lnTo>
                  <a:lnTo>
                    <a:pt x="1994" y="2091"/>
                  </a:lnTo>
                  <a:lnTo>
                    <a:pt x="1909" y="2049"/>
                  </a:lnTo>
                  <a:lnTo>
                    <a:pt x="1897" y="2042"/>
                  </a:lnTo>
                  <a:lnTo>
                    <a:pt x="1807" y="2005"/>
                  </a:lnTo>
                  <a:lnTo>
                    <a:pt x="1790" y="1997"/>
                  </a:lnTo>
                  <a:lnTo>
                    <a:pt x="1762" y="1986"/>
                  </a:lnTo>
                  <a:lnTo>
                    <a:pt x="1687" y="1968"/>
                  </a:lnTo>
                  <a:lnTo>
                    <a:pt x="1663" y="1960"/>
                  </a:lnTo>
                  <a:lnTo>
                    <a:pt x="1659" y="1960"/>
                  </a:lnTo>
                  <a:lnTo>
                    <a:pt x="1623" y="1960"/>
                  </a:lnTo>
                  <a:lnTo>
                    <a:pt x="1495" y="1964"/>
                  </a:lnTo>
                  <a:lnTo>
                    <a:pt x="1482" y="1964"/>
                  </a:lnTo>
                  <a:lnTo>
                    <a:pt x="1462" y="1967"/>
                  </a:lnTo>
                  <a:lnTo>
                    <a:pt x="1459" y="1964"/>
                  </a:lnTo>
                  <a:lnTo>
                    <a:pt x="1449" y="1962"/>
                  </a:lnTo>
                  <a:lnTo>
                    <a:pt x="1447" y="1962"/>
                  </a:lnTo>
                  <a:lnTo>
                    <a:pt x="1437" y="1960"/>
                  </a:lnTo>
                  <a:lnTo>
                    <a:pt x="1435" y="1960"/>
                  </a:lnTo>
                  <a:lnTo>
                    <a:pt x="1422" y="1956"/>
                  </a:lnTo>
                  <a:lnTo>
                    <a:pt x="1397" y="1951"/>
                  </a:lnTo>
                  <a:lnTo>
                    <a:pt x="1362" y="1942"/>
                  </a:lnTo>
                  <a:lnTo>
                    <a:pt x="1358" y="1930"/>
                  </a:lnTo>
                  <a:lnTo>
                    <a:pt x="1360" y="1910"/>
                  </a:lnTo>
                  <a:lnTo>
                    <a:pt x="1356" y="1906"/>
                  </a:lnTo>
                  <a:lnTo>
                    <a:pt x="1353" y="1889"/>
                  </a:lnTo>
                  <a:lnTo>
                    <a:pt x="1347" y="1881"/>
                  </a:lnTo>
                  <a:lnTo>
                    <a:pt x="1313" y="1866"/>
                  </a:lnTo>
                  <a:lnTo>
                    <a:pt x="1310" y="1858"/>
                  </a:lnTo>
                  <a:lnTo>
                    <a:pt x="1303" y="1857"/>
                  </a:lnTo>
                  <a:lnTo>
                    <a:pt x="1299" y="1861"/>
                  </a:lnTo>
                  <a:lnTo>
                    <a:pt x="1291" y="1847"/>
                  </a:lnTo>
                  <a:lnTo>
                    <a:pt x="1283" y="1848"/>
                  </a:lnTo>
                  <a:lnTo>
                    <a:pt x="1284" y="1835"/>
                  </a:lnTo>
                  <a:lnTo>
                    <a:pt x="1278" y="1828"/>
                  </a:lnTo>
                  <a:lnTo>
                    <a:pt x="1273" y="1828"/>
                  </a:lnTo>
                  <a:lnTo>
                    <a:pt x="1269" y="1818"/>
                  </a:lnTo>
                  <a:lnTo>
                    <a:pt x="1259" y="1816"/>
                  </a:lnTo>
                  <a:lnTo>
                    <a:pt x="1248" y="1799"/>
                  </a:lnTo>
                  <a:lnTo>
                    <a:pt x="1237" y="1799"/>
                  </a:lnTo>
                  <a:lnTo>
                    <a:pt x="1217" y="1794"/>
                  </a:lnTo>
                  <a:lnTo>
                    <a:pt x="1192" y="1777"/>
                  </a:lnTo>
                  <a:lnTo>
                    <a:pt x="1178" y="1771"/>
                  </a:lnTo>
                  <a:lnTo>
                    <a:pt x="1138" y="1769"/>
                  </a:lnTo>
                  <a:lnTo>
                    <a:pt x="1125" y="1764"/>
                  </a:lnTo>
                  <a:lnTo>
                    <a:pt x="1100" y="1764"/>
                  </a:lnTo>
                  <a:lnTo>
                    <a:pt x="1065" y="1757"/>
                  </a:lnTo>
                  <a:lnTo>
                    <a:pt x="1029" y="1746"/>
                  </a:lnTo>
                  <a:lnTo>
                    <a:pt x="1015" y="1737"/>
                  </a:lnTo>
                  <a:lnTo>
                    <a:pt x="1003" y="1739"/>
                  </a:lnTo>
                  <a:lnTo>
                    <a:pt x="986" y="1733"/>
                  </a:lnTo>
                  <a:lnTo>
                    <a:pt x="981" y="1734"/>
                  </a:lnTo>
                  <a:lnTo>
                    <a:pt x="974" y="1734"/>
                  </a:lnTo>
                  <a:lnTo>
                    <a:pt x="973" y="1732"/>
                  </a:lnTo>
                  <a:lnTo>
                    <a:pt x="974" y="1724"/>
                  </a:lnTo>
                  <a:lnTo>
                    <a:pt x="971" y="1719"/>
                  </a:lnTo>
                  <a:lnTo>
                    <a:pt x="965" y="1716"/>
                  </a:lnTo>
                  <a:lnTo>
                    <a:pt x="953" y="1720"/>
                  </a:lnTo>
                  <a:lnTo>
                    <a:pt x="921" y="1683"/>
                  </a:lnTo>
                  <a:lnTo>
                    <a:pt x="909" y="1675"/>
                  </a:lnTo>
                  <a:lnTo>
                    <a:pt x="903" y="1666"/>
                  </a:lnTo>
                  <a:lnTo>
                    <a:pt x="900" y="1653"/>
                  </a:lnTo>
                  <a:lnTo>
                    <a:pt x="872" y="1631"/>
                  </a:lnTo>
                  <a:lnTo>
                    <a:pt x="864" y="1629"/>
                  </a:lnTo>
                  <a:lnTo>
                    <a:pt x="843" y="1619"/>
                  </a:lnTo>
                  <a:lnTo>
                    <a:pt x="826" y="1617"/>
                  </a:lnTo>
                  <a:lnTo>
                    <a:pt x="826" y="1612"/>
                  </a:lnTo>
                  <a:lnTo>
                    <a:pt x="822" y="1611"/>
                  </a:lnTo>
                  <a:lnTo>
                    <a:pt x="807" y="1615"/>
                  </a:lnTo>
                  <a:lnTo>
                    <a:pt x="780" y="1612"/>
                  </a:lnTo>
                  <a:lnTo>
                    <a:pt x="776" y="1611"/>
                  </a:lnTo>
                  <a:lnTo>
                    <a:pt x="771" y="1603"/>
                  </a:lnTo>
                  <a:lnTo>
                    <a:pt x="750" y="1602"/>
                  </a:lnTo>
                  <a:lnTo>
                    <a:pt x="741" y="1596"/>
                  </a:lnTo>
                  <a:lnTo>
                    <a:pt x="710" y="1607"/>
                  </a:lnTo>
                  <a:lnTo>
                    <a:pt x="711" y="1611"/>
                  </a:lnTo>
                  <a:lnTo>
                    <a:pt x="686" y="1622"/>
                  </a:lnTo>
                  <a:lnTo>
                    <a:pt x="680" y="1611"/>
                  </a:lnTo>
                  <a:lnTo>
                    <a:pt x="671" y="1621"/>
                  </a:lnTo>
                  <a:lnTo>
                    <a:pt x="652" y="1625"/>
                  </a:lnTo>
                  <a:lnTo>
                    <a:pt x="643" y="1647"/>
                  </a:lnTo>
                  <a:lnTo>
                    <a:pt x="629" y="1656"/>
                  </a:lnTo>
                  <a:lnTo>
                    <a:pt x="614" y="1657"/>
                  </a:lnTo>
                  <a:lnTo>
                    <a:pt x="602" y="1652"/>
                  </a:lnTo>
                  <a:lnTo>
                    <a:pt x="594" y="1641"/>
                  </a:lnTo>
                  <a:lnTo>
                    <a:pt x="587" y="1622"/>
                  </a:lnTo>
                  <a:lnTo>
                    <a:pt x="566" y="1611"/>
                  </a:lnTo>
                  <a:lnTo>
                    <a:pt x="237" y="1611"/>
                  </a:lnTo>
                  <a:lnTo>
                    <a:pt x="166" y="1611"/>
                  </a:lnTo>
                  <a:lnTo>
                    <a:pt x="166" y="1331"/>
                  </a:lnTo>
                  <a:lnTo>
                    <a:pt x="166" y="1312"/>
                  </a:lnTo>
                  <a:lnTo>
                    <a:pt x="160" y="1304"/>
                  </a:lnTo>
                  <a:lnTo>
                    <a:pt x="156" y="1308"/>
                  </a:lnTo>
                  <a:lnTo>
                    <a:pt x="160" y="1302"/>
                  </a:lnTo>
                  <a:lnTo>
                    <a:pt x="157" y="1300"/>
                  </a:lnTo>
                  <a:lnTo>
                    <a:pt x="156" y="1298"/>
                  </a:lnTo>
                  <a:lnTo>
                    <a:pt x="155" y="1296"/>
                  </a:lnTo>
                  <a:lnTo>
                    <a:pt x="153" y="1296"/>
                  </a:lnTo>
                  <a:lnTo>
                    <a:pt x="152" y="1292"/>
                  </a:lnTo>
                  <a:lnTo>
                    <a:pt x="151" y="1289"/>
                  </a:lnTo>
                  <a:lnTo>
                    <a:pt x="149" y="1287"/>
                  </a:lnTo>
                  <a:lnTo>
                    <a:pt x="149" y="1285"/>
                  </a:lnTo>
                  <a:lnTo>
                    <a:pt x="148" y="1283"/>
                  </a:lnTo>
                  <a:lnTo>
                    <a:pt x="146" y="1283"/>
                  </a:lnTo>
                  <a:lnTo>
                    <a:pt x="146" y="1281"/>
                  </a:lnTo>
                  <a:lnTo>
                    <a:pt x="145" y="1280"/>
                  </a:lnTo>
                  <a:lnTo>
                    <a:pt x="144" y="1277"/>
                  </a:lnTo>
                  <a:lnTo>
                    <a:pt x="142" y="1276"/>
                  </a:lnTo>
                  <a:lnTo>
                    <a:pt x="141" y="1273"/>
                  </a:lnTo>
                  <a:lnTo>
                    <a:pt x="140" y="1269"/>
                  </a:lnTo>
                  <a:lnTo>
                    <a:pt x="138" y="1269"/>
                  </a:lnTo>
                  <a:lnTo>
                    <a:pt x="135" y="1267"/>
                  </a:lnTo>
                  <a:lnTo>
                    <a:pt x="132" y="1264"/>
                  </a:lnTo>
                  <a:lnTo>
                    <a:pt x="131" y="1263"/>
                  </a:lnTo>
                  <a:lnTo>
                    <a:pt x="130" y="1260"/>
                  </a:lnTo>
                  <a:lnTo>
                    <a:pt x="128" y="1260"/>
                  </a:lnTo>
                  <a:lnTo>
                    <a:pt x="127" y="1259"/>
                  </a:lnTo>
                  <a:lnTo>
                    <a:pt x="124" y="1256"/>
                  </a:lnTo>
                  <a:lnTo>
                    <a:pt x="123" y="1256"/>
                  </a:lnTo>
                  <a:lnTo>
                    <a:pt x="121" y="1255"/>
                  </a:lnTo>
                  <a:lnTo>
                    <a:pt x="120" y="1252"/>
                  </a:lnTo>
                  <a:lnTo>
                    <a:pt x="119" y="1250"/>
                  </a:lnTo>
                  <a:lnTo>
                    <a:pt x="119" y="1247"/>
                  </a:lnTo>
                  <a:lnTo>
                    <a:pt x="119" y="1244"/>
                  </a:lnTo>
                  <a:lnTo>
                    <a:pt x="120" y="1242"/>
                  </a:lnTo>
                  <a:lnTo>
                    <a:pt x="120" y="1240"/>
                  </a:lnTo>
                  <a:lnTo>
                    <a:pt x="121" y="1238"/>
                  </a:lnTo>
                  <a:lnTo>
                    <a:pt x="121" y="1237"/>
                  </a:lnTo>
                  <a:lnTo>
                    <a:pt x="123" y="1234"/>
                  </a:lnTo>
                  <a:lnTo>
                    <a:pt x="124" y="1232"/>
                  </a:lnTo>
                  <a:lnTo>
                    <a:pt x="124" y="1230"/>
                  </a:lnTo>
                  <a:lnTo>
                    <a:pt x="126" y="1227"/>
                  </a:lnTo>
                  <a:lnTo>
                    <a:pt x="127" y="1227"/>
                  </a:lnTo>
                  <a:lnTo>
                    <a:pt x="128" y="1225"/>
                  </a:lnTo>
                  <a:lnTo>
                    <a:pt x="128" y="1223"/>
                  </a:lnTo>
                  <a:lnTo>
                    <a:pt x="130" y="1221"/>
                  </a:lnTo>
                  <a:lnTo>
                    <a:pt x="131" y="1219"/>
                  </a:lnTo>
                  <a:lnTo>
                    <a:pt x="132" y="1215"/>
                  </a:lnTo>
                  <a:lnTo>
                    <a:pt x="134" y="1214"/>
                  </a:lnTo>
                  <a:lnTo>
                    <a:pt x="134" y="1212"/>
                  </a:lnTo>
                  <a:lnTo>
                    <a:pt x="135" y="1210"/>
                  </a:lnTo>
                  <a:lnTo>
                    <a:pt x="137" y="1207"/>
                  </a:lnTo>
                  <a:lnTo>
                    <a:pt x="138" y="1205"/>
                  </a:lnTo>
                  <a:lnTo>
                    <a:pt x="140" y="1202"/>
                  </a:lnTo>
                  <a:lnTo>
                    <a:pt x="141" y="1201"/>
                  </a:lnTo>
                  <a:lnTo>
                    <a:pt x="142" y="1198"/>
                  </a:lnTo>
                  <a:lnTo>
                    <a:pt x="144" y="1197"/>
                  </a:lnTo>
                  <a:lnTo>
                    <a:pt x="145" y="1194"/>
                  </a:lnTo>
                  <a:lnTo>
                    <a:pt x="146" y="1193"/>
                  </a:lnTo>
                  <a:lnTo>
                    <a:pt x="146" y="1192"/>
                  </a:lnTo>
                  <a:lnTo>
                    <a:pt x="146" y="1189"/>
                  </a:lnTo>
                  <a:lnTo>
                    <a:pt x="148" y="1187"/>
                  </a:lnTo>
                  <a:lnTo>
                    <a:pt x="146" y="1185"/>
                  </a:lnTo>
                  <a:lnTo>
                    <a:pt x="145" y="1182"/>
                  </a:lnTo>
                  <a:lnTo>
                    <a:pt x="145" y="1180"/>
                  </a:lnTo>
                  <a:lnTo>
                    <a:pt x="144" y="1179"/>
                  </a:lnTo>
                  <a:lnTo>
                    <a:pt x="142" y="1176"/>
                  </a:lnTo>
                  <a:lnTo>
                    <a:pt x="142" y="1175"/>
                  </a:lnTo>
                  <a:lnTo>
                    <a:pt x="141" y="1172"/>
                  </a:lnTo>
                  <a:lnTo>
                    <a:pt x="140" y="1170"/>
                  </a:lnTo>
                  <a:lnTo>
                    <a:pt x="140" y="1169"/>
                  </a:lnTo>
                  <a:lnTo>
                    <a:pt x="138" y="1167"/>
                  </a:lnTo>
                  <a:lnTo>
                    <a:pt x="138" y="1165"/>
                  </a:lnTo>
                  <a:lnTo>
                    <a:pt x="137" y="1163"/>
                  </a:lnTo>
                  <a:lnTo>
                    <a:pt x="137" y="1162"/>
                  </a:lnTo>
                  <a:lnTo>
                    <a:pt x="135" y="1159"/>
                  </a:lnTo>
                  <a:lnTo>
                    <a:pt x="135" y="1156"/>
                  </a:lnTo>
                  <a:lnTo>
                    <a:pt x="134" y="1154"/>
                  </a:lnTo>
                  <a:lnTo>
                    <a:pt x="132" y="1151"/>
                  </a:lnTo>
                  <a:lnTo>
                    <a:pt x="132" y="1150"/>
                  </a:lnTo>
                  <a:lnTo>
                    <a:pt x="132" y="1147"/>
                  </a:lnTo>
                  <a:lnTo>
                    <a:pt x="131" y="1144"/>
                  </a:lnTo>
                  <a:lnTo>
                    <a:pt x="131" y="1143"/>
                  </a:lnTo>
                  <a:lnTo>
                    <a:pt x="132" y="1140"/>
                  </a:lnTo>
                  <a:lnTo>
                    <a:pt x="132" y="1138"/>
                  </a:lnTo>
                  <a:lnTo>
                    <a:pt x="132" y="1135"/>
                  </a:lnTo>
                  <a:lnTo>
                    <a:pt x="132" y="1134"/>
                  </a:lnTo>
                  <a:lnTo>
                    <a:pt x="132" y="1131"/>
                  </a:lnTo>
                  <a:lnTo>
                    <a:pt x="132" y="1130"/>
                  </a:lnTo>
                  <a:lnTo>
                    <a:pt x="132" y="1127"/>
                  </a:lnTo>
                  <a:lnTo>
                    <a:pt x="134" y="1126"/>
                  </a:lnTo>
                  <a:lnTo>
                    <a:pt x="134" y="1123"/>
                  </a:lnTo>
                  <a:lnTo>
                    <a:pt x="134" y="1122"/>
                  </a:lnTo>
                  <a:lnTo>
                    <a:pt x="134" y="1118"/>
                  </a:lnTo>
                  <a:lnTo>
                    <a:pt x="134" y="1117"/>
                  </a:lnTo>
                  <a:lnTo>
                    <a:pt x="134" y="1115"/>
                  </a:lnTo>
                  <a:lnTo>
                    <a:pt x="134" y="1113"/>
                  </a:lnTo>
                  <a:lnTo>
                    <a:pt x="134" y="1111"/>
                  </a:lnTo>
                  <a:lnTo>
                    <a:pt x="132" y="1109"/>
                  </a:lnTo>
                  <a:lnTo>
                    <a:pt x="132" y="1107"/>
                  </a:lnTo>
                  <a:lnTo>
                    <a:pt x="131" y="1105"/>
                  </a:lnTo>
                  <a:lnTo>
                    <a:pt x="131" y="1103"/>
                  </a:lnTo>
                  <a:lnTo>
                    <a:pt x="130" y="1102"/>
                  </a:lnTo>
                  <a:lnTo>
                    <a:pt x="130" y="1100"/>
                  </a:lnTo>
                  <a:lnTo>
                    <a:pt x="128" y="1095"/>
                  </a:lnTo>
                  <a:lnTo>
                    <a:pt x="128" y="1092"/>
                  </a:lnTo>
                  <a:lnTo>
                    <a:pt x="127" y="1089"/>
                  </a:lnTo>
                  <a:lnTo>
                    <a:pt x="127" y="1086"/>
                  </a:lnTo>
                  <a:lnTo>
                    <a:pt x="127" y="1082"/>
                  </a:lnTo>
                  <a:lnTo>
                    <a:pt x="126" y="1080"/>
                  </a:lnTo>
                  <a:lnTo>
                    <a:pt x="124" y="1078"/>
                  </a:lnTo>
                  <a:lnTo>
                    <a:pt x="124" y="1077"/>
                  </a:lnTo>
                  <a:lnTo>
                    <a:pt x="123" y="1073"/>
                  </a:lnTo>
                  <a:lnTo>
                    <a:pt x="121" y="1073"/>
                  </a:lnTo>
                  <a:lnTo>
                    <a:pt x="120" y="1072"/>
                  </a:lnTo>
                  <a:lnTo>
                    <a:pt x="119" y="1069"/>
                  </a:lnTo>
                  <a:lnTo>
                    <a:pt x="117" y="1069"/>
                  </a:lnTo>
                  <a:lnTo>
                    <a:pt x="116" y="1067"/>
                  </a:lnTo>
                  <a:lnTo>
                    <a:pt x="115" y="1065"/>
                  </a:lnTo>
                  <a:lnTo>
                    <a:pt x="113" y="1063"/>
                  </a:lnTo>
                  <a:lnTo>
                    <a:pt x="112" y="1060"/>
                  </a:lnTo>
                  <a:lnTo>
                    <a:pt x="109" y="1060"/>
                  </a:lnTo>
                  <a:lnTo>
                    <a:pt x="107" y="1058"/>
                  </a:lnTo>
                  <a:lnTo>
                    <a:pt x="106" y="1056"/>
                  </a:lnTo>
                  <a:lnTo>
                    <a:pt x="103" y="1056"/>
                  </a:lnTo>
                  <a:lnTo>
                    <a:pt x="102" y="1055"/>
                  </a:lnTo>
                  <a:lnTo>
                    <a:pt x="101" y="1053"/>
                  </a:lnTo>
                  <a:lnTo>
                    <a:pt x="98" y="1051"/>
                  </a:lnTo>
                  <a:lnTo>
                    <a:pt x="96" y="1051"/>
                  </a:lnTo>
                  <a:lnTo>
                    <a:pt x="95" y="1050"/>
                  </a:lnTo>
                  <a:lnTo>
                    <a:pt x="94" y="1047"/>
                  </a:lnTo>
                  <a:lnTo>
                    <a:pt x="92" y="1047"/>
                  </a:lnTo>
                  <a:lnTo>
                    <a:pt x="91" y="1044"/>
                  </a:lnTo>
                  <a:lnTo>
                    <a:pt x="90" y="1044"/>
                  </a:lnTo>
                  <a:lnTo>
                    <a:pt x="88" y="1043"/>
                  </a:lnTo>
                  <a:lnTo>
                    <a:pt x="87" y="1040"/>
                  </a:lnTo>
                  <a:lnTo>
                    <a:pt x="85" y="1038"/>
                  </a:lnTo>
                  <a:lnTo>
                    <a:pt x="84" y="1036"/>
                  </a:lnTo>
                  <a:lnTo>
                    <a:pt x="84" y="1033"/>
                  </a:lnTo>
                  <a:lnTo>
                    <a:pt x="82" y="1033"/>
                  </a:lnTo>
                  <a:lnTo>
                    <a:pt x="81" y="1032"/>
                  </a:lnTo>
                  <a:lnTo>
                    <a:pt x="80" y="1031"/>
                  </a:lnTo>
                  <a:lnTo>
                    <a:pt x="78" y="1030"/>
                  </a:lnTo>
                  <a:lnTo>
                    <a:pt x="77" y="1028"/>
                  </a:lnTo>
                  <a:lnTo>
                    <a:pt x="74" y="1027"/>
                  </a:lnTo>
                  <a:lnTo>
                    <a:pt x="74" y="1024"/>
                  </a:lnTo>
                  <a:lnTo>
                    <a:pt x="73" y="1024"/>
                  </a:lnTo>
                  <a:lnTo>
                    <a:pt x="71" y="1024"/>
                  </a:lnTo>
                  <a:lnTo>
                    <a:pt x="70" y="1022"/>
                  </a:lnTo>
                  <a:lnTo>
                    <a:pt x="68" y="1022"/>
                  </a:lnTo>
                  <a:lnTo>
                    <a:pt x="66" y="1020"/>
                  </a:lnTo>
                  <a:lnTo>
                    <a:pt x="64" y="1019"/>
                  </a:lnTo>
                  <a:lnTo>
                    <a:pt x="63" y="1018"/>
                  </a:lnTo>
                  <a:lnTo>
                    <a:pt x="62" y="1018"/>
                  </a:lnTo>
                  <a:lnTo>
                    <a:pt x="59" y="1015"/>
                  </a:lnTo>
                  <a:lnTo>
                    <a:pt x="57" y="1015"/>
                  </a:lnTo>
                  <a:lnTo>
                    <a:pt x="56" y="1014"/>
                  </a:lnTo>
                  <a:lnTo>
                    <a:pt x="55" y="1011"/>
                  </a:lnTo>
                  <a:lnTo>
                    <a:pt x="53" y="1011"/>
                  </a:lnTo>
                  <a:lnTo>
                    <a:pt x="52" y="1010"/>
                  </a:lnTo>
                  <a:lnTo>
                    <a:pt x="49" y="1008"/>
                  </a:lnTo>
                  <a:lnTo>
                    <a:pt x="49" y="1007"/>
                  </a:lnTo>
                  <a:lnTo>
                    <a:pt x="48" y="1005"/>
                  </a:lnTo>
                  <a:lnTo>
                    <a:pt x="46" y="1002"/>
                  </a:lnTo>
                  <a:lnTo>
                    <a:pt x="45" y="1002"/>
                  </a:lnTo>
                  <a:lnTo>
                    <a:pt x="45" y="998"/>
                  </a:lnTo>
                  <a:lnTo>
                    <a:pt x="43" y="996"/>
                  </a:lnTo>
                  <a:lnTo>
                    <a:pt x="42" y="995"/>
                  </a:lnTo>
                  <a:lnTo>
                    <a:pt x="41" y="993"/>
                  </a:lnTo>
                  <a:lnTo>
                    <a:pt x="41" y="991"/>
                  </a:lnTo>
                  <a:lnTo>
                    <a:pt x="39" y="989"/>
                  </a:lnTo>
                  <a:lnTo>
                    <a:pt x="38" y="988"/>
                  </a:lnTo>
                  <a:lnTo>
                    <a:pt x="37" y="986"/>
                  </a:lnTo>
                  <a:lnTo>
                    <a:pt x="37" y="985"/>
                  </a:lnTo>
                  <a:lnTo>
                    <a:pt x="35" y="983"/>
                  </a:lnTo>
                  <a:lnTo>
                    <a:pt x="34" y="982"/>
                  </a:lnTo>
                  <a:lnTo>
                    <a:pt x="32" y="980"/>
                  </a:lnTo>
                  <a:lnTo>
                    <a:pt x="31" y="980"/>
                  </a:lnTo>
                  <a:lnTo>
                    <a:pt x="30" y="980"/>
                  </a:lnTo>
                  <a:lnTo>
                    <a:pt x="31" y="976"/>
                  </a:lnTo>
                  <a:lnTo>
                    <a:pt x="31" y="973"/>
                  </a:lnTo>
                  <a:lnTo>
                    <a:pt x="31" y="971"/>
                  </a:lnTo>
                  <a:lnTo>
                    <a:pt x="31" y="970"/>
                  </a:lnTo>
                  <a:lnTo>
                    <a:pt x="32" y="966"/>
                  </a:lnTo>
                  <a:lnTo>
                    <a:pt x="32" y="965"/>
                  </a:lnTo>
                  <a:lnTo>
                    <a:pt x="34" y="963"/>
                  </a:lnTo>
                  <a:lnTo>
                    <a:pt x="32" y="961"/>
                  </a:lnTo>
                  <a:lnTo>
                    <a:pt x="32" y="957"/>
                  </a:lnTo>
                  <a:lnTo>
                    <a:pt x="32" y="956"/>
                  </a:lnTo>
                  <a:lnTo>
                    <a:pt x="32" y="953"/>
                  </a:lnTo>
                  <a:lnTo>
                    <a:pt x="31" y="952"/>
                  </a:lnTo>
                  <a:lnTo>
                    <a:pt x="30" y="951"/>
                  </a:lnTo>
                  <a:lnTo>
                    <a:pt x="30" y="948"/>
                  </a:lnTo>
                  <a:lnTo>
                    <a:pt x="28" y="946"/>
                  </a:lnTo>
                  <a:lnTo>
                    <a:pt x="27" y="944"/>
                  </a:lnTo>
                  <a:lnTo>
                    <a:pt x="25" y="944"/>
                  </a:lnTo>
                  <a:lnTo>
                    <a:pt x="25" y="943"/>
                  </a:lnTo>
                  <a:lnTo>
                    <a:pt x="24" y="940"/>
                  </a:lnTo>
                  <a:lnTo>
                    <a:pt x="24" y="939"/>
                  </a:lnTo>
                  <a:lnTo>
                    <a:pt x="23" y="937"/>
                  </a:lnTo>
                  <a:lnTo>
                    <a:pt x="23" y="936"/>
                  </a:lnTo>
                  <a:lnTo>
                    <a:pt x="23" y="933"/>
                  </a:lnTo>
                  <a:lnTo>
                    <a:pt x="21" y="931"/>
                  </a:lnTo>
                  <a:lnTo>
                    <a:pt x="20" y="929"/>
                  </a:lnTo>
                  <a:lnTo>
                    <a:pt x="20" y="927"/>
                  </a:lnTo>
                  <a:lnTo>
                    <a:pt x="18" y="927"/>
                  </a:lnTo>
                  <a:lnTo>
                    <a:pt x="16" y="924"/>
                  </a:lnTo>
                  <a:lnTo>
                    <a:pt x="14" y="921"/>
                  </a:lnTo>
                  <a:lnTo>
                    <a:pt x="13" y="921"/>
                  </a:lnTo>
                  <a:lnTo>
                    <a:pt x="10" y="920"/>
                  </a:lnTo>
                  <a:lnTo>
                    <a:pt x="10" y="918"/>
                  </a:lnTo>
                  <a:lnTo>
                    <a:pt x="9" y="918"/>
                  </a:lnTo>
                  <a:lnTo>
                    <a:pt x="9" y="915"/>
                  </a:lnTo>
                  <a:lnTo>
                    <a:pt x="10" y="912"/>
                  </a:lnTo>
                  <a:lnTo>
                    <a:pt x="10" y="911"/>
                  </a:lnTo>
                  <a:lnTo>
                    <a:pt x="10" y="908"/>
                  </a:lnTo>
                  <a:lnTo>
                    <a:pt x="11" y="904"/>
                  </a:lnTo>
                  <a:lnTo>
                    <a:pt x="11" y="903"/>
                  </a:lnTo>
                  <a:lnTo>
                    <a:pt x="11" y="901"/>
                  </a:lnTo>
                  <a:lnTo>
                    <a:pt x="11" y="899"/>
                  </a:lnTo>
                  <a:lnTo>
                    <a:pt x="11" y="895"/>
                  </a:lnTo>
                  <a:lnTo>
                    <a:pt x="10" y="895"/>
                  </a:lnTo>
                  <a:lnTo>
                    <a:pt x="9" y="894"/>
                  </a:lnTo>
                  <a:lnTo>
                    <a:pt x="7" y="891"/>
                  </a:lnTo>
                  <a:lnTo>
                    <a:pt x="6" y="889"/>
                  </a:lnTo>
                  <a:lnTo>
                    <a:pt x="5" y="886"/>
                  </a:lnTo>
                  <a:lnTo>
                    <a:pt x="3" y="882"/>
                  </a:lnTo>
                  <a:lnTo>
                    <a:pt x="2" y="882"/>
                  </a:lnTo>
                  <a:lnTo>
                    <a:pt x="2" y="881"/>
                  </a:lnTo>
                  <a:lnTo>
                    <a:pt x="2" y="878"/>
                  </a:lnTo>
                  <a:lnTo>
                    <a:pt x="3" y="876"/>
                  </a:lnTo>
                  <a:lnTo>
                    <a:pt x="3" y="873"/>
                  </a:lnTo>
                  <a:lnTo>
                    <a:pt x="3" y="871"/>
                  </a:lnTo>
                  <a:lnTo>
                    <a:pt x="5" y="869"/>
                  </a:lnTo>
                  <a:lnTo>
                    <a:pt x="5" y="867"/>
                  </a:lnTo>
                  <a:lnTo>
                    <a:pt x="5" y="866"/>
                  </a:lnTo>
                  <a:lnTo>
                    <a:pt x="5" y="864"/>
                  </a:lnTo>
                  <a:lnTo>
                    <a:pt x="3" y="859"/>
                  </a:lnTo>
                  <a:lnTo>
                    <a:pt x="2" y="858"/>
                  </a:lnTo>
                  <a:lnTo>
                    <a:pt x="2" y="856"/>
                  </a:lnTo>
                  <a:lnTo>
                    <a:pt x="3" y="854"/>
                  </a:lnTo>
                  <a:lnTo>
                    <a:pt x="3" y="853"/>
                  </a:lnTo>
                  <a:lnTo>
                    <a:pt x="5" y="850"/>
                  </a:lnTo>
                  <a:lnTo>
                    <a:pt x="5" y="849"/>
                  </a:lnTo>
                  <a:lnTo>
                    <a:pt x="6" y="846"/>
                  </a:lnTo>
                  <a:lnTo>
                    <a:pt x="7" y="845"/>
                  </a:lnTo>
                  <a:lnTo>
                    <a:pt x="10" y="844"/>
                  </a:lnTo>
                  <a:lnTo>
                    <a:pt x="11" y="842"/>
                  </a:lnTo>
                  <a:lnTo>
                    <a:pt x="11" y="841"/>
                  </a:lnTo>
                  <a:lnTo>
                    <a:pt x="13" y="837"/>
                  </a:lnTo>
                  <a:lnTo>
                    <a:pt x="13" y="836"/>
                  </a:lnTo>
                  <a:lnTo>
                    <a:pt x="11" y="833"/>
                  </a:lnTo>
                  <a:lnTo>
                    <a:pt x="10" y="831"/>
                  </a:lnTo>
                  <a:lnTo>
                    <a:pt x="10" y="828"/>
                  </a:lnTo>
                  <a:lnTo>
                    <a:pt x="9" y="827"/>
                  </a:lnTo>
                  <a:lnTo>
                    <a:pt x="9" y="824"/>
                  </a:lnTo>
                  <a:lnTo>
                    <a:pt x="7" y="821"/>
                  </a:lnTo>
                  <a:lnTo>
                    <a:pt x="6" y="820"/>
                  </a:lnTo>
                  <a:lnTo>
                    <a:pt x="5" y="817"/>
                  </a:lnTo>
                  <a:lnTo>
                    <a:pt x="3" y="815"/>
                  </a:lnTo>
                  <a:lnTo>
                    <a:pt x="2" y="814"/>
                  </a:lnTo>
                  <a:lnTo>
                    <a:pt x="2" y="811"/>
                  </a:lnTo>
                  <a:lnTo>
                    <a:pt x="0" y="808"/>
                  </a:lnTo>
                  <a:lnTo>
                    <a:pt x="0" y="807"/>
                  </a:lnTo>
                  <a:lnTo>
                    <a:pt x="0" y="804"/>
                  </a:lnTo>
                  <a:lnTo>
                    <a:pt x="2" y="804"/>
                  </a:lnTo>
                  <a:lnTo>
                    <a:pt x="5" y="802"/>
                  </a:lnTo>
                  <a:lnTo>
                    <a:pt x="6" y="802"/>
                  </a:lnTo>
                  <a:lnTo>
                    <a:pt x="7" y="802"/>
                  </a:lnTo>
                  <a:lnTo>
                    <a:pt x="9" y="802"/>
                  </a:lnTo>
                  <a:lnTo>
                    <a:pt x="11" y="800"/>
                  </a:lnTo>
                  <a:lnTo>
                    <a:pt x="13" y="800"/>
                  </a:lnTo>
                  <a:lnTo>
                    <a:pt x="14" y="798"/>
                  </a:lnTo>
                  <a:lnTo>
                    <a:pt x="16" y="798"/>
                  </a:lnTo>
                  <a:lnTo>
                    <a:pt x="18" y="798"/>
                  </a:lnTo>
                  <a:lnTo>
                    <a:pt x="20" y="798"/>
                  </a:lnTo>
                  <a:lnTo>
                    <a:pt x="21" y="798"/>
                  </a:lnTo>
                  <a:lnTo>
                    <a:pt x="24" y="798"/>
                  </a:lnTo>
                  <a:lnTo>
                    <a:pt x="25" y="796"/>
                  </a:lnTo>
                  <a:lnTo>
                    <a:pt x="27" y="796"/>
                  </a:lnTo>
                  <a:lnTo>
                    <a:pt x="30" y="796"/>
                  </a:lnTo>
                  <a:lnTo>
                    <a:pt x="31" y="795"/>
                  </a:lnTo>
                  <a:lnTo>
                    <a:pt x="32" y="795"/>
                  </a:lnTo>
                  <a:lnTo>
                    <a:pt x="35" y="795"/>
                  </a:lnTo>
                  <a:lnTo>
                    <a:pt x="37" y="792"/>
                  </a:lnTo>
                  <a:lnTo>
                    <a:pt x="39" y="792"/>
                  </a:lnTo>
                  <a:lnTo>
                    <a:pt x="41" y="792"/>
                  </a:lnTo>
                  <a:lnTo>
                    <a:pt x="42" y="792"/>
                  </a:lnTo>
                  <a:lnTo>
                    <a:pt x="45" y="792"/>
                  </a:lnTo>
                  <a:lnTo>
                    <a:pt x="46" y="791"/>
                  </a:lnTo>
                  <a:lnTo>
                    <a:pt x="48" y="791"/>
                  </a:lnTo>
                  <a:lnTo>
                    <a:pt x="51" y="791"/>
                  </a:lnTo>
                  <a:lnTo>
                    <a:pt x="52" y="789"/>
                  </a:lnTo>
                  <a:lnTo>
                    <a:pt x="53" y="789"/>
                  </a:lnTo>
                  <a:lnTo>
                    <a:pt x="55" y="789"/>
                  </a:lnTo>
                  <a:lnTo>
                    <a:pt x="57" y="789"/>
                  </a:lnTo>
                  <a:lnTo>
                    <a:pt x="59" y="789"/>
                  </a:lnTo>
                  <a:lnTo>
                    <a:pt x="60" y="789"/>
                  </a:lnTo>
                  <a:lnTo>
                    <a:pt x="63" y="787"/>
                  </a:lnTo>
                  <a:lnTo>
                    <a:pt x="66" y="787"/>
                  </a:lnTo>
                  <a:lnTo>
                    <a:pt x="67" y="786"/>
                  </a:lnTo>
                  <a:lnTo>
                    <a:pt x="68" y="786"/>
                  </a:lnTo>
                  <a:lnTo>
                    <a:pt x="71" y="784"/>
                  </a:lnTo>
                  <a:lnTo>
                    <a:pt x="73" y="784"/>
                  </a:lnTo>
                  <a:lnTo>
                    <a:pt x="76" y="784"/>
                  </a:lnTo>
                  <a:lnTo>
                    <a:pt x="77" y="784"/>
                  </a:lnTo>
                  <a:lnTo>
                    <a:pt x="80" y="783"/>
                  </a:lnTo>
                  <a:lnTo>
                    <a:pt x="81" y="783"/>
                  </a:lnTo>
                  <a:lnTo>
                    <a:pt x="84" y="783"/>
                  </a:lnTo>
                  <a:lnTo>
                    <a:pt x="85" y="782"/>
                  </a:lnTo>
                  <a:lnTo>
                    <a:pt x="87" y="782"/>
                  </a:lnTo>
                  <a:lnTo>
                    <a:pt x="90" y="779"/>
                  </a:lnTo>
                  <a:lnTo>
                    <a:pt x="92" y="779"/>
                  </a:lnTo>
                  <a:lnTo>
                    <a:pt x="94" y="779"/>
                  </a:lnTo>
                  <a:lnTo>
                    <a:pt x="96" y="778"/>
                  </a:lnTo>
                  <a:lnTo>
                    <a:pt x="98" y="778"/>
                  </a:lnTo>
                  <a:lnTo>
                    <a:pt x="99" y="778"/>
                  </a:lnTo>
                  <a:lnTo>
                    <a:pt x="102" y="778"/>
                  </a:lnTo>
                  <a:lnTo>
                    <a:pt x="105" y="778"/>
                  </a:lnTo>
                  <a:lnTo>
                    <a:pt x="106" y="778"/>
                  </a:lnTo>
                  <a:lnTo>
                    <a:pt x="107" y="775"/>
                  </a:lnTo>
                  <a:lnTo>
                    <a:pt x="110" y="775"/>
                  </a:lnTo>
                  <a:lnTo>
                    <a:pt x="112" y="775"/>
                  </a:lnTo>
                  <a:lnTo>
                    <a:pt x="113" y="775"/>
                  </a:lnTo>
                  <a:lnTo>
                    <a:pt x="116" y="775"/>
                  </a:lnTo>
                  <a:lnTo>
                    <a:pt x="119" y="774"/>
                  </a:lnTo>
                  <a:lnTo>
                    <a:pt x="120" y="774"/>
                  </a:lnTo>
                  <a:lnTo>
                    <a:pt x="123" y="773"/>
                  </a:lnTo>
                  <a:lnTo>
                    <a:pt x="124" y="771"/>
                  </a:lnTo>
                  <a:lnTo>
                    <a:pt x="127" y="771"/>
                  </a:lnTo>
                  <a:lnTo>
                    <a:pt x="130" y="770"/>
                  </a:lnTo>
                  <a:lnTo>
                    <a:pt x="131" y="769"/>
                  </a:lnTo>
                  <a:lnTo>
                    <a:pt x="134" y="766"/>
                  </a:lnTo>
                  <a:lnTo>
                    <a:pt x="135" y="766"/>
                  </a:lnTo>
                  <a:lnTo>
                    <a:pt x="138" y="766"/>
                  </a:lnTo>
                  <a:lnTo>
                    <a:pt x="140" y="766"/>
                  </a:lnTo>
                  <a:lnTo>
                    <a:pt x="142" y="765"/>
                  </a:lnTo>
                  <a:lnTo>
                    <a:pt x="144" y="762"/>
                  </a:lnTo>
                  <a:lnTo>
                    <a:pt x="146" y="762"/>
                  </a:lnTo>
                  <a:lnTo>
                    <a:pt x="148" y="762"/>
                  </a:lnTo>
                  <a:lnTo>
                    <a:pt x="149" y="761"/>
                  </a:lnTo>
                  <a:lnTo>
                    <a:pt x="152" y="759"/>
                  </a:lnTo>
                  <a:lnTo>
                    <a:pt x="155" y="759"/>
                  </a:lnTo>
                  <a:lnTo>
                    <a:pt x="156" y="757"/>
                  </a:lnTo>
                  <a:lnTo>
                    <a:pt x="157" y="757"/>
                  </a:lnTo>
                  <a:lnTo>
                    <a:pt x="160" y="755"/>
                  </a:lnTo>
                  <a:lnTo>
                    <a:pt x="162" y="755"/>
                  </a:lnTo>
                  <a:lnTo>
                    <a:pt x="163" y="753"/>
                  </a:lnTo>
                  <a:lnTo>
                    <a:pt x="166" y="753"/>
                  </a:lnTo>
                  <a:lnTo>
                    <a:pt x="167" y="753"/>
                  </a:lnTo>
                  <a:lnTo>
                    <a:pt x="170" y="752"/>
                  </a:lnTo>
                  <a:lnTo>
                    <a:pt x="171" y="750"/>
                  </a:lnTo>
                  <a:lnTo>
                    <a:pt x="173" y="750"/>
                  </a:lnTo>
                  <a:lnTo>
                    <a:pt x="176" y="749"/>
                  </a:lnTo>
                  <a:lnTo>
                    <a:pt x="177" y="748"/>
                  </a:lnTo>
                  <a:lnTo>
                    <a:pt x="179" y="748"/>
                  </a:lnTo>
                  <a:lnTo>
                    <a:pt x="181" y="746"/>
                  </a:lnTo>
                  <a:lnTo>
                    <a:pt x="182" y="746"/>
                  </a:lnTo>
                  <a:lnTo>
                    <a:pt x="184" y="744"/>
                  </a:lnTo>
                  <a:lnTo>
                    <a:pt x="185" y="744"/>
                  </a:lnTo>
                  <a:lnTo>
                    <a:pt x="187" y="744"/>
                  </a:lnTo>
                  <a:lnTo>
                    <a:pt x="188" y="742"/>
                  </a:lnTo>
                  <a:lnTo>
                    <a:pt x="191" y="740"/>
                  </a:lnTo>
                  <a:lnTo>
                    <a:pt x="192" y="740"/>
                  </a:lnTo>
                  <a:lnTo>
                    <a:pt x="194" y="738"/>
                  </a:lnTo>
                  <a:lnTo>
                    <a:pt x="195" y="738"/>
                  </a:lnTo>
                  <a:lnTo>
                    <a:pt x="198" y="737"/>
                  </a:lnTo>
                  <a:lnTo>
                    <a:pt x="199" y="734"/>
                  </a:lnTo>
                  <a:lnTo>
                    <a:pt x="202" y="734"/>
                  </a:lnTo>
                  <a:lnTo>
                    <a:pt x="204" y="734"/>
                  </a:lnTo>
                  <a:lnTo>
                    <a:pt x="205" y="734"/>
                  </a:lnTo>
                  <a:lnTo>
                    <a:pt x="206" y="733"/>
                  </a:lnTo>
                  <a:lnTo>
                    <a:pt x="209" y="730"/>
                  </a:lnTo>
                  <a:lnTo>
                    <a:pt x="210" y="730"/>
                  </a:lnTo>
                  <a:lnTo>
                    <a:pt x="212" y="730"/>
                  </a:lnTo>
                  <a:lnTo>
                    <a:pt x="213" y="730"/>
                  </a:lnTo>
                  <a:lnTo>
                    <a:pt x="215" y="729"/>
                  </a:lnTo>
                  <a:lnTo>
                    <a:pt x="217" y="729"/>
                  </a:lnTo>
                  <a:lnTo>
                    <a:pt x="219" y="727"/>
                  </a:lnTo>
                  <a:lnTo>
                    <a:pt x="220" y="727"/>
                  </a:lnTo>
                  <a:lnTo>
                    <a:pt x="223" y="727"/>
                  </a:lnTo>
                  <a:lnTo>
                    <a:pt x="224" y="725"/>
                  </a:lnTo>
                  <a:lnTo>
                    <a:pt x="226" y="725"/>
                  </a:lnTo>
                  <a:lnTo>
                    <a:pt x="227" y="721"/>
                  </a:lnTo>
                  <a:lnTo>
                    <a:pt x="229" y="721"/>
                  </a:lnTo>
                  <a:lnTo>
                    <a:pt x="231" y="721"/>
                  </a:lnTo>
                  <a:lnTo>
                    <a:pt x="232" y="721"/>
                  </a:lnTo>
                  <a:lnTo>
                    <a:pt x="235" y="720"/>
                  </a:lnTo>
                  <a:lnTo>
                    <a:pt x="237" y="717"/>
                  </a:lnTo>
                  <a:lnTo>
                    <a:pt x="238" y="717"/>
                  </a:lnTo>
                  <a:lnTo>
                    <a:pt x="241" y="717"/>
                  </a:lnTo>
                  <a:lnTo>
                    <a:pt x="242" y="716"/>
                  </a:lnTo>
                  <a:lnTo>
                    <a:pt x="245" y="716"/>
                  </a:lnTo>
                  <a:lnTo>
                    <a:pt x="246" y="715"/>
                  </a:lnTo>
                  <a:lnTo>
                    <a:pt x="248" y="715"/>
                  </a:lnTo>
                  <a:lnTo>
                    <a:pt x="251" y="713"/>
                  </a:lnTo>
                  <a:lnTo>
                    <a:pt x="254" y="713"/>
                  </a:lnTo>
                  <a:lnTo>
                    <a:pt x="255" y="713"/>
                  </a:lnTo>
                  <a:lnTo>
                    <a:pt x="256" y="712"/>
                  </a:lnTo>
                  <a:lnTo>
                    <a:pt x="259" y="712"/>
                  </a:lnTo>
                  <a:lnTo>
                    <a:pt x="260" y="711"/>
                  </a:lnTo>
                  <a:lnTo>
                    <a:pt x="263" y="711"/>
                  </a:lnTo>
                  <a:lnTo>
                    <a:pt x="266" y="708"/>
                  </a:lnTo>
                  <a:lnTo>
                    <a:pt x="267" y="708"/>
                  </a:lnTo>
                  <a:lnTo>
                    <a:pt x="269" y="708"/>
                  </a:lnTo>
                  <a:lnTo>
                    <a:pt x="271" y="708"/>
                  </a:lnTo>
                  <a:lnTo>
                    <a:pt x="273" y="707"/>
                  </a:lnTo>
                  <a:lnTo>
                    <a:pt x="276" y="704"/>
                  </a:lnTo>
                  <a:lnTo>
                    <a:pt x="279" y="704"/>
                  </a:lnTo>
                  <a:lnTo>
                    <a:pt x="280" y="704"/>
                  </a:lnTo>
                  <a:lnTo>
                    <a:pt x="283" y="703"/>
                  </a:lnTo>
                  <a:lnTo>
                    <a:pt x="285" y="703"/>
                  </a:lnTo>
                  <a:lnTo>
                    <a:pt x="287" y="699"/>
                  </a:lnTo>
                  <a:lnTo>
                    <a:pt x="288" y="699"/>
                  </a:lnTo>
                  <a:lnTo>
                    <a:pt x="290" y="699"/>
                  </a:lnTo>
                  <a:lnTo>
                    <a:pt x="292" y="699"/>
                  </a:lnTo>
                  <a:lnTo>
                    <a:pt x="294" y="699"/>
                  </a:lnTo>
                  <a:lnTo>
                    <a:pt x="296" y="698"/>
                  </a:lnTo>
                  <a:lnTo>
                    <a:pt x="298" y="695"/>
                  </a:lnTo>
                  <a:lnTo>
                    <a:pt x="301" y="695"/>
                  </a:lnTo>
                  <a:lnTo>
                    <a:pt x="302" y="695"/>
                  </a:lnTo>
                  <a:lnTo>
                    <a:pt x="304" y="693"/>
                  </a:lnTo>
                  <a:lnTo>
                    <a:pt x="305" y="693"/>
                  </a:lnTo>
                  <a:lnTo>
                    <a:pt x="306" y="693"/>
                  </a:lnTo>
                  <a:lnTo>
                    <a:pt x="309" y="692"/>
                  </a:lnTo>
                  <a:lnTo>
                    <a:pt x="310" y="692"/>
                  </a:lnTo>
                  <a:lnTo>
                    <a:pt x="313" y="691"/>
                  </a:lnTo>
                  <a:lnTo>
                    <a:pt x="316" y="691"/>
                  </a:lnTo>
                  <a:lnTo>
                    <a:pt x="317" y="690"/>
                  </a:lnTo>
                  <a:lnTo>
                    <a:pt x="319" y="688"/>
                  </a:lnTo>
                  <a:lnTo>
                    <a:pt x="322" y="688"/>
                  </a:lnTo>
                  <a:lnTo>
                    <a:pt x="323" y="686"/>
                  </a:lnTo>
                  <a:lnTo>
                    <a:pt x="324" y="686"/>
                  </a:lnTo>
                  <a:lnTo>
                    <a:pt x="327" y="686"/>
                  </a:lnTo>
                  <a:lnTo>
                    <a:pt x="330" y="684"/>
                  </a:lnTo>
                  <a:lnTo>
                    <a:pt x="331" y="682"/>
                  </a:lnTo>
                  <a:lnTo>
                    <a:pt x="333" y="682"/>
                  </a:lnTo>
                  <a:lnTo>
                    <a:pt x="336" y="682"/>
                  </a:lnTo>
                  <a:lnTo>
                    <a:pt x="338" y="682"/>
                  </a:lnTo>
                  <a:lnTo>
                    <a:pt x="340" y="682"/>
                  </a:lnTo>
                  <a:lnTo>
                    <a:pt x="341" y="680"/>
                  </a:lnTo>
                  <a:lnTo>
                    <a:pt x="344" y="680"/>
                  </a:lnTo>
                  <a:lnTo>
                    <a:pt x="345" y="678"/>
                  </a:lnTo>
                  <a:lnTo>
                    <a:pt x="348" y="678"/>
                  </a:lnTo>
                  <a:lnTo>
                    <a:pt x="350" y="678"/>
                  </a:lnTo>
                  <a:lnTo>
                    <a:pt x="352" y="678"/>
                  </a:lnTo>
                  <a:lnTo>
                    <a:pt x="354" y="676"/>
                  </a:lnTo>
                  <a:lnTo>
                    <a:pt x="356" y="676"/>
                  </a:lnTo>
                  <a:lnTo>
                    <a:pt x="358" y="675"/>
                  </a:lnTo>
                  <a:lnTo>
                    <a:pt x="361" y="675"/>
                  </a:lnTo>
                  <a:lnTo>
                    <a:pt x="361" y="673"/>
                  </a:lnTo>
                  <a:lnTo>
                    <a:pt x="364" y="673"/>
                  </a:lnTo>
                  <a:lnTo>
                    <a:pt x="365" y="671"/>
                  </a:lnTo>
                  <a:lnTo>
                    <a:pt x="367" y="671"/>
                  </a:lnTo>
                  <a:lnTo>
                    <a:pt x="369" y="668"/>
                  </a:lnTo>
                  <a:lnTo>
                    <a:pt x="372" y="668"/>
                  </a:lnTo>
                  <a:lnTo>
                    <a:pt x="373" y="668"/>
                  </a:lnTo>
                  <a:lnTo>
                    <a:pt x="376" y="667"/>
                  </a:lnTo>
                  <a:lnTo>
                    <a:pt x="377" y="667"/>
                  </a:lnTo>
                  <a:lnTo>
                    <a:pt x="379" y="666"/>
                  </a:lnTo>
                  <a:lnTo>
                    <a:pt x="381" y="666"/>
                  </a:lnTo>
                  <a:lnTo>
                    <a:pt x="384" y="663"/>
                  </a:lnTo>
                  <a:lnTo>
                    <a:pt x="386" y="663"/>
                  </a:lnTo>
                  <a:lnTo>
                    <a:pt x="387" y="663"/>
                  </a:lnTo>
                  <a:lnTo>
                    <a:pt x="390" y="663"/>
                  </a:lnTo>
                  <a:lnTo>
                    <a:pt x="391" y="662"/>
                  </a:lnTo>
                  <a:lnTo>
                    <a:pt x="394" y="662"/>
                  </a:lnTo>
                  <a:lnTo>
                    <a:pt x="395" y="659"/>
                  </a:lnTo>
                  <a:lnTo>
                    <a:pt x="397" y="659"/>
                  </a:lnTo>
                  <a:lnTo>
                    <a:pt x="400" y="659"/>
                  </a:lnTo>
                  <a:lnTo>
                    <a:pt x="402" y="658"/>
                  </a:lnTo>
                  <a:lnTo>
                    <a:pt x="404" y="658"/>
                  </a:lnTo>
                  <a:lnTo>
                    <a:pt x="405" y="657"/>
                  </a:lnTo>
                  <a:lnTo>
                    <a:pt x="408" y="657"/>
                  </a:lnTo>
                  <a:lnTo>
                    <a:pt x="409" y="655"/>
                  </a:lnTo>
                  <a:lnTo>
                    <a:pt x="411" y="655"/>
                  </a:lnTo>
                  <a:lnTo>
                    <a:pt x="412" y="654"/>
                  </a:lnTo>
                  <a:lnTo>
                    <a:pt x="415" y="654"/>
                  </a:lnTo>
                  <a:lnTo>
                    <a:pt x="416" y="653"/>
                  </a:lnTo>
                  <a:lnTo>
                    <a:pt x="419" y="653"/>
                  </a:lnTo>
                  <a:lnTo>
                    <a:pt x="420" y="650"/>
                  </a:lnTo>
                  <a:lnTo>
                    <a:pt x="422" y="650"/>
                  </a:lnTo>
                  <a:lnTo>
                    <a:pt x="423" y="650"/>
                  </a:lnTo>
                  <a:lnTo>
                    <a:pt x="426" y="649"/>
                  </a:lnTo>
                  <a:lnTo>
                    <a:pt x="427" y="649"/>
                  </a:lnTo>
                  <a:lnTo>
                    <a:pt x="430" y="646"/>
                  </a:lnTo>
                  <a:lnTo>
                    <a:pt x="431" y="646"/>
                  </a:lnTo>
                  <a:lnTo>
                    <a:pt x="433" y="646"/>
                  </a:lnTo>
                  <a:lnTo>
                    <a:pt x="434" y="646"/>
                  </a:lnTo>
                  <a:lnTo>
                    <a:pt x="436" y="645"/>
                  </a:lnTo>
                  <a:lnTo>
                    <a:pt x="439" y="645"/>
                  </a:lnTo>
                  <a:lnTo>
                    <a:pt x="440" y="643"/>
                  </a:lnTo>
                  <a:lnTo>
                    <a:pt x="442" y="642"/>
                  </a:lnTo>
                  <a:lnTo>
                    <a:pt x="444" y="642"/>
                  </a:lnTo>
                  <a:lnTo>
                    <a:pt x="445" y="641"/>
                  </a:lnTo>
                  <a:lnTo>
                    <a:pt x="447" y="641"/>
                  </a:lnTo>
                  <a:lnTo>
                    <a:pt x="450" y="640"/>
                  </a:lnTo>
                  <a:lnTo>
                    <a:pt x="451" y="640"/>
                  </a:lnTo>
                  <a:lnTo>
                    <a:pt x="454" y="637"/>
                  </a:lnTo>
                  <a:lnTo>
                    <a:pt x="455" y="637"/>
                  </a:lnTo>
                  <a:lnTo>
                    <a:pt x="456" y="637"/>
                  </a:lnTo>
                  <a:lnTo>
                    <a:pt x="458" y="636"/>
                  </a:lnTo>
                  <a:lnTo>
                    <a:pt x="461" y="636"/>
                  </a:lnTo>
                  <a:lnTo>
                    <a:pt x="462" y="633"/>
                  </a:lnTo>
                  <a:lnTo>
                    <a:pt x="465" y="633"/>
                  </a:lnTo>
                  <a:lnTo>
                    <a:pt x="466" y="633"/>
                  </a:lnTo>
                  <a:lnTo>
                    <a:pt x="469" y="633"/>
                  </a:lnTo>
                  <a:lnTo>
                    <a:pt x="472" y="632"/>
                  </a:lnTo>
                  <a:lnTo>
                    <a:pt x="473" y="632"/>
                  </a:lnTo>
                  <a:lnTo>
                    <a:pt x="476" y="630"/>
                  </a:lnTo>
                  <a:lnTo>
                    <a:pt x="477" y="630"/>
                  </a:lnTo>
                  <a:lnTo>
                    <a:pt x="479" y="630"/>
                  </a:lnTo>
                  <a:lnTo>
                    <a:pt x="481" y="628"/>
                  </a:lnTo>
                  <a:lnTo>
                    <a:pt x="484" y="628"/>
                  </a:lnTo>
                  <a:lnTo>
                    <a:pt x="486" y="628"/>
                  </a:lnTo>
                  <a:lnTo>
                    <a:pt x="489" y="628"/>
                  </a:lnTo>
                  <a:lnTo>
                    <a:pt x="490" y="628"/>
                  </a:lnTo>
                  <a:lnTo>
                    <a:pt x="491" y="628"/>
                  </a:lnTo>
                  <a:lnTo>
                    <a:pt x="494" y="626"/>
                  </a:lnTo>
                  <a:lnTo>
                    <a:pt x="497" y="626"/>
                  </a:lnTo>
                  <a:lnTo>
                    <a:pt x="498" y="624"/>
                  </a:lnTo>
                  <a:lnTo>
                    <a:pt x="501" y="624"/>
                  </a:lnTo>
                  <a:lnTo>
                    <a:pt x="502" y="624"/>
                  </a:lnTo>
                  <a:lnTo>
                    <a:pt x="505" y="624"/>
                  </a:lnTo>
                  <a:lnTo>
                    <a:pt x="506" y="624"/>
                  </a:lnTo>
                  <a:lnTo>
                    <a:pt x="509" y="623"/>
                  </a:lnTo>
                  <a:lnTo>
                    <a:pt x="511" y="623"/>
                  </a:lnTo>
                  <a:lnTo>
                    <a:pt x="514" y="623"/>
                  </a:lnTo>
                  <a:lnTo>
                    <a:pt x="515" y="621"/>
                  </a:lnTo>
                  <a:lnTo>
                    <a:pt x="517" y="621"/>
                  </a:lnTo>
                  <a:lnTo>
                    <a:pt x="520" y="620"/>
                  </a:lnTo>
                  <a:lnTo>
                    <a:pt x="522" y="620"/>
                  </a:lnTo>
                  <a:lnTo>
                    <a:pt x="525" y="620"/>
                  </a:lnTo>
                  <a:lnTo>
                    <a:pt x="527" y="618"/>
                  </a:lnTo>
                  <a:lnTo>
                    <a:pt x="529" y="618"/>
                  </a:lnTo>
                  <a:lnTo>
                    <a:pt x="531" y="617"/>
                  </a:lnTo>
                  <a:lnTo>
                    <a:pt x="534" y="617"/>
                  </a:lnTo>
                  <a:lnTo>
                    <a:pt x="536" y="617"/>
                  </a:lnTo>
                  <a:lnTo>
                    <a:pt x="539" y="615"/>
                  </a:lnTo>
                  <a:lnTo>
                    <a:pt x="541" y="615"/>
                  </a:lnTo>
                  <a:lnTo>
                    <a:pt x="544" y="615"/>
                  </a:lnTo>
                  <a:lnTo>
                    <a:pt x="545" y="615"/>
                  </a:lnTo>
                  <a:lnTo>
                    <a:pt x="548" y="613"/>
                  </a:lnTo>
                  <a:lnTo>
                    <a:pt x="551" y="613"/>
                  </a:lnTo>
                  <a:lnTo>
                    <a:pt x="552" y="613"/>
                  </a:lnTo>
                  <a:lnTo>
                    <a:pt x="555" y="611"/>
                  </a:lnTo>
                  <a:lnTo>
                    <a:pt x="556" y="611"/>
                  </a:lnTo>
                  <a:lnTo>
                    <a:pt x="559" y="611"/>
                  </a:lnTo>
                  <a:lnTo>
                    <a:pt x="561" y="611"/>
                  </a:lnTo>
                  <a:lnTo>
                    <a:pt x="564" y="611"/>
                  </a:lnTo>
                  <a:lnTo>
                    <a:pt x="566" y="609"/>
                  </a:lnTo>
                  <a:lnTo>
                    <a:pt x="569" y="609"/>
                  </a:lnTo>
                  <a:lnTo>
                    <a:pt x="570" y="608"/>
                  </a:lnTo>
                  <a:lnTo>
                    <a:pt x="573" y="608"/>
                  </a:lnTo>
                  <a:lnTo>
                    <a:pt x="576" y="608"/>
                  </a:lnTo>
                  <a:lnTo>
                    <a:pt x="576" y="605"/>
                  </a:lnTo>
                  <a:lnTo>
                    <a:pt x="577" y="605"/>
                  </a:lnTo>
                  <a:lnTo>
                    <a:pt x="580" y="605"/>
                  </a:lnTo>
                  <a:lnTo>
                    <a:pt x="583" y="605"/>
                  </a:lnTo>
                  <a:lnTo>
                    <a:pt x="584" y="605"/>
                  </a:lnTo>
                  <a:lnTo>
                    <a:pt x="586" y="605"/>
                  </a:lnTo>
                  <a:lnTo>
                    <a:pt x="589" y="604"/>
                  </a:lnTo>
                  <a:lnTo>
                    <a:pt x="591" y="604"/>
                  </a:lnTo>
                  <a:lnTo>
                    <a:pt x="593" y="601"/>
                  </a:lnTo>
                  <a:lnTo>
                    <a:pt x="596" y="601"/>
                  </a:lnTo>
                  <a:lnTo>
                    <a:pt x="597" y="601"/>
                  </a:lnTo>
                  <a:lnTo>
                    <a:pt x="600" y="601"/>
                  </a:lnTo>
                  <a:lnTo>
                    <a:pt x="602" y="600"/>
                  </a:lnTo>
                  <a:lnTo>
                    <a:pt x="604" y="600"/>
                  </a:lnTo>
                  <a:lnTo>
                    <a:pt x="605" y="600"/>
                  </a:lnTo>
                  <a:lnTo>
                    <a:pt x="608" y="598"/>
                  </a:lnTo>
                  <a:lnTo>
                    <a:pt x="611" y="598"/>
                  </a:lnTo>
                  <a:lnTo>
                    <a:pt x="612" y="598"/>
                  </a:lnTo>
                  <a:lnTo>
                    <a:pt x="615" y="598"/>
                  </a:lnTo>
                  <a:lnTo>
                    <a:pt x="616" y="596"/>
                  </a:lnTo>
                  <a:lnTo>
                    <a:pt x="619" y="596"/>
                  </a:lnTo>
                  <a:lnTo>
                    <a:pt x="622" y="596"/>
                  </a:lnTo>
                  <a:lnTo>
                    <a:pt x="624" y="595"/>
                  </a:lnTo>
                  <a:lnTo>
                    <a:pt x="626" y="595"/>
                  </a:lnTo>
                  <a:lnTo>
                    <a:pt x="629" y="592"/>
                  </a:lnTo>
                  <a:lnTo>
                    <a:pt x="630" y="592"/>
                  </a:lnTo>
                  <a:lnTo>
                    <a:pt x="632" y="592"/>
                  </a:lnTo>
                  <a:lnTo>
                    <a:pt x="635" y="592"/>
                  </a:lnTo>
                  <a:lnTo>
                    <a:pt x="637" y="591"/>
                  </a:lnTo>
                  <a:lnTo>
                    <a:pt x="639" y="591"/>
                  </a:lnTo>
                  <a:lnTo>
                    <a:pt x="641" y="588"/>
                  </a:lnTo>
                  <a:lnTo>
                    <a:pt x="644" y="588"/>
                  </a:lnTo>
                  <a:lnTo>
                    <a:pt x="646" y="588"/>
                  </a:lnTo>
                  <a:lnTo>
                    <a:pt x="649" y="588"/>
                  </a:lnTo>
                  <a:lnTo>
                    <a:pt x="650" y="588"/>
                  </a:lnTo>
                  <a:lnTo>
                    <a:pt x="651" y="588"/>
                  </a:lnTo>
                  <a:lnTo>
                    <a:pt x="654" y="588"/>
                  </a:lnTo>
                  <a:lnTo>
                    <a:pt x="655" y="588"/>
                  </a:lnTo>
                  <a:lnTo>
                    <a:pt x="657" y="588"/>
                  </a:lnTo>
                  <a:lnTo>
                    <a:pt x="660" y="587"/>
                  </a:lnTo>
                  <a:lnTo>
                    <a:pt x="662" y="587"/>
                  </a:lnTo>
                  <a:lnTo>
                    <a:pt x="664" y="586"/>
                  </a:lnTo>
                  <a:lnTo>
                    <a:pt x="665" y="586"/>
                  </a:lnTo>
                  <a:lnTo>
                    <a:pt x="666" y="584"/>
                  </a:lnTo>
                  <a:lnTo>
                    <a:pt x="669" y="584"/>
                  </a:lnTo>
                  <a:lnTo>
                    <a:pt x="672" y="584"/>
                  </a:lnTo>
                  <a:lnTo>
                    <a:pt x="674" y="584"/>
                  </a:lnTo>
                  <a:lnTo>
                    <a:pt x="676" y="583"/>
                  </a:lnTo>
                  <a:lnTo>
                    <a:pt x="678" y="583"/>
                  </a:lnTo>
                  <a:lnTo>
                    <a:pt x="679" y="581"/>
                  </a:lnTo>
                  <a:lnTo>
                    <a:pt x="680" y="581"/>
                  </a:lnTo>
                  <a:lnTo>
                    <a:pt x="682" y="579"/>
                  </a:lnTo>
                  <a:lnTo>
                    <a:pt x="683" y="579"/>
                  </a:lnTo>
                  <a:lnTo>
                    <a:pt x="685" y="579"/>
                  </a:lnTo>
                  <a:lnTo>
                    <a:pt x="687" y="579"/>
                  </a:lnTo>
                  <a:lnTo>
                    <a:pt x="689" y="579"/>
                  </a:lnTo>
                  <a:lnTo>
                    <a:pt x="691" y="579"/>
                  </a:lnTo>
                  <a:lnTo>
                    <a:pt x="694" y="579"/>
                  </a:lnTo>
                  <a:lnTo>
                    <a:pt x="696" y="579"/>
                  </a:lnTo>
                  <a:lnTo>
                    <a:pt x="697" y="578"/>
                  </a:lnTo>
                  <a:lnTo>
                    <a:pt x="700" y="578"/>
                  </a:lnTo>
                  <a:lnTo>
                    <a:pt x="701" y="575"/>
                  </a:lnTo>
                  <a:lnTo>
                    <a:pt x="703" y="575"/>
                  </a:lnTo>
                  <a:lnTo>
                    <a:pt x="704" y="575"/>
                  </a:lnTo>
                  <a:lnTo>
                    <a:pt x="707" y="575"/>
                  </a:lnTo>
                  <a:lnTo>
                    <a:pt x="710" y="574"/>
                  </a:lnTo>
                  <a:lnTo>
                    <a:pt x="711" y="574"/>
                  </a:lnTo>
                  <a:lnTo>
                    <a:pt x="714" y="573"/>
                  </a:lnTo>
                  <a:lnTo>
                    <a:pt x="715" y="573"/>
                  </a:lnTo>
                  <a:lnTo>
                    <a:pt x="718" y="570"/>
                  </a:lnTo>
                  <a:lnTo>
                    <a:pt x="719" y="570"/>
                  </a:lnTo>
                  <a:lnTo>
                    <a:pt x="722" y="570"/>
                  </a:lnTo>
                  <a:lnTo>
                    <a:pt x="724" y="568"/>
                  </a:lnTo>
                  <a:lnTo>
                    <a:pt x="726" y="568"/>
                  </a:lnTo>
                  <a:lnTo>
                    <a:pt x="728" y="566"/>
                  </a:lnTo>
                  <a:lnTo>
                    <a:pt x="729" y="566"/>
                  </a:lnTo>
                  <a:lnTo>
                    <a:pt x="732" y="566"/>
                  </a:lnTo>
                  <a:lnTo>
                    <a:pt x="733" y="566"/>
                  </a:lnTo>
                  <a:lnTo>
                    <a:pt x="735" y="566"/>
                  </a:lnTo>
                  <a:lnTo>
                    <a:pt x="737" y="564"/>
                  </a:lnTo>
                  <a:lnTo>
                    <a:pt x="740" y="562"/>
                  </a:lnTo>
                  <a:lnTo>
                    <a:pt x="741" y="562"/>
                  </a:lnTo>
                  <a:lnTo>
                    <a:pt x="743" y="562"/>
                  </a:lnTo>
                  <a:lnTo>
                    <a:pt x="746" y="562"/>
                  </a:lnTo>
                  <a:lnTo>
                    <a:pt x="749" y="561"/>
                  </a:lnTo>
                  <a:lnTo>
                    <a:pt x="750" y="561"/>
                  </a:lnTo>
                  <a:lnTo>
                    <a:pt x="751" y="559"/>
                  </a:lnTo>
                  <a:lnTo>
                    <a:pt x="755" y="556"/>
                  </a:lnTo>
                  <a:lnTo>
                    <a:pt x="757" y="556"/>
                  </a:lnTo>
                  <a:lnTo>
                    <a:pt x="760" y="556"/>
                  </a:lnTo>
                  <a:lnTo>
                    <a:pt x="761" y="556"/>
                  </a:lnTo>
                  <a:lnTo>
                    <a:pt x="764" y="555"/>
                  </a:lnTo>
                  <a:lnTo>
                    <a:pt x="765" y="555"/>
                  </a:lnTo>
                  <a:lnTo>
                    <a:pt x="768" y="555"/>
                  </a:lnTo>
                  <a:lnTo>
                    <a:pt x="771" y="553"/>
                  </a:lnTo>
                  <a:lnTo>
                    <a:pt x="772" y="553"/>
                  </a:lnTo>
                  <a:lnTo>
                    <a:pt x="775" y="553"/>
                  </a:lnTo>
                  <a:lnTo>
                    <a:pt x="776" y="551"/>
                  </a:lnTo>
                  <a:lnTo>
                    <a:pt x="779" y="550"/>
                  </a:lnTo>
                  <a:lnTo>
                    <a:pt x="780" y="550"/>
                  </a:lnTo>
                  <a:lnTo>
                    <a:pt x="783" y="549"/>
                  </a:lnTo>
                  <a:lnTo>
                    <a:pt x="786" y="549"/>
                  </a:lnTo>
                  <a:lnTo>
                    <a:pt x="788" y="547"/>
                  </a:lnTo>
                  <a:lnTo>
                    <a:pt x="789" y="547"/>
                  </a:lnTo>
                  <a:lnTo>
                    <a:pt x="791" y="546"/>
                  </a:lnTo>
                  <a:lnTo>
                    <a:pt x="794" y="546"/>
                  </a:lnTo>
                  <a:lnTo>
                    <a:pt x="796" y="543"/>
                  </a:lnTo>
                  <a:lnTo>
                    <a:pt x="799" y="543"/>
                  </a:lnTo>
                  <a:lnTo>
                    <a:pt x="801" y="543"/>
                  </a:lnTo>
                  <a:lnTo>
                    <a:pt x="803" y="543"/>
                  </a:lnTo>
                  <a:lnTo>
                    <a:pt x="805" y="542"/>
                  </a:lnTo>
                  <a:lnTo>
                    <a:pt x="808" y="542"/>
                  </a:lnTo>
                  <a:lnTo>
                    <a:pt x="810" y="539"/>
                  </a:lnTo>
                  <a:lnTo>
                    <a:pt x="813" y="539"/>
                  </a:lnTo>
                  <a:lnTo>
                    <a:pt x="814" y="539"/>
                  </a:lnTo>
                  <a:lnTo>
                    <a:pt x="816" y="539"/>
                  </a:lnTo>
                  <a:lnTo>
                    <a:pt x="819" y="539"/>
                  </a:lnTo>
                  <a:lnTo>
                    <a:pt x="821" y="538"/>
                  </a:lnTo>
                  <a:lnTo>
                    <a:pt x="824" y="538"/>
                  </a:lnTo>
                  <a:lnTo>
                    <a:pt x="826" y="537"/>
                  </a:lnTo>
                  <a:lnTo>
                    <a:pt x="828" y="537"/>
                  </a:lnTo>
                  <a:lnTo>
                    <a:pt x="830" y="534"/>
                  </a:lnTo>
                  <a:lnTo>
                    <a:pt x="833" y="534"/>
                  </a:lnTo>
                  <a:lnTo>
                    <a:pt x="835" y="534"/>
                  </a:lnTo>
                  <a:lnTo>
                    <a:pt x="836" y="534"/>
                  </a:lnTo>
                  <a:lnTo>
                    <a:pt x="839" y="534"/>
                  </a:lnTo>
                  <a:lnTo>
                    <a:pt x="842" y="533"/>
                  </a:lnTo>
                  <a:lnTo>
                    <a:pt x="843" y="533"/>
                  </a:lnTo>
                  <a:lnTo>
                    <a:pt x="846" y="533"/>
                  </a:lnTo>
                  <a:lnTo>
                    <a:pt x="847" y="530"/>
                  </a:lnTo>
                  <a:lnTo>
                    <a:pt x="849" y="530"/>
                  </a:lnTo>
                  <a:lnTo>
                    <a:pt x="851" y="530"/>
                  </a:lnTo>
                  <a:lnTo>
                    <a:pt x="854" y="530"/>
                  </a:lnTo>
                  <a:lnTo>
                    <a:pt x="856" y="530"/>
                  </a:lnTo>
                  <a:lnTo>
                    <a:pt x="858" y="530"/>
                  </a:lnTo>
                  <a:lnTo>
                    <a:pt x="860" y="530"/>
                  </a:lnTo>
                  <a:lnTo>
                    <a:pt x="863" y="530"/>
                  </a:lnTo>
                  <a:lnTo>
                    <a:pt x="864" y="529"/>
                  </a:lnTo>
                  <a:lnTo>
                    <a:pt x="865" y="529"/>
                  </a:lnTo>
                  <a:lnTo>
                    <a:pt x="868" y="529"/>
                  </a:lnTo>
                  <a:lnTo>
                    <a:pt x="870" y="529"/>
                  </a:lnTo>
                  <a:lnTo>
                    <a:pt x="872" y="528"/>
                  </a:lnTo>
                  <a:lnTo>
                    <a:pt x="875" y="528"/>
                  </a:lnTo>
                  <a:lnTo>
                    <a:pt x="876" y="528"/>
                  </a:lnTo>
                  <a:lnTo>
                    <a:pt x="879" y="528"/>
                  </a:lnTo>
                  <a:lnTo>
                    <a:pt x="881" y="526"/>
                  </a:lnTo>
                  <a:lnTo>
                    <a:pt x="882" y="526"/>
                  </a:lnTo>
                  <a:lnTo>
                    <a:pt x="885" y="526"/>
                  </a:lnTo>
                  <a:lnTo>
                    <a:pt x="886" y="526"/>
                  </a:lnTo>
                  <a:lnTo>
                    <a:pt x="888" y="526"/>
                  </a:lnTo>
                  <a:lnTo>
                    <a:pt x="890" y="525"/>
                  </a:lnTo>
                  <a:lnTo>
                    <a:pt x="892" y="525"/>
                  </a:lnTo>
                  <a:lnTo>
                    <a:pt x="893" y="525"/>
                  </a:lnTo>
                  <a:lnTo>
                    <a:pt x="896" y="524"/>
                  </a:lnTo>
                  <a:lnTo>
                    <a:pt x="897" y="524"/>
                  </a:lnTo>
                  <a:lnTo>
                    <a:pt x="899" y="524"/>
                  </a:lnTo>
                  <a:lnTo>
                    <a:pt x="901" y="524"/>
                  </a:lnTo>
                  <a:lnTo>
                    <a:pt x="903" y="521"/>
                  </a:lnTo>
                  <a:lnTo>
                    <a:pt x="904" y="521"/>
                  </a:lnTo>
                  <a:lnTo>
                    <a:pt x="906" y="521"/>
                  </a:lnTo>
                  <a:lnTo>
                    <a:pt x="909" y="521"/>
                  </a:lnTo>
                  <a:lnTo>
                    <a:pt x="910" y="521"/>
                  </a:lnTo>
                  <a:lnTo>
                    <a:pt x="911" y="521"/>
                  </a:lnTo>
                  <a:lnTo>
                    <a:pt x="913" y="521"/>
                  </a:lnTo>
                  <a:lnTo>
                    <a:pt x="915" y="519"/>
                  </a:lnTo>
                  <a:lnTo>
                    <a:pt x="917" y="519"/>
                  </a:lnTo>
                  <a:lnTo>
                    <a:pt x="918" y="519"/>
                  </a:lnTo>
                  <a:lnTo>
                    <a:pt x="921" y="517"/>
                  </a:lnTo>
                  <a:lnTo>
                    <a:pt x="923" y="517"/>
                  </a:lnTo>
                  <a:lnTo>
                    <a:pt x="924" y="517"/>
                  </a:lnTo>
                  <a:lnTo>
                    <a:pt x="925" y="517"/>
                  </a:lnTo>
                  <a:lnTo>
                    <a:pt x="926" y="517"/>
                  </a:lnTo>
                  <a:lnTo>
                    <a:pt x="928" y="517"/>
                  </a:lnTo>
                  <a:lnTo>
                    <a:pt x="929" y="517"/>
                  </a:lnTo>
                  <a:lnTo>
                    <a:pt x="931" y="517"/>
                  </a:lnTo>
                  <a:lnTo>
                    <a:pt x="932" y="516"/>
                  </a:lnTo>
                  <a:lnTo>
                    <a:pt x="935" y="516"/>
                  </a:lnTo>
                  <a:lnTo>
                    <a:pt x="936" y="516"/>
                  </a:lnTo>
                  <a:lnTo>
                    <a:pt x="938" y="514"/>
                  </a:lnTo>
                  <a:lnTo>
                    <a:pt x="940" y="514"/>
                  </a:lnTo>
                  <a:lnTo>
                    <a:pt x="942" y="514"/>
                  </a:lnTo>
                  <a:lnTo>
                    <a:pt x="943" y="513"/>
                  </a:lnTo>
                  <a:lnTo>
                    <a:pt x="945" y="513"/>
                  </a:lnTo>
                  <a:lnTo>
                    <a:pt x="948" y="513"/>
                  </a:lnTo>
                  <a:lnTo>
                    <a:pt x="949" y="513"/>
                  </a:lnTo>
                  <a:lnTo>
                    <a:pt x="950" y="512"/>
                  </a:lnTo>
                  <a:lnTo>
                    <a:pt x="951" y="512"/>
                  </a:lnTo>
                  <a:lnTo>
                    <a:pt x="954" y="512"/>
                  </a:lnTo>
                  <a:lnTo>
                    <a:pt x="956" y="511"/>
                  </a:lnTo>
                  <a:lnTo>
                    <a:pt x="957" y="511"/>
                  </a:lnTo>
                  <a:lnTo>
                    <a:pt x="960" y="511"/>
                  </a:lnTo>
                  <a:lnTo>
                    <a:pt x="961" y="508"/>
                  </a:lnTo>
                  <a:lnTo>
                    <a:pt x="963" y="508"/>
                  </a:lnTo>
                  <a:lnTo>
                    <a:pt x="964" y="508"/>
                  </a:lnTo>
                  <a:lnTo>
                    <a:pt x="967" y="508"/>
                  </a:lnTo>
                  <a:lnTo>
                    <a:pt x="968" y="508"/>
                  </a:lnTo>
                  <a:lnTo>
                    <a:pt x="970" y="508"/>
                  </a:lnTo>
                  <a:lnTo>
                    <a:pt x="971" y="508"/>
                  </a:lnTo>
                  <a:lnTo>
                    <a:pt x="973" y="506"/>
                  </a:lnTo>
                  <a:lnTo>
                    <a:pt x="975" y="506"/>
                  </a:lnTo>
                  <a:lnTo>
                    <a:pt x="976" y="506"/>
                  </a:lnTo>
                  <a:lnTo>
                    <a:pt x="978" y="506"/>
                  </a:lnTo>
                  <a:lnTo>
                    <a:pt x="981" y="504"/>
                  </a:lnTo>
                  <a:lnTo>
                    <a:pt x="982" y="504"/>
                  </a:lnTo>
                  <a:lnTo>
                    <a:pt x="984" y="504"/>
                  </a:lnTo>
                  <a:lnTo>
                    <a:pt x="985" y="504"/>
                  </a:lnTo>
                  <a:lnTo>
                    <a:pt x="986" y="504"/>
                  </a:lnTo>
                  <a:lnTo>
                    <a:pt x="988" y="504"/>
                  </a:lnTo>
                  <a:lnTo>
                    <a:pt x="989" y="504"/>
                  </a:lnTo>
                  <a:lnTo>
                    <a:pt x="990" y="504"/>
                  </a:lnTo>
                  <a:lnTo>
                    <a:pt x="993" y="504"/>
                  </a:lnTo>
                  <a:lnTo>
                    <a:pt x="995" y="503"/>
                  </a:lnTo>
                  <a:lnTo>
                    <a:pt x="996" y="503"/>
                  </a:lnTo>
                  <a:lnTo>
                    <a:pt x="999" y="503"/>
                  </a:lnTo>
                  <a:lnTo>
                    <a:pt x="1000" y="503"/>
                  </a:lnTo>
                  <a:lnTo>
                    <a:pt x="1001" y="501"/>
                  </a:lnTo>
                  <a:lnTo>
                    <a:pt x="1004" y="501"/>
                  </a:lnTo>
                  <a:lnTo>
                    <a:pt x="1006" y="501"/>
                  </a:lnTo>
                  <a:lnTo>
                    <a:pt x="1007" y="501"/>
                  </a:lnTo>
                  <a:lnTo>
                    <a:pt x="1010" y="501"/>
                  </a:lnTo>
                  <a:lnTo>
                    <a:pt x="1011" y="499"/>
                  </a:lnTo>
                  <a:lnTo>
                    <a:pt x="1014" y="499"/>
                  </a:lnTo>
                  <a:lnTo>
                    <a:pt x="1015" y="497"/>
                  </a:lnTo>
                  <a:lnTo>
                    <a:pt x="1018" y="497"/>
                  </a:lnTo>
                  <a:lnTo>
                    <a:pt x="1020" y="494"/>
                  </a:lnTo>
                  <a:lnTo>
                    <a:pt x="1023" y="494"/>
                  </a:lnTo>
                  <a:lnTo>
                    <a:pt x="1024" y="493"/>
                  </a:lnTo>
                  <a:lnTo>
                    <a:pt x="1026" y="492"/>
                  </a:lnTo>
                  <a:lnTo>
                    <a:pt x="1029" y="492"/>
                  </a:lnTo>
                  <a:lnTo>
                    <a:pt x="1031" y="491"/>
                  </a:lnTo>
                  <a:lnTo>
                    <a:pt x="1032" y="489"/>
                  </a:lnTo>
                  <a:lnTo>
                    <a:pt x="1034" y="488"/>
                  </a:lnTo>
                  <a:lnTo>
                    <a:pt x="1036" y="488"/>
                  </a:lnTo>
                  <a:lnTo>
                    <a:pt x="1038" y="486"/>
                  </a:lnTo>
                  <a:lnTo>
                    <a:pt x="1039" y="486"/>
                  </a:lnTo>
                  <a:lnTo>
                    <a:pt x="1040" y="486"/>
                  </a:lnTo>
                  <a:lnTo>
                    <a:pt x="1042" y="484"/>
                  </a:lnTo>
                  <a:lnTo>
                    <a:pt x="1043" y="481"/>
                  </a:lnTo>
                  <a:lnTo>
                    <a:pt x="1045" y="481"/>
                  </a:lnTo>
                  <a:lnTo>
                    <a:pt x="1048" y="481"/>
                  </a:lnTo>
                  <a:lnTo>
                    <a:pt x="1049" y="480"/>
                  </a:lnTo>
                  <a:lnTo>
                    <a:pt x="1050" y="479"/>
                  </a:lnTo>
                  <a:lnTo>
                    <a:pt x="1051" y="479"/>
                  </a:lnTo>
                  <a:lnTo>
                    <a:pt x="1054" y="476"/>
                  </a:lnTo>
                  <a:lnTo>
                    <a:pt x="1056" y="476"/>
                  </a:lnTo>
                  <a:lnTo>
                    <a:pt x="1059" y="476"/>
                  </a:lnTo>
                  <a:lnTo>
                    <a:pt x="1060" y="475"/>
                  </a:lnTo>
                  <a:lnTo>
                    <a:pt x="1061" y="472"/>
                  </a:lnTo>
                  <a:lnTo>
                    <a:pt x="1064" y="472"/>
                  </a:lnTo>
                  <a:lnTo>
                    <a:pt x="1065" y="471"/>
                  </a:lnTo>
                  <a:lnTo>
                    <a:pt x="1067" y="471"/>
                  </a:lnTo>
                  <a:lnTo>
                    <a:pt x="1068" y="469"/>
                  </a:lnTo>
                  <a:lnTo>
                    <a:pt x="1071" y="468"/>
                  </a:lnTo>
                  <a:lnTo>
                    <a:pt x="1073" y="467"/>
                  </a:lnTo>
                  <a:lnTo>
                    <a:pt x="1075" y="466"/>
                  </a:lnTo>
                  <a:lnTo>
                    <a:pt x="1076" y="463"/>
                  </a:lnTo>
                  <a:lnTo>
                    <a:pt x="1079" y="463"/>
                  </a:lnTo>
                  <a:lnTo>
                    <a:pt x="1081" y="463"/>
                  </a:lnTo>
                  <a:lnTo>
                    <a:pt x="1084" y="462"/>
                  </a:lnTo>
                  <a:lnTo>
                    <a:pt x="1085" y="459"/>
                  </a:lnTo>
                  <a:lnTo>
                    <a:pt x="1088" y="459"/>
                  </a:lnTo>
                  <a:lnTo>
                    <a:pt x="1089" y="458"/>
                  </a:lnTo>
                  <a:lnTo>
                    <a:pt x="1092" y="456"/>
                  </a:lnTo>
                  <a:lnTo>
                    <a:pt x="1093" y="455"/>
                  </a:lnTo>
                  <a:lnTo>
                    <a:pt x="1096" y="454"/>
                  </a:lnTo>
                  <a:lnTo>
                    <a:pt x="1098" y="454"/>
                  </a:lnTo>
                  <a:lnTo>
                    <a:pt x="1100" y="452"/>
                  </a:lnTo>
                  <a:lnTo>
                    <a:pt x="1103" y="450"/>
                  </a:lnTo>
                  <a:lnTo>
                    <a:pt x="1104" y="450"/>
                  </a:lnTo>
                  <a:lnTo>
                    <a:pt x="1107" y="449"/>
                  </a:lnTo>
                  <a:lnTo>
                    <a:pt x="1109" y="447"/>
                  </a:lnTo>
                  <a:lnTo>
                    <a:pt x="1110" y="447"/>
                  </a:lnTo>
                  <a:lnTo>
                    <a:pt x="1111" y="446"/>
                  </a:lnTo>
                  <a:lnTo>
                    <a:pt x="1113" y="446"/>
                  </a:lnTo>
                  <a:lnTo>
                    <a:pt x="1115" y="444"/>
                  </a:lnTo>
                  <a:lnTo>
                    <a:pt x="1117" y="443"/>
                  </a:lnTo>
                  <a:lnTo>
                    <a:pt x="1120" y="441"/>
                  </a:lnTo>
                  <a:lnTo>
                    <a:pt x="1121" y="441"/>
                  </a:lnTo>
                  <a:lnTo>
                    <a:pt x="1124" y="439"/>
                  </a:lnTo>
                  <a:lnTo>
                    <a:pt x="1125" y="437"/>
                  </a:lnTo>
                  <a:lnTo>
                    <a:pt x="1128" y="437"/>
                  </a:lnTo>
                  <a:lnTo>
                    <a:pt x="1129" y="435"/>
                  </a:lnTo>
                  <a:lnTo>
                    <a:pt x="1132" y="432"/>
                  </a:lnTo>
                  <a:lnTo>
                    <a:pt x="1134" y="432"/>
                  </a:lnTo>
                  <a:lnTo>
                    <a:pt x="1136" y="431"/>
                  </a:lnTo>
                  <a:lnTo>
                    <a:pt x="1138" y="430"/>
                  </a:lnTo>
                  <a:lnTo>
                    <a:pt x="1139" y="427"/>
                  </a:lnTo>
                  <a:lnTo>
                    <a:pt x="1142" y="427"/>
                  </a:lnTo>
                  <a:lnTo>
                    <a:pt x="1145" y="427"/>
                  </a:lnTo>
                  <a:lnTo>
                    <a:pt x="1146" y="426"/>
                  </a:lnTo>
                  <a:lnTo>
                    <a:pt x="1149" y="425"/>
                  </a:lnTo>
                  <a:lnTo>
                    <a:pt x="1150" y="424"/>
                  </a:lnTo>
                  <a:lnTo>
                    <a:pt x="1153" y="422"/>
                  </a:lnTo>
                  <a:lnTo>
                    <a:pt x="1155" y="422"/>
                  </a:lnTo>
                  <a:lnTo>
                    <a:pt x="1156" y="421"/>
                  </a:lnTo>
                  <a:lnTo>
                    <a:pt x="1159" y="419"/>
                  </a:lnTo>
                  <a:lnTo>
                    <a:pt x="1160" y="418"/>
                  </a:lnTo>
                  <a:lnTo>
                    <a:pt x="1163" y="417"/>
                  </a:lnTo>
                  <a:lnTo>
                    <a:pt x="1164" y="417"/>
                  </a:lnTo>
                  <a:lnTo>
                    <a:pt x="1167" y="414"/>
                  </a:lnTo>
                  <a:lnTo>
                    <a:pt x="1170" y="414"/>
                  </a:lnTo>
                  <a:lnTo>
                    <a:pt x="1171" y="413"/>
                  </a:lnTo>
                  <a:lnTo>
                    <a:pt x="1174" y="410"/>
                  </a:lnTo>
                  <a:lnTo>
                    <a:pt x="1175" y="410"/>
                  </a:lnTo>
                  <a:lnTo>
                    <a:pt x="1177" y="410"/>
                  </a:lnTo>
                  <a:lnTo>
                    <a:pt x="1180" y="410"/>
                  </a:lnTo>
                  <a:lnTo>
                    <a:pt x="1183" y="409"/>
                  </a:lnTo>
                  <a:lnTo>
                    <a:pt x="1184" y="409"/>
                  </a:lnTo>
                  <a:lnTo>
                    <a:pt x="1186" y="407"/>
                  </a:lnTo>
                  <a:lnTo>
                    <a:pt x="1189" y="407"/>
                  </a:lnTo>
                  <a:lnTo>
                    <a:pt x="1191" y="405"/>
                  </a:lnTo>
                  <a:lnTo>
                    <a:pt x="1194" y="405"/>
                  </a:lnTo>
                  <a:lnTo>
                    <a:pt x="1196" y="405"/>
                  </a:lnTo>
                  <a:lnTo>
                    <a:pt x="1198" y="405"/>
                  </a:lnTo>
                  <a:lnTo>
                    <a:pt x="1200" y="405"/>
                  </a:lnTo>
                  <a:lnTo>
                    <a:pt x="1203" y="404"/>
                  </a:lnTo>
                  <a:lnTo>
                    <a:pt x="1205" y="404"/>
                  </a:lnTo>
                  <a:lnTo>
                    <a:pt x="1208" y="404"/>
                  </a:lnTo>
                  <a:lnTo>
                    <a:pt x="1210" y="401"/>
                  </a:lnTo>
                  <a:lnTo>
                    <a:pt x="1213" y="401"/>
                  </a:lnTo>
                  <a:lnTo>
                    <a:pt x="1214" y="401"/>
                  </a:lnTo>
                  <a:lnTo>
                    <a:pt x="1216" y="401"/>
                  </a:lnTo>
                  <a:lnTo>
                    <a:pt x="1219" y="401"/>
                  </a:lnTo>
                  <a:lnTo>
                    <a:pt x="1221" y="400"/>
                  </a:lnTo>
                  <a:lnTo>
                    <a:pt x="1223" y="401"/>
                  </a:lnTo>
                  <a:lnTo>
                    <a:pt x="1225" y="401"/>
                  </a:lnTo>
                  <a:lnTo>
                    <a:pt x="1227" y="401"/>
                  </a:lnTo>
                  <a:lnTo>
                    <a:pt x="1230" y="401"/>
                  </a:lnTo>
                  <a:lnTo>
                    <a:pt x="1231" y="400"/>
                  </a:lnTo>
                  <a:lnTo>
                    <a:pt x="1233" y="397"/>
                  </a:lnTo>
                  <a:lnTo>
                    <a:pt x="1234" y="397"/>
                  </a:lnTo>
                  <a:lnTo>
                    <a:pt x="1237" y="397"/>
                  </a:lnTo>
                  <a:lnTo>
                    <a:pt x="1238" y="397"/>
                  </a:lnTo>
                  <a:lnTo>
                    <a:pt x="1241" y="396"/>
                  </a:lnTo>
                  <a:lnTo>
                    <a:pt x="1242" y="396"/>
                  </a:lnTo>
                  <a:lnTo>
                    <a:pt x="1245" y="396"/>
                  </a:lnTo>
                  <a:lnTo>
                    <a:pt x="1246" y="394"/>
                  </a:lnTo>
                  <a:lnTo>
                    <a:pt x="1249" y="394"/>
                  </a:lnTo>
                  <a:lnTo>
                    <a:pt x="1250" y="394"/>
                  </a:lnTo>
                  <a:lnTo>
                    <a:pt x="1252" y="392"/>
                  </a:lnTo>
                  <a:lnTo>
                    <a:pt x="1255" y="392"/>
                  </a:lnTo>
                  <a:lnTo>
                    <a:pt x="1256" y="392"/>
                  </a:lnTo>
                  <a:lnTo>
                    <a:pt x="1259" y="392"/>
                  </a:lnTo>
                  <a:lnTo>
                    <a:pt x="1260" y="392"/>
                  </a:lnTo>
                  <a:lnTo>
                    <a:pt x="1263" y="392"/>
                  </a:lnTo>
                  <a:lnTo>
                    <a:pt x="1264" y="390"/>
                  </a:lnTo>
                  <a:lnTo>
                    <a:pt x="1267" y="390"/>
                  </a:lnTo>
                  <a:lnTo>
                    <a:pt x="1269" y="390"/>
                  </a:lnTo>
                  <a:lnTo>
                    <a:pt x="1270" y="388"/>
                  </a:lnTo>
                  <a:lnTo>
                    <a:pt x="1271" y="388"/>
                  </a:lnTo>
                  <a:lnTo>
                    <a:pt x="1274" y="388"/>
                  </a:lnTo>
                  <a:lnTo>
                    <a:pt x="1275" y="388"/>
                  </a:lnTo>
                  <a:lnTo>
                    <a:pt x="1278" y="388"/>
                  </a:lnTo>
                  <a:lnTo>
                    <a:pt x="1281" y="388"/>
                  </a:lnTo>
                  <a:lnTo>
                    <a:pt x="1283" y="387"/>
                  </a:lnTo>
                  <a:lnTo>
                    <a:pt x="1284" y="387"/>
                  </a:lnTo>
                  <a:lnTo>
                    <a:pt x="1285" y="385"/>
                  </a:lnTo>
                  <a:lnTo>
                    <a:pt x="1288" y="384"/>
                  </a:lnTo>
                  <a:lnTo>
                    <a:pt x="1291" y="384"/>
                  </a:lnTo>
                  <a:lnTo>
                    <a:pt x="1292" y="382"/>
                  </a:lnTo>
                  <a:lnTo>
                    <a:pt x="1294" y="382"/>
                  </a:lnTo>
                  <a:lnTo>
                    <a:pt x="1295" y="381"/>
                  </a:lnTo>
                  <a:lnTo>
                    <a:pt x="1298" y="379"/>
                  </a:lnTo>
                  <a:lnTo>
                    <a:pt x="1299" y="379"/>
                  </a:lnTo>
                  <a:lnTo>
                    <a:pt x="1302" y="379"/>
                  </a:lnTo>
                  <a:lnTo>
                    <a:pt x="1303" y="377"/>
                  </a:lnTo>
                  <a:lnTo>
                    <a:pt x="1305" y="375"/>
                  </a:lnTo>
                  <a:lnTo>
                    <a:pt x="1308" y="375"/>
                  </a:lnTo>
                  <a:lnTo>
                    <a:pt x="1309" y="375"/>
                  </a:lnTo>
                  <a:lnTo>
                    <a:pt x="1310" y="373"/>
                  </a:lnTo>
                  <a:lnTo>
                    <a:pt x="1313" y="372"/>
                  </a:lnTo>
                  <a:lnTo>
                    <a:pt x="1314" y="372"/>
                  </a:lnTo>
                  <a:lnTo>
                    <a:pt x="1316" y="369"/>
                  </a:lnTo>
                  <a:lnTo>
                    <a:pt x="1319" y="369"/>
                  </a:lnTo>
                  <a:lnTo>
                    <a:pt x="1320" y="369"/>
                  </a:lnTo>
                  <a:lnTo>
                    <a:pt x="1321" y="368"/>
                  </a:lnTo>
                  <a:lnTo>
                    <a:pt x="1324" y="365"/>
                  </a:lnTo>
                  <a:lnTo>
                    <a:pt x="1325" y="365"/>
                  </a:lnTo>
                  <a:lnTo>
                    <a:pt x="1328" y="365"/>
                  </a:lnTo>
                  <a:lnTo>
                    <a:pt x="1330" y="364"/>
                  </a:lnTo>
                  <a:lnTo>
                    <a:pt x="1331" y="363"/>
                  </a:lnTo>
                  <a:lnTo>
                    <a:pt x="1335" y="362"/>
                  </a:lnTo>
                  <a:lnTo>
                    <a:pt x="1337" y="360"/>
                  </a:lnTo>
                  <a:lnTo>
                    <a:pt x="1339" y="359"/>
                  </a:lnTo>
                  <a:lnTo>
                    <a:pt x="1341" y="356"/>
                  </a:lnTo>
                  <a:lnTo>
                    <a:pt x="1342" y="356"/>
                  </a:lnTo>
                  <a:lnTo>
                    <a:pt x="1345" y="356"/>
                  </a:lnTo>
                  <a:lnTo>
                    <a:pt x="1347" y="355"/>
                  </a:lnTo>
                  <a:lnTo>
                    <a:pt x="1348" y="355"/>
                  </a:lnTo>
                  <a:lnTo>
                    <a:pt x="1350" y="352"/>
                  </a:lnTo>
                  <a:lnTo>
                    <a:pt x="1353" y="352"/>
                  </a:lnTo>
                  <a:lnTo>
                    <a:pt x="1355" y="351"/>
                  </a:lnTo>
                  <a:lnTo>
                    <a:pt x="1356" y="350"/>
                  </a:lnTo>
                  <a:lnTo>
                    <a:pt x="1359" y="350"/>
                  </a:lnTo>
                  <a:lnTo>
                    <a:pt x="1360" y="347"/>
                  </a:lnTo>
                  <a:lnTo>
                    <a:pt x="1362" y="347"/>
                  </a:lnTo>
                  <a:lnTo>
                    <a:pt x="1363" y="347"/>
                  </a:lnTo>
                  <a:lnTo>
                    <a:pt x="1366" y="345"/>
                  </a:lnTo>
                  <a:lnTo>
                    <a:pt x="1367" y="343"/>
                  </a:lnTo>
                  <a:lnTo>
                    <a:pt x="1369" y="343"/>
                  </a:lnTo>
                  <a:lnTo>
                    <a:pt x="1372" y="343"/>
                  </a:lnTo>
                  <a:lnTo>
                    <a:pt x="1373" y="342"/>
                  </a:lnTo>
                  <a:lnTo>
                    <a:pt x="1374" y="339"/>
                  </a:lnTo>
                  <a:lnTo>
                    <a:pt x="1377" y="339"/>
                  </a:lnTo>
                  <a:lnTo>
                    <a:pt x="1378" y="339"/>
                  </a:lnTo>
                  <a:lnTo>
                    <a:pt x="1381" y="338"/>
                  </a:lnTo>
                  <a:lnTo>
                    <a:pt x="1383" y="338"/>
                  </a:lnTo>
                  <a:lnTo>
                    <a:pt x="1384" y="337"/>
                  </a:lnTo>
                  <a:lnTo>
                    <a:pt x="1387" y="337"/>
                  </a:lnTo>
                  <a:lnTo>
                    <a:pt x="1388" y="334"/>
                  </a:lnTo>
                  <a:lnTo>
                    <a:pt x="1391" y="334"/>
                  </a:lnTo>
                  <a:lnTo>
                    <a:pt x="1392" y="334"/>
                  </a:lnTo>
                  <a:lnTo>
                    <a:pt x="1395" y="334"/>
                  </a:lnTo>
                  <a:lnTo>
                    <a:pt x="1397" y="332"/>
                  </a:lnTo>
                  <a:lnTo>
                    <a:pt x="1398" y="332"/>
                  </a:lnTo>
                  <a:lnTo>
                    <a:pt x="1399" y="332"/>
                  </a:lnTo>
                  <a:lnTo>
                    <a:pt x="1401" y="330"/>
                  </a:lnTo>
                  <a:lnTo>
                    <a:pt x="1403" y="330"/>
                  </a:lnTo>
                  <a:lnTo>
                    <a:pt x="1405" y="330"/>
                  </a:lnTo>
                  <a:lnTo>
                    <a:pt x="1406" y="330"/>
                  </a:lnTo>
                  <a:lnTo>
                    <a:pt x="1408" y="330"/>
                  </a:lnTo>
                  <a:lnTo>
                    <a:pt x="1409" y="329"/>
                  </a:lnTo>
                  <a:lnTo>
                    <a:pt x="1410" y="329"/>
                  </a:lnTo>
                  <a:lnTo>
                    <a:pt x="1413" y="329"/>
                  </a:lnTo>
                  <a:lnTo>
                    <a:pt x="1416" y="327"/>
                  </a:lnTo>
                  <a:lnTo>
                    <a:pt x="1417" y="327"/>
                  </a:lnTo>
                  <a:lnTo>
                    <a:pt x="1420" y="326"/>
                  </a:lnTo>
                  <a:lnTo>
                    <a:pt x="1423" y="326"/>
                  </a:lnTo>
                  <a:lnTo>
                    <a:pt x="1424" y="326"/>
                  </a:lnTo>
                  <a:lnTo>
                    <a:pt x="1426" y="325"/>
                  </a:lnTo>
                  <a:lnTo>
                    <a:pt x="1429" y="325"/>
                  </a:lnTo>
                  <a:lnTo>
                    <a:pt x="1431" y="325"/>
                  </a:lnTo>
                  <a:lnTo>
                    <a:pt x="1433" y="323"/>
                  </a:lnTo>
                  <a:lnTo>
                    <a:pt x="1434" y="323"/>
                  </a:lnTo>
                  <a:lnTo>
                    <a:pt x="1437" y="323"/>
                  </a:lnTo>
                  <a:lnTo>
                    <a:pt x="1438" y="320"/>
                  </a:lnTo>
                  <a:lnTo>
                    <a:pt x="1441" y="320"/>
                  </a:lnTo>
                  <a:lnTo>
                    <a:pt x="1444" y="320"/>
                  </a:lnTo>
                  <a:lnTo>
                    <a:pt x="1447" y="320"/>
                  </a:lnTo>
                  <a:lnTo>
                    <a:pt x="1448" y="320"/>
                  </a:lnTo>
                  <a:lnTo>
                    <a:pt x="1451" y="319"/>
                  </a:lnTo>
                  <a:lnTo>
                    <a:pt x="1454" y="319"/>
                  </a:lnTo>
                  <a:lnTo>
                    <a:pt x="1455" y="319"/>
                  </a:lnTo>
                  <a:lnTo>
                    <a:pt x="1456" y="319"/>
                  </a:lnTo>
                  <a:lnTo>
                    <a:pt x="1459" y="317"/>
                  </a:lnTo>
                  <a:lnTo>
                    <a:pt x="1460" y="317"/>
                  </a:lnTo>
                  <a:lnTo>
                    <a:pt x="1463" y="317"/>
                  </a:lnTo>
                  <a:lnTo>
                    <a:pt x="1466" y="317"/>
                  </a:lnTo>
                  <a:lnTo>
                    <a:pt x="1468" y="317"/>
                  </a:lnTo>
                  <a:lnTo>
                    <a:pt x="1470" y="317"/>
                  </a:lnTo>
                  <a:lnTo>
                    <a:pt x="1473" y="317"/>
                  </a:lnTo>
                  <a:lnTo>
                    <a:pt x="1474" y="315"/>
                  </a:lnTo>
                  <a:lnTo>
                    <a:pt x="1477" y="315"/>
                  </a:lnTo>
                  <a:lnTo>
                    <a:pt x="1479" y="314"/>
                  </a:lnTo>
                  <a:lnTo>
                    <a:pt x="1480" y="314"/>
                  </a:lnTo>
                  <a:lnTo>
                    <a:pt x="1482" y="312"/>
                  </a:lnTo>
                  <a:lnTo>
                    <a:pt x="1484" y="312"/>
                  </a:lnTo>
                  <a:lnTo>
                    <a:pt x="1485" y="312"/>
                  </a:lnTo>
                  <a:lnTo>
                    <a:pt x="1487" y="312"/>
                  </a:lnTo>
                  <a:lnTo>
                    <a:pt x="1488" y="310"/>
                  </a:lnTo>
                  <a:lnTo>
                    <a:pt x="1490" y="310"/>
                  </a:lnTo>
                  <a:lnTo>
                    <a:pt x="1491" y="309"/>
                  </a:lnTo>
                  <a:lnTo>
                    <a:pt x="1493" y="309"/>
                  </a:lnTo>
                  <a:lnTo>
                    <a:pt x="1494" y="307"/>
                  </a:lnTo>
                  <a:lnTo>
                    <a:pt x="1495" y="307"/>
                  </a:lnTo>
                  <a:lnTo>
                    <a:pt x="1498" y="306"/>
                  </a:lnTo>
                  <a:lnTo>
                    <a:pt x="1499" y="306"/>
                  </a:lnTo>
                  <a:lnTo>
                    <a:pt x="1501" y="303"/>
                  </a:lnTo>
                  <a:lnTo>
                    <a:pt x="1502" y="303"/>
                  </a:lnTo>
                  <a:lnTo>
                    <a:pt x="1504" y="303"/>
                  </a:lnTo>
                  <a:lnTo>
                    <a:pt x="1505" y="302"/>
                  </a:lnTo>
                  <a:lnTo>
                    <a:pt x="1507" y="302"/>
                  </a:lnTo>
                  <a:lnTo>
                    <a:pt x="1508" y="301"/>
                  </a:lnTo>
                  <a:lnTo>
                    <a:pt x="1510" y="301"/>
                  </a:lnTo>
                  <a:lnTo>
                    <a:pt x="1512" y="298"/>
                  </a:lnTo>
                  <a:lnTo>
                    <a:pt x="1515" y="298"/>
                  </a:lnTo>
                  <a:lnTo>
                    <a:pt x="1516" y="298"/>
                  </a:lnTo>
                  <a:lnTo>
                    <a:pt x="1519" y="298"/>
                  </a:lnTo>
                  <a:lnTo>
                    <a:pt x="1522" y="297"/>
                  </a:lnTo>
                  <a:lnTo>
                    <a:pt x="1523" y="294"/>
                  </a:lnTo>
                  <a:lnTo>
                    <a:pt x="1526" y="294"/>
                  </a:lnTo>
                  <a:lnTo>
                    <a:pt x="1529" y="294"/>
                  </a:lnTo>
                  <a:lnTo>
                    <a:pt x="1530" y="294"/>
                  </a:lnTo>
                  <a:lnTo>
                    <a:pt x="1532" y="293"/>
                  </a:lnTo>
                  <a:lnTo>
                    <a:pt x="1533" y="293"/>
                  </a:lnTo>
                  <a:lnTo>
                    <a:pt x="1535" y="292"/>
                  </a:lnTo>
                  <a:lnTo>
                    <a:pt x="1538" y="292"/>
                  </a:lnTo>
                  <a:lnTo>
                    <a:pt x="1540" y="290"/>
                  </a:lnTo>
                  <a:lnTo>
                    <a:pt x="1543" y="290"/>
                  </a:lnTo>
                  <a:lnTo>
                    <a:pt x="1545" y="289"/>
                  </a:lnTo>
                  <a:lnTo>
                    <a:pt x="1547" y="288"/>
                  </a:lnTo>
                  <a:lnTo>
                    <a:pt x="1548" y="288"/>
                  </a:lnTo>
                  <a:lnTo>
                    <a:pt x="1551" y="286"/>
                  </a:lnTo>
                  <a:lnTo>
                    <a:pt x="1554" y="286"/>
                  </a:lnTo>
                  <a:lnTo>
                    <a:pt x="1555" y="285"/>
                  </a:lnTo>
                  <a:lnTo>
                    <a:pt x="1558" y="285"/>
                  </a:lnTo>
                  <a:lnTo>
                    <a:pt x="1559" y="284"/>
                  </a:lnTo>
                  <a:lnTo>
                    <a:pt x="1560" y="284"/>
                  </a:lnTo>
                  <a:lnTo>
                    <a:pt x="1562" y="284"/>
                  </a:lnTo>
                  <a:lnTo>
                    <a:pt x="1563" y="284"/>
                  </a:lnTo>
                  <a:lnTo>
                    <a:pt x="1566" y="284"/>
                  </a:lnTo>
                  <a:lnTo>
                    <a:pt x="1568" y="281"/>
                  </a:lnTo>
                  <a:lnTo>
                    <a:pt x="1570" y="281"/>
                  </a:lnTo>
                  <a:lnTo>
                    <a:pt x="1572" y="281"/>
                  </a:lnTo>
                  <a:lnTo>
                    <a:pt x="1574" y="280"/>
                  </a:lnTo>
                  <a:lnTo>
                    <a:pt x="1576" y="278"/>
                  </a:lnTo>
                  <a:lnTo>
                    <a:pt x="1579" y="276"/>
                  </a:lnTo>
                  <a:lnTo>
                    <a:pt x="1582" y="276"/>
                  </a:lnTo>
                  <a:lnTo>
                    <a:pt x="1583" y="276"/>
                  </a:lnTo>
                  <a:lnTo>
                    <a:pt x="1585" y="276"/>
                  </a:lnTo>
                  <a:lnTo>
                    <a:pt x="1588" y="276"/>
                  </a:lnTo>
                  <a:lnTo>
                    <a:pt x="1590" y="275"/>
                  </a:lnTo>
                  <a:lnTo>
                    <a:pt x="1593" y="275"/>
                  </a:lnTo>
                  <a:lnTo>
                    <a:pt x="1595" y="272"/>
                  </a:lnTo>
                  <a:lnTo>
                    <a:pt x="1597" y="272"/>
                  </a:lnTo>
                  <a:lnTo>
                    <a:pt x="1599" y="272"/>
                  </a:lnTo>
                  <a:lnTo>
                    <a:pt x="1602" y="272"/>
                  </a:lnTo>
                  <a:lnTo>
                    <a:pt x="1604" y="270"/>
                  </a:lnTo>
                  <a:lnTo>
                    <a:pt x="1605" y="270"/>
                  </a:lnTo>
                  <a:lnTo>
                    <a:pt x="1608" y="268"/>
                  </a:lnTo>
                  <a:lnTo>
                    <a:pt x="1609" y="268"/>
                  </a:lnTo>
                  <a:lnTo>
                    <a:pt x="1610" y="268"/>
                  </a:lnTo>
                  <a:lnTo>
                    <a:pt x="1613" y="267"/>
                  </a:lnTo>
                  <a:lnTo>
                    <a:pt x="1616" y="267"/>
                  </a:lnTo>
                  <a:lnTo>
                    <a:pt x="1618" y="265"/>
                  </a:lnTo>
                  <a:lnTo>
                    <a:pt x="1619" y="265"/>
                  </a:lnTo>
                  <a:lnTo>
                    <a:pt x="1620" y="264"/>
                  </a:lnTo>
                  <a:lnTo>
                    <a:pt x="1622" y="264"/>
                  </a:lnTo>
                  <a:lnTo>
                    <a:pt x="1624" y="264"/>
                  </a:lnTo>
                  <a:lnTo>
                    <a:pt x="1626" y="263"/>
                  </a:lnTo>
                  <a:lnTo>
                    <a:pt x="1627" y="263"/>
                  </a:lnTo>
                  <a:lnTo>
                    <a:pt x="1630" y="261"/>
                  </a:lnTo>
                  <a:lnTo>
                    <a:pt x="1633" y="261"/>
                  </a:lnTo>
                  <a:lnTo>
                    <a:pt x="1634" y="261"/>
                  </a:lnTo>
                  <a:lnTo>
                    <a:pt x="1637" y="259"/>
                  </a:lnTo>
                  <a:lnTo>
                    <a:pt x="1638" y="259"/>
                  </a:lnTo>
                  <a:lnTo>
                    <a:pt x="1641" y="259"/>
                  </a:lnTo>
                  <a:lnTo>
                    <a:pt x="1644" y="259"/>
                  </a:lnTo>
                  <a:lnTo>
                    <a:pt x="1647" y="259"/>
                  </a:lnTo>
                  <a:lnTo>
                    <a:pt x="1648" y="259"/>
                  </a:lnTo>
                  <a:lnTo>
                    <a:pt x="1649" y="257"/>
                  </a:lnTo>
                  <a:lnTo>
                    <a:pt x="1649" y="259"/>
                  </a:lnTo>
                  <a:lnTo>
                    <a:pt x="1654" y="259"/>
                  </a:lnTo>
                  <a:lnTo>
                    <a:pt x="1793" y="232"/>
                  </a:lnTo>
                  <a:lnTo>
                    <a:pt x="1947" y="165"/>
                  </a:lnTo>
                  <a:lnTo>
                    <a:pt x="1961" y="161"/>
                  </a:lnTo>
                  <a:lnTo>
                    <a:pt x="2235" y="66"/>
                  </a:lnTo>
                  <a:lnTo>
                    <a:pt x="2407" y="9"/>
                  </a:lnTo>
                  <a:lnTo>
                    <a:pt x="2432" y="0"/>
                  </a:lnTo>
                  <a:lnTo>
                    <a:pt x="2441" y="9"/>
                  </a:lnTo>
                  <a:lnTo>
                    <a:pt x="2446" y="22"/>
                  </a:lnTo>
                  <a:lnTo>
                    <a:pt x="2463" y="22"/>
                  </a:lnTo>
                  <a:lnTo>
                    <a:pt x="2468" y="27"/>
                  </a:lnTo>
                  <a:lnTo>
                    <a:pt x="2476" y="29"/>
                  </a:lnTo>
                  <a:lnTo>
                    <a:pt x="2480" y="40"/>
                  </a:lnTo>
                  <a:lnTo>
                    <a:pt x="2478" y="45"/>
                  </a:lnTo>
                  <a:lnTo>
                    <a:pt x="2491" y="65"/>
                  </a:lnTo>
                  <a:lnTo>
                    <a:pt x="2491" y="72"/>
                  </a:lnTo>
                  <a:lnTo>
                    <a:pt x="2481" y="89"/>
                  </a:lnTo>
                  <a:lnTo>
                    <a:pt x="2485" y="98"/>
                  </a:lnTo>
                  <a:lnTo>
                    <a:pt x="2476" y="110"/>
                  </a:lnTo>
                  <a:lnTo>
                    <a:pt x="2473" y="114"/>
                  </a:lnTo>
                  <a:lnTo>
                    <a:pt x="2477" y="120"/>
                  </a:lnTo>
                  <a:lnTo>
                    <a:pt x="2484" y="126"/>
                  </a:lnTo>
                  <a:lnTo>
                    <a:pt x="2484" y="132"/>
                  </a:lnTo>
                  <a:lnTo>
                    <a:pt x="2491" y="134"/>
                  </a:lnTo>
                  <a:lnTo>
                    <a:pt x="2503" y="147"/>
                  </a:lnTo>
                  <a:lnTo>
                    <a:pt x="2509" y="174"/>
                  </a:lnTo>
                  <a:lnTo>
                    <a:pt x="2521" y="178"/>
                  </a:lnTo>
                  <a:lnTo>
                    <a:pt x="2533" y="169"/>
                  </a:lnTo>
                  <a:lnTo>
                    <a:pt x="2542" y="174"/>
                  </a:lnTo>
                  <a:lnTo>
                    <a:pt x="2545" y="194"/>
                  </a:lnTo>
                  <a:lnTo>
                    <a:pt x="2556" y="205"/>
                  </a:lnTo>
                  <a:lnTo>
                    <a:pt x="2562" y="222"/>
                  </a:lnTo>
                  <a:lnTo>
                    <a:pt x="2573" y="235"/>
                  </a:lnTo>
                  <a:lnTo>
                    <a:pt x="2581" y="255"/>
                  </a:lnTo>
                  <a:lnTo>
                    <a:pt x="2592" y="265"/>
                  </a:lnTo>
                  <a:lnTo>
                    <a:pt x="2598" y="281"/>
                  </a:lnTo>
                  <a:lnTo>
                    <a:pt x="2595" y="293"/>
                  </a:lnTo>
                  <a:lnTo>
                    <a:pt x="2613" y="312"/>
                  </a:lnTo>
                  <a:lnTo>
                    <a:pt x="2617" y="326"/>
                  </a:lnTo>
                  <a:lnTo>
                    <a:pt x="2633" y="330"/>
                  </a:lnTo>
                  <a:lnTo>
                    <a:pt x="2644" y="342"/>
                  </a:lnTo>
                  <a:lnTo>
                    <a:pt x="2659" y="339"/>
                  </a:lnTo>
                  <a:lnTo>
                    <a:pt x="2667" y="347"/>
                  </a:lnTo>
                  <a:lnTo>
                    <a:pt x="2686" y="375"/>
                  </a:lnTo>
                  <a:lnTo>
                    <a:pt x="2688" y="388"/>
                  </a:lnTo>
                  <a:lnTo>
                    <a:pt x="2702" y="388"/>
                  </a:lnTo>
                  <a:lnTo>
                    <a:pt x="2716" y="392"/>
                  </a:lnTo>
                  <a:lnTo>
                    <a:pt x="2740" y="427"/>
                  </a:lnTo>
                  <a:lnTo>
                    <a:pt x="2734" y="446"/>
                  </a:lnTo>
                  <a:lnTo>
                    <a:pt x="2750" y="481"/>
                  </a:lnTo>
                  <a:lnTo>
                    <a:pt x="2759" y="481"/>
                  </a:lnTo>
                  <a:lnTo>
                    <a:pt x="2761" y="486"/>
                  </a:lnTo>
                  <a:lnTo>
                    <a:pt x="2767" y="486"/>
                  </a:lnTo>
                  <a:lnTo>
                    <a:pt x="2773" y="497"/>
                  </a:lnTo>
                  <a:lnTo>
                    <a:pt x="2786" y="494"/>
                  </a:lnTo>
                  <a:lnTo>
                    <a:pt x="2790" y="486"/>
                  </a:lnTo>
                  <a:lnTo>
                    <a:pt x="2791" y="479"/>
                  </a:lnTo>
                  <a:lnTo>
                    <a:pt x="2812" y="463"/>
                  </a:lnTo>
                  <a:lnTo>
                    <a:pt x="2800" y="435"/>
                  </a:lnTo>
                  <a:lnTo>
                    <a:pt x="2807" y="422"/>
                  </a:lnTo>
                  <a:lnTo>
                    <a:pt x="2807" y="410"/>
                  </a:lnTo>
                  <a:lnTo>
                    <a:pt x="2811" y="405"/>
                  </a:lnTo>
                  <a:lnTo>
                    <a:pt x="2815" y="404"/>
                  </a:lnTo>
                  <a:lnTo>
                    <a:pt x="2826" y="404"/>
                  </a:lnTo>
                  <a:lnTo>
                    <a:pt x="2829" y="404"/>
                  </a:lnTo>
                  <a:lnTo>
                    <a:pt x="2843" y="419"/>
                  </a:lnTo>
                  <a:lnTo>
                    <a:pt x="2848" y="419"/>
                  </a:lnTo>
                  <a:lnTo>
                    <a:pt x="2855" y="430"/>
                  </a:lnTo>
                  <a:lnTo>
                    <a:pt x="2862" y="427"/>
                  </a:lnTo>
                  <a:lnTo>
                    <a:pt x="2873" y="435"/>
                  </a:lnTo>
                  <a:lnTo>
                    <a:pt x="2877" y="446"/>
                  </a:lnTo>
                  <a:lnTo>
                    <a:pt x="2898" y="439"/>
                  </a:lnTo>
                  <a:lnTo>
                    <a:pt x="2911" y="424"/>
                  </a:lnTo>
                  <a:lnTo>
                    <a:pt x="2925" y="413"/>
                  </a:lnTo>
                  <a:lnTo>
                    <a:pt x="2932" y="414"/>
                  </a:lnTo>
                  <a:lnTo>
                    <a:pt x="2938" y="421"/>
                  </a:lnTo>
                  <a:lnTo>
                    <a:pt x="2946" y="417"/>
                  </a:lnTo>
                  <a:lnTo>
                    <a:pt x="2944" y="404"/>
                  </a:lnTo>
                  <a:lnTo>
                    <a:pt x="2960" y="392"/>
                  </a:lnTo>
                  <a:lnTo>
                    <a:pt x="2963" y="392"/>
                  </a:lnTo>
                  <a:lnTo>
                    <a:pt x="2969" y="382"/>
                  </a:lnTo>
                  <a:lnTo>
                    <a:pt x="2976" y="388"/>
                  </a:lnTo>
                  <a:lnTo>
                    <a:pt x="2987" y="379"/>
                  </a:lnTo>
                  <a:lnTo>
                    <a:pt x="2991" y="388"/>
                  </a:lnTo>
                  <a:lnTo>
                    <a:pt x="3108" y="396"/>
                  </a:lnTo>
                  <a:lnTo>
                    <a:pt x="3107" y="369"/>
                  </a:lnTo>
                  <a:lnTo>
                    <a:pt x="3189" y="352"/>
                  </a:lnTo>
                  <a:lnTo>
                    <a:pt x="3210" y="356"/>
                  </a:lnTo>
                  <a:lnTo>
                    <a:pt x="3217" y="352"/>
                  </a:lnTo>
                  <a:lnTo>
                    <a:pt x="3218" y="347"/>
                  </a:lnTo>
                  <a:lnTo>
                    <a:pt x="3222" y="347"/>
                  </a:lnTo>
                  <a:lnTo>
                    <a:pt x="3226" y="343"/>
                  </a:lnTo>
                  <a:lnTo>
                    <a:pt x="3250" y="347"/>
                  </a:lnTo>
                  <a:lnTo>
                    <a:pt x="3257" y="343"/>
                  </a:lnTo>
                  <a:lnTo>
                    <a:pt x="3262" y="332"/>
                  </a:lnTo>
                  <a:lnTo>
                    <a:pt x="3279" y="320"/>
                  </a:lnTo>
                  <a:lnTo>
                    <a:pt x="3290" y="327"/>
                  </a:lnTo>
                  <a:lnTo>
                    <a:pt x="3300" y="320"/>
                  </a:lnTo>
                  <a:lnTo>
                    <a:pt x="3311" y="320"/>
                  </a:lnTo>
                  <a:lnTo>
                    <a:pt x="3317" y="320"/>
                  </a:lnTo>
                  <a:lnTo>
                    <a:pt x="3321" y="317"/>
                  </a:lnTo>
                  <a:lnTo>
                    <a:pt x="3324" y="312"/>
                  </a:lnTo>
                  <a:lnTo>
                    <a:pt x="3334" y="312"/>
                  </a:lnTo>
                  <a:lnTo>
                    <a:pt x="3342" y="320"/>
                  </a:lnTo>
                  <a:lnTo>
                    <a:pt x="3354" y="319"/>
                  </a:lnTo>
                  <a:lnTo>
                    <a:pt x="3354" y="327"/>
                  </a:lnTo>
                  <a:lnTo>
                    <a:pt x="3361" y="338"/>
                  </a:lnTo>
                  <a:lnTo>
                    <a:pt x="3377" y="347"/>
                  </a:lnTo>
                  <a:lnTo>
                    <a:pt x="3375" y="356"/>
                  </a:lnTo>
                  <a:lnTo>
                    <a:pt x="3384" y="372"/>
                  </a:lnTo>
                  <a:lnTo>
                    <a:pt x="3397" y="385"/>
                  </a:lnTo>
                  <a:lnTo>
                    <a:pt x="3402" y="404"/>
                  </a:lnTo>
                  <a:lnTo>
                    <a:pt x="3411" y="418"/>
                  </a:lnTo>
                  <a:lnTo>
                    <a:pt x="3421" y="431"/>
                  </a:lnTo>
                  <a:lnTo>
                    <a:pt x="3435" y="435"/>
                  </a:lnTo>
                  <a:lnTo>
                    <a:pt x="3438" y="446"/>
                  </a:lnTo>
                  <a:lnTo>
                    <a:pt x="3453" y="447"/>
                  </a:lnTo>
                  <a:lnTo>
                    <a:pt x="3460" y="458"/>
                  </a:lnTo>
                  <a:lnTo>
                    <a:pt x="3464" y="471"/>
                  </a:lnTo>
                  <a:lnTo>
                    <a:pt x="3471" y="476"/>
                  </a:lnTo>
                  <a:lnTo>
                    <a:pt x="3475" y="486"/>
                  </a:lnTo>
                  <a:lnTo>
                    <a:pt x="3474" y="511"/>
                  </a:lnTo>
                  <a:lnTo>
                    <a:pt x="3481" y="519"/>
                  </a:lnTo>
                  <a:lnTo>
                    <a:pt x="3472" y="530"/>
                  </a:lnTo>
                  <a:lnTo>
                    <a:pt x="3471" y="542"/>
                  </a:lnTo>
                  <a:lnTo>
                    <a:pt x="3463" y="547"/>
                  </a:lnTo>
                  <a:lnTo>
                    <a:pt x="3456" y="553"/>
                  </a:lnTo>
                  <a:lnTo>
                    <a:pt x="3464" y="566"/>
                  </a:lnTo>
                  <a:lnTo>
                    <a:pt x="3464" y="573"/>
                  </a:lnTo>
                  <a:lnTo>
                    <a:pt x="3475" y="588"/>
                  </a:lnTo>
                  <a:lnTo>
                    <a:pt x="3478" y="605"/>
                  </a:lnTo>
                  <a:lnTo>
                    <a:pt x="3495" y="624"/>
                  </a:lnTo>
                  <a:lnTo>
                    <a:pt x="3494" y="630"/>
                  </a:lnTo>
                  <a:lnTo>
                    <a:pt x="3500" y="637"/>
                  </a:lnTo>
                  <a:lnTo>
                    <a:pt x="3509" y="653"/>
                  </a:lnTo>
                  <a:lnTo>
                    <a:pt x="3507" y="657"/>
                  </a:lnTo>
                  <a:lnTo>
                    <a:pt x="3499" y="663"/>
                  </a:lnTo>
                  <a:lnTo>
                    <a:pt x="3502" y="707"/>
                  </a:lnTo>
                  <a:lnTo>
                    <a:pt x="3495" y="715"/>
                  </a:lnTo>
                  <a:lnTo>
                    <a:pt x="3494" y="725"/>
                  </a:lnTo>
                  <a:lnTo>
                    <a:pt x="3503" y="733"/>
                  </a:lnTo>
                  <a:lnTo>
                    <a:pt x="3513" y="755"/>
                  </a:lnTo>
                  <a:lnTo>
                    <a:pt x="3514" y="774"/>
                  </a:lnTo>
                  <a:lnTo>
                    <a:pt x="3520" y="778"/>
                  </a:lnTo>
                  <a:lnTo>
                    <a:pt x="3520" y="784"/>
                  </a:lnTo>
                  <a:lnTo>
                    <a:pt x="3534" y="789"/>
                  </a:lnTo>
                  <a:lnTo>
                    <a:pt x="3531" y="798"/>
                  </a:lnTo>
                  <a:lnTo>
                    <a:pt x="3539" y="808"/>
                  </a:lnTo>
                  <a:lnTo>
                    <a:pt x="3536" y="815"/>
                  </a:lnTo>
                  <a:lnTo>
                    <a:pt x="3525" y="824"/>
                  </a:lnTo>
                  <a:lnTo>
                    <a:pt x="3524" y="837"/>
                  </a:lnTo>
                  <a:lnTo>
                    <a:pt x="3514" y="844"/>
                  </a:lnTo>
                  <a:lnTo>
                    <a:pt x="3500" y="859"/>
                  </a:lnTo>
                  <a:lnTo>
                    <a:pt x="3499" y="871"/>
                  </a:lnTo>
                  <a:lnTo>
                    <a:pt x="3500" y="876"/>
                  </a:lnTo>
                  <a:lnTo>
                    <a:pt x="3509" y="877"/>
                  </a:lnTo>
                  <a:lnTo>
                    <a:pt x="3511" y="879"/>
                  </a:lnTo>
                  <a:lnTo>
                    <a:pt x="3513" y="882"/>
                  </a:lnTo>
                  <a:lnTo>
                    <a:pt x="3509" y="895"/>
                  </a:lnTo>
                  <a:lnTo>
                    <a:pt x="3497" y="901"/>
                  </a:lnTo>
                  <a:lnTo>
                    <a:pt x="3496" y="911"/>
                  </a:lnTo>
                  <a:lnTo>
                    <a:pt x="3507" y="937"/>
                  </a:lnTo>
                  <a:lnTo>
                    <a:pt x="3503" y="940"/>
                  </a:lnTo>
                  <a:lnTo>
                    <a:pt x="3505" y="944"/>
                  </a:lnTo>
                  <a:lnTo>
                    <a:pt x="3509" y="952"/>
                  </a:lnTo>
                  <a:lnTo>
                    <a:pt x="3505" y="966"/>
                  </a:lnTo>
                  <a:lnTo>
                    <a:pt x="3507" y="976"/>
                  </a:lnTo>
                  <a:lnTo>
                    <a:pt x="3514" y="976"/>
                  </a:lnTo>
                  <a:lnTo>
                    <a:pt x="3514" y="986"/>
                  </a:lnTo>
                  <a:lnTo>
                    <a:pt x="3524" y="998"/>
                  </a:lnTo>
                  <a:lnTo>
                    <a:pt x="3520" y="1010"/>
                  </a:lnTo>
                  <a:lnTo>
                    <a:pt x="3522" y="1028"/>
                  </a:lnTo>
                  <a:lnTo>
                    <a:pt x="3519" y="1038"/>
                  </a:lnTo>
                  <a:lnTo>
                    <a:pt x="3500" y="1056"/>
                  </a:lnTo>
                  <a:lnTo>
                    <a:pt x="3502" y="1067"/>
                  </a:lnTo>
                  <a:lnTo>
                    <a:pt x="3492" y="1072"/>
                  </a:lnTo>
                  <a:lnTo>
                    <a:pt x="3486" y="1080"/>
                  </a:lnTo>
                  <a:lnTo>
                    <a:pt x="3482" y="1080"/>
                  </a:lnTo>
                  <a:lnTo>
                    <a:pt x="3477" y="1073"/>
                  </a:lnTo>
                  <a:lnTo>
                    <a:pt x="3471" y="1073"/>
                  </a:lnTo>
                  <a:lnTo>
                    <a:pt x="3467" y="1082"/>
                  </a:lnTo>
                  <a:lnTo>
                    <a:pt x="3459" y="1090"/>
                  </a:lnTo>
                  <a:lnTo>
                    <a:pt x="3455" y="1107"/>
                  </a:lnTo>
                  <a:lnTo>
                    <a:pt x="3457" y="1117"/>
                  </a:lnTo>
                  <a:lnTo>
                    <a:pt x="3455" y="1137"/>
                  </a:lnTo>
                  <a:lnTo>
                    <a:pt x="3436" y="1139"/>
                  </a:lnTo>
                  <a:lnTo>
                    <a:pt x="3416" y="1154"/>
                  </a:lnTo>
                  <a:lnTo>
                    <a:pt x="3402" y="1151"/>
                  </a:lnTo>
                  <a:lnTo>
                    <a:pt x="3394" y="1148"/>
                  </a:lnTo>
                  <a:lnTo>
                    <a:pt x="3396" y="1172"/>
                  </a:lnTo>
                  <a:lnTo>
                    <a:pt x="3394" y="1176"/>
                  </a:lnTo>
                  <a:lnTo>
                    <a:pt x="3382" y="1192"/>
                  </a:lnTo>
                  <a:lnTo>
                    <a:pt x="3382" y="1207"/>
                  </a:lnTo>
                  <a:lnTo>
                    <a:pt x="3391" y="1223"/>
                  </a:lnTo>
                  <a:lnTo>
                    <a:pt x="3395" y="1240"/>
                  </a:lnTo>
                  <a:lnTo>
                    <a:pt x="3394" y="1256"/>
                  </a:lnTo>
                  <a:lnTo>
                    <a:pt x="3397" y="1266"/>
                  </a:lnTo>
                  <a:lnTo>
                    <a:pt x="3394" y="1273"/>
                  </a:lnTo>
                  <a:lnTo>
                    <a:pt x="3409" y="1298"/>
                  </a:lnTo>
                  <a:lnTo>
                    <a:pt x="3391" y="1301"/>
                  </a:lnTo>
                  <a:lnTo>
                    <a:pt x="3384" y="1337"/>
                  </a:lnTo>
                  <a:lnTo>
                    <a:pt x="3378" y="1344"/>
                  </a:lnTo>
                  <a:lnTo>
                    <a:pt x="3366" y="1351"/>
                  </a:lnTo>
                  <a:lnTo>
                    <a:pt x="3363" y="1358"/>
                  </a:lnTo>
                  <a:lnTo>
                    <a:pt x="3353" y="1362"/>
                  </a:lnTo>
                  <a:lnTo>
                    <a:pt x="3350" y="1379"/>
                  </a:lnTo>
                  <a:lnTo>
                    <a:pt x="3332" y="1403"/>
                  </a:lnTo>
                  <a:lnTo>
                    <a:pt x="3324" y="1408"/>
                  </a:lnTo>
                  <a:lnTo>
                    <a:pt x="3314" y="1403"/>
                  </a:lnTo>
                  <a:lnTo>
                    <a:pt x="3301" y="1405"/>
                  </a:lnTo>
                  <a:lnTo>
                    <a:pt x="3289" y="1414"/>
                  </a:lnTo>
                  <a:lnTo>
                    <a:pt x="3281" y="1417"/>
                  </a:lnTo>
                  <a:lnTo>
                    <a:pt x="3278" y="1425"/>
                  </a:lnTo>
                  <a:lnTo>
                    <a:pt x="3270" y="1438"/>
                  </a:lnTo>
                  <a:lnTo>
                    <a:pt x="3264" y="1438"/>
                  </a:lnTo>
                  <a:lnTo>
                    <a:pt x="3257" y="1446"/>
                  </a:lnTo>
                  <a:lnTo>
                    <a:pt x="3257" y="1460"/>
                  </a:lnTo>
                  <a:lnTo>
                    <a:pt x="3246" y="1467"/>
                  </a:lnTo>
                  <a:lnTo>
                    <a:pt x="3243" y="1472"/>
                  </a:lnTo>
                  <a:lnTo>
                    <a:pt x="3242" y="1483"/>
                  </a:lnTo>
                  <a:lnTo>
                    <a:pt x="3240" y="1491"/>
                  </a:lnTo>
                  <a:lnTo>
                    <a:pt x="3245" y="1500"/>
                  </a:lnTo>
                  <a:lnTo>
                    <a:pt x="3239" y="1513"/>
                  </a:lnTo>
                  <a:lnTo>
                    <a:pt x="3247" y="1518"/>
                  </a:lnTo>
                  <a:lnTo>
                    <a:pt x="3240" y="1527"/>
                  </a:lnTo>
                  <a:lnTo>
                    <a:pt x="3245" y="1544"/>
                  </a:lnTo>
                  <a:lnTo>
                    <a:pt x="3265" y="1554"/>
                  </a:lnTo>
                  <a:lnTo>
                    <a:pt x="3281" y="1554"/>
                  </a:lnTo>
                  <a:lnTo>
                    <a:pt x="3287" y="1554"/>
                  </a:lnTo>
                  <a:lnTo>
                    <a:pt x="3300" y="1574"/>
                  </a:lnTo>
                  <a:lnTo>
                    <a:pt x="3320" y="1584"/>
                  </a:lnTo>
                  <a:lnTo>
                    <a:pt x="3320" y="1596"/>
                  </a:lnTo>
                  <a:lnTo>
                    <a:pt x="3339" y="1609"/>
                  </a:lnTo>
                  <a:lnTo>
                    <a:pt x="3343" y="1621"/>
                  </a:lnTo>
                  <a:lnTo>
                    <a:pt x="3349" y="1627"/>
                  </a:lnTo>
                  <a:lnTo>
                    <a:pt x="3349" y="1634"/>
                  </a:lnTo>
                  <a:lnTo>
                    <a:pt x="3367" y="1634"/>
                  </a:lnTo>
                  <a:lnTo>
                    <a:pt x="3380" y="1644"/>
                  </a:lnTo>
                  <a:lnTo>
                    <a:pt x="3388" y="1664"/>
                  </a:lnTo>
                  <a:lnTo>
                    <a:pt x="3380" y="1671"/>
                  </a:lnTo>
                  <a:lnTo>
                    <a:pt x="3367" y="1704"/>
                  </a:lnTo>
                  <a:lnTo>
                    <a:pt x="3361" y="1712"/>
                  </a:lnTo>
                  <a:lnTo>
                    <a:pt x="3360" y="1724"/>
                  </a:lnTo>
                  <a:lnTo>
                    <a:pt x="3363" y="1741"/>
                  </a:lnTo>
                  <a:lnTo>
                    <a:pt x="3359" y="1764"/>
                  </a:lnTo>
                  <a:lnTo>
                    <a:pt x="3361" y="1773"/>
                  </a:lnTo>
                  <a:lnTo>
                    <a:pt x="3366" y="1777"/>
                  </a:lnTo>
                  <a:lnTo>
                    <a:pt x="3371" y="1779"/>
                  </a:lnTo>
                  <a:lnTo>
                    <a:pt x="3374" y="1802"/>
                  </a:lnTo>
                  <a:lnTo>
                    <a:pt x="3381" y="1818"/>
                  </a:lnTo>
                  <a:lnTo>
                    <a:pt x="3389" y="1826"/>
                  </a:lnTo>
                  <a:lnTo>
                    <a:pt x="3407" y="1832"/>
                  </a:lnTo>
                  <a:lnTo>
                    <a:pt x="3425" y="1836"/>
                  </a:lnTo>
                  <a:lnTo>
                    <a:pt x="3431" y="1847"/>
                  </a:lnTo>
                  <a:lnTo>
                    <a:pt x="3441" y="1844"/>
                  </a:lnTo>
                  <a:lnTo>
                    <a:pt x="3460" y="1835"/>
                  </a:lnTo>
                  <a:lnTo>
                    <a:pt x="3474" y="1848"/>
                  </a:lnTo>
                  <a:lnTo>
                    <a:pt x="3477" y="1855"/>
                  </a:lnTo>
                  <a:lnTo>
                    <a:pt x="3496" y="1862"/>
                  </a:lnTo>
                  <a:lnTo>
                    <a:pt x="3500" y="1870"/>
                  </a:lnTo>
                  <a:lnTo>
                    <a:pt x="3497" y="1885"/>
                  </a:lnTo>
                  <a:lnTo>
                    <a:pt x="3511" y="1903"/>
                  </a:lnTo>
                  <a:lnTo>
                    <a:pt x="3509" y="1924"/>
                  </a:lnTo>
                  <a:lnTo>
                    <a:pt x="3514" y="1942"/>
                  </a:lnTo>
                  <a:lnTo>
                    <a:pt x="3522" y="1948"/>
                  </a:lnTo>
                  <a:lnTo>
                    <a:pt x="3539" y="1951"/>
                  </a:lnTo>
                  <a:lnTo>
                    <a:pt x="3559" y="1970"/>
                  </a:lnTo>
                  <a:lnTo>
                    <a:pt x="3566" y="1970"/>
                  </a:lnTo>
                  <a:lnTo>
                    <a:pt x="3577" y="1962"/>
                  </a:lnTo>
                  <a:lnTo>
                    <a:pt x="3581" y="1964"/>
                  </a:lnTo>
                  <a:lnTo>
                    <a:pt x="3586" y="1977"/>
                  </a:lnTo>
                  <a:lnTo>
                    <a:pt x="3585" y="1997"/>
                  </a:lnTo>
                  <a:lnTo>
                    <a:pt x="3589" y="2012"/>
                  </a:lnTo>
                  <a:lnTo>
                    <a:pt x="3599" y="2015"/>
                  </a:lnTo>
                  <a:lnTo>
                    <a:pt x="3613" y="2007"/>
                  </a:lnTo>
                  <a:lnTo>
                    <a:pt x="3644" y="2026"/>
                  </a:lnTo>
                  <a:lnTo>
                    <a:pt x="3665" y="2057"/>
                  </a:lnTo>
                  <a:lnTo>
                    <a:pt x="3660" y="2072"/>
                  </a:lnTo>
                  <a:lnTo>
                    <a:pt x="3663" y="2080"/>
                  </a:lnTo>
                  <a:lnTo>
                    <a:pt x="3670" y="2084"/>
                  </a:lnTo>
                  <a:lnTo>
                    <a:pt x="3685" y="2086"/>
                  </a:lnTo>
                  <a:lnTo>
                    <a:pt x="3695" y="2094"/>
                  </a:lnTo>
                  <a:lnTo>
                    <a:pt x="3713" y="2097"/>
                  </a:lnTo>
                  <a:lnTo>
                    <a:pt x="3720" y="2106"/>
                  </a:lnTo>
                  <a:lnTo>
                    <a:pt x="3729" y="2151"/>
                  </a:lnTo>
                  <a:lnTo>
                    <a:pt x="3742" y="2161"/>
                  </a:lnTo>
                  <a:lnTo>
                    <a:pt x="3770" y="2168"/>
                  </a:lnTo>
                  <a:lnTo>
                    <a:pt x="3773" y="2200"/>
                  </a:lnTo>
                  <a:lnTo>
                    <a:pt x="3777" y="2210"/>
                  </a:lnTo>
                  <a:lnTo>
                    <a:pt x="3788" y="2210"/>
                  </a:lnTo>
                  <a:lnTo>
                    <a:pt x="3816" y="2203"/>
                  </a:lnTo>
                  <a:lnTo>
                    <a:pt x="3819" y="2210"/>
                  </a:lnTo>
                  <a:lnTo>
                    <a:pt x="3826" y="2213"/>
                  </a:lnTo>
                  <a:lnTo>
                    <a:pt x="3829" y="2217"/>
                  </a:lnTo>
                  <a:lnTo>
                    <a:pt x="3831" y="2218"/>
                  </a:lnTo>
                  <a:lnTo>
                    <a:pt x="3835" y="2245"/>
                  </a:lnTo>
                  <a:lnTo>
                    <a:pt x="3840" y="2254"/>
                  </a:lnTo>
                  <a:lnTo>
                    <a:pt x="3862" y="2259"/>
                  </a:lnTo>
                  <a:lnTo>
                    <a:pt x="3870" y="2271"/>
                  </a:lnTo>
                  <a:lnTo>
                    <a:pt x="3877" y="2276"/>
                  </a:lnTo>
                  <a:lnTo>
                    <a:pt x="3897" y="2280"/>
                  </a:lnTo>
                  <a:lnTo>
                    <a:pt x="3902" y="2267"/>
                  </a:lnTo>
                  <a:lnTo>
                    <a:pt x="3919" y="2271"/>
                  </a:lnTo>
                  <a:lnTo>
                    <a:pt x="3948" y="2267"/>
                  </a:lnTo>
                  <a:lnTo>
                    <a:pt x="3966" y="2282"/>
                  </a:lnTo>
                  <a:lnTo>
                    <a:pt x="3972" y="2300"/>
                  </a:lnTo>
                  <a:lnTo>
                    <a:pt x="3962" y="2308"/>
                  </a:lnTo>
                  <a:lnTo>
                    <a:pt x="3961" y="2315"/>
                  </a:lnTo>
                  <a:lnTo>
                    <a:pt x="3976" y="2349"/>
                  </a:lnTo>
                  <a:lnTo>
                    <a:pt x="3976" y="2365"/>
                  </a:lnTo>
                  <a:lnTo>
                    <a:pt x="3973" y="2365"/>
                  </a:lnTo>
                  <a:lnTo>
                    <a:pt x="3966" y="2363"/>
                  </a:lnTo>
                  <a:lnTo>
                    <a:pt x="3962" y="2365"/>
                  </a:lnTo>
                  <a:lnTo>
                    <a:pt x="3954" y="2378"/>
                  </a:lnTo>
                  <a:lnTo>
                    <a:pt x="3955" y="2383"/>
                  </a:lnTo>
                  <a:lnTo>
                    <a:pt x="3953" y="2390"/>
                  </a:lnTo>
                  <a:lnTo>
                    <a:pt x="3933" y="2394"/>
                  </a:lnTo>
                  <a:lnTo>
                    <a:pt x="3915" y="2401"/>
                  </a:lnTo>
                  <a:lnTo>
                    <a:pt x="3908" y="2401"/>
                  </a:lnTo>
                  <a:lnTo>
                    <a:pt x="3891" y="2409"/>
                  </a:lnTo>
                  <a:lnTo>
                    <a:pt x="3885" y="2420"/>
                  </a:lnTo>
                  <a:lnTo>
                    <a:pt x="3890" y="2424"/>
                  </a:lnTo>
                  <a:lnTo>
                    <a:pt x="3888" y="2428"/>
                  </a:lnTo>
                  <a:lnTo>
                    <a:pt x="3894" y="2432"/>
                  </a:lnTo>
                  <a:lnTo>
                    <a:pt x="3887" y="2450"/>
                  </a:lnTo>
                  <a:lnTo>
                    <a:pt x="3902" y="2465"/>
                  </a:lnTo>
                  <a:lnTo>
                    <a:pt x="3905" y="2465"/>
                  </a:lnTo>
                  <a:lnTo>
                    <a:pt x="3909" y="2471"/>
                  </a:lnTo>
                  <a:lnTo>
                    <a:pt x="3929" y="2481"/>
                  </a:lnTo>
                  <a:lnTo>
                    <a:pt x="3926" y="2484"/>
                  </a:lnTo>
                  <a:lnTo>
                    <a:pt x="3915" y="2487"/>
                  </a:lnTo>
                  <a:lnTo>
                    <a:pt x="3906" y="2499"/>
                  </a:lnTo>
                  <a:lnTo>
                    <a:pt x="3908" y="2503"/>
                  </a:lnTo>
                  <a:lnTo>
                    <a:pt x="3913" y="2506"/>
                  </a:lnTo>
                  <a:lnTo>
                    <a:pt x="3916" y="2516"/>
                  </a:lnTo>
                  <a:lnTo>
                    <a:pt x="3922" y="2517"/>
                  </a:lnTo>
                  <a:lnTo>
                    <a:pt x="4073" y="2517"/>
                  </a:lnTo>
                  <a:lnTo>
                    <a:pt x="4080" y="2517"/>
                  </a:lnTo>
                  <a:lnTo>
                    <a:pt x="4080" y="2520"/>
                  </a:lnTo>
                  <a:lnTo>
                    <a:pt x="4075" y="2525"/>
                  </a:lnTo>
                  <a:lnTo>
                    <a:pt x="4078" y="2528"/>
                  </a:lnTo>
                  <a:lnTo>
                    <a:pt x="4080" y="2528"/>
                  </a:lnTo>
                  <a:lnTo>
                    <a:pt x="4086" y="2525"/>
                  </a:lnTo>
                  <a:lnTo>
                    <a:pt x="4087" y="2525"/>
                  </a:lnTo>
                  <a:lnTo>
                    <a:pt x="4089" y="2529"/>
                  </a:lnTo>
                  <a:lnTo>
                    <a:pt x="4084" y="2536"/>
                  </a:lnTo>
                  <a:lnTo>
                    <a:pt x="4087" y="2544"/>
                  </a:lnTo>
                  <a:lnTo>
                    <a:pt x="4084" y="2548"/>
                  </a:lnTo>
                  <a:lnTo>
                    <a:pt x="4076" y="2550"/>
                  </a:lnTo>
                  <a:lnTo>
                    <a:pt x="4076" y="2551"/>
                  </a:lnTo>
                  <a:lnTo>
                    <a:pt x="4078" y="2554"/>
                  </a:lnTo>
                  <a:lnTo>
                    <a:pt x="4081" y="2554"/>
                  </a:lnTo>
                  <a:lnTo>
                    <a:pt x="4083" y="2556"/>
                  </a:lnTo>
                  <a:lnTo>
                    <a:pt x="4084" y="2566"/>
                  </a:lnTo>
                  <a:lnTo>
                    <a:pt x="4091" y="2570"/>
                  </a:lnTo>
                  <a:lnTo>
                    <a:pt x="4091" y="2573"/>
                  </a:lnTo>
                  <a:lnTo>
                    <a:pt x="4087" y="2576"/>
                  </a:lnTo>
                  <a:lnTo>
                    <a:pt x="4087" y="2578"/>
                  </a:lnTo>
                  <a:lnTo>
                    <a:pt x="4089" y="2579"/>
                  </a:lnTo>
                  <a:lnTo>
                    <a:pt x="4093" y="2579"/>
                  </a:lnTo>
                  <a:lnTo>
                    <a:pt x="4094" y="2581"/>
                  </a:lnTo>
                  <a:lnTo>
                    <a:pt x="4093" y="2583"/>
                  </a:lnTo>
                  <a:lnTo>
                    <a:pt x="4087" y="2587"/>
                  </a:lnTo>
                  <a:lnTo>
                    <a:pt x="4087" y="2593"/>
                  </a:lnTo>
                  <a:lnTo>
                    <a:pt x="4083" y="2595"/>
                  </a:lnTo>
                  <a:lnTo>
                    <a:pt x="4084" y="2599"/>
                  </a:lnTo>
                  <a:lnTo>
                    <a:pt x="4079" y="2600"/>
                  </a:lnTo>
                  <a:lnTo>
                    <a:pt x="4080" y="2603"/>
                  </a:lnTo>
                  <a:lnTo>
                    <a:pt x="4086" y="2603"/>
                  </a:lnTo>
                  <a:lnTo>
                    <a:pt x="4087" y="2606"/>
                  </a:lnTo>
                  <a:lnTo>
                    <a:pt x="4087" y="2607"/>
                  </a:lnTo>
                  <a:lnTo>
                    <a:pt x="4080" y="2607"/>
                  </a:lnTo>
                  <a:lnTo>
                    <a:pt x="4084" y="2615"/>
                  </a:lnTo>
                  <a:lnTo>
                    <a:pt x="4078" y="2618"/>
                  </a:lnTo>
                  <a:lnTo>
                    <a:pt x="4081" y="2623"/>
                  </a:lnTo>
                  <a:lnTo>
                    <a:pt x="4079" y="2632"/>
                  </a:lnTo>
                  <a:lnTo>
                    <a:pt x="4079" y="2633"/>
                  </a:lnTo>
                  <a:lnTo>
                    <a:pt x="4086" y="2632"/>
                  </a:lnTo>
                  <a:lnTo>
                    <a:pt x="4095" y="2637"/>
                  </a:lnTo>
                  <a:lnTo>
                    <a:pt x="4095" y="2648"/>
                  </a:lnTo>
                  <a:lnTo>
                    <a:pt x="4101" y="2655"/>
                  </a:lnTo>
                  <a:lnTo>
                    <a:pt x="4101" y="2660"/>
                  </a:lnTo>
                  <a:lnTo>
                    <a:pt x="4105" y="2663"/>
                  </a:lnTo>
                  <a:lnTo>
                    <a:pt x="4104" y="2670"/>
                  </a:lnTo>
                  <a:lnTo>
                    <a:pt x="4104" y="2673"/>
                  </a:lnTo>
                  <a:lnTo>
                    <a:pt x="4108" y="2678"/>
                  </a:lnTo>
                  <a:lnTo>
                    <a:pt x="4112" y="2678"/>
                  </a:lnTo>
                  <a:lnTo>
                    <a:pt x="4114" y="2682"/>
                  </a:lnTo>
                  <a:lnTo>
                    <a:pt x="4115" y="2686"/>
                  </a:lnTo>
                  <a:lnTo>
                    <a:pt x="4116" y="2690"/>
                  </a:lnTo>
                  <a:lnTo>
                    <a:pt x="4119" y="2700"/>
                  </a:lnTo>
                  <a:lnTo>
                    <a:pt x="4119" y="2705"/>
                  </a:lnTo>
                  <a:lnTo>
                    <a:pt x="4115" y="2711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92" name="Freeform 191"/>
            <p:cNvSpPr>
              <a:spLocks/>
            </p:cNvSpPr>
            <p:nvPr/>
          </p:nvSpPr>
          <p:spPr bwMode="auto">
            <a:xfrm>
              <a:off x="1267173" y="1794306"/>
              <a:ext cx="661491" cy="914614"/>
            </a:xfrm>
            <a:custGeom>
              <a:avLst/>
              <a:gdLst>
                <a:gd name="T0" fmla="*/ 3256 w 3320"/>
                <a:gd name="T1" fmla="*/ 378 h 3392"/>
                <a:gd name="T2" fmla="*/ 3215 w 3320"/>
                <a:gd name="T3" fmla="*/ 686 h 3392"/>
                <a:gd name="T4" fmla="*/ 3094 w 3320"/>
                <a:gd name="T5" fmla="*/ 846 h 3392"/>
                <a:gd name="T6" fmla="*/ 2989 w 3320"/>
                <a:gd name="T7" fmla="*/ 966 h 3392"/>
                <a:gd name="T8" fmla="*/ 2957 w 3320"/>
                <a:gd name="T9" fmla="*/ 1091 h 3392"/>
                <a:gd name="T10" fmla="*/ 2970 w 3320"/>
                <a:gd name="T11" fmla="*/ 1212 h 3392"/>
                <a:gd name="T12" fmla="*/ 2930 w 3320"/>
                <a:gd name="T13" fmla="*/ 1364 h 3392"/>
                <a:gd name="T14" fmla="*/ 2995 w 3320"/>
                <a:gd name="T15" fmla="*/ 1501 h 3392"/>
                <a:gd name="T16" fmla="*/ 3107 w 3320"/>
                <a:gd name="T17" fmla="*/ 1535 h 3392"/>
                <a:gd name="T18" fmla="*/ 3076 w 3320"/>
                <a:gd name="T19" fmla="*/ 1608 h 3392"/>
                <a:gd name="T20" fmla="*/ 3006 w 3320"/>
                <a:gd name="T21" fmla="*/ 1692 h 3392"/>
                <a:gd name="T22" fmla="*/ 3057 w 3320"/>
                <a:gd name="T23" fmla="*/ 1933 h 3392"/>
                <a:gd name="T24" fmla="*/ 3099 w 3320"/>
                <a:gd name="T25" fmla="*/ 2068 h 3392"/>
                <a:gd name="T26" fmla="*/ 3163 w 3320"/>
                <a:gd name="T27" fmla="*/ 2181 h 3392"/>
                <a:gd name="T28" fmla="*/ 3240 w 3320"/>
                <a:gd name="T29" fmla="*/ 2289 h 3392"/>
                <a:gd name="T30" fmla="*/ 3096 w 3320"/>
                <a:gd name="T31" fmla="*/ 2374 h 3392"/>
                <a:gd name="T32" fmla="*/ 2878 w 3320"/>
                <a:gd name="T33" fmla="*/ 2459 h 3392"/>
                <a:gd name="T34" fmla="*/ 2686 w 3320"/>
                <a:gd name="T35" fmla="*/ 2423 h 3392"/>
                <a:gd name="T36" fmla="*/ 2575 w 3320"/>
                <a:gd name="T37" fmla="*/ 2526 h 3392"/>
                <a:gd name="T38" fmla="*/ 2423 w 3320"/>
                <a:gd name="T39" fmla="*/ 2619 h 3392"/>
                <a:gd name="T40" fmla="*/ 2254 w 3320"/>
                <a:gd name="T41" fmla="*/ 2679 h 3392"/>
                <a:gd name="T42" fmla="*/ 2066 w 3320"/>
                <a:gd name="T43" fmla="*/ 2805 h 3392"/>
                <a:gd name="T44" fmla="*/ 1969 w 3320"/>
                <a:gd name="T45" fmla="*/ 2912 h 3392"/>
                <a:gd name="T46" fmla="*/ 1888 w 3320"/>
                <a:gd name="T47" fmla="*/ 3041 h 3392"/>
                <a:gd name="T48" fmla="*/ 1821 w 3320"/>
                <a:gd name="T49" fmla="*/ 3133 h 3392"/>
                <a:gd name="T50" fmla="*/ 1710 w 3320"/>
                <a:gd name="T51" fmla="*/ 3207 h 3392"/>
                <a:gd name="T52" fmla="*/ 1652 w 3320"/>
                <a:gd name="T53" fmla="*/ 3230 h 3392"/>
                <a:gd name="T54" fmla="*/ 1616 w 3320"/>
                <a:gd name="T55" fmla="*/ 3238 h 3392"/>
                <a:gd name="T56" fmla="*/ 1606 w 3320"/>
                <a:gd name="T57" fmla="*/ 3256 h 3392"/>
                <a:gd name="T58" fmla="*/ 1588 w 3320"/>
                <a:gd name="T59" fmla="*/ 3277 h 3392"/>
                <a:gd name="T60" fmla="*/ 1577 w 3320"/>
                <a:gd name="T61" fmla="*/ 3295 h 3392"/>
                <a:gd name="T62" fmla="*/ 1558 w 3320"/>
                <a:gd name="T63" fmla="*/ 3314 h 3392"/>
                <a:gd name="T64" fmla="*/ 1540 w 3320"/>
                <a:gd name="T65" fmla="*/ 3339 h 3392"/>
                <a:gd name="T66" fmla="*/ 1557 w 3320"/>
                <a:gd name="T67" fmla="*/ 3370 h 3392"/>
                <a:gd name="T68" fmla="*/ 1458 w 3320"/>
                <a:gd name="T69" fmla="*/ 3367 h 3392"/>
                <a:gd name="T70" fmla="*/ 1429 w 3320"/>
                <a:gd name="T71" fmla="*/ 3356 h 3392"/>
                <a:gd name="T72" fmla="*/ 1141 w 3320"/>
                <a:gd name="T73" fmla="*/ 2647 h 3392"/>
                <a:gd name="T74" fmla="*/ 100 w 3320"/>
                <a:gd name="T75" fmla="*/ 1107 h 3392"/>
                <a:gd name="T76" fmla="*/ 859 w 3320"/>
                <a:gd name="T77" fmla="*/ 244 h 3392"/>
                <a:gd name="T78" fmla="*/ 926 w 3320"/>
                <a:gd name="T79" fmla="*/ 250 h 3392"/>
                <a:gd name="T80" fmla="*/ 984 w 3320"/>
                <a:gd name="T81" fmla="*/ 232 h 3392"/>
                <a:gd name="T82" fmla="*/ 1093 w 3320"/>
                <a:gd name="T83" fmla="*/ 174 h 3392"/>
                <a:gd name="T84" fmla="*/ 1168 w 3320"/>
                <a:gd name="T85" fmla="*/ 143 h 3392"/>
                <a:gd name="T86" fmla="*/ 1278 w 3320"/>
                <a:gd name="T87" fmla="*/ 133 h 3392"/>
                <a:gd name="T88" fmla="*/ 1359 w 3320"/>
                <a:gd name="T89" fmla="*/ 196 h 3392"/>
                <a:gd name="T90" fmla="*/ 1472 w 3320"/>
                <a:gd name="T91" fmla="*/ 230 h 3392"/>
                <a:gd name="T92" fmla="*/ 1489 w 3320"/>
                <a:gd name="T93" fmla="*/ 351 h 3392"/>
                <a:gd name="T94" fmla="*/ 1590 w 3320"/>
                <a:gd name="T95" fmla="*/ 360 h 3392"/>
                <a:gd name="T96" fmla="*/ 1729 w 3320"/>
                <a:gd name="T97" fmla="*/ 374 h 3392"/>
                <a:gd name="T98" fmla="*/ 1837 w 3320"/>
                <a:gd name="T99" fmla="*/ 378 h 3392"/>
                <a:gd name="T100" fmla="*/ 1985 w 3320"/>
                <a:gd name="T101" fmla="*/ 237 h 3392"/>
                <a:gd name="T102" fmla="*/ 2084 w 3320"/>
                <a:gd name="T103" fmla="*/ 267 h 3392"/>
                <a:gd name="T104" fmla="*/ 2215 w 3320"/>
                <a:gd name="T105" fmla="*/ 294 h 3392"/>
                <a:gd name="T106" fmla="*/ 2347 w 3320"/>
                <a:gd name="T107" fmla="*/ 301 h 3392"/>
                <a:gd name="T108" fmla="*/ 2465 w 3320"/>
                <a:gd name="T109" fmla="*/ 338 h 3392"/>
                <a:gd name="T110" fmla="*/ 2604 w 3320"/>
                <a:gd name="T111" fmla="*/ 289 h 3392"/>
                <a:gd name="T112" fmla="*/ 2754 w 3320"/>
                <a:gd name="T113" fmla="*/ 205 h 3392"/>
                <a:gd name="T114" fmla="*/ 2796 w 3320"/>
                <a:gd name="T115" fmla="*/ 41 h 3392"/>
                <a:gd name="T116" fmla="*/ 2909 w 3320"/>
                <a:gd name="T117" fmla="*/ 9 h 3392"/>
                <a:gd name="T118" fmla="*/ 3052 w 3320"/>
                <a:gd name="T119" fmla="*/ 22 h 3392"/>
                <a:gd name="T120" fmla="*/ 3152 w 3320"/>
                <a:gd name="T121" fmla="*/ 41 h 3392"/>
                <a:gd name="T122" fmla="*/ 3276 w 3320"/>
                <a:gd name="T123" fmla="*/ 112 h 339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20"/>
                <a:gd name="T187" fmla="*/ 0 h 3392"/>
                <a:gd name="T188" fmla="*/ 3320 w 3320"/>
                <a:gd name="T189" fmla="*/ 3392 h 339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20" h="3392">
                  <a:moveTo>
                    <a:pt x="3312" y="147"/>
                  </a:moveTo>
                  <a:lnTo>
                    <a:pt x="3309" y="150"/>
                  </a:lnTo>
                  <a:lnTo>
                    <a:pt x="3299" y="163"/>
                  </a:lnTo>
                  <a:lnTo>
                    <a:pt x="3291" y="182"/>
                  </a:lnTo>
                  <a:lnTo>
                    <a:pt x="3285" y="200"/>
                  </a:lnTo>
                  <a:lnTo>
                    <a:pt x="3280" y="217"/>
                  </a:lnTo>
                  <a:lnTo>
                    <a:pt x="3274" y="228"/>
                  </a:lnTo>
                  <a:lnTo>
                    <a:pt x="3276" y="228"/>
                  </a:lnTo>
                  <a:lnTo>
                    <a:pt x="3274" y="228"/>
                  </a:lnTo>
                  <a:lnTo>
                    <a:pt x="3274" y="230"/>
                  </a:lnTo>
                  <a:lnTo>
                    <a:pt x="3273" y="232"/>
                  </a:lnTo>
                  <a:lnTo>
                    <a:pt x="3271" y="232"/>
                  </a:lnTo>
                  <a:lnTo>
                    <a:pt x="3271" y="236"/>
                  </a:lnTo>
                  <a:lnTo>
                    <a:pt x="3271" y="237"/>
                  </a:lnTo>
                  <a:lnTo>
                    <a:pt x="3269" y="241"/>
                  </a:lnTo>
                  <a:lnTo>
                    <a:pt x="3269" y="245"/>
                  </a:lnTo>
                  <a:lnTo>
                    <a:pt x="3267" y="258"/>
                  </a:lnTo>
                  <a:lnTo>
                    <a:pt x="3265" y="273"/>
                  </a:lnTo>
                  <a:lnTo>
                    <a:pt x="3260" y="281"/>
                  </a:lnTo>
                  <a:lnTo>
                    <a:pt x="3260" y="289"/>
                  </a:lnTo>
                  <a:lnTo>
                    <a:pt x="3265" y="301"/>
                  </a:lnTo>
                  <a:lnTo>
                    <a:pt x="3265" y="308"/>
                  </a:lnTo>
                  <a:lnTo>
                    <a:pt x="3265" y="312"/>
                  </a:lnTo>
                  <a:lnTo>
                    <a:pt x="3260" y="324"/>
                  </a:lnTo>
                  <a:lnTo>
                    <a:pt x="3259" y="333"/>
                  </a:lnTo>
                  <a:lnTo>
                    <a:pt x="3260" y="346"/>
                  </a:lnTo>
                  <a:lnTo>
                    <a:pt x="3260" y="361"/>
                  </a:lnTo>
                  <a:lnTo>
                    <a:pt x="3259" y="366"/>
                  </a:lnTo>
                  <a:lnTo>
                    <a:pt x="3258" y="370"/>
                  </a:lnTo>
                  <a:lnTo>
                    <a:pt x="3256" y="374"/>
                  </a:lnTo>
                  <a:lnTo>
                    <a:pt x="3256" y="378"/>
                  </a:lnTo>
                  <a:lnTo>
                    <a:pt x="3256" y="382"/>
                  </a:lnTo>
                  <a:lnTo>
                    <a:pt x="3262" y="387"/>
                  </a:lnTo>
                  <a:lnTo>
                    <a:pt x="3263" y="395"/>
                  </a:lnTo>
                  <a:lnTo>
                    <a:pt x="3263" y="396"/>
                  </a:lnTo>
                  <a:lnTo>
                    <a:pt x="3265" y="396"/>
                  </a:lnTo>
                  <a:lnTo>
                    <a:pt x="3262" y="413"/>
                  </a:lnTo>
                  <a:lnTo>
                    <a:pt x="3263" y="421"/>
                  </a:lnTo>
                  <a:lnTo>
                    <a:pt x="3263" y="423"/>
                  </a:lnTo>
                  <a:lnTo>
                    <a:pt x="3265" y="428"/>
                  </a:lnTo>
                  <a:lnTo>
                    <a:pt x="3267" y="441"/>
                  </a:lnTo>
                  <a:lnTo>
                    <a:pt x="3273" y="453"/>
                  </a:lnTo>
                  <a:lnTo>
                    <a:pt x="3273" y="462"/>
                  </a:lnTo>
                  <a:lnTo>
                    <a:pt x="3266" y="477"/>
                  </a:lnTo>
                  <a:lnTo>
                    <a:pt x="3267" y="485"/>
                  </a:lnTo>
                  <a:lnTo>
                    <a:pt x="3273" y="507"/>
                  </a:lnTo>
                  <a:lnTo>
                    <a:pt x="3267" y="535"/>
                  </a:lnTo>
                  <a:lnTo>
                    <a:pt x="3260" y="552"/>
                  </a:lnTo>
                  <a:lnTo>
                    <a:pt x="3256" y="573"/>
                  </a:lnTo>
                  <a:lnTo>
                    <a:pt x="3254" y="587"/>
                  </a:lnTo>
                  <a:lnTo>
                    <a:pt x="3255" y="597"/>
                  </a:lnTo>
                  <a:lnTo>
                    <a:pt x="3249" y="610"/>
                  </a:lnTo>
                  <a:lnTo>
                    <a:pt x="3246" y="619"/>
                  </a:lnTo>
                  <a:lnTo>
                    <a:pt x="3248" y="632"/>
                  </a:lnTo>
                  <a:lnTo>
                    <a:pt x="3241" y="640"/>
                  </a:lnTo>
                  <a:lnTo>
                    <a:pt x="3235" y="651"/>
                  </a:lnTo>
                  <a:lnTo>
                    <a:pt x="3235" y="655"/>
                  </a:lnTo>
                  <a:lnTo>
                    <a:pt x="3238" y="659"/>
                  </a:lnTo>
                  <a:lnTo>
                    <a:pt x="3238" y="672"/>
                  </a:lnTo>
                  <a:lnTo>
                    <a:pt x="3229" y="681"/>
                  </a:lnTo>
                  <a:lnTo>
                    <a:pt x="3217" y="685"/>
                  </a:lnTo>
                  <a:lnTo>
                    <a:pt x="3215" y="686"/>
                  </a:lnTo>
                  <a:lnTo>
                    <a:pt x="3212" y="690"/>
                  </a:lnTo>
                  <a:lnTo>
                    <a:pt x="3205" y="690"/>
                  </a:lnTo>
                  <a:lnTo>
                    <a:pt x="3196" y="690"/>
                  </a:lnTo>
                  <a:lnTo>
                    <a:pt x="3180" y="702"/>
                  </a:lnTo>
                  <a:lnTo>
                    <a:pt x="3167" y="703"/>
                  </a:lnTo>
                  <a:lnTo>
                    <a:pt x="3159" y="713"/>
                  </a:lnTo>
                  <a:lnTo>
                    <a:pt x="3142" y="721"/>
                  </a:lnTo>
                  <a:lnTo>
                    <a:pt x="3119" y="740"/>
                  </a:lnTo>
                  <a:lnTo>
                    <a:pt x="3110" y="744"/>
                  </a:lnTo>
                  <a:lnTo>
                    <a:pt x="3113" y="751"/>
                  </a:lnTo>
                  <a:lnTo>
                    <a:pt x="3115" y="753"/>
                  </a:lnTo>
                  <a:lnTo>
                    <a:pt x="3115" y="756"/>
                  </a:lnTo>
                  <a:lnTo>
                    <a:pt x="3117" y="758"/>
                  </a:lnTo>
                  <a:lnTo>
                    <a:pt x="3116" y="763"/>
                  </a:lnTo>
                  <a:lnTo>
                    <a:pt x="3120" y="766"/>
                  </a:lnTo>
                  <a:lnTo>
                    <a:pt x="3120" y="771"/>
                  </a:lnTo>
                  <a:lnTo>
                    <a:pt x="3117" y="780"/>
                  </a:lnTo>
                  <a:lnTo>
                    <a:pt x="3110" y="789"/>
                  </a:lnTo>
                  <a:lnTo>
                    <a:pt x="3110" y="797"/>
                  </a:lnTo>
                  <a:lnTo>
                    <a:pt x="3113" y="797"/>
                  </a:lnTo>
                  <a:lnTo>
                    <a:pt x="3113" y="801"/>
                  </a:lnTo>
                  <a:lnTo>
                    <a:pt x="3109" y="802"/>
                  </a:lnTo>
                  <a:lnTo>
                    <a:pt x="3104" y="805"/>
                  </a:lnTo>
                  <a:lnTo>
                    <a:pt x="3102" y="814"/>
                  </a:lnTo>
                  <a:lnTo>
                    <a:pt x="3098" y="815"/>
                  </a:lnTo>
                  <a:lnTo>
                    <a:pt x="3095" y="823"/>
                  </a:lnTo>
                  <a:lnTo>
                    <a:pt x="3096" y="827"/>
                  </a:lnTo>
                  <a:lnTo>
                    <a:pt x="3094" y="831"/>
                  </a:lnTo>
                  <a:lnTo>
                    <a:pt x="3092" y="833"/>
                  </a:lnTo>
                  <a:lnTo>
                    <a:pt x="3094" y="838"/>
                  </a:lnTo>
                  <a:lnTo>
                    <a:pt x="3094" y="846"/>
                  </a:lnTo>
                  <a:lnTo>
                    <a:pt x="3095" y="847"/>
                  </a:lnTo>
                  <a:lnTo>
                    <a:pt x="3098" y="847"/>
                  </a:lnTo>
                  <a:lnTo>
                    <a:pt x="3098" y="850"/>
                  </a:lnTo>
                  <a:lnTo>
                    <a:pt x="3091" y="855"/>
                  </a:lnTo>
                  <a:lnTo>
                    <a:pt x="3088" y="864"/>
                  </a:lnTo>
                  <a:lnTo>
                    <a:pt x="3084" y="868"/>
                  </a:lnTo>
                  <a:lnTo>
                    <a:pt x="3076" y="873"/>
                  </a:lnTo>
                  <a:lnTo>
                    <a:pt x="3073" y="881"/>
                  </a:lnTo>
                  <a:lnTo>
                    <a:pt x="3070" y="883"/>
                  </a:lnTo>
                  <a:lnTo>
                    <a:pt x="3070" y="887"/>
                  </a:lnTo>
                  <a:lnTo>
                    <a:pt x="3064" y="890"/>
                  </a:lnTo>
                  <a:lnTo>
                    <a:pt x="3062" y="890"/>
                  </a:lnTo>
                  <a:lnTo>
                    <a:pt x="3057" y="898"/>
                  </a:lnTo>
                  <a:lnTo>
                    <a:pt x="3055" y="898"/>
                  </a:lnTo>
                  <a:lnTo>
                    <a:pt x="3049" y="902"/>
                  </a:lnTo>
                  <a:lnTo>
                    <a:pt x="3041" y="904"/>
                  </a:lnTo>
                  <a:lnTo>
                    <a:pt x="3038" y="912"/>
                  </a:lnTo>
                  <a:lnTo>
                    <a:pt x="3034" y="915"/>
                  </a:lnTo>
                  <a:lnTo>
                    <a:pt x="3031" y="918"/>
                  </a:lnTo>
                  <a:lnTo>
                    <a:pt x="3032" y="921"/>
                  </a:lnTo>
                  <a:lnTo>
                    <a:pt x="3024" y="926"/>
                  </a:lnTo>
                  <a:lnTo>
                    <a:pt x="3019" y="934"/>
                  </a:lnTo>
                  <a:lnTo>
                    <a:pt x="3011" y="935"/>
                  </a:lnTo>
                  <a:lnTo>
                    <a:pt x="3009" y="938"/>
                  </a:lnTo>
                  <a:lnTo>
                    <a:pt x="3000" y="939"/>
                  </a:lnTo>
                  <a:lnTo>
                    <a:pt x="2999" y="945"/>
                  </a:lnTo>
                  <a:lnTo>
                    <a:pt x="3000" y="949"/>
                  </a:lnTo>
                  <a:lnTo>
                    <a:pt x="2997" y="954"/>
                  </a:lnTo>
                  <a:lnTo>
                    <a:pt x="2997" y="957"/>
                  </a:lnTo>
                  <a:lnTo>
                    <a:pt x="2995" y="962"/>
                  </a:lnTo>
                  <a:lnTo>
                    <a:pt x="2989" y="966"/>
                  </a:lnTo>
                  <a:lnTo>
                    <a:pt x="2989" y="970"/>
                  </a:lnTo>
                  <a:lnTo>
                    <a:pt x="2992" y="970"/>
                  </a:lnTo>
                  <a:lnTo>
                    <a:pt x="2991" y="976"/>
                  </a:lnTo>
                  <a:lnTo>
                    <a:pt x="2994" y="976"/>
                  </a:lnTo>
                  <a:lnTo>
                    <a:pt x="2994" y="980"/>
                  </a:lnTo>
                  <a:lnTo>
                    <a:pt x="2996" y="979"/>
                  </a:lnTo>
                  <a:lnTo>
                    <a:pt x="2997" y="983"/>
                  </a:lnTo>
                  <a:lnTo>
                    <a:pt x="2997" y="992"/>
                  </a:lnTo>
                  <a:lnTo>
                    <a:pt x="2995" y="996"/>
                  </a:lnTo>
                  <a:lnTo>
                    <a:pt x="2996" y="997"/>
                  </a:lnTo>
                  <a:lnTo>
                    <a:pt x="2992" y="1001"/>
                  </a:lnTo>
                  <a:lnTo>
                    <a:pt x="2991" y="1011"/>
                  </a:lnTo>
                  <a:lnTo>
                    <a:pt x="2984" y="1016"/>
                  </a:lnTo>
                  <a:lnTo>
                    <a:pt x="2986" y="1020"/>
                  </a:lnTo>
                  <a:lnTo>
                    <a:pt x="2982" y="1025"/>
                  </a:lnTo>
                  <a:lnTo>
                    <a:pt x="2978" y="1032"/>
                  </a:lnTo>
                  <a:lnTo>
                    <a:pt x="2975" y="1033"/>
                  </a:lnTo>
                  <a:lnTo>
                    <a:pt x="2972" y="1033"/>
                  </a:lnTo>
                  <a:lnTo>
                    <a:pt x="2970" y="1037"/>
                  </a:lnTo>
                  <a:lnTo>
                    <a:pt x="2970" y="1045"/>
                  </a:lnTo>
                  <a:lnTo>
                    <a:pt x="2967" y="1051"/>
                  </a:lnTo>
                  <a:lnTo>
                    <a:pt x="2971" y="1059"/>
                  </a:lnTo>
                  <a:lnTo>
                    <a:pt x="2974" y="1061"/>
                  </a:lnTo>
                  <a:lnTo>
                    <a:pt x="2972" y="1064"/>
                  </a:lnTo>
                  <a:lnTo>
                    <a:pt x="2971" y="1067"/>
                  </a:lnTo>
                  <a:lnTo>
                    <a:pt x="2969" y="1069"/>
                  </a:lnTo>
                  <a:lnTo>
                    <a:pt x="2966" y="1074"/>
                  </a:lnTo>
                  <a:lnTo>
                    <a:pt x="2960" y="1078"/>
                  </a:lnTo>
                  <a:lnTo>
                    <a:pt x="2961" y="1083"/>
                  </a:lnTo>
                  <a:lnTo>
                    <a:pt x="2959" y="1084"/>
                  </a:lnTo>
                  <a:lnTo>
                    <a:pt x="2957" y="1091"/>
                  </a:lnTo>
                  <a:lnTo>
                    <a:pt x="2955" y="1096"/>
                  </a:lnTo>
                  <a:lnTo>
                    <a:pt x="2955" y="1099"/>
                  </a:lnTo>
                  <a:lnTo>
                    <a:pt x="2953" y="1100"/>
                  </a:lnTo>
                  <a:lnTo>
                    <a:pt x="2955" y="1103"/>
                  </a:lnTo>
                  <a:lnTo>
                    <a:pt x="2952" y="1113"/>
                  </a:lnTo>
                  <a:lnTo>
                    <a:pt x="2953" y="1117"/>
                  </a:lnTo>
                  <a:lnTo>
                    <a:pt x="2952" y="1119"/>
                  </a:lnTo>
                  <a:lnTo>
                    <a:pt x="2952" y="1121"/>
                  </a:lnTo>
                  <a:lnTo>
                    <a:pt x="2950" y="1125"/>
                  </a:lnTo>
                  <a:lnTo>
                    <a:pt x="2955" y="1126"/>
                  </a:lnTo>
                  <a:lnTo>
                    <a:pt x="2956" y="1125"/>
                  </a:lnTo>
                  <a:lnTo>
                    <a:pt x="2957" y="1126"/>
                  </a:lnTo>
                  <a:lnTo>
                    <a:pt x="2959" y="1129"/>
                  </a:lnTo>
                  <a:lnTo>
                    <a:pt x="2959" y="1132"/>
                  </a:lnTo>
                  <a:lnTo>
                    <a:pt x="2963" y="1136"/>
                  </a:lnTo>
                  <a:lnTo>
                    <a:pt x="2964" y="1145"/>
                  </a:lnTo>
                  <a:lnTo>
                    <a:pt x="2966" y="1148"/>
                  </a:lnTo>
                  <a:lnTo>
                    <a:pt x="2963" y="1154"/>
                  </a:lnTo>
                  <a:lnTo>
                    <a:pt x="2964" y="1158"/>
                  </a:lnTo>
                  <a:lnTo>
                    <a:pt x="2961" y="1162"/>
                  </a:lnTo>
                  <a:lnTo>
                    <a:pt x="2963" y="1166"/>
                  </a:lnTo>
                  <a:lnTo>
                    <a:pt x="2961" y="1167"/>
                  </a:lnTo>
                  <a:lnTo>
                    <a:pt x="2960" y="1171"/>
                  </a:lnTo>
                  <a:lnTo>
                    <a:pt x="2963" y="1181"/>
                  </a:lnTo>
                  <a:lnTo>
                    <a:pt x="2960" y="1184"/>
                  </a:lnTo>
                  <a:lnTo>
                    <a:pt x="2959" y="1184"/>
                  </a:lnTo>
                  <a:lnTo>
                    <a:pt x="2964" y="1194"/>
                  </a:lnTo>
                  <a:lnTo>
                    <a:pt x="2964" y="1198"/>
                  </a:lnTo>
                  <a:lnTo>
                    <a:pt x="2966" y="1203"/>
                  </a:lnTo>
                  <a:lnTo>
                    <a:pt x="2970" y="1207"/>
                  </a:lnTo>
                  <a:lnTo>
                    <a:pt x="2970" y="1212"/>
                  </a:lnTo>
                  <a:lnTo>
                    <a:pt x="2970" y="1216"/>
                  </a:lnTo>
                  <a:lnTo>
                    <a:pt x="2964" y="1225"/>
                  </a:lnTo>
                  <a:lnTo>
                    <a:pt x="2961" y="1232"/>
                  </a:lnTo>
                  <a:lnTo>
                    <a:pt x="2959" y="1235"/>
                  </a:lnTo>
                  <a:lnTo>
                    <a:pt x="2960" y="1242"/>
                  </a:lnTo>
                  <a:lnTo>
                    <a:pt x="2956" y="1246"/>
                  </a:lnTo>
                  <a:lnTo>
                    <a:pt x="2953" y="1250"/>
                  </a:lnTo>
                  <a:lnTo>
                    <a:pt x="2953" y="1252"/>
                  </a:lnTo>
                  <a:lnTo>
                    <a:pt x="2956" y="1261"/>
                  </a:lnTo>
                  <a:lnTo>
                    <a:pt x="2963" y="1260"/>
                  </a:lnTo>
                  <a:lnTo>
                    <a:pt x="2964" y="1265"/>
                  </a:lnTo>
                  <a:lnTo>
                    <a:pt x="2969" y="1267"/>
                  </a:lnTo>
                  <a:lnTo>
                    <a:pt x="2969" y="1273"/>
                  </a:lnTo>
                  <a:lnTo>
                    <a:pt x="2963" y="1278"/>
                  </a:lnTo>
                  <a:lnTo>
                    <a:pt x="2959" y="1287"/>
                  </a:lnTo>
                  <a:lnTo>
                    <a:pt x="2955" y="1291"/>
                  </a:lnTo>
                  <a:lnTo>
                    <a:pt x="2953" y="1297"/>
                  </a:lnTo>
                  <a:lnTo>
                    <a:pt x="2949" y="1299"/>
                  </a:lnTo>
                  <a:lnTo>
                    <a:pt x="2949" y="1304"/>
                  </a:lnTo>
                  <a:lnTo>
                    <a:pt x="2953" y="1306"/>
                  </a:lnTo>
                  <a:lnTo>
                    <a:pt x="2955" y="1310"/>
                  </a:lnTo>
                  <a:lnTo>
                    <a:pt x="2955" y="1314"/>
                  </a:lnTo>
                  <a:lnTo>
                    <a:pt x="2942" y="1327"/>
                  </a:lnTo>
                  <a:lnTo>
                    <a:pt x="2941" y="1335"/>
                  </a:lnTo>
                  <a:lnTo>
                    <a:pt x="2938" y="1336"/>
                  </a:lnTo>
                  <a:lnTo>
                    <a:pt x="2936" y="1341"/>
                  </a:lnTo>
                  <a:lnTo>
                    <a:pt x="2934" y="1345"/>
                  </a:lnTo>
                  <a:lnTo>
                    <a:pt x="2932" y="1349"/>
                  </a:lnTo>
                  <a:lnTo>
                    <a:pt x="2928" y="1357"/>
                  </a:lnTo>
                  <a:lnTo>
                    <a:pt x="2930" y="1358"/>
                  </a:lnTo>
                  <a:lnTo>
                    <a:pt x="2930" y="1364"/>
                  </a:lnTo>
                  <a:lnTo>
                    <a:pt x="2931" y="1367"/>
                  </a:lnTo>
                  <a:lnTo>
                    <a:pt x="2930" y="1370"/>
                  </a:lnTo>
                  <a:lnTo>
                    <a:pt x="2931" y="1375"/>
                  </a:lnTo>
                  <a:lnTo>
                    <a:pt x="2931" y="1379"/>
                  </a:lnTo>
                  <a:lnTo>
                    <a:pt x="2927" y="1381"/>
                  </a:lnTo>
                  <a:lnTo>
                    <a:pt x="2922" y="1390"/>
                  </a:lnTo>
                  <a:lnTo>
                    <a:pt x="2919" y="1394"/>
                  </a:lnTo>
                  <a:lnTo>
                    <a:pt x="2910" y="1399"/>
                  </a:lnTo>
                  <a:lnTo>
                    <a:pt x="2905" y="1406"/>
                  </a:lnTo>
                  <a:lnTo>
                    <a:pt x="2899" y="1406"/>
                  </a:lnTo>
                  <a:lnTo>
                    <a:pt x="2888" y="1419"/>
                  </a:lnTo>
                  <a:lnTo>
                    <a:pt x="2885" y="1420"/>
                  </a:lnTo>
                  <a:lnTo>
                    <a:pt x="2882" y="1429"/>
                  </a:lnTo>
                  <a:lnTo>
                    <a:pt x="2884" y="1435"/>
                  </a:lnTo>
                  <a:lnTo>
                    <a:pt x="2896" y="1443"/>
                  </a:lnTo>
                  <a:lnTo>
                    <a:pt x="2919" y="1468"/>
                  </a:lnTo>
                  <a:lnTo>
                    <a:pt x="2927" y="1471"/>
                  </a:lnTo>
                  <a:lnTo>
                    <a:pt x="2932" y="1469"/>
                  </a:lnTo>
                  <a:lnTo>
                    <a:pt x="2935" y="1471"/>
                  </a:lnTo>
                  <a:lnTo>
                    <a:pt x="2945" y="1474"/>
                  </a:lnTo>
                  <a:lnTo>
                    <a:pt x="2947" y="1477"/>
                  </a:lnTo>
                  <a:lnTo>
                    <a:pt x="2953" y="1474"/>
                  </a:lnTo>
                  <a:lnTo>
                    <a:pt x="2960" y="1477"/>
                  </a:lnTo>
                  <a:lnTo>
                    <a:pt x="2963" y="1478"/>
                  </a:lnTo>
                  <a:lnTo>
                    <a:pt x="2967" y="1482"/>
                  </a:lnTo>
                  <a:lnTo>
                    <a:pt x="2981" y="1484"/>
                  </a:lnTo>
                  <a:lnTo>
                    <a:pt x="2985" y="1488"/>
                  </a:lnTo>
                  <a:lnTo>
                    <a:pt x="2985" y="1493"/>
                  </a:lnTo>
                  <a:lnTo>
                    <a:pt x="2991" y="1493"/>
                  </a:lnTo>
                  <a:lnTo>
                    <a:pt x="2992" y="1497"/>
                  </a:lnTo>
                  <a:lnTo>
                    <a:pt x="2995" y="1501"/>
                  </a:lnTo>
                  <a:lnTo>
                    <a:pt x="3002" y="1501"/>
                  </a:lnTo>
                  <a:lnTo>
                    <a:pt x="3003" y="1501"/>
                  </a:lnTo>
                  <a:lnTo>
                    <a:pt x="3009" y="1503"/>
                  </a:lnTo>
                  <a:lnTo>
                    <a:pt x="3024" y="1510"/>
                  </a:lnTo>
                  <a:lnTo>
                    <a:pt x="3030" y="1509"/>
                  </a:lnTo>
                  <a:lnTo>
                    <a:pt x="3031" y="1510"/>
                  </a:lnTo>
                  <a:lnTo>
                    <a:pt x="3041" y="1510"/>
                  </a:lnTo>
                  <a:lnTo>
                    <a:pt x="3052" y="1506"/>
                  </a:lnTo>
                  <a:lnTo>
                    <a:pt x="3057" y="1497"/>
                  </a:lnTo>
                  <a:lnTo>
                    <a:pt x="3064" y="1493"/>
                  </a:lnTo>
                  <a:lnTo>
                    <a:pt x="3071" y="1491"/>
                  </a:lnTo>
                  <a:lnTo>
                    <a:pt x="3077" y="1493"/>
                  </a:lnTo>
                  <a:lnTo>
                    <a:pt x="3080" y="1491"/>
                  </a:lnTo>
                  <a:lnTo>
                    <a:pt x="3082" y="1488"/>
                  </a:lnTo>
                  <a:lnTo>
                    <a:pt x="3084" y="1488"/>
                  </a:lnTo>
                  <a:lnTo>
                    <a:pt x="3091" y="1490"/>
                  </a:lnTo>
                  <a:lnTo>
                    <a:pt x="3102" y="1493"/>
                  </a:lnTo>
                  <a:lnTo>
                    <a:pt x="3102" y="1496"/>
                  </a:lnTo>
                  <a:lnTo>
                    <a:pt x="3104" y="1496"/>
                  </a:lnTo>
                  <a:lnTo>
                    <a:pt x="3104" y="1497"/>
                  </a:lnTo>
                  <a:lnTo>
                    <a:pt x="3106" y="1501"/>
                  </a:lnTo>
                  <a:lnTo>
                    <a:pt x="3106" y="1503"/>
                  </a:lnTo>
                  <a:lnTo>
                    <a:pt x="3104" y="1503"/>
                  </a:lnTo>
                  <a:lnTo>
                    <a:pt x="3104" y="1504"/>
                  </a:lnTo>
                  <a:lnTo>
                    <a:pt x="3106" y="1510"/>
                  </a:lnTo>
                  <a:lnTo>
                    <a:pt x="3106" y="1514"/>
                  </a:lnTo>
                  <a:lnTo>
                    <a:pt x="3107" y="1514"/>
                  </a:lnTo>
                  <a:lnTo>
                    <a:pt x="3109" y="1514"/>
                  </a:lnTo>
                  <a:lnTo>
                    <a:pt x="3107" y="1523"/>
                  </a:lnTo>
                  <a:lnTo>
                    <a:pt x="3110" y="1528"/>
                  </a:lnTo>
                  <a:lnTo>
                    <a:pt x="3107" y="1535"/>
                  </a:lnTo>
                  <a:lnTo>
                    <a:pt x="3107" y="1536"/>
                  </a:lnTo>
                  <a:lnTo>
                    <a:pt x="3105" y="1540"/>
                  </a:lnTo>
                  <a:lnTo>
                    <a:pt x="3104" y="1541"/>
                  </a:lnTo>
                  <a:lnTo>
                    <a:pt x="3099" y="1541"/>
                  </a:lnTo>
                  <a:lnTo>
                    <a:pt x="3101" y="1546"/>
                  </a:lnTo>
                  <a:lnTo>
                    <a:pt x="3101" y="1549"/>
                  </a:lnTo>
                  <a:lnTo>
                    <a:pt x="3099" y="1549"/>
                  </a:lnTo>
                  <a:lnTo>
                    <a:pt x="3099" y="1553"/>
                  </a:lnTo>
                  <a:lnTo>
                    <a:pt x="3096" y="1555"/>
                  </a:lnTo>
                  <a:lnTo>
                    <a:pt x="3096" y="1558"/>
                  </a:lnTo>
                  <a:lnTo>
                    <a:pt x="3094" y="1559"/>
                  </a:lnTo>
                  <a:lnTo>
                    <a:pt x="3095" y="1563"/>
                  </a:lnTo>
                  <a:lnTo>
                    <a:pt x="3092" y="1564"/>
                  </a:lnTo>
                  <a:lnTo>
                    <a:pt x="3092" y="1572"/>
                  </a:lnTo>
                  <a:lnTo>
                    <a:pt x="3094" y="1576"/>
                  </a:lnTo>
                  <a:lnTo>
                    <a:pt x="3094" y="1577"/>
                  </a:lnTo>
                  <a:lnTo>
                    <a:pt x="3091" y="1581"/>
                  </a:lnTo>
                  <a:lnTo>
                    <a:pt x="3090" y="1584"/>
                  </a:lnTo>
                  <a:lnTo>
                    <a:pt x="3090" y="1585"/>
                  </a:lnTo>
                  <a:lnTo>
                    <a:pt x="3090" y="1586"/>
                  </a:lnTo>
                  <a:lnTo>
                    <a:pt x="3087" y="1586"/>
                  </a:lnTo>
                  <a:lnTo>
                    <a:pt x="3087" y="1590"/>
                  </a:lnTo>
                  <a:lnTo>
                    <a:pt x="3084" y="1590"/>
                  </a:lnTo>
                  <a:lnTo>
                    <a:pt x="3085" y="1594"/>
                  </a:lnTo>
                  <a:lnTo>
                    <a:pt x="3084" y="1600"/>
                  </a:lnTo>
                  <a:lnTo>
                    <a:pt x="3082" y="1600"/>
                  </a:lnTo>
                  <a:lnTo>
                    <a:pt x="3078" y="1600"/>
                  </a:lnTo>
                  <a:lnTo>
                    <a:pt x="3078" y="1603"/>
                  </a:lnTo>
                  <a:lnTo>
                    <a:pt x="3077" y="1603"/>
                  </a:lnTo>
                  <a:lnTo>
                    <a:pt x="3078" y="1608"/>
                  </a:lnTo>
                  <a:lnTo>
                    <a:pt x="3076" y="1608"/>
                  </a:lnTo>
                  <a:lnTo>
                    <a:pt x="3074" y="1613"/>
                  </a:lnTo>
                  <a:lnTo>
                    <a:pt x="3074" y="1617"/>
                  </a:lnTo>
                  <a:lnTo>
                    <a:pt x="3071" y="1621"/>
                  </a:lnTo>
                  <a:lnTo>
                    <a:pt x="3073" y="1622"/>
                  </a:lnTo>
                  <a:lnTo>
                    <a:pt x="3077" y="1621"/>
                  </a:lnTo>
                  <a:lnTo>
                    <a:pt x="3078" y="1622"/>
                  </a:lnTo>
                  <a:lnTo>
                    <a:pt x="3074" y="1625"/>
                  </a:lnTo>
                  <a:lnTo>
                    <a:pt x="3076" y="1630"/>
                  </a:lnTo>
                  <a:lnTo>
                    <a:pt x="3073" y="1634"/>
                  </a:lnTo>
                  <a:lnTo>
                    <a:pt x="3074" y="1635"/>
                  </a:lnTo>
                  <a:lnTo>
                    <a:pt x="3078" y="1635"/>
                  </a:lnTo>
                  <a:lnTo>
                    <a:pt x="3078" y="1639"/>
                  </a:lnTo>
                  <a:lnTo>
                    <a:pt x="3081" y="1639"/>
                  </a:lnTo>
                  <a:lnTo>
                    <a:pt x="3078" y="1642"/>
                  </a:lnTo>
                  <a:lnTo>
                    <a:pt x="3077" y="1642"/>
                  </a:lnTo>
                  <a:lnTo>
                    <a:pt x="3076" y="1643"/>
                  </a:lnTo>
                  <a:lnTo>
                    <a:pt x="3071" y="1648"/>
                  </a:lnTo>
                  <a:lnTo>
                    <a:pt x="3069" y="1652"/>
                  </a:lnTo>
                  <a:lnTo>
                    <a:pt x="3064" y="1655"/>
                  </a:lnTo>
                  <a:lnTo>
                    <a:pt x="3063" y="1658"/>
                  </a:lnTo>
                  <a:lnTo>
                    <a:pt x="3060" y="1660"/>
                  </a:lnTo>
                  <a:lnTo>
                    <a:pt x="3052" y="1670"/>
                  </a:lnTo>
                  <a:lnTo>
                    <a:pt x="3050" y="1671"/>
                  </a:lnTo>
                  <a:lnTo>
                    <a:pt x="3052" y="1677"/>
                  </a:lnTo>
                  <a:lnTo>
                    <a:pt x="3049" y="1678"/>
                  </a:lnTo>
                  <a:lnTo>
                    <a:pt x="3042" y="1684"/>
                  </a:lnTo>
                  <a:lnTo>
                    <a:pt x="3031" y="1684"/>
                  </a:lnTo>
                  <a:lnTo>
                    <a:pt x="3019" y="1687"/>
                  </a:lnTo>
                  <a:lnTo>
                    <a:pt x="3013" y="1684"/>
                  </a:lnTo>
                  <a:lnTo>
                    <a:pt x="3009" y="1684"/>
                  </a:lnTo>
                  <a:lnTo>
                    <a:pt x="3006" y="1692"/>
                  </a:lnTo>
                  <a:lnTo>
                    <a:pt x="3006" y="1696"/>
                  </a:lnTo>
                  <a:lnTo>
                    <a:pt x="3002" y="1696"/>
                  </a:lnTo>
                  <a:lnTo>
                    <a:pt x="2997" y="1701"/>
                  </a:lnTo>
                  <a:lnTo>
                    <a:pt x="2981" y="1710"/>
                  </a:lnTo>
                  <a:lnTo>
                    <a:pt x="2972" y="1720"/>
                  </a:lnTo>
                  <a:lnTo>
                    <a:pt x="2967" y="1723"/>
                  </a:lnTo>
                  <a:lnTo>
                    <a:pt x="2966" y="1729"/>
                  </a:lnTo>
                  <a:lnTo>
                    <a:pt x="2961" y="1733"/>
                  </a:lnTo>
                  <a:lnTo>
                    <a:pt x="2982" y="1806"/>
                  </a:lnTo>
                  <a:lnTo>
                    <a:pt x="2995" y="1800"/>
                  </a:lnTo>
                  <a:lnTo>
                    <a:pt x="3016" y="1795"/>
                  </a:lnTo>
                  <a:lnTo>
                    <a:pt x="3017" y="1799"/>
                  </a:lnTo>
                  <a:lnTo>
                    <a:pt x="3020" y="1806"/>
                  </a:lnTo>
                  <a:lnTo>
                    <a:pt x="3021" y="1812"/>
                  </a:lnTo>
                  <a:lnTo>
                    <a:pt x="3024" y="1812"/>
                  </a:lnTo>
                  <a:lnTo>
                    <a:pt x="3035" y="1817"/>
                  </a:lnTo>
                  <a:lnTo>
                    <a:pt x="3039" y="1821"/>
                  </a:lnTo>
                  <a:lnTo>
                    <a:pt x="3041" y="1826"/>
                  </a:lnTo>
                  <a:lnTo>
                    <a:pt x="3041" y="1830"/>
                  </a:lnTo>
                  <a:lnTo>
                    <a:pt x="3048" y="1839"/>
                  </a:lnTo>
                  <a:lnTo>
                    <a:pt x="3046" y="1856"/>
                  </a:lnTo>
                  <a:lnTo>
                    <a:pt x="3049" y="1874"/>
                  </a:lnTo>
                  <a:lnTo>
                    <a:pt x="3052" y="1875"/>
                  </a:lnTo>
                  <a:lnTo>
                    <a:pt x="3053" y="1878"/>
                  </a:lnTo>
                  <a:lnTo>
                    <a:pt x="3049" y="1905"/>
                  </a:lnTo>
                  <a:lnTo>
                    <a:pt x="3050" y="1911"/>
                  </a:lnTo>
                  <a:lnTo>
                    <a:pt x="3049" y="1918"/>
                  </a:lnTo>
                  <a:lnTo>
                    <a:pt x="3053" y="1920"/>
                  </a:lnTo>
                  <a:lnTo>
                    <a:pt x="3055" y="1924"/>
                  </a:lnTo>
                  <a:lnTo>
                    <a:pt x="3057" y="1929"/>
                  </a:lnTo>
                  <a:lnTo>
                    <a:pt x="3057" y="1933"/>
                  </a:lnTo>
                  <a:lnTo>
                    <a:pt x="3059" y="1937"/>
                  </a:lnTo>
                  <a:lnTo>
                    <a:pt x="3063" y="1937"/>
                  </a:lnTo>
                  <a:lnTo>
                    <a:pt x="3070" y="1941"/>
                  </a:lnTo>
                  <a:lnTo>
                    <a:pt x="3071" y="1945"/>
                  </a:lnTo>
                  <a:lnTo>
                    <a:pt x="3069" y="1950"/>
                  </a:lnTo>
                  <a:lnTo>
                    <a:pt x="3067" y="1951"/>
                  </a:lnTo>
                  <a:lnTo>
                    <a:pt x="3069" y="1962"/>
                  </a:lnTo>
                  <a:lnTo>
                    <a:pt x="3066" y="1968"/>
                  </a:lnTo>
                  <a:lnTo>
                    <a:pt x="3066" y="1978"/>
                  </a:lnTo>
                  <a:lnTo>
                    <a:pt x="3063" y="1981"/>
                  </a:lnTo>
                  <a:lnTo>
                    <a:pt x="3063" y="1991"/>
                  </a:lnTo>
                  <a:lnTo>
                    <a:pt x="3062" y="1998"/>
                  </a:lnTo>
                  <a:lnTo>
                    <a:pt x="3062" y="2003"/>
                  </a:lnTo>
                  <a:lnTo>
                    <a:pt x="3067" y="2004"/>
                  </a:lnTo>
                  <a:lnTo>
                    <a:pt x="3069" y="2008"/>
                  </a:lnTo>
                  <a:lnTo>
                    <a:pt x="3067" y="2020"/>
                  </a:lnTo>
                  <a:lnTo>
                    <a:pt x="3071" y="2017"/>
                  </a:lnTo>
                  <a:lnTo>
                    <a:pt x="3078" y="2023"/>
                  </a:lnTo>
                  <a:lnTo>
                    <a:pt x="3078" y="2025"/>
                  </a:lnTo>
                  <a:lnTo>
                    <a:pt x="3078" y="2030"/>
                  </a:lnTo>
                  <a:lnTo>
                    <a:pt x="3085" y="2036"/>
                  </a:lnTo>
                  <a:lnTo>
                    <a:pt x="3085" y="2038"/>
                  </a:lnTo>
                  <a:lnTo>
                    <a:pt x="3088" y="2040"/>
                  </a:lnTo>
                  <a:lnTo>
                    <a:pt x="3090" y="2042"/>
                  </a:lnTo>
                  <a:lnTo>
                    <a:pt x="3095" y="2045"/>
                  </a:lnTo>
                  <a:lnTo>
                    <a:pt x="3094" y="2055"/>
                  </a:lnTo>
                  <a:lnTo>
                    <a:pt x="3094" y="2058"/>
                  </a:lnTo>
                  <a:lnTo>
                    <a:pt x="3092" y="2062"/>
                  </a:lnTo>
                  <a:lnTo>
                    <a:pt x="3094" y="2065"/>
                  </a:lnTo>
                  <a:lnTo>
                    <a:pt x="3098" y="2066"/>
                  </a:lnTo>
                  <a:lnTo>
                    <a:pt x="3099" y="2068"/>
                  </a:lnTo>
                  <a:lnTo>
                    <a:pt x="3105" y="2070"/>
                  </a:lnTo>
                  <a:lnTo>
                    <a:pt x="3104" y="2070"/>
                  </a:lnTo>
                  <a:lnTo>
                    <a:pt x="3102" y="2074"/>
                  </a:lnTo>
                  <a:lnTo>
                    <a:pt x="3102" y="2075"/>
                  </a:lnTo>
                  <a:lnTo>
                    <a:pt x="3105" y="2078"/>
                  </a:lnTo>
                  <a:lnTo>
                    <a:pt x="3104" y="2080"/>
                  </a:lnTo>
                  <a:lnTo>
                    <a:pt x="3107" y="2085"/>
                  </a:lnTo>
                  <a:lnTo>
                    <a:pt x="3115" y="2092"/>
                  </a:lnTo>
                  <a:lnTo>
                    <a:pt x="3117" y="2092"/>
                  </a:lnTo>
                  <a:lnTo>
                    <a:pt x="3119" y="2098"/>
                  </a:lnTo>
                  <a:lnTo>
                    <a:pt x="3126" y="2103"/>
                  </a:lnTo>
                  <a:lnTo>
                    <a:pt x="3127" y="2111"/>
                  </a:lnTo>
                  <a:lnTo>
                    <a:pt x="3134" y="2116"/>
                  </a:lnTo>
                  <a:lnTo>
                    <a:pt x="3134" y="2120"/>
                  </a:lnTo>
                  <a:lnTo>
                    <a:pt x="3135" y="2127"/>
                  </a:lnTo>
                  <a:lnTo>
                    <a:pt x="3140" y="2128"/>
                  </a:lnTo>
                  <a:lnTo>
                    <a:pt x="3141" y="2133"/>
                  </a:lnTo>
                  <a:lnTo>
                    <a:pt x="3142" y="2136"/>
                  </a:lnTo>
                  <a:lnTo>
                    <a:pt x="3141" y="2141"/>
                  </a:lnTo>
                  <a:lnTo>
                    <a:pt x="3140" y="2142"/>
                  </a:lnTo>
                  <a:lnTo>
                    <a:pt x="3141" y="2149"/>
                  </a:lnTo>
                  <a:lnTo>
                    <a:pt x="3141" y="2152"/>
                  </a:lnTo>
                  <a:lnTo>
                    <a:pt x="3146" y="2155"/>
                  </a:lnTo>
                  <a:lnTo>
                    <a:pt x="3149" y="2154"/>
                  </a:lnTo>
                  <a:lnTo>
                    <a:pt x="3156" y="2160"/>
                  </a:lnTo>
                  <a:lnTo>
                    <a:pt x="3157" y="2169"/>
                  </a:lnTo>
                  <a:lnTo>
                    <a:pt x="3155" y="2169"/>
                  </a:lnTo>
                  <a:lnTo>
                    <a:pt x="3155" y="2173"/>
                  </a:lnTo>
                  <a:lnTo>
                    <a:pt x="3159" y="2173"/>
                  </a:lnTo>
                  <a:lnTo>
                    <a:pt x="3162" y="2178"/>
                  </a:lnTo>
                  <a:lnTo>
                    <a:pt x="3163" y="2181"/>
                  </a:lnTo>
                  <a:lnTo>
                    <a:pt x="3163" y="2182"/>
                  </a:lnTo>
                  <a:lnTo>
                    <a:pt x="3166" y="2185"/>
                  </a:lnTo>
                  <a:lnTo>
                    <a:pt x="3163" y="2186"/>
                  </a:lnTo>
                  <a:lnTo>
                    <a:pt x="3157" y="2199"/>
                  </a:lnTo>
                  <a:lnTo>
                    <a:pt x="3157" y="2200"/>
                  </a:lnTo>
                  <a:lnTo>
                    <a:pt x="3162" y="2207"/>
                  </a:lnTo>
                  <a:lnTo>
                    <a:pt x="3167" y="2209"/>
                  </a:lnTo>
                  <a:lnTo>
                    <a:pt x="3169" y="2214"/>
                  </a:lnTo>
                  <a:lnTo>
                    <a:pt x="3179" y="2222"/>
                  </a:lnTo>
                  <a:lnTo>
                    <a:pt x="3179" y="2223"/>
                  </a:lnTo>
                  <a:lnTo>
                    <a:pt x="3180" y="2227"/>
                  </a:lnTo>
                  <a:lnTo>
                    <a:pt x="3185" y="2234"/>
                  </a:lnTo>
                  <a:lnTo>
                    <a:pt x="3190" y="2234"/>
                  </a:lnTo>
                  <a:lnTo>
                    <a:pt x="3190" y="2236"/>
                  </a:lnTo>
                  <a:lnTo>
                    <a:pt x="3192" y="2240"/>
                  </a:lnTo>
                  <a:lnTo>
                    <a:pt x="3195" y="2244"/>
                  </a:lnTo>
                  <a:lnTo>
                    <a:pt x="3199" y="2242"/>
                  </a:lnTo>
                  <a:lnTo>
                    <a:pt x="3201" y="2244"/>
                  </a:lnTo>
                  <a:lnTo>
                    <a:pt x="3198" y="2245"/>
                  </a:lnTo>
                  <a:lnTo>
                    <a:pt x="3202" y="2249"/>
                  </a:lnTo>
                  <a:lnTo>
                    <a:pt x="3202" y="2253"/>
                  </a:lnTo>
                  <a:lnTo>
                    <a:pt x="3205" y="2253"/>
                  </a:lnTo>
                  <a:lnTo>
                    <a:pt x="3210" y="2249"/>
                  </a:lnTo>
                  <a:lnTo>
                    <a:pt x="3212" y="2252"/>
                  </a:lnTo>
                  <a:lnTo>
                    <a:pt x="3210" y="2259"/>
                  </a:lnTo>
                  <a:lnTo>
                    <a:pt x="3223" y="2276"/>
                  </a:lnTo>
                  <a:lnTo>
                    <a:pt x="3223" y="2285"/>
                  </a:lnTo>
                  <a:lnTo>
                    <a:pt x="3224" y="2289"/>
                  </a:lnTo>
                  <a:lnTo>
                    <a:pt x="3230" y="2291"/>
                  </a:lnTo>
                  <a:lnTo>
                    <a:pt x="3238" y="2289"/>
                  </a:lnTo>
                  <a:lnTo>
                    <a:pt x="3240" y="2289"/>
                  </a:lnTo>
                  <a:lnTo>
                    <a:pt x="3245" y="2294"/>
                  </a:lnTo>
                  <a:lnTo>
                    <a:pt x="3248" y="2301"/>
                  </a:lnTo>
                  <a:lnTo>
                    <a:pt x="3249" y="2303"/>
                  </a:lnTo>
                  <a:lnTo>
                    <a:pt x="3252" y="2306"/>
                  </a:lnTo>
                  <a:lnTo>
                    <a:pt x="3256" y="2306"/>
                  </a:lnTo>
                  <a:lnTo>
                    <a:pt x="3240" y="2315"/>
                  </a:lnTo>
                  <a:lnTo>
                    <a:pt x="3231" y="2316"/>
                  </a:lnTo>
                  <a:lnTo>
                    <a:pt x="3226" y="2316"/>
                  </a:lnTo>
                  <a:lnTo>
                    <a:pt x="3223" y="2319"/>
                  </a:lnTo>
                  <a:lnTo>
                    <a:pt x="3217" y="2320"/>
                  </a:lnTo>
                  <a:lnTo>
                    <a:pt x="3213" y="2324"/>
                  </a:lnTo>
                  <a:lnTo>
                    <a:pt x="3212" y="2329"/>
                  </a:lnTo>
                  <a:lnTo>
                    <a:pt x="3207" y="2334"/>
                  </a:lnTo>
                  <a:lnTo>
                    <a:pt x="3202" y="2334"/>
                  </a:lnTo>
                  <a:lnTo>
                    <a:pt x="3184" y="2323"/>
                  </a:lnTo>
                  <a:lnTo>
                    <a:pt x="3180" y="2323"/>
                  </a:lnTo>
                  <a:lnTo>
                    <a:pt x="3171" y="2329"/>
                  </a:lnTo>
                  <a:lnTo>
                    <a:pt x="3162" y="2329"/>
                  </a:lnTo>
                  <a:lnTo>
                    <a:pt x="3159" y="2329"/>
                  </a:lnTo>
                  <a:lnTo>
                    <a:pt x="3156" y="2334"/>
                  </a:lnTo>
                  <a:lnTo>
                    <a:pt x="3152" y="2338"/>
                  </a:lnTo>
                  <a:lnTo>
                    <a:pt x="3146" y="2336"/>
                  </a:lnTo>
                  <a:lnTo>
                    <a:pt x="3144" y="2338"/>
                  </a:lnTo>
                  <a:lnTo>
                    <a:pt x="3135" y="2339"/>
                  </a:lnTo>
                  <a:lnTo>
                    <a:pt x="3129" y="2343"/>
                  </a:lnTo>
                  <a:lnTo>
                    <a:pt x="3120" y="2355"/>
                  </a:lnTo>
                  <a:lnTo>
                    <a:pt x="3115" y="2355"/>
                  </a:lnTo>
                  <a:lnTo>
                    <a:pt x="3113" y="2356"/>
                  </a:lnTo>
                  <a:lnTo>
                    <a:pt x="3107" y="2361"/>
                  </a:lnTo>
                  <a:lnTo>
                    <a:pt x="3106" y="2365"/>
                  </a:lnTo>
                  <a:lnTo>
                    <a:pt x="3096" y="2374"/>
                  </a:lnTo>
                  <a:lnTo>
                    <a:pt x="3090" y="2385"/>
                  </a:lnTo>
                  <a:lnTo>
                    <a:pt x="3084" y="2388"/>
                  </a:lnTo>
                  <a:lnTo>
                    <a:pt x="3080" y="2390"/>
                  </a:lnTo>
                  <a:lnTo>
                    <a:pt x="3060" y="2391"/>
                  </a:lnTo>
                  <a:lnTo>
                    <a:pt x="3052" y="2395"/>
                  </a:lnTo>
                  <a:lnTo>
                    <a:pt x="3041" y="2403"/>
                  </a:lnTo>
                  <a:lnTo>
                    <a:pt x="3032" y="2414"/>
                  </a:lnTo>
                  <a:lnTo>
                    <a:pt x="3024" y="2413"/>
                  </a:lnTo>
                  <a:lnTo>
                    <a:pt x="3020" y="2409"/>
                  </a:lnTo>
                  <a:lnTo>
                    <a:pt x="3013" y="2405"/>
                  </a:lnTo>
                  <a:lnTo>
                    <a:pt x="3011" y="2409"/>
                  </a:lnTo>
                  <a:lnTo>
                    <a:pt x="3003" y="2414"/>
                  </a:lnTo>
                  <a:lnTo>
                    <a:pt x="2995" y="2416"/>
                  </a:lnTo>
                  <a:lnTo>
                    <a:pt x="2988" y="2414"/>
                  </a:lnTo>
                  <a:lnTo>
                    <a:pt x="2984" y="2409"/>
                  </a:lnTo>
                  <a:lnTo>
                    <a:pt x="2974" y="2409"/>
                  </a:lnTo>
                  <a:lnTo>
                    <a:pt x="2966" y="2407"/>
                  </a:lnTo>
                  <a:lnTo>
                    <a:pt x="2961" y="2405"/>
                  </a:lnTo>
                  <a:lnTo>
                    <a:pt x="2959" y="2405"/>
                  </a:lnTo>
                  <a:lnTo>
                    <a:pt x="2950" y="2405"/>
                  </a:lnTo>
                  <a:lnTo>
                    <a:pt x="2947" y="2405"/>
                  </a:lnTo>
                  <a:lnTo>
                    <a:pt x="2939" y="2410"/>
                  </a:lnTo>
                  <a:lnTo>
                    <a:pt x="2927" y="2418"/>
                  </a:lnTo>
                  <a:lnTo>
                    <a:pt x="2910" y="2427"/>
                  </a:lnTo>
                  <a:lnTo>
                    <a:pt x="2906" y="2432"/>
                  </a:lnTo>
                  <a:lnTo>
                    <a:pt x="2906" y="2436"/>
                  </a:lnTo>
                  <a:lnTo>
                    <a:pt x="2899" y="2442"/>
                  </a:lnTo>
                  <a:lnTo>
                    <a:pt x="2894" y="2448"/>
                  </a:lnTo>
                  <a:lnTo>
                    <a:pt x="2888" y="2453"/>
                  </a:lnTo>
                  <a:lnTo>
                    <a:pt x="2881" y="2456"/>
                  </a:lnTo>
                  <a:lnTo>
                    <a:pt x="2878" y="2459"/>
                  </a:lnTo>
                  <a:lnTo>
                    <a:pt x="2874" y="2459"/>
                  </a:lnTo>
                  <a:lnTo>
                    <a:pt x="2866" y="2455"/>
                  </a:lnTo>
                  <a:lnTo>
                    <a:pt x="2853" y="2443"/>
                  </a:lnTo>
                  <a:lnTo>
                    <a:pt x="2846" y="2432"/>
                  </a:lnTo>
                  <a:lnTo>
                    <a:pt x="2834" y="2427"/>
                  </a:lnTo>
                  <a:lnTo>
                    <a:pt x="2835" y="2422"/>
                  </a:lnTo>
                  <a:lnTo>
                    <a:pt x="2831" y="2416"/>
                  </a:lnTo>
                  <a:lnTo>
                    <a:pt x="2817" y="2403"/>
                  </a:lnTo>
                  <a:lnTo>
                    <a:pt x="2810" y="2405"/>
                  </a:lnTo>
                  <a:lnTo>
                    <a:pt x="2800" y="2409"/>
                  </a:lnTo>
                  <a:lnTo>
                    <a:pt x="2788" y="2405"/>
                  </a:lnTo>
                  <a:lnTo>
                    <a:pt x="2781" y="2405"/>
                  </a:lnTo>
                  <a:lnTo>
                    <a:pt x="2774" y="2403"/>
                  </a:lnTo>
                  <a:lnTo>
                    <a:pt x="2771" y="2401"/>
                  </a:lnTo>
                  <a:lnTo>
                    <a:pt x="2764" y="2401"/>
                  </a:lnTo>
                  <a:lnTo>
                    <a:pt x="2760" y="2405"/>
                  </a:lnTo>
                  <a:lnTo>
                    <a:pt x="2758" y="2410"/>
                  </a:lnTo>
                  <a:lnTo>
                    <a:pt x="2754" y="2416"/>
                  </a:lnTo>
                  <a:lnTo>
                    <a:pt x="2754" y="2418"/>
                  </a:lnTo>
                  <a:lnTo>
                    <a:pt x="2749" y="2423"/>
                  </a:lnTo>
                  <a:lnTo>
                    <a:pt x="2742" y="2423"/>
                  </a:lnTo>
                  <a:lnTo>
                    <a:pt x="2737" y="2430"/>
                  </a:lnTo>
                  <a:lnTo>
                    <a:pt x="2731" y="2430"/>
                  </a:lnTo>
                  <a:lnTo>
                    <a:pt x="2726" y="2432"/>
                  </a:lnTo>
                  <a:lnTo>
                    <a:pt x="2725" y="2436"/>
                  </a:lnTo>
                  <a:lnTo>
                    <a:pt x="2717" y="2444"/>
                  </a:lnTo>
                  <a:lnTo>
                    <a:pt x="2708" y="2444"/>
                  </a:lnTo>
                  <a:lnTo>
                    <a:pt x="2703" y="2445"/>
                  </a:lnTo>
                  <a:lnTo>
                    <a:pt x="2701" y="2444"/>
                  </a:lnTo>
                  <a:lnTo>
                    <a:pt x="2690" y="2427"/>
                  </a:lnTo>
                  <a:lnTo>
                    <a:pt x="2686" y="2423"/>
                  </a:lnTo>
                  <a:lnTo>
                    <a:pt x="2683" y="2423"/>
                  </a:lnTo>
                  <a:lnTo>
                    <a:pt x="2671" y="2423"/>
                  </a:lnTo>
                  <a:lnTo>
                    <a:pt x="2661" y="2427"/>
                  </a:lnTo>
                  <a:lnTo>
                    <a:pt x="2658" y="2427"/>
                  </a:lnTo>
                  <a:lnTo>
                    <a:pt x="2654" y="2427"/>
                  </a:lnTo>
                  <a:lnTo>
                    <a:pt x="2653" y="2431"/>
                  </a:lnTo>
                  <a:lnTo>
                    <a:pt x="2645" y="2436"/>
                  </a:lnTo>
                  <a:lnTo>
                    <a:pt x="2639" y="2436"/>
                  </a:lnTo>
                  <a:lnTo>
                    <a:pt x="2633" y="2435"/>
                  </a:lnTo>
                  <a:lnTo>
                    <a:pt x="2625" y="2432"/>
                  </a:lnTo>
                  <a:lnTo>
                    <a:pt x="2617" y="2436"/>
                  </a:lnTo>
                  <a:lnTo>
                    <a:pt x="2614" y="2440"/>
                  </a:lnTo>
                  <a:lnTo>
                    <a:pt x="2615" y="2445"/>
                  </a:lnTo>
                  <a:lnTo>
                    <a:pt x="2614" y="2450"/>
                  </a:lnTo>
                  <a:lnTo>
                    <a:pt x="2615" y="2453"/>
                  </a:lnTo>
                  <a:lnTo>
                    <a:pt x="2620" y="2461"/>
                  </a:lnTo>
                  <a:lnTo>
                    <a:pt x="2620" y="2468"/>
                  </a:lnTo>
                  <a:lnTo>
                    <a:pt x="2625" y="2478"/>
                  </a:lnTo>
                  <a:lnTo>
                    <a:pt x="2625" y="2481"/>
                  </a:lnTo>
                  <a:lnTo>
                    <a:pt x="2623" y="2485"/>
                  </a:lnTo>
                  <a:lnTo>
                    <a:pt x="2617" y="2488"/>
                  </a:lnTo>
                  <a:lnTo>
                    <a:pt x="2606" y="2497"/>
                  </a:lnTo>
                  <a:lnTo>
                    <a:pt x="2598" y="2503"/>
                  </a:lnTo>
                  <a:lnTo>
                    <a:pt x="2595" y="2503"/>
                  </a:lnTo>
                  <a:lnTo>
                    <a:pt x="2592" y="2506"/>
                  </a:lnTo>
                  <a:lnTo>
                    <a:pt x="2592" y="2509"/>
                  </a:lnTo>
                  <a:lnTo>
                    <a:pt x="2585" y="2515"/>
                  </a:lnTo>
                  <a:lnTo>
                    <a:pt x="2585" y="2519"/>
                  </a:lnTo>
                  <a:lnTo>
                    <a:pt x="2585" y="2520"/>
                  </a:lnTo>
                  <a:lnTo>
                    <a:pt x="2579" y="2520"/>
                  </a:lnTo>
                  <a:lnTo>
                    <a:pt x="2575" y="2526"/>
                  </a:lnTo>
                  <a:lnTo>
                    <a:pt x="2571" y="2527"/>
                  </a:lnTo>
                  <a:lnTo>
                    <a:pt x="2562" y="2526"/>
                  </a:lnTo>
                  <a:lnTo>
                    <a:pt x="2558" y="2525"/>
                  </a:lnTo>
                  <a:lnTo>
                    <a:pt x="2554" y="2519"/>
                  </a:lnTo>
                  <a:lnTo>
                    <a:pt x="2548" y="2515"/>
                  </a:lnTo>
                  <a:lnTo>
                    <a:pt x="2539" y="2512"/>
                  </a:lnTo>
                  <a:lnTo>
                    <a:pt x="2529" y="2512"/>
                  </a:lnTo>
                  <a:lnTo>
                    <a:pt x="2525" y="2510"/>
                  </a:lnTo>
                  <a:lnTo>
                    <a:pt x="2519" y="2512"/>
                  </a:lnTo>
                  <a:lnTo>
                    <a:pt x="2517" y="2517"/>
                  </a:lnTo>
                  <a:lnTo>
                    <a:pt x="2512" y="2517"/>
                  </a:lnTo>
                  <a:lnTo>
                    <a:pt x="2511" y="2520"/>
                  </a:lnTo>
                  <a:lnTo>
                    <a:pt x="2510" y="2527"/>
                  </a:lnTo>
                  <a:lnTo>
                    <a:pt x="2507" y="2530"/>
                  </a:lnTo>
                  <a:lnTo>
                    <a:pt x="2507" y="2537"/>
                  </a:lnTo>
                  <a:lnTo>
                    <a:pt x="2497" y="2542"/>
                  </a:lnTo>
                  <a:lnTo>
                    <a:pt x="2485" y="2547"/>
                  </a:lnTo>
                  <a:lnTo>
                    <a:pt x="2477" y="2552"/>
                  </a:lnTo>
                  <a:lnTo>
                    <a:pt x="2466" y="2563"/>
                  </a:lnTo>
                  <a:lnTo>
                    <a:pt x="2466" y="2565"/>
                  </a:lnTo>
                  <a:lnTo>
                    <a:pt x="2468" y="2569"/>
                  </a:lnTo>
                  <a:lnTo>
                    <a:pt x="2465" y="2579"/>
                  </a:lnTo>
                  <a:lnTo>
                    <a:pt x="2465" y="2587"/>
                  </a:lnTo>
                  <a:lnTo>
                    <a:pt x="2461" y="2587"/>
                  </a:lnTo>
                  <a:lnTo>
                    <a:pt x="2454" y="2592"/>
                  </a:lnTo>
                  <a:lnTo>
                    <a:pt x="2447" y="2592"/>
                  </a:lnTo>
                  <a:lnTo>
                    <a:pt x="2446" y="2596"/>
                  </a:lnTo>
                  <a:lnTo>
                    <a:pt x="2440" y="2600"/>
                  </a:lnTo>
                  <a:lnTo>
                    <a:pt x="2436" y="2605"/>
                  </a:lnTo>
                  <a:lnTo>
                    <a:pt x="2427" y="2610"/>
                  </a:lnTo>
                  <a:lnTo>
                    <a:pt x="2423" y="2619"/>
                  </a:lnTo>
                  <a:lnTo>
                    <a:pt x="2421" y="2622"/>
                  </a:lnTo>
                  <a:lnTo>
                    <a:pt x="2412" y="2625"/>
                  </a:lnTo>
                  <a:lnTo>
                    <a:pt x="2407" y="2630"/>
                  </a:lnTo>
                  <a:lnTo>
                    <a:pt x="2401" y="2632"/>
                  </a:lnTo>
                  <a:lnTo>
                    <a:pt x="2400" y="2635"/>
                  </a:lnTo>
                  <a:lnTo>
                    <a:pt x="2402" y="2637"/>
                  </a:lnTo>
                  <a:lnTo>
                    <a:pt x="2404" y="2641"/>
                  </a:lnTo>
                  <a:lnTo>
                    <a:pt x="2400" y="2646"/>
                  </a:lnTo>
                  <a:lnTo>
                    <a:pt x="2387" y="2654"/>
                  </a:lnTo>
                  <a:lnTo>
                    <a:pt x="2382" y="2655"/>
                  </a:lnTo>
                  <a:lnTo>
                    <a:pt x="2377" y="2658"/>
                  </a:lnTo>
                  <a:lnTo>
                    <a:pt x="2363" y="2663"/>
                  </a:lnTo>
                  <a:lnTo>
                    <a:pt x="2352" y="2668"/>
                  </a:lnTo>
                  <a:lnTo>
                    <a:pt x="2344" y="2669"/>
                  </a:lnTo>
                  <a:lnTo>
                    <a:pt x="2336" y="2675"/>
                  </a:lnTo>
                  <a:lnTo>
                    <a:pt x="2332" y="2680"/>
                  </a:lnTo>
                  <a:lnTo>
                    <a:pt x="2329" y="2680"/>
                  </a:lnTo>
                  <a:lnTo>
                    <a:pt x="2326" y="2681"/>
                  </a:lnTo>
                  <a:lnTo>
                    <a:pt x="2319" y="2681"/>
                  </a:lnTo>
                  <a:lnTo>
                    <a:pt x="2318" y="2689"/>
                  </a:lnTo>
                  <a:lnTo>
                    <a:pt x="2315" y="2692"/>
                  </a:lnTo>
                  <a:lnTo>
                    <a:pt x="2307" y="2689"/>
                  </a:lnTo>
                  <a:lnTo>
                    <a:pt x="2304" y="2691"/>
                  </a:lnTo>
                  <a:lnTo>
                    <a:pt x="2300" y="2694"/>
                  </a:lnTo>
                  <a:lnTo>
                    <a:pt x="2297" y="2694"/>
                  </a:lnTo>
                  <a:lnTo>
                    <a:pt x="2294" y="2694"/>
                  </a:lnTo>
                  <a:lnTo>
                    <a:pt x="2285" y="2688"/>
                  </a:lnTo>
                  <a:lnTo>
                    <a:pt x="2276" y="2676"/>
                  </a:lnTo>
                  <a:lnTo>
                    <a:pt x="2266" y="2681"/>
                  </a:lnTo>
                  <a:lnTo>
                    <a:pt x="2259" y="2681"/>
                  </a:lnTo>
                  <a:lnTo>
                    <a:pt x="2254" y="2679"/>
                  </a:lnTo>
                  <a:lnTo>
                    <a:pt x="2251" y="2679"/>
                  </a:lnTo>
                  <a:lnTo>
                    <a:pt x="2247" y="2681"/>
                  </a:lnTo>
                  <a:lnTo>
                    <a:pt x="2240" y="2691"/>
                  </a:lnTo>
                  <a:lnTo>
                    <a:pt x="2226" y="2697"/>
                  </a:lnTo>
                  <a:lnTo>
                    <a:pt x="2219" y="2704"/>
                  </a:lnTo>
                  <a:lnTo>
                    <a:pt x="2215" y="2708"/>
                  </a:lnTo>
                  <a:lnTo>
                    <a:pt x="2203" y="2717"/>
                  </a:lnTo>
                  <a:lnTo>
                    <a:pt x="2201" y="2719"/>
                  </a:lnTo>
                  <a:lnTo>
                    <a:pt x="2198" y="2719"/>
                  </a:lnTo>
                  <a:lnTo>
                    <a:pt x="2195" y="2719"/>
                  </a:lnTo>
                  <a:lnTo>
                    <a:pt x="2190" y="2721"/>
                  </a:lnTo>
                  <a:lnTo>
                    <a:pt x="2184" y="2729"/>
                  </a:lnTo>
                  <a:lnTo>
                    <a:pt x="2174" y="2734"/>
                  </a:lnTo>
                  <a:lnTo>
                    <a:pt x="2166" y="2739"/>
                  </a:lnTo>
                  <a:lnTo>
                    <a:pt x="2159" y="2739"/>
                  </a:lnTo>
                  <a:lnTo>
                    <a:pt x="2155" y="2739"/>
                  </a:lnTo>
                  <a:lnTo>
                    <a:pt x="2140" y="2746"/>
                  </a:lnTo>
                  <a:lnTo>
                    <a:pt x="2131" y="2747"/>
                  </a:lnTo>
                  <a:lnTo>
                    <a:pt x="2117" y="2762"/>
                  </a:lnTo>
                  <a:lnTo>
                    <a:pt x="2108" y="2768"/>
                  </a:lnTo>
                  <a:lnTo>
                    <a:pt x="2101" y="2770"/>
                  </a:lnTo>
                  <a:lnTo>
                    <a:pt x="2098" y="2775"/>
                  </a:lnTo>
                  <a:lnTo>
                    <a:pt x="2094" y="2774"/>
                  </a:lnTo>
                  <a:lnTo>
                    <a:pt x="2087" y="2778"/>
                  </a:lnTo>
                  <a:lnTo>
                    <a:pt x="2083" y="2784"/>
                  </a:lnTo>
                  <a:lnTo>
                    <a:pt x="2084" y="2791"/>
                  </a:lnTo>
                  <a:lnTo>
                    <a:pt x="2083" y="2792"/>
                  </a:lnTo>
                  <a:lnTo>
                    <a:pt x="2080" y="2800"/>
                  </a:lnTo>
                  <a:lnTo>
                    <a:pt x="2076" y="2801"/>
                  </a:lnTo>
                  <a:lnTo>
                    <a:pt x="2072" y="2805"/>
                  </a:lnTo>
                  <a:lnTo>
                    <a:pt x="2066" y="2805"/>
                  </a:lnTo>
                  <a:lnTo>
                    <a:pt x="2058" y="2808"/>
                  </a:lnTo>
                  <a:lnTo>
                    <a:pt x="2051" y="2815"/>
                  </a:lnTo>
                  <a:lnTo>
                    <a:pt x="2036" y="2820"/>
                  </a:lnTo>
                  <a:lnTo>
                    <a:pt x="2034" y="2824"/>
                  </a:lnTo>
                  <a:lnTo>
                    <a:pt x="2036" y="2828"/>
                  </a:lnTo>
                  <a:lnTo>
                    <a:pt x="2033" y="2830"/>
                  </a:lnTo>
                  <a:lnTo>
                    <a:pt x="2026" y="2836"/>
                  </a:lnTo>
                  <a:lnTo>
                    <a:pt x="2020" y="2837"/>
                  </a:lnTo>
                  <a:lnTo>
                    <a:pt x="2014" y="2841"/>
                  </a:lnTo>
                  <a:lnTo>
                    <a:pt x="2011" y="2843"/>
                  </a:lnTo>
                  <a:lnTo>
                    <a:pt x="2008" y="2849"/>
                  </a:lnTo>
                  <a:lnTo>
                    <a:pt x="1999" y="2858"/>
                  </a:lnTo>
                  <a:lnTo>
                    <a:pt x="1997" y="2863"/>
                  </a:lnTo>
                  <a:lnTo>
                    <a:pt x="1997" y="2868"/>
                  </a:lnTo>
                  <a:lnTo>
                    <a:pt x="2001" y="2873"/>
                  </a:lnTo>
                  <a:lnTo>
                    <a:pt x="2003" y="2871"/>
                  </a:lnTo>
                  <a:lnTo>
                    <a:pt x="2005" y="2873"/>
                  </a:lnTo>
                  <a:lnTo>
                    <a:pt x="2003" y="2876"/>
                  </a:lnTo>
                  <a:lnTo>
                    <a:pt x="2001" y="2878"/>
                  </a:lnTo>
                  <a:lnTo>
                    <a:pt x="1998" y="2878"/>
                  </a:lnTo>
                  <a:lnTo>
                    <a:pt x="1995" y="2875"/>
                  </a:lnTo>
                  <a:lnTo>
                    <a:pt x="1992" y="2876"/>
                  </a:lnTo>
                  <a:lnTo>
                    <a:pt x="1991" y="2888"/>
                  </a:lnTo>
                  <a:lnTo>
                    <a:pt x="1991" y="2891"/>
                  </a:lnTo>
                  <a:lnTo>
                    <a:pt x="1997" y="2892"/>
                  </a:lnTo>
                  <a:lnTo>
                    <a:pt x="1997" y="2895"/>
                  </a:lnTo>
                  <a:lnTo>
                    <a:pt x="1989" y="2899"/>
                  </a:lnTo>
                  <a:lnTo>
                    <a:pt x="1984" y="2899"/>
                  </a:lnTo>
                  <a:lnTo>
                    <a:pt x="1978" y="2899"/>
                  </a:lnTo>
                  <a:lnTo>
                    <a:pt x="1976" y="2904"/>
                  </a:lnTo>
                  <a:lnTo>
                    <a:pt x="1969" y="2912"/>
                  </a:lnTo>
                  <a:lnTo>
                    <a:pt x="1967" y="2917"/>
                  </a:lnTo>
                  <a:lnTo>
                    <a:pt x="1960" y="2920"/>
                  </a:lnTo>
                  <a:lnTo>
                    <a:pt x="1960" y="2921"/>
                  </a:lnTo>
                  <a:lnTo>
                    <a:pt x="1955" y="2929"/>
                  </a:lnTo>
                  <a:lnTo>
                    <a:pt x="1953" y="2929"/>
                  </a:lnTo>
                  <a:lnTo>
                    <a:pt x="1944" y="2930"/>
                  </a:lnTo>
                  <a:lnTo>
                    <a:pt x="1939" y="2933"/>
                  </a:lnTo>
                  <a:lnTo>
                    <a:pt x="1941" y="2934"/>
                  </a:lnTo>
                  <a:lnTo>
                    <a:pt x="1944" y="2938"/>
                  </a:lnTo>
                  <a:lnTo>
                    <a:pt x="1939" y="2946"/>
                  </a:lnTo>
                  <a:lnTo>
                    <a:pt x="1941" y="2952"/>
                  </a:lnTo>
                  <a:lnTo>
                    <a:pt x="1934" y="2957"/>
                  </a:lnTo>
                  <a:lnTo>
                    <a:pt x="1926" y="2962"/>
                  </a:lnTo>
                  <a:lnTo>
                    <a:pt x="1921" y="2974"/>
                  </a:lnTo>
                  <a:lnTo>
                    <a:pt x="1918" y="2978"/>
                  </a:lnTo>
                  <a:lnTo>
                    <a:pt x="1913" y="2979"/>
                  </a:lnTo>
                  <a:lnTo>
                    <a:pt x="1906" y="2989"/>
                  </a:lnTo>
                  <a:lnTo>
                    <a:pt x="1903" y="2992"/>
                  </a:lnTo>
                  <a:lnTo>
                    <a:pt x="1896" y="2998"/>
                  </a:lnTo>
                  <a:lnTo>
                    <a:pt x="1893" y="3000"/>
                  </a:lnTo>
                  <a:lnTo>
                    <a:pt x="1892" y="3002"/>
                  </a:lnTo>
                  <a:lnTo>
                    <a:pt x="1887" y="3002"/>
                  </a:lnTo>
                  <a:lnTo>
                    <a:pt x="1884" y="3007"/>
                  </a:lnTo>
                  <a:lnTo>
                    <a:pt x="1887" y="3009"/>
                  </a:lnTo>
                  <a:lnTo>
                    <a:pt x="1889" y="3011"/>
                  </a:lnTo>
                  <a:lnTo>
                    <a:pt x="1891" y="3011"/>
                  </a:lnTo>
                  <a:lnTo>
                    <a:pt x="1891" y="3015"/>
                  </a:lnTo>
                  <a:lnTo>
                    <a:pt x="1887" y="3021"/>
                  </a:lnTo>
                  <a:lnTo>
                    <a:pt x="1889" y="3024"/>
                  </a:lnTo>
                  <a:lnTo>
                    <a:pt x="1885" y="3027"/>
                  </a:lnTo>
                  <a:lnTo>
                    <a:pt x="1888" y="3041"/>
                  </a:lnTo>
                  <a:lnTo>
                    <a:pt x="1887" y="3044"/>
                  </a:lnTo>
                  <a:lnTo>
                    <a:pt x="1879" y="3046"/>
                  </a:lnTo>
                  <a:lnTo>
                    <a:pt x="1878" y="3053"/>
                  </a:lnTo>
                  <a:lnTo>
                    <a:pt x="1879" y="3056"/>
                  </a:lnTo>
                  <a:lnTo>
                    <a:pt x="1871" y="3059"/>
                  </a:lnTo>
                  <a:lnTo>
                    <a:pt x="1871" y="3066"/>
                  </a:lnTo>
                  <a:lnTo>
                    <a:pt x="1866" y="3069"/>
                  </a:lnTo>
                  <a:lnTo>
                    <a:pt x="1864" y="3067"/>
                  </a:lnTo>
                  <a:lnTo>
                    <a:pt x="1860" y="3069"/>
                  </a:lnTo>
                  <a:lnTo>
                    <a:pt x="1859" y="3077"/>
                  </a:lnTo>
                  <a:lnTo>
                    <a:pt x="1860" y="3078"/>
                  </a:lnTo>
                  <a:lnTo>
                    <a:pt x="1860" y="3081"/>
                  </a:lnTo>
                  <a:lnTo>
                    <a:pt x="1859" y="3081"/>
                  </a:lnTo>
                  <a:lnTo>
                    <a:pt x="1860" y="3082"/>
                  </a:lnTo>
                  <a:lnTo>
                    <a:pt x="1857" y="3082"/>
                  </a:lnTo>
                  <a:lnTo>
                    <a:pt x="1856" y="3094"/>
                  </a:lnTo>
                  <a:lnTo>
                    <a:pt x="1851" y="3095"/>
                  </a:lnTo>
                  <a:lnTo>
                    <a:pt x="1845" y="3091"/>
                  </a:lnTo>
                  <a:lnTo>
                    <a:pt x="1841" y="3091"/>
                  </a:lnTo>
                  <a:lnTo>
                    <a:pt x="1839" y="3091"/>
                  </a:lnTo>
                  <a:lnTo>
                    <a:pt x="1838" y="3091"/>
                  </a:lnTo>
                  <a:lnTo>
                    <a:pt x="1832" y="3101"/>
                  </a:lnTo>
                  <a:lnTo>
                    <a:pt x="1829" y="3103"/>
                  </a:lnTo>
                  <a:lnTo>
                    <a:pt x="1827" y="3112"/>
                  </a:lnTo>
                  <a:lnTo>
                    <a:pt x="1827" y="3120"/>
                  </a:lnTo>
                  <a:lnTo>
                    <a:pt x="1826" y="3124"/>
                  </a:lnTo>
                  <a:lnTo>
                    <a:pt x="1823" y="3126"/>
                  </a:lnTo>
                  <a:lnTo>
                    <a:pt x="1824" y="3129"/>
                  </a:lnTo>
                  <a:lnTo>
                    <a:pt x="1821" y="3129"/>
                  </a:lnTo>
                  <a:lnTo>
                    <a:pt x="1820" y="3131"/>
                  </a:lnTo>
                  <a:lnTo>
                    <a:pt x="1821" y="3133"/>
                  </a:lnTo>
                  <a:lnTo>
                    <a:pt x="1818" y="3135"/>
                  </a:lnTo>
                  <a:lnTo>
                    <a:pt x="1812" y="3136"/>
                  </a:lnTo>
                  <a:lnTo>
                    <a:pt x="1807" y="3144"/>
                  </a:lnTo>
                  <a:lnTo>
                    <a:pt x="1806" y="3144"/>
                  </a:lnTo>
                  <a:lnTo>
                    <a:pt x="1802" y="3144"/>
                  </a:lnTo>
                  <a:lnTo>
                    <a:pt x="1795" y="3144"/>
                  </a:lnTo>
                  <a:lnTo>
                    <a:pt x="1796" y="3148"/>
                  </a:lnTo>
                  <a:lnTo>
                    <a:pt x="1791" y="3149"/>
                  </a:lnTo>
                  <a:lnTo>
                    <a:pt x="1787" y="3157"/>
                  </a:lnTo>
                  <a:lnTo>
                    <a:pt x="1784" y="3160"/>
                  </a:lnTo>
                  <a:lnTo>
                    <a:pt x="1782" y="3169"/>
                  </a:lnTo>
                  <a:lnTo>
                    <a:pt x="1774" y="3173"/>
                  </a:lnTo>
                  <a:lnTo>
                    <a:pt x="1771" y="3178"/>
                  </a:lnTo>
                  <a:lnTo>
                    <a:pt x="1767" y="3178"/>
                  </a:lnTo>
                  <a:lnTo>
                    <a:pt x="1766" y="3178"/>
                  </a:lnTo>
                  <a:lnTo>
                    <a:pt x="1763" y="3180"/>
                  </a:lnTo>
                  <a:lnTo>
                    <a:pt x="1763" y="3176"/>
                  </a:lnTo>
                  <a:lnTo>
                    <a:pt x="1759" y="3180"/>
                  </a:lnTo>
                  <a:lnTo>
                    <a:pt x="1759" y="3186"/>
                  </a:lnTo>
                  <a:lnTo>
                    <a:pt x="1756" y="3189"/>
                  </a:lnTo>
                  <a:lnTo>
                    <a:pt x="1751" y="3189"/>
                  </a:lnTo>
                  <a:lnTo>
                    <a:pt x="1746" y="3189"/>
                  </a:lnTo>
                  <a:lnTo>
                    <a:pt x="1739" y="3191"/>
                  </a:lnTo>
                  <a:lnTo>
                    <a:pt x="1739" y="3196"/>
                  </a:lnTo>
                  <a:lnTo>
                    <a:pt x="1735" y="3198"/>
                  </a:lnTo>
                  <a:lnTo>
                    <a:pt x="1737" y="3202"/>
                  </a:lnTo>
                  <a:lnTo>
                    <a:pt x="1735" y="3205"/>
                  </a:lnTo>
                  <a:lnTo>
                    <a:pt x="1727" y="3206"/>
                  </a:lnTo>
                  <a:lnTo>
                    <a:pt x="1725" y="3205"/>
                  </a:lnTo>
                  <a:lnTo>
                    <a:pt x="1717" y="3210"/>
                  </a:lnTo>
                  <a:lnTo>
                    <a:pt x="1710" y="3207"/>
                  </a:lnTo>
                  <a:lnTo>
                    <a:pt x="1704" y="3208"/>
                  </a:lnTo>
                  <a:lnTo>
                    <a:pt x="1702" y="3210"/>
                  </a:lnTo>
                  <a:lnTo>
                    <a:pt x="1700" y="3215"/>
                  </a:lnTo>
                  <a:lnTo>
                    <a:pt x="1699" y="3220"/>
                  </a:lnTo>
                  <a:lnTo>
                    <a:pt x="1693" y="3222"/>
                  </a:lnTo>
                  <a:lnTo>
                    <a:pt x="1688" y="3224"/>
                  </a:lnTo>
                  <a:lnTo>
                    <a:pt x="1681" y="3222"/>
                  </a:lnTo>
                  <a:lnTo>
                    <a:pt x="1675" y="3224"/>
                  </a:lnTo>
                  <a:lnTo>
                    <a:pt x="1674" y="3222"/>
                  </a:lnTo>
                  <a:lnTo>
                    <a:pt x="1674" y="3224"/>
                  </a:lnTo>
                  <a:lnTo>
                    <a:pt x="1672" y="3224"/>
                  </a:lnTo>
                  <a:lnTo>
                    <a:pt x="1674" y="3224"/>
                  </a:lnTo>
                  <a:lnTo>
                    <a:pt x="1672" y="3224"/>
                  </a:lnTo>
                  <a:lnTo>
                    <a:pt x="1671" y="3224"/>
                  </a:lnTo>
                  <a:lnTo>
                    <a:pt x="1670" y="3224"/>
                  </a:lnTo>
                  <a:lnTo>
                    <a:pt x="1670" y="3227"/>
                  </a:lnTo>
                  <a:lnTo>
                    <a:pt x="1668" y="3227"/>
                  </a:lnTo>
                  <a:lnTo>
                    <a:pt x="1667" y="3227"/>
                  </a:lnTo>
                  <a:lnTo>
                    <a:pt x="1666" y="3227"/>
                  </a:lnTo>
                  <a:lnTo>
                    <a:pt x="1666" y="3228"/>
                  </a:lnTo>
                  <a:lnTo>
                    <a:pt x="1664" y="3230"/>
                  </a:lnTo>
                  <a:lnTo>
                    <a:pt x="1663" y="3230"/>
                  </a:lnTo>
                  <a:lnTo>
                    <a:pt x="1661" y="3228"/>
                  </a:lnTo>
                  <a:lnTo>
                    <a:pt x="1660" y="3228"/>
                  </a:lnTo>
                  <a:lnTo>
                    <a:pt x="1658" y="3228"/>
                  </a:lnTo>
                  <a:lnTo>
                    <a:pt x="1657" y="3228"/>
                  </a:lnTo>
                  <a:lnTo>
                    <a:pt x="1657" y="3230"/>
                  </a:lnTo>
                  <a:lnTo>
                    <a:pt x="1656" y="3230"/>
                  </a:lnTo>
                  <a:lnTo>
                    <a:pt x="1654" y="3230"/>
                  </a:lnTo>
                  <a:lnTo>
                    <a:pt x="1653" y="3230"/>
                  </a:lnTo>
                  <a:lnTo>
                    <a:pt x="1652" y="3230"/>
                  </a:lnTo>
                  <a:lnTo>
                    <a:pt x="1650" y="3230"/>
                  </a:lnTo>
                  <a:lnTo>
                    <a:pt x="1649" y="3230"/>
                  </a:lnTo>
                  <a:lnTo>
                    <a:pt x="1649" y="3231"/>
                  </a:lnTo>
                  <a:lnTo>
                    <a:pt x="1649" y="3232"/>
                  </a:lnTo>
                  <a:lnTo>
                    <a:pt x="1647" y="3232"/>
                  </a:lnTo>
                  <a:lnTo>
                    <a:pt x="1647" y="3231"/>
                  </a:lnTo>
                  <a:lnTo>
                    <a:pt x="1644" y="3231"/>
                  </a:lnTo>
                  <a:lnTo>
                    <a:pt x="1643" y="3231"/>
                  </a:lnTo>
                  <a:lnTo>
                    <a:pt x="1642" y="3232"/>
                  </a:lnTo>
                  <a:lnTo>
                    <a:pt x="1641" y="3232"/>
                  </a:lnTo>
                  <a:lnTo>
                    <a:pt x="1639" y="3232"/>
                  </a:lnTo>
                  <a:lnTo>
                    <a:pt x="1638" y="3232"/>
                  </a:lnTo>
                  <a:lnTo>
                    <a:pt x="1638" y="3233"/>
                  </a:lnTo>
                  <a:lnTo>
                    <a:pt x="1636" y="3233"/>
                  </a:lnTo>
                  <a:lnTo>
                    <a:pt x="1635" y="3233"/>
                  </a:lnTo>
                  <a:lnTo>
                    <a:pt x="1633" y="3233"/>
                  </a:lnTo>
                  <a:lnTo>
                    <a:pt x="1632" y="3233"/>
                  </a:lnTo>
                  <a:lnTo>
                    <a:pt x="1631" y="3233"/>
                  </a:lnTo>
                  <a:lnTo>
                    <a:pt x="1631" y="3236"/>
                  </a:lnTo>
                  <a:lnTo>
                    <a:pt x="1629" y="3233"/>
                  </a:lnTo>
                  <a:lnTo>
                    <a:pt x="1629" y="3236"/>
                  </a:lnTo>
                  <a:lnTo>
                    <a:pt x="1628" y="3236"/>
                  </a:lnTo>
                  <a:lnTo>
                    <a:pt x="1627" y="3236"/>
                  </a:lnTo>
                  <a:lnTo>
                    <a:pt x="1625" y="3236"/>
                  </a:lnTo>
                  <a:lnTo>
                    <a:pt x="1624" y="3236"/>
                  </a:lnTo>
                  <a:lnTo>
                    <a:pt x="1624" y="3238"/>
                  </a:lnTo>
                  <a:lnTo>
                    <a:pt x="1622" y="3238"/>
                  </a:lnTo>
                  <a:lnTo>
                    <a:pt x="1621" y="3238"/>
                  </a:lnTo>
                  <a:lnTo>
                    <a:pt x="1619" y="3238"/>
                  </a:lnTo>
                  <a:lnTo>
                    <a:pt x="1617" y="3238"/>
                  </a:lnTo>
                  <a:lnTo>
                    <a:pt x="1616" y="3238"/>
                  </a:lnTo>
                  <a:lnTo>
                    <a:pt x="1614" y="3238"/>
                  </a:lnTo>
                  <a:lnTo>
                    <a:pt x="1613" y="3238"/>
                  </a:lnTo>
                  <a:lnTo>
                    <a:pt x="1611" y="3238"/>
                  </a:lnTo>
                  <a:lnTo>
                    <a:pt x="1611" y="3240"/>
                  </a:lnTo>
                  <a:lnTo>
                    <a:pt x="1613" y="3240"/>
                  </a:lnTo>
                  <a:lnTo>
                    <a:pt x="1613" y="3241"/>
                  </a:lnTo>
                  <a:lnTo>
                    <a:pt x="1611" y="3241"/>
                  </a:lnTo>
                  <a:lnTo>
                    <a:pt x="1613" y="3241"/>
                  </a:lnTo>
                  <a:lnTo>
                    <a:pt x="1613" y="3243"/>
                  </a:lnTo>
                  <a:lnTo>
                    <a:pt x="1611" y="3243"/>
                  </a:lnTo>
                  <a:lnTo>
                    <a:pt x="1611" y="3241"/>
                  </a:lnTo>
                  <a:lnTo>
                    <a:pt x="1610" y="3241"/>
                  </a:lnTo>
                  <a:lnTo>
                    <a:pt x="1610" y="3243"/>
                  </a:lnTo>
                  <a:lnTo>
                    <a:pt x="1610" y="3244"/>
                  </a:lnTo>
                  <a:lnTo>
                    <a:pt x="1608" y="3244"/>
                  </a:lnTo>
                  <a:lnTo>
                    <a:pt x="1608" y="3243"/>
                  </a:lnTo>
                  <a:lnTo>
                    <a:pt x="1608" y="3244"/>
                  </a:lnTo>
                  <a:lnTo>
                    <a:pt x="1607" y="3244"/>
                  </a:lnTo>
                  <a:lnTo>
                    <a:pt x="1608" y="3244"/>
                  </a:lnTo>
                  <a:lnTo>
                    <a:pt x="1610" y="3244"/>
                  </a:lnTo>
                  <a:lnTo>
                    <a:pt x="1608" y="3244"/>
                  </a:lnTo>
                  <a:lnTo>
                    <a:pt x="1607" y="3244"/>
                  </a:lnTo>
                  <a:lnTo>
                    <a:pt x="1607" y="3247"/>
                  </a:lnTo>
                  <a:lnTo>
                    <a:pt x="1607" y="3250"/>
                  </a:lnTo>
                  <a:lnTo>
                    <a:pt x="1607" y="3251"/>
                  </a:lnTo>
                  <a:lnTo>
                    <a:pt x="1607" y="3253"/>
                  </a:lnTo>
                  <a:lnTo>
                    <a:pt x="1606" y="3253"/>
                  </a:lnTo>
                  <a:lnTo>
                    <a:pt x="1607" y="3253"/>
                  </a:lnTo>
                  <a:lnTo>
                    <a:pt x="1607" y="3255"/>
                  </a:lnTo>
                  <a:lnTo>
                    <a:pt x="1607" y="3256"/>
                  </a:lnTo>
                  <a:lnTo>
                    <a:pt x="1606" y="3256"/>
                  </a:lnTo>
                  <a:lnTo>
                    <a:pt x="1604" y="3256"/>
                  </a:lnTo>
                  <a:lnTo>
                    <a:pt x="1604" y="3258"/>
                  </a:lnTo>
                  <a:lnTo>
                    <a:pt x="1604" y="3256"/>
                  </a:lnTo>
                  <a:lnTo>
                    <a:pt x="1603" y="3256"/>
                  </a:lnTo>
                  <a:lnTo>
                    <a:pt x="1603" y="3258"/>
                  </a:lnTo>
                  <a:lnTo>
                    <a:pt x="1603" y="3260"/>
                  </a:lnTo>
                  <a:lnTo>
                    <a:pt x="1602" y="3258"/>
                  </a:lnTo>
                  <a:lnTo>
                    <a:pt x="1600" y="3258"/>
                  </a:lnTo>
                  <a:lnTo>
                    <a:pt x="1600" y="3260"/>
                  </a:lnTo>
                  <a:lnTo>
                    <a:pt x="1602" y="3260"/>
                  </a:lnTo>
                  <a:lnTo>
                    <a:pt x="1599" y="3260"/>
                  </a:lnTo>
                  <a:lnTo>
                    <a:pt x="1599" y="3263"/>
                  </a:lnTo>
                  <a:lnTo>
                    <a:pt x="1597" y="3263"/>
                  </a:lnTo>
                  <a:lnTo>
                    <a:pt x="1597" y="3264"/>
                  </a:lnTo>
                  <a:lnTo>
                    <a:pt x="1596" y="3265"/>
                  </a:lnTo>
                  <a:lnTo>
                    <a:pt x="1594" y="3267"/>
                  </a:lnTo>
                  <a:lnTo>
                    <a:pt x="1593" y="3267"/>
                  </a:lnTo>
                  <a:lnTo>
                    <a:pt x="1594" y="3267"/>
                  </a:lnTo>
                  <a:lnTo>
                    <a:pt x="1594" y="3269"/>
                  </a:lnTo>
                  <a:lnTo>
                    <a:pt x="1593" y="3269"/>
                  </a:lnTo>
                  <a:lnTo>
                    <a:pt x="1592" y="3269"/>
                  </a:lnTo>
                  <a:lnTo>
                    <a:pt x="1592" y="3272"/>
                  </a:lnTo>
                  <a:lnTo>
                    <a:pt x="1593" y="3272"/>
                  </a:lnTo>
                  <a:lnTo>
                    <a:pt x="1592" y="3272"/>
                  </a:lnTo>
                  <a:lnTo>
                    <a:pt x="1592" y="3273"/>
                  </a:lnTo>
                  <a:lnTo>
                    <a:pt x="1590" y="3273"/>
                  </a:lnTo>
                  <a:lnTo>
                    <a:pt x="1590" y="3276"/>
                  </a:lnTo>
                  <a:lnTo>
                    <a:pt x="1589" y="3276"/>
                  </a:lnTo>
                  <a:lnTo>
                    <a:pt x="1588" y="3276"/>
                  </a:lnTo>
                  <a:lnTo>
                    <a:pt x="1589" y="3277"/>
                  </a:lnTo>
                  <a:lnTo>
                    <a:pt x="1588" y="3277"/>
                  </a:lnTo>
                  <a:lnTo>
                    <a:pt x="1588" y="3278"/>
                  </a:lnTo>
                  <a:lnTo>
                    <a:pt x="1589" y="3278"/>
                  </a:lnTo>
                  <a:lnTo>
                    <a:pt x="1588" y="3280"/>
                  </a:lnTo>
                  <a:lnTo>
                    <a:pt x="1588" y="3281"/>
                  </a:lnTo>
                  <a:lnTo>
                    <a:pt x="1589" y="3281"/>
                  </a:lnTo>
                  <a:lnTo>
                    <a:pt x="1588" y="3281"/>
                  </a:lnTo>
                  <a:lnTo>
                    <a:pt x="1588" y="3282"/>
                  </a:lnTo>
                  <a:lnTo>
                    <a:pt x="1586" y="3282"/>
                  </a:lnTo>
                  <a:lnTo>
                    <a:pt x="1585" y="3282"/>
                  </a:lnTo>
                  <a:lnTo>
                    <a:pt x="1583" y="3282"/>
                  </a:lnTo>
                  <a:lnTo>
                    <a:pt x="1582" y="3282"/>
                  </a:lnTo>
                  <a:lnTo>
                    <a:pt x="1581" y="3282"/>
                  </a:lnTo>
                  <a:lnTo>
                    <a:pt x="1581" y="3285"/>
                  </a:lnTo>
                  <a:lnTo>
                    <a:pt x="1579" y="3285"/>
                  </a:lnTo>
                  <a:lnTo>
                    <a:pt x="1581" y="3286"/>
                  </a:lnTo>
                  <a:lnTo>
                    <a:pt x="1582" y="3286"/>
                  </a:lnTo>
                  <a:lnTo>
                    <a:pt x="1581" y="3286"/>
                  </a:lnTo>
                  <a:lnTo>
                    <a:pt x="1579" y="3286"/>
                  </a:lnTo>
                  <a:lnTo>
                    <a:pt x="1579" y="3289"/>
                  </a:lnTo>
                  <a:lnTo>
                    <a:pt x="1581" y="3289"/>
                  </a:lnTo>
                  <a:lnTo>
                    <a:pt x="1581" y="3290"/>
                  </a:lnTo>
                  <a:lnTo>
                    <a:pt x="1579" y="3290"/>
                  </a:lnTo>
                  <a:lnTo>
                    <a:pt x="1579" y="3292"/>
                  </a:lnTo>
                  <a:lnTo>
                    <a:pt x="1578" y="3292"/>
                  </a:lnTo>
                  <a:lnTo>
                    <a:pt x="1577" y="3292"/>
                  </a:lnTo>
                  <a:lnTo>
                    <a:pt x="1577" y="3294"/>
                  </a:lnTo>
                  <a:lnTo>
                    <a:pt x="1575" y="3294"/>
                  </a:lnTo>
                  <a:lnTo>
                    <a:pt x="1577" y="3294"/>
                  </a:lnTo>
                  <a:lnTo>
                    <a:pt x="1577" y="3295"/>
                  </a:lnTo>
                  <a:lnTo>
                    <a:pt x="1575" y="3295"/>
                  </a:lnTo>
                  <a:lnTo>
                    <a:pt x="1574" y="3295"/>
                  </a:lnTo>
                  <a:lnTo>
                    <a:pt x="1575" y="3295"/>
                  </a:lnTo>
                  <a:lnTo>
                    <a:pt x="1575" y="3298"/>
                  </a:lnTo>
                  <a:lnTo>
                    <a:pt x="1574" y="3298"/>
                  </a:lnTo>
                  <a:lnTo>
                    <a:pt x="1574" y="3300"/>
                  </a:lnTo>
                  <a:lnTo>
                    <a:pt x="1572" y="3300"/>
                  </a:lnTo>
                  <a:lnTo>
                    <a:pt x="1571" y="3300"/>
                  </a:lnTo>
                  <a:lnTo>
                    <a:pt x="1569" y="3300"/>
                  </a:lnTo>
                  <a:lnTo>
                    <a:pt x="1568" y="3300"/>
                  </a:lnTo>
                  <a:lnTo>
                    <a:pt x="1568" y="3301"/>
                  </a:lnTo>
                  <a:lnTo>
                    <a:pt x="1568" y="3302"/>
                  </a:lnTo>
                  <a:lnTo>
                    <a:pt x="1567" y="3302"/>
                  </a:lnTo>
                  <a:lnTo>
                    <a:pt x="1567" y="3301"/>
                  </a:lnTo>
                  <a:lnTo>
                    <a:pt x="1567" y="3302"/>
                  </a:lnTo>
                  <a:lnTo>
                    <a:pt x="1568" y="3302"/>
                  </a:lnTo>
                  <a:lnTo>
                    <a:pt x="1568" y="3303"/>
                  </a:lnTo>
                  <a:lnTo>
                    <a:pt x="1567" y="3303"/>
                  </a:lnTo>
                  <a:lnTo>
                    <a:pt x="1567" y="3302"/>
                  </a:lnTo>
                  <a:lnTo>
                    <a:pt x="1567" y="3303"/>
                  </a:lnTo>
                  <a:lnTo>
                    <a:pt x="1567" y="3305"/>
                  </a:lnTo>
                  <a:lnTo>
                    <a:pt x="1565" y="3305"/>
                  </a:lnTo>
                  <a:lnTo>
                    <a:pt x="1564" y="3305"/>
                  </a:lnTo>
                  <a:lnTo>
                    <a:pt x="1564" y="3307"/>
                  </a:lnTo>
                  <a:lnTo>
                    <a:pt x="1564" y="3309"/>
                  </a:lnTo>
                  <a:lnTo>
                    <a:pt x="1563" y="3309"/>
                  </a:lnTo>
                  <a:lnTo>
                    <a:pt x="1561" y="3309"/>
                  </a:lnTo>
                  <a:lnTo>
                    <a:pt x="1560" y="3311"/>
                  </a:lnTo>
                  <a:lnTo>
                    <a:pt x="1558" y="3313"/>
                  </a:lnTo>
                  <a:lnTo>
                    <a:pt x="1558" y="3314"/>
                  </a:lnTo>
                  <a:lnTo>
                    <a:pt x="1557" y="3315"/>
                  </a:lnTo>
                  <a:lnTo>
                    <a:pt x="1557" y="3317"/>
                  </a:lnTo>
                  <a:lnTo>
                    <a:pt x="1556" y="3317"/>
                  </a:lnTo>
                  <a:lnTo>
                    <a:pt x="1556" y="3318"/>
                  </a:lnTo>
                  <a:lnTo>
                    <a:pt x="1556" y="3320"/>
                  </a:lnTo>
                  <a:lnTo>
                    <a:pt x="1554" y="3320"/>
                  </a:lnTo>
                  <a:lnTo>
                    <a:pt x="1554" y="3322"/>
                  </a:lnTo>
                  <a:lnTo>
                    <a:pt x="1553" y="3322"/>
                  </a:lnTo>
                  <a:lnTo>
                    <a:pt x="1552" y="3322"/>
                  </a:lnTo>
                  <a:lnTo>
                    <a:pt x="1550" y="3322"/>
                  </a:lnTo>
                  <a:lnTo>
                    <a:pt x="1549" y="3322"/>
                  </a:lnTo>
                  <a:lnTo>
                    <a:pt x="1549" y="3323"/>
                  </a:lnTo>
                  <a:lnTo>
                    <a:pt x="1547" y="3323"/>
                  </a:lnTo>
                  <a:lnTo>
                    <a:pt x="1546" y="3323"/>
                  </a:lnTo>
                  <a:lnTo>
                    <a:pt x="1546" y="3322"/>
                  </a:lnTo>
                  <a:lnTo>
                    <a:pt x="1544" y="3322"/>
                  </a:lnTo>
                  <a:lnTo>
                    <a:pt x="1543" y="3322"/>
                  </a:lnTo>
                  <a:lnTo>
                    <a:pt x="1542" y="3322"/>
                  </a:lnTo>
                  <a:lnTo>
                    <a:pt x="1542" y="3323"/>
                  </a:lnTo>
                  <a:lnTo>
                    <a:pt x="1540" y="3323"/>
                  </a:lnTo>
                  <a:lnTo>
                    <a:pt x="1540" y="3322"/>
                  </a:lnTo>
                  <a:lnTo>
                    <a:pt x="1540" y="3323"/>
                  </a:lnTo>
                  <a:lnTo>
                    <a:pt x="1540" y="3326"/>
                  </a:lnTo>
                  <a:lnTo>
                    <a:pt x="1540" y="3327"/>
                  </a:lnTo>
                  <a:lnTo>
                    <a:pt x="1540" y="3330"/>
                  </a:lnTo>
                  <a:lnTo>
                    <a:pt x="1540" y="3331"/>
                  </a:lnTo>
                  <a:lnTo>
                    <a:pt x="1540" y="3334"/>
                  </a:lnTo>
                  <a:lnTo>
                    <a:pt x="1540" y="3335"/>
                  </a:lnTo>
                  <a:lnTo>
                    <a:pt x="1540" y="3337"/>
                  </a:lnTo>
                  <a:lnTo>
                    <a:pt x="1540" y="3338"/>
                  </a:lnTo>
                  <a:lnTo>
                    <a:pt x="1540" y="3339"/>
                  </a:lnTo>
                  <a:lnTo>
                    <a:pt x="1542" y="3339"/>
                  </a:lnTo>
                  <a:lnTo>
                    <a:pt x="1542" y="3340"/>
                  </a:lnTo>
                  <a:lnTo>
                    <a:pt x="1540" y="3340"/>
                  </a:lnTo>
                  <a:lnTo>
                    <a:pt x="1540" y="3343"/>
                  </a:lnTo>
                  <a:lnTo>
                    <a:pt x="1540" y="3344"/>
                  </a:lnTo>
                  <a:lnTo>
                    <a:pt x="1542" y="3344"/>
                  </a:lnTo>
                  <a:lnTo>
                    <a:pt x="1542" y="3347"/>
                  </a:lnTo>
                  <a:lnTo>
                    <a:pt x="1543" y="3347"/>
                  </a:lnTo>
                  <a:lnTo>
                    <a:pt x="1543" y="3348"/>
                  </a:lnTo>
                  <a:lnTo>
                    <a:pt x="1543" y="3350"/>
                  </a:lnTo>
                  <a:lnTo>
                    <a:pt x="1542" y="3350"/>
                  </a:lnTo>
                  <a:lnTo>
                    <a:pt x="1542" y="3351"/>
                  </a:lnTo>
                  <a:lnTo>
                    <a:pt x="1542" y="3352"/>
                  </a:lnTo>
                  <a:lnTo>
                    <a:pt x="1540" y="3352"/>
                  </a:lnTo>
                  <a:lnTo>
                    <a:pt x="1542" y="3354"/>
                  </a:lnTo>
                  <a:lnTo>
                    <a:pt x="1543" y="3357"/>
                  </a:lnTo>
                  <a:lnTo>
                    <a:pt x="1544" y="3359"/>
                  </a:lnTo>
                  <a:lnTo>
                    <a:pt x="1546" y="3359"/>
                  </a:lnTo>
                  <a:lnTo>
                    <a:pt x="1547" y="3360"/>
                  </a:lnTo>
                  <a:lnTo>
                    <a:pt x="1549" y="3360"/>
                  </a:lnTo>
                  <a:lnTo>
                    <a:pt x="1549" y="3363"/>
                  </a:lnTo>
                  <a:lnTo>
                    <a:pt x="1550" y="3363"/>
                  </a:lnTo>
                  <a:lnTo>
                    <a:pt x="1552" y="3363"/>
                  </a:lnTo>
                  <a:lnTo>
                    <a:pt x="1552" y="3365"/>
                  </a:lnTo>
                  <a:lnTo>
                    <a:pt x="1553" y="3365"/>
                  </a:lnTo>
                  <a:lnTo>
                    <a:pt x="1553" y="3367"/>
                  </a:lnTo>
                  <a:lnTo>
                    <a:pt x="1554" y="3367"/>
                  </a:lnTo>
                  <a:lnTo>
                    <a:pt x="1556" y="3367"/>
                  </a:lnTo>
                  <a:lnTo>
                    <a:pt x="1557" y="3367"/>
                  </a:lnTo>
                  <a:lnTo>
                    <a:pt x="1558" y="3369"/>
                  </a:lnTo>
                  <a:lnTo>
                    <a:pt x="1557" y="3370"/>
                  </a:lnTo>
                  <a:lnTo>
                    <a:pt x="1557" y="3372"/>
                  </a:lnTo>
                  <a:lnTo>
                    <a:pt x="1558" y="3372"/>
                  </a:lnTo>
                  <a:lnTo>
                    <a:pt x="1558" y="3373"/>
                  </a:lnTo>
                  <a:lnTo>
                    <a:pt x="1557" y="3375"/>
                  </a:lnTo>
                  <a:lnTo>
                    <a:pt x="1557" y="3376"/>
                  </a:lnTo>
                  <a:lnTo>
                    <a:pt x="1556" y="3376"/>
                  </a:lnTo>
                  <a:lnTo>
                    <a:pt x="1554" y="3376"/>
                  </a:lnTo>
                  <a:lnTo>
                    <a:pt x="1554" y="3379"/>
                  </a:lnTo>
                  <a:lnTo>
                    <a:pt x="1554" y="3380"/>
                  </a:lnTo>
                  <a:lnTo>
                    <a:pt x="1550" y="3388"/>
                  </a:lnTo>
                  <a:lnTo>
                    <a:pt x="1547" y="3392"/>
                  </a:lnTo>
                  <a:lnTo>
                    <a:pt x="1525" y="3388"/>
                  </a:lnTo>
                  <a:lnTo>
                    <a:pt x="1477" y="3370"/>
                  </a:lnTo>
                  <a:lnTo>
                    <a:pt x="1475" y="3370"/>
                  </a:lnTo>
                  <a:lnTo>
                    <a:pt x="1474" y="3372"/>
                  </a:lnTo>
                  <a:lnTo>
                    <a:pt x="1472" y="3372"/>
                  </a:lnTo>
                  <a:lnTo>
                    <a:pt x="1471" y="3372"/>
                  </a:lnTo>
                  <a:lnTo>
                    <a:pt x="1471" y="3373"/>
                  </a:lnTo>
                  <a:lnTo>
                    <a:pt x="1469" y="3373"/>
                  </a:lnTo>
                  <a:lnTo>
                    <a:pt x="1468" y="3373"/>
                  </a:lnTo>
                  <a:lnTo>
                    <a:pt x="1468" y="3372"/>
                  </a:lnTo>
                  <a:lnTo>
                    <a:pt x="1467" y="3372"/>
                  </a:lnTo>
                  <a:lnTo>
                    <a:pt x="1465" y="3372"/>
                  </a:lnTo>
                  <a:lnTo>
                    <a:pt x="1464" y="3372"/>
                  </a:lnTo>
                  <a:lnTo>
                    <a:pt x="1464" y="3370"/>
                  </a:lnTo>
                  <a:lnTo>
                    <a:pt x="1463" y="3370"/>
                  </a:lnTo>
                  <a:lnTo>
                    <a:pt x="1463" y="3369"/>
                  </a:lnTo>
                  <a:lnTo>
                    <a:pt x="1461" y="3369"/>
                  </a:lnTo>
                  <a:lnTo>
                    <a:pt x="1461" y="3367"/>
                  </a:lnTo>
                  <a:lnTo>
                    <a:pt x="1460" y="3367"/>
                  </a:lnTo>
                  <a:lnTo>
                    <a:pt x="1458" y="3367"/>
                  </a:lnTo>
                  <a:lnTo>
                    <a:pt x="1457" y="3367"/>
                  </a:lnTo>
                  <a:lnTo>
                    <a:pt x="1458" y="3365"/>
                  </a:lnTo>
                  <a:lnTo>
                    <a:pt x="1457" y="3365"/>
                  </a:lnTo>
                  <a:lnTo>
                    <a:pt x="1455" y="3365"/>
                  </a:lnTo>
                  <a:lnTo>
                    <a:pt x="1455" y="3363"/>
                  </a:lnTo>
                  <a:lnTo>
                    <a:pt x="1454" y="3363"/>
                  </a:lnTo>
                  <a:lnTo>
                    <a:pt x="1453" y="3363"/>
                  </a:lnTo>
                  <a:lnTo>
                    <a:pt x="1453" y="3362"/>
                  </a:lnTo>
                  <a:lnTo>
                    <a:pt x="1452" y="3362"/>
                  </a:lnTo>
                  <a:lnTo>
                    <a:pt x="1450" y="3362"/>
                  </a:lnTo>
                  <a:lnTo>
                    <a:pt x="1449" y="3362"/>
                  </a:lnTo>
                  <a:lnTo>
                    <a:pt x="1447" y="3362"/>
                  </a:lnTo>
                  <a:lnTo>
                    <a:pt x="1446" y="3362"/>
                  </a:lnTo>
                  <a:lnTo>
                    <a:pt x="1444" y="3362"/>
                  </a:lnTo>
                  <a:lnTo>
                    <a:pt x="1443" y="3362"/>
                  </a:lnTo>
                  <a:lnTo>
                    <a:pt x="1442" y="3362"/>
                  </a:lnTo>
                  <a:lnTo>
                    <a:pt x="1440" y="3362"/>
                  </a:lnTo>
                  <a:lnTo>
                    <a:pt x="1440" y="3363"/>
                  </a:lnTo>
                  <a:lnTo>
                    <a:pt x="1439" y="3363"/>
                  </a:lnTo>
                  <a:lnTo>
                    <a:pt x="1438" y="3363"/>
                  </a:lnTo>
                  <a:lnTo>
                    <a:pt x="1438" y="3362"/>
                  </a:lnTo>
                  <a:lnTo>
                    <a:pt x="1436" y="3362"/>
                  </a:lnTo>
                  <a:lnTo>
                    <a:pt x="1436" y="3360"/>
                  </a:lnTo>
                  <a:lnTo>
                    <a:pt x="1435" y="3360"/>
                  </a:lnTo>
                  <a:lnTo>
                    <a:pt x="1435" y="3359"/>
                  </a:lnTo>
                  <a:lnTo>
                    <a:pt x="1433" y="3359"/>
                  </a:lnTo>
                  <a:lnTo>
                    <a:pt x="1432" y="3359"/>
                  </a:lnTo>
                  <a:lnTo>
                    <a:pt x="1430" y="3359"/>
                  </a:lnTo>
                  <a:lnTo>
                    <a:pt x="1430" y="3357"/>
                  </a:lnTo>
                  <a:lnTo>
                    <a:pt x="1430" y="3356"/>
                  </a:lnTo>
                  <a:lnTo>
                    <a:pt x="1429" y="3356"/>
                  </a:lnTo>
                  <a:lnTo>
                    <a:pt x="1428" y="3356"/>
                  </a:lnTo>
                  <a:lnTo>
                    <a:pt x="1428" y="3354"/>
                  </a:lnTo>
                  <a:lnTo>
                    <a:pt x="1426" y="3356"/>
                  </a:lnTo>
                  <a:lnTo>
                    <a:pt x="1425" y="3356"/>
                  </a:lnTo>
                  <a:lnTo>
                    <a:pt x="1425" y="3354"/>
                  </a:lnTo>
                  <a:lnTo>
                    <a:pt x="1426" y="3354"/>
                  </a:lnTo>
                  <a:lnTo>
                    <a:pt x="1425" y="3354"/>
                  </a:lnTo>
                  <a:lnTo>
                    <a:pt x="1425" y="3352"/>
                  </a:lnTo>
                  <a:lnTo>
                    <a:pt x="1424" y="3352"/>
                  </a:lnTo>
                  <a:lnTo>
                    <a:pt x="1422" y="3352"/>
                  </a:lnTo>
                  <a:lnTo>
                    <a:pt x="1421" y="3352"/>
                  </a:lnTo>
                  <a:lnTo>
                    <a:pt x="1419" y="3352"/>
                  </a:lnTo>
                  <a:lnTo>
                    <a:pt x="1418" y="3352"/>
                  </a:lnTo>
                  <a:lnTo>
                    <a:pt x="1417" y="3354"/>
                  </a:lnTo>
                  <a:lnTo>
                    <a:pt x="1415" y="3354"/>
                  </a:lnTo>
                  <a:lnTo>
                    <a:pt x="1414" y="3354"/>
                  </a:lnTo>
                  <a:lnTo>
                    <a:pt x="1412" y="3354"/>
                  </a:lnTo>
                  <a:lnTo>
                    <a:pt x="1396" y="3367"/>
                  </a:lnTo>
                  <a:lnTo>
                    <a:pt x="1365" y="3367"/>
                  </a:lnTo>
                  <a:lnTo>
                    <a:pt x="1351" y="3367"/>
                  </a:lnTo>
                  <a:lnTo>
                    <a:pt x="1325" y="3365"/>
                  </a:lnTo>
                  <a:lnTo>
                    <a:pt x="1207" y="3362"/>
                  </a:lnTo>
                  <a:lnTo>
                    <a:pt x="1207" y="3339"/>
                  </a:lnTo>
                  <a:lnTo>
                    <a:pt x="1157" y="3144"/>
                  </a:lnTo>
                  <a:lnTo>
                    <a:pt x="1158" y="3143"/>
                  </a:lnTo>
                  <a:lnTo>
                    <a:pt x="1259" y="2921"/>
                  </a:lnTo>
                  <a:lnTo>
                    <a:pt x="1223" y="2921"/>
                  </a:lnTo>
                  <a:lnTo>
                    <a:pt x="1223" y="2743"/>
                  </a:lnTo>
                  <a:lnTo>
                    <a:pt x="1222" y="2742"/>
                  </a:lnTo>
                  <a:lnTo>
                    <a:pt x="1219" y="2739"/>
                  </a:lnTo>
                  <a:lnTo>
                    <a:pt x="1141" y="2647"/>
                  </a:lnTo>
                  <a:lnTo>
                    <a:pt x="940" y="2410"/>
                  </a:lnTo>
                  <a:lnTo>
                    <a:pt x="912" y="2339"/>
                  </a:lnTo>
                  <a:lnTo>
                    <a:pt x="848" y="2268"/>
                  </a:lnTo>
                  <a:lnTo>
                    <a:pt x="833" y="2249"/>
                  </a:lnTo>
                  <a:lnTo>
                    <a:pt x="705" y="2107"/>
                  </a:lnTo>
                  <a:lnTo>
                    <a:pt x="652" y="2036"/>
                  </a:lnTo>
                  <a:lnTo>
                    <a:pt x="642" y="2023"/>
                  </a:lnTo>
                  <a:lnTo>
                    <a:pt x="598" y="1965"/>
                  </a:lnTo>
                  <a:lnTo>
                    <a:pt x="417" y="1791"/>
                  </a:lnTo>
                  <a:lnTo>
                    <a:pt x="414" y="1789"/>
                  </a:lnTo>
                  <a:lnTo>
                    <a:pt x="411" y="1789"/>
                  </a:lnTo>
                  <a:lnTo>
                    <a:pt x="204" y="1787"/>
                  </a:lnTo>
                  <a:lnTo>
                    <a:pt x="183" y="1729"/>
                  </a:lnTo>
                  <a:lnTo>
                    <a:pt x="143" y="1680"/>
                  </a:lnTo>
                  <a:lnTo>
                    <a:pt x="149" y="1642"/>
                  </a:lnTo>
                  <a:lnTo>
                    <a:pt x="154" y="1626"/>
                  </a:lnTo>
                  <a:lnTo>
                    <a:pt x="157" y="1589"/>
                  </a:lnTo>
                  <a:lnTo>
                    <a:pt x="155" y="1532"/>
                  </a:lnTo>
                  <a:lnTo>
                    <a:pt x="157" y="1514"/>
                  </a:lnTo>
                  <a:lnTo>
                    <a:pt x="161" y="1468"/>
                  </a:lnTo>
                  <a:lnTo>
                    <a:pt x="165" y="1452"/>
                  </a:lnTo>
                  <a:lnTo>
                    <a:pt x="161" y="1424"/>
                  </a:lnTo>
                  <a:lnTo>
                    <a:pt x="154" y="1399"/>
                  </a:lnTo>
                  <a:lnTo>
                    <a:pt x="146" y="1330"/>
                  </a:lnTo>
                  <a:lnTo>
                    <a:pt x="129" y="1291"/>
                  </a:lnTo>
                  <a:lnTo>
                    <a:pt x="125" y="1273"/>
                  </a:lnTo>
                  <a:lnTo>
                    <a:pt x="130" y="1245"/>
                  </a:lnTo>
                  <a:lnTo>
                    <a:pt x="136" y="1229"/>
                  </a:lnTo>
                  <a:lnTo>
                    <a:pt x="139" y="1198"/>
                  </a:lnTo>
                  <a:lnTo>
                    <a:pt x="129" y="1166"/>
                  </a:lnTo>
                  <a:lnTo>
                    <a:pt x="100" y="1107"/>
                  </a:lnTo>
                  <a:lnTo>
                    <a:pt x="100" y="1041"/>
                  </a:lnTo>
                  <a:lnTo>
                    <a:pt x="60" y="980"/>
                  </a:lnTo>
                  <a:lnTo>
                    <a:pt x="51" y="958"/>
                  </a:lnTo>
                  <a:lnTo>
                    <a:pt x="52" y="926"/>
                  </a:lnTo>
                  <a:lnTo>
                    <a:pt x="50" y="915"/>
                  </a:lnTo>
                  <a:lnTo>
                    <a:pt x="19" y="883"/>
                  </a:lnTo>
                  <a:lnTo>
                    <a:pt x="15" y="873"/>
                  </a:lnTo>
                  <a:lnTo>
                    <a:pt x="9" y="823"/>
                  </a:lnTo>
                  <a:lnTo>
                    <a:pt x="11" y="820"/>
                  </a:lnTo>
                  <a:lnTo>
                    <a:pt x="9" y="784"/>
                  </a:lnTo>
                  <a:lnTo>
                    <a:pt x="0" y="748"/>
                  </a:lnTo>
                  <a:lnTo>
                    <a:pt x="4" y="740"/>
                  </a:lnTo>
                  <a:lnTo>
                    <a:pt x="57" y="660"/>
                  </a:lnTo>
                  <a:lnTo>
                    <a:pt x="86" y="637"/>
                  </a:lnTo>
                  <a:lnTo>
                    <a:pt x="116" y="593"/>
                  </a:lnTo>
                  <a:lnTo>
                    <a:pt x="135" y="580"/>
                  </a:lnTo>
                  <a:lnTo>
                    <a:pt x="146" y="565"/>
                  </a:lnTo>
                  <a:lnTo>
                    <a:pt x="164" y="512"/>
                  </a:lnTo>
                  <a:lnTo>
                    <a:pt x="176" y="490"/>
                  </a:lnTo>
                  <a:lnTo>
                    <a:pt x="210" y="450"/>
                  </a:lnTo>
                  <a:lnTo>
                    <a:pt x="227" y="415"/>
                  </a:lnTo>
                  <a:lnTo>
                    <a:pt x="237" y="346"/>
                  </a:lnTo>
                  <a:lnTo>
                    <a:pt x="232" y="312"/>
                  </a:lnTo>
                  <a:lnTo>
                    <a:pt x="218" y="254"/>
                  </a:lnTo>
                  <a:lnTo>
                    <a:pt x="489" y="253"/>
                  </a:lnTo>
                  <a:lnTo>
                    <a:pt x="493" y="253"/>
                  </a:lnTo>
                  <a:lnTo>
                    <a:pt x="853" y="250"/>
                  </a:lnTo>
                  <a:lnTo>
                    <a:pt x="855" y="245"/>
                  </a:lnTo>
                  <a:lnTo>
                    <a:pt x="853" y="244"/>
                  </a:lnTo>
                  <a:lnTo>
                    <a:pt x="855" y="241"/>
                  </a:lnTo>
                  <a:lnTo>
                    <a:pt x="859" y="244"/>
                  </a:lnTo>
                  <a:lnTo>
                    <a:pt x="860" y="245"/>
                  </a:lnTo>
                  <a:lnTo>
                    <a:pt x="863" y="249"/>
                  </a:lnTo>
                  <a:lnTo>
                    <a:pt x="863" y="250"/>
                  </a:lnTo>
                  <a:lnTo>
                    <a:pt x="859" y="254"/>
                  </a:lnTo>
                  <a:lnTo>
                    <a:pt x="860" y="258"/>
                  </a:lnTo>
                  <a:lnTo>
                    <a:pt x="867" y="254"/>
                  </a:lnTo>
                  <a:lnTo>
                    <a:pt x="871" y="257"/>
                  </a:lnTo>
                  <a:lnTo>
                    <a:pt x="874" y="258"/>
                  </a:lnTo>
                  <a:lnTo>
                    <a:pt x="877" y="258"/>
                  </a:lnTo>
                  <a:lnTo>
                    <a:pt x="879" y="258"/>
                  </a:lnTo>
                  <a:lnTo>
                    <a:pt x="879" y="254"/>
                  </a:lnTo>
                  <a:lnTo>
                    <a:pt x="881" y="250"/>
                  </a:lnTo>
                  <a:lnTo>
                    <a:pt x="883" y="254"/>
                  </a:lnTo>
                  <a:lnTo>
                    <a:pt x="884" y="254"/>
                  </a:lnTo>
                  <a:lnTo>
                    <a:pt x="888" y="254"/>
                  </a:lnTo>
                  <a:lnTo>
                    <a:pt x="893" y="257"/>
                  </a:lnTo>
                  <a:lnTo>
                    <a:pt x="896" y="257"/>
                  </a:lnTo>
                  <a:lnTo>
                    <a:pt x="905" y="254"/>
                  </a:lnTo>
                  <a:lnTo>
                    <a:pt x="908" y="253"/>
                  </a:lnTo>
                  <a:lnTo>
                    <a:pt x="908" y="250"/>
                  </a:lnTo>
                  <a:lnTo>
                    <a:pt x="905" y="245"/>
                  </a:lnTo>
                  <a:lnTo>
                    <a:pt x="902" y="244"/>
                  </a:lnTo>
                  <a:lnTo>
                    <a:pt x="902" y="241"/>
                  </a:lnTo>
                  <a:lnTo>
                    <a:pt x="904" y="241"/>
                  </a:lnTo>
                  <a:lnTo>
                    <a:pt x="905" y="241"/>
                  </a:lnTo>
                  <a:lnTo>
                    <a:pt x="913" y="241"/>
                  </a:lnTo>
                  <a:lnTo>
                    <a:pt x="918" y="241"/>
                  </a:lnTo>
                  <a:lnTo>
                    <a:pt x="924" y="241"/>
                  </a:lnTo>
                  <a:lnTo>
                    <a:pt x="926" y="241"/>
                  </a:lnTo>
                  <a:lnTo>
                    <a:pt x="926" y="244"/>
                  </a:lnTo>
                  <a:lnTo>
                    <a:pt x="926" y="250"/>
                  </a:lnTo>
                  <a:lnTo>
                    <a:pt x="927" y="254"/>
                  </a:lnTo>
                  <a:lnTo>
                    <a:pt x="930" y="258"/>
                  </a:lnTo>
                  <a:lnTo>
                    <a:pt x="935" y="258"/>
                  </a:lnTo>
                  <a:lnTo>
                    <a:pt x="937" y="258"/>
                  </a:lnTo>
                  <a:lnTo>
                    <a:pt x="943" y="254"/>
                  </a:lnTo>
                  <a:lnTo>
                    <a:pt x="945" y="254"/>
                  </a:lnTo>
                  <a:lnTo>
                    <a:pt x="945" y="253"/>
                  </a:lnTo>
                  <a:lnTo>
                    <a:pt x="941" y="250"/>
                  </a:lnTo>
                  <a:lnTo>
                    <a:pt x="941" y="245"/>
                  </a:lnTo>
                  <a:lnTo>
                    <a:pt x="944" y="241"/>
                  </a:lnTo>
                  <a:lnTo>
                    <a:pt x="945" y="239"/>
                  </a:lnTo>
                  <a:lnTo>
                    <a:pt x="948" y="237"/>
                  </a:lnTo>
                  <a:lnTo>
                    <a:pt x="949" y="239"/>
                  </a:lnTo>
                  <a:lnTo>
                    <a:pt x="952" y="244"/>
                  </a:lnTo>
                  <a:lnTo>
                    <a:pt x="954" y="245"/>
                  </a:lnTo>
                  <a:lnTo>
                    <a:pt x="956" y="245"/>
                  </a:lnTo>
                  <a:lnTo>
                    <a:pt x="956" y="244"/>
                  </a:lnTo>
                  <a:lnTo>
                    <a:pt x="954" y="241"/>
                  </a:lnTo>
                  <a:lnTo>
                    <a:pt x="955" y="239"/>
                  </a:lnTo>
                  <a:lnTo>
                    <a:pt x="959" y="241"/>
                  </a:lnTo>
                  <a:lnTo>
                    <a:pt x="963" y="245"/>
                  </a:lnTo>
                  <a:lnTo>
                    <a:pt x="965" y="249"/>
                  </a:lnTo>
                  <a:lnTo>
                    <a:pt x="965" y="245"/>
                  </a:lnTo>
                  <a:lnTo>
                    <a:pt x="968" y="244"/>
                  </a:lnTo>
                  <a:lnTo>
                    <a:pt x="969" y="244"/>
                  </a:lnTo>
                  <a:lnTo>
                    <a:pt x="972" y="245"/>
                  </a:lnTo>
                  <a:lnTo>
                    <a:pt x="977" y="244"/>
                  </a:lnTo>
                  <a:lnTo>
                    <a:pt x="979" y="241"/>
                  </a:lnTo>
                  <a:lnTo>
                    <a:pt x="979" y="237"/>
                  </a:lnTo>
                  <a:lnTo>
                    <a:pt x="983" y="232"/>
                  </a:lnTo>
                  <a:lnTo>
                    <a:pt x="984" y="232"/>
                  </a:lnTo>
                  <a:lnTo>
                    <a:pt x="987" y="232"/>
                  </a:lnTo>
                  <a:lnTo>
                    <a:pt x="990" y="237"/>
                  </a:lnTo>
                  <a:lnTo>
                    <a:pt x="994" y="237"/>
                  </a:lnTo>
                  <a:lnTo>
                    <a:pt x="1001" y="241"/>
                  </a:lnTo>
                  <a:lnTo>
                    <a:pt x="1004" y="241"/>
                  </a:lnTo>
                  <a:lnTo>
                    <a:pt x="1013" y="237"/>
                  </a:lnTo>
                  <a:lnTo>
                    <a:pt x="1024" y="237"/>
                  </a:lnTo>
                  <a:lnTo>
                    <a:pt x="1030" y="236"/>
                  </a:lnTo>
                  <a:lnTo>
                    <a:pt x="1033" y="236"/>
                  </a:lnTo>
                  <a:lnTo>
                    <a:pt x="1038" y="241"/>
                  </a:lnTo>
                  <a:lnTo>
                    <a:pt x="1041" y="241"/>
                  </a:lnTo>
                  <a:lnTo>
                    <a:pt x="1043" y="239"/>
                  </a:lnTo>
                  <a:lnTo>
                    <a:pt x="1044" y="232"/>
                  </a:lnTo>
                  <a:lnTo>
                    <a:pt x="1051" y="228"/>
                  </a:lnTo>
                  <a:lnTo>
                    <a:pt x="1059" y="221"/>
                  </a:lnTo>
                  <a:lnTo>
                    <a:pt x="1063" y="219"/>
                  </a:lnTo>
                  <a:lnTo>
                    <a:pt x="1069" y="219"/>
                  </a:lnTo>
                  <a:lnTo>
                    <a:pt x="1077" y="213"/>
                  </a:lnTo>
                  <a:lnTo>
                    <a:pt x="1083" y="205"/>
                  </a:lnTo>
                  <a:lnTo>
                    <a:pt x="1082" y="200"/>
                  </a:lnTo>
                  <a:lnTo>
                    <a:pt x="1083" y="196"/>
                  </a:lnTo>
                  <a:lnTo>
                    <a:pt x="1090" y="196"/>
                  </a:lnTo>
                  <a:lnTo>
                    <a:pt x="1094" y="196"/>
                  </a:lnTo>
                  <a:lnTo>
                    <a:pt x="1095" y="195"/>
                  </a:lnTo>
                  <a:lnTo>
                    <a:pt x="1094" y="192"/>
                  </a:lnTo>
                  <a:lnTo>
                    <a:pt x="1088" y="191"/>
                  </a:lnTo>
                  <a:lnTo>
                    <a:pt x="1087" y="187"/>
                  </a:lnTo>
                  <a:lnTo>
                    <a:pt x="1090" y="186"/>
                  </a:lnTo>
                  <a:lnTo>
                    <a:pt x="1095" y="183"/>
                  </a:lnTo>
                  <a:lnTo>
                    <a:pt x="1097" y="183"/>
                  </a:lnTo>
                  <a:lnTo>
                    <a:pt x="1093" y="174"/>
                  </a:lnTo>
                  <a:lnTo>
                    <a:pt x="1101" y="172"/>
                  </a:lnTo>
                  <a:lnTo>
                    <a:pt x="1111" y="174"/>
                  </a:lnTo>
                  <a:lnTo>
                    <a:pt x="1112" y="174"/>
                  </a:lnTo>
                  <a:lnTo>
                    <a:pt x="1113" y="164"/>
                  </a:lnTo>
                  <a:lnTo>
                    <a:pt x="1122" y="172"/>
                  </a:lnTo>
                  <a:lnTo>
                    <a:pt x="1123" y="172"/>
                  </a:lnTo>
                  <a:lnTo>
                    <a:pt x="1126" y="170"/>
                  </a:lnTo>
                  <a:lnTo>
                    <a:pt x="1132" y="169"/>
                  </a:lnTo>
                  <a:lnTo>
                    <a:pt x="1137" y="169"/>
                  </a:lnTo>
                  <a:lnTo>
                    <a:pt x="1139" y="170"/>
                  </a:lnTo>
                  <a:lnTo>
                    <a:pt x="1140" y="169"/>
                  </a:lnTo>
                  <a:lnTo>
                    <a:pt x="1139" y="164"/>
                  </a:lnTo>
                  <a:lnTo>
                    <a:pt x="1137" y="160"/>
                  </a:lnTo>
                  <a:lnTo>
                    <a:pt x="1139" y="160"/>
                  </a:lnTo>
                  <a:lnTo>
                    <a:pt x="1143" y="160"/>
                  </a:lnTo>
                  <a:lnTo>
                    <a:pt x="1143" y="169"/>
                  </a:lnTo>
                  <a:lnTo>
                    <a:pt x="1144" y="169"/>
                  </a:lnTo>
                  <a:lnTo>
                    <a:pt x="1145" y="163"/>
                  </a:lnTo>
                  <a:lnTo>
                    <a:pt x="1150" y="160"/>
                  </a:lnTo>
                  <a:lnTo>
                    <a:pt x="1151" y="159"/>
                  </a:lnTo>
                  <a:lnTo>
                    <a:pt x="1152" y="157"/>
                  </a:lnTo>
                  <a:lnTo>
                    <a:pt x="1152" y="151"/>
                  </a:lnTo>
                  <a:lnTo>
                    <a:pt x="1154" y="151"/>
                  </a:lnTo>
                  <a:lnTo>
                    <a:pt x="1155" y="151"/>
                  </a:lnTo>
                  <a:lnTo>
                    <a:pt x="1158" y="151"/>
                  </a:lnTo>
                  <a:lnTo>
                    <a:pt x="1159" y="151"/>
                  </a:lnTo>
                  <a:lnTo>
                    <a:pt x="1158" y="146"/>
                  </a:lnTo>
                  <a:lnTo>
                    <a:pt x="1159" y="143"/>
                  </a:lnTo>
                  <a:lnTo>
                    <a:pt x="1162" y="146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66" y="138"/>
                  </a:lnTo>
                  <a:lnTo>
                    <a:pt x="1169" y="137"/>
                  </a:lnTo>
                  <a:lnTo>
                    <a:pt x="1172" y="137"/>
                  </a:lnTo>
                  <a:lnTo>
                    <a:pt x="1176" y="134"/>
                  </a:lnTo>
                  <a:lnTo>
                    <a:pt x="1175" y="134"/>
                  </a:lnTo>
                  <a:lnTo>
                    <a:pt x="1172" y="133"/>
                  </a:lnTo>
                  <a:lnTo>
                    <a:pt x="1172" y="129"/>
                  </a:lnTo>
                  <a:lnTo>
                    <a:pt x="1173" y="125"/>
                  </a:lnTo>
                  <a:lnTo>
                    <a:pt x="1183" y="125"/>
                  </a:lnTo>
                  <a:lnTo>
                    <a:pt x="1184" y="125"/>
                  </a:lnTo>
                  <a:lnTo>
                    <a:pt x="1184" y="124"/>
                  </a:lnTo>
                  <a:lnTo>
                    <a:pt x="1186" y="121"/>
                  </a:lnTo>
                  <a:lnTo>
                    <a:pt x="1192" y="121"/>
                  </a:lnTo>
                  <a:lnTo>
                    <a:pt x="1200" y="121"/>
                  </a:lnTo>
                  <a:lnTo>
                    <a:pt x="1204" y="124"/>
                  </a:lnTo>
                  <a:lnTo>
                    <a:pt x="1207" y="125"/>
                  </a:lnTo>
                  <a:lnTo>
                    <a:pt x="1205" y="129"/>
                  </a:lnTo>
                  <a:lnTo>
                    <a:pt x="1205" y="133"/>
                  </a:lnTo>
                  <a:lnTo>
                    <a:pt x="1214" y="137"/>
                  </a:lnTo>
                  <a:lnTo>
                    <a:pt x="1223" y="137"/>
                  </a:lnTo>
                  <a:lnTo>
                    <a:pt x="1230" y="133"/>
                  </a:lnTo>
                  <a:lnTo>
                    <a:pt x="1232" y="133"/>
                  </a:lnTo>
                  <a:lnTo>
                    <a:pt x="1236" y="137"/>
                  </a:lnTo>
                  <a:lnTo>
                    <a:pt x="1248" y="138"/>
                  </a:lnTo>
                  <a:lnTo>
                    <a:pt x="1253" y="143"/>
                  </a:lnTo>
                  <a:lnTo>
                    <a:pt x="1257" y="139"/>
                  </a:lnTo>
                  <a:lnTo>
                    <a:pt x="1262" y="138"/>
                  </a:lnTo>
                  <a:lnTo>
                    <a:pt x="1268" y="143"/>
                  </a:lnTo>
                  <a:lnTo>
                    <a:pt x="1272" y="138"/>
                  </a:lnTo>
                  <a:lnTo>
                    <a:pt x="1272" y="137"/>
                  </a:lnTo>
                  <a:lnTo>
                    <a:pt x="1278" y="133"/>
                  </a:lnTo>
                  <a:lnTo>
                    <a:pt x="1280" y="134"/>
                  </a:lnTo>
                  <a:lnTo>
                    <a:pt x="1283" y="138"/>
                  </a:lnTo>
                  <a:lnTo>
                    <a:pt x="1286" y="151"/>
                  </a:lnTo>
                  <a:lnTo>
                    <a:pt x="1289" y="155"/>
                  </a:lnTo>
                  <a:lnTo>
                    <a:pt x="1289" y="160"/>
                  </a:lnTo>
                  <a:lnTo>
                    <a:pt x="1292" y="163"/>
                  </a:lnTo>
                  <a:lnTo>
                    <a:pt x="1294" y="169"/>
                  </a:lnTo>
                  <a:lnTo>
                    <a:pt x="1298" y="164"/>
                  </a:lnTo>
                  <a:lnTo>
                    <a:pt x="1298" y="160"/>
                  </a:lnTo>
                  <a:lnTo>
                    <a:pt x="1297" y="160"/>
                  </a:lnTo>
                  <a:lnTo>
                    <a:pt x="1297" y="157"/>
                  </a:lnTo>
                  <a:lnTo>
                    <a:pt x="1298" y="157"/>
                  </a:lnTo>
                  <a:lnTo>
                    <a:pt x="1303" y="160"/>
                  </a:lnTo>
                  <a:lnTo>
                    <a:pt x="1304" y="160"/>
                  </a:lnTo>
                  <a:lnTo>
                    <a:pt x="1307" y="160"/>
                  </a:lnTo>
                  <a:lnTo>
                    <a:pt x="1311" y="160"/>
                  </a:lnTo>
                  <a:lnTo>
                    <a:pt x="1312" y="160"/>
                  </a:lnTo>
                  <a:lnTo>
                    <a:pt x="1314" y="162"/>
                  </a:lnTo>
                  <a:lnTo>
                    <a:pt x="1314" y="164"/>
                  </a:lnTo>
                  <a:lnTo>
                    <a:pt x="1312" y="164"/>
                  </a:lnTo>
                  <a:lnTo>
                    <a:pt x="1315" y="170"/>
                  </a:lnTo>
                  <a:lnTo>
                    <a:pt x="1315" y="172"/>
                  </a:lnTo>
                  <a:lnTo>
                    <a:pt x="1312" y="177"/>
                  </a:lnTo>
                  <a:lnTo>
                    <a:pt x="1312" y="179"/>
                  </a:lnTo>
                  <a:lnTo>
                    <a:pt x="1326" y="179"/>
                  </a:lnTo>
                  <a:lnTo>
                    <a:pt x="1330" y="183"/>
                  </a:lnTo>
                  <a:lnTo>
                    <a:pt x="1340" y="183"/>
                  </a:lnTo>
                  <a:lnTo>
                    <a:pt x="1351" y="186"/>
                  </a:lnTo>
                  <a:lnTo>
                    <a:pt x="1357" y="187"/>
                  </a:lnTo>
                  <a:lnTo>
                    <a:pt x="1358" y="192"/>
                  </a:lnTo>
                  <a:lnTo>
                    <a:pt x="1359" y="196"/>
                  </a:lnTo>
                  <a:lnTo>
                    <a:pt x="1365" y="200"/>
                  </a:lnTo>
                  <a:lnTo>
                    <a:pt x="1371" y="214"/>
                  </a:lnTo>
                  <a:lnTo>
                    <a:pt x="1373" y="214"/>
                  </a:lnTo>
                  <a:lnTo>
                    <a:pt x="1375" y="222"/>
                  </a:lnTo>
                  <a:lnTo>
                    <a:pt x="1378" y="222"/>
                  </a:lnTo>
                  <a:lnTo>
                    <a:pt x="1384" y="226"/>
                  </a:lnTo>
                  <a:lnTo>
                    <a:pt x="1390" y="222"/>
                  </a:lnTo>
                  <a:lnTo>
                    <a:pt x="1397" y="219"/>
                  </a:lnTo>
                  <a:lnTo>
                    <a:pt x="1405" y="219"/>
                  </a:lnTo>
                  <a:lnTo>
                    <a:pt x="1408" y="214"/>
                  </a:lnTo>
                  <a:lnTo>
                    <a:pt x="1411" y="214"/>
                  </a:lnTo>
                  <a:lnTo>
                    <a:pt x="1414" y="213"/>
                  </a:lnTo>
                  <a:lnTo>
                    <a:pt x="1414" y="205"/>
                  </a:lnTo>
                  <a:lnTo>
                    <a:pt x="1417" y="204"/>
                  </a:lnTo>
                  <a:lnTo>
                    <a:pt x="1421" y="200"/>
                  </a:lnTo>
                  <a:lnTo>
                    <a:pt x="1425" y="205"/>
                  </a:lnTo>
                  <a:lnTo>
                    <a:pt x="1426" y="209"/>
                  </a:lnTo>
                  <a:lnTo>
                    <a:pt x="1428" y="217"/>
                  </a:lnTo>
                  <a:lnTo>
                    <a:pt x="1428" y="221"/>
                  </a:lnTo>
                  <a:lnTo>
                    <a:pt x="1425" y="222"/>
                  </a:lnTo>
                  <a:lnTo>
                    <a:pt x="1426" y="230"/>
                  </a:lnTo>
                  <a:lnTo>
                    <a:pt x="1432" y="237"/>
                  </a:lnTo>
                  <a:lnTo>
                    <a:pt x="1436" y="241"/>
                  </a:lnTo>
                  <a:lnTo>
                    <a:pt x="1443" y="245"/>
                  </a:lnTo>
                  <a:lnTo>
                    <a:pt x="1452" y="250"/>
                  </a:lnTo>
                  <a:lnTo>
                    <a:pt x="1454" y="250"/>
                  </a:lnTo>
                  <a:lnTo>
                    <a:pt x="1457" y="250"/>
                  </a:lnTo>
                  <a:lnTo>
                    <a:pt x="1463" y="244"/>
                  </a:lnTo>
                  <a:lnTo>
                    <a:pt x="1468" y="230"/>
                  </a:lnTo>
                  <a:lnTo>
                    <a:pt x="1471" y="228"/>
                  </a:lnTo>
                  <a:lnTo>
                    <a:pt x="1472" y="230"/>
                  </a:lnTo>
                  <a:lnTo>
                    <a:pt x="1474" y="232"/>
                  </a:lnTo>
                  <a:lnTo>
                    <a:pt x="1474" y="236"/>
                  </a:lnTo>
                  <a:lnTo>
                    <a:pt x="1474" y="241"/>
                  </a:lnTo>
                  <a:lnTo>
                    <a:pt x="1472" y="244"/>
                  </a:lnTo>
                  <a:lnTo>
                    <a:pt x="1468" y="244"/>
                  </a:lnTo>
                  <a:lnTo>
                    <a:pt x="1467" y="245"/>
                  </a:lnTo>
                  <a:lnTo>
                    <a:pt x="1472" y="249"/>
                  </a:lnTo>
                  <a:lnTo>
                    <a:pt x="1475" y="253"/>
                  </a:lnTo>
                  <a:lnTo>
                    <a:pt x="1479" y="253"/>
                  </a:lnTo>
                  <a:lnTo>
                    <a:pt x="1482" y="254"/>
                  </a:lnTo>
                  <a:lnTo>
                    <a:pt x="1483" y="254"/>
                  </a:lnTo>
                  <a:lnTo>
                    <a:pt x="1485" y="258"/>
                  </a:lnTo>
                  <a:lnTo>
                    <a:pt x="1483" y="263"/>
                  </a:lnTo>
                  <a:lnTo>
                    <a:pt x="1479" y="266"/>
                  </a:lnTo>
                  <a:lnTo>
                    <a:pt x="1479" y="267"/>
                  </a:lnTo>
                  <a:lnTo>
                    <a:pt x="1475" y="273"/>
                  </a:lnTo>
                  <a:lnTo>
                    <a:pt x="1475" y="279"/>
                  </a:lnTo>
                  <a:lnTo>
                    <a:pt x="1477" y="286"/>
                  </a:lnTo>
                  <a:lnTo>
                    <a:pt x="1471" y="299"/>
                  </a:lnTo>
                  <a:lnTo>
                    <a:pt x="1472" y="316"/>
                  </a:lnTo>
                  <a:lnTo>
                    <a:pt x="1471" y="320"/>
                  </a:lnTo>
                  <a:lnTo>
                    <a:pt x="1468" y="320"/>
                  </a:lnTo>
                  <a:lnTo>
                    <a:pt x="1468" y="321"/>
                  </a:lnTo>
                  <a:lnTo>
                    <a:pt x="1471" y="321"/>
                  </a:lnTo>
                  <a:lnTo>
                    <a:pt x="1472" y="324"/>
                  </a:lnTo>
                  <a:lnTo>
                    <a:pt x="1474" y="325"/>
                  </a:lnTo>
                  <a:lnTo>
                    <a:pt x="1477" y="334"/>
                  </a:lnTo>
                  <a:lnTo>
                    <a:pt x="1482" y="343"/>
                  </a:lnTo>
                  <a:lnTo>
                    <a:pt x="1485" y="344"/>
                  </a:lnTo>
                  <a:lnTo>
                    <a:pt x="1486" y="346"/>
                  </a:lnTo>
                  <a:lnTo>
                    <a:pt x="1489" y="351"/>
                  </a:lnTo>
                  <a:lnTo>
                    <a:pt x="1493" y="351"/>
                  </a:lnTo>
                  <a:lnTo>
                    <a:pt x="1494" y="357"/>
                  </a:lnTo>
                  <a:lnTo>
                    <a:pt x="1497" y="360"/>
                  </a:lnTo>
                  <a:lnTo>
                    <a:pt x="1502" y="361"/>
                  </a:lnTo>
                  <a:lnTo>
                    <a:pt x="1503" y="360"/>
                  </a:lnTo>
                  <a:lnTo>
                    <a:pt x="1510" y="357"/>
                  </a:lnTo>
                  <a:lnTo>
                    <a:pt x="1515" y="350"/>
                  </a:lnTo>
                  <a:lnTo>
                    <a:pt x="1518" y="350"/>
                  </a:lnTo>
                  <a:lnTo>
                    <a:pt x="1524" y="351"/>
                  </a:lnTo>
                  <a:lnTo>
                    <a:pt x="1528" y="350"/>
                  </a:lnTo>
                  <a:lnTo>
                    <a:pt x="1532" y="346"/>
                  </a:lnTo>
                  <a:lnTo>
                    <a:pt x="1542" y="346"/>
                  </a:lnTo>
                  <a:lnTo>
                    <a:pt x="1544" y="346"/>
                  </a:lnTo>
                  <a:lnTo>
                    <a:pt x="1546" y="346"/>
                  </a:lnTo>
                  <a:lnTo>
                    <a:pt x="1547" y="346"/>
                  </a:lnTo>
                  <a:lnTo>
                    <a:pt x="1549" y="351"/>
                  </a:lnTo>
                  <a:lnTo>
                    <a:pt x="1550" y="361"/>
                  </a:lnTo>
                  <a:lnTo>
                    <a:pt x="1553" y="366"/>
                  </a:lnTo>
                  <a:lnTo>
                    <a:pt x="1556" y="369"/>
                  </a:lnTo>
                  <a:lnTo>
                    <a:pt x="1549" y="370"/>
                  </a:lnTo>
                  <a:lnTo>
                    <a:pt x="1546" y="370"/>
                  </a:lnTo>
                  <a:lnTo>
                    <a:pt x="1544" y="373"/>
                  </a:lnTo>
                  <a:lnTo>
                    <a:pt x="1549" y="370"/>
                  </a:lnTo>
                  <a:lnTo>
                    <a:pt x="1554" y="370"/>
                  </a:lnTo>
                  <a:lnTo>
                    <a:pt x="1563" y="369"/>
                  </a:lnTo>
                  <a:lnTo>
                    <a:pt x="1572" y="370"/>
                  </a:lnTo>
                  <a:lnTo>
                    <a:pt x="1582" y="366"/>
                  </a:lnTo>
                  <a:lnTo>
                    <a:pt x="1583" y="365"/>
                  </a:lnTo>
                  <a:lnTo>
                    <a:pt x="1586" y="361"/>
                  </a:lnTo>
                  <a:lnTo>
                    <a:pt x="1588" y="360"/>
                  </a:lnTo>
                  <a:lnTo>
                    <a:pt x="1590" y="360"/>
                  </a:lnTo>
                  <a:lnTo>
                    <a:pt x="1599" y="361"/>
                  </a:lnTo>
                  <a:lnTo>
                    <a:pt x="1604" y="366"/>
                  </a:lnTo>
                  <a:lnTo>
                    <a:pt x="1617" y="360"/>
                  </a:lnTo>
                  <a:lnTo>
                    <a:pt x="1625" y="344"/>
                  </a:lnTo>
                  <a:lnTo>
                    <a:pt x="1629" y="343"/>
                  </a:lnTo>
                  <a:lnTo>
                    <a:pt x="1631" y="337"/>
                  </a:lnTo>
                  <a:lnTo>
                    <a:pt x="1633" y="334"/>
                  </a:lnTo>
                  <a:lnTo>
                    <a:pt x="1638" y="334"/>
                  </a:lnTo>
                  <a:lnTo>
                    <a:pt x="1641" y="338"/>
                  </a:lnTo>
                  <a:lnTo>
                    <a:pt x="1647" y="344"/>
                  </a:lnTo>
                  <a:lnTo>
                    <a:pt x="1657" y="338"/>
                  </a:lnTo>
                  <a:lnTo>
                    <a:pt x="1664" y="337"/>
                  </a:lnTo>
                  <a:lnTo>
                    <a:pt x="1666" y="337"/>
                  </a:lnTo>
                  <a:lnTo>
                    <a:pt x="1668" y="338"/>
                  </a:lnTo>
                  <a:lnTo>
                    <a:pt x="1675" y="338"/>
                  </a:lnTo>
                  <a:lnTo>
                    <a:pt x="1682" y="338"/>
                  </a:lnTo>
                  <a:lnTo>
                    <a:pt x="1700" y="337"/>
                  </a:lnTo>
                  <a:lnTo>
                    <a:pt x="1704" y="338"/>
                  </a:lnTo>
                  <a:lnTo>
                    <a:pt x="1712" y="337"/>
                  </a:lnTo>
                  <a:lnTo>
                    <a:pt x="1716" y="338"/>
                  </a:lnTo>
                  <a:lnTo>
                    <a:pt x="1725" y="338"/>
                  </a:lnTo>
                  <a:lnTo>
                    <a:pt x="1729" y="344"/>
                  </a:lnTo>
                  <a:lnTo>
                    <a:pt x="1737" y="346"/>
                  </a:lnTo>
                  <a:lnTo>
                    <a:pt x="1737" y="350"/>
                  </a:lnTo>
                  <a:lnTo>
                    <a:pt x="1739" y="351"/>
                  </a:lnTo>
                  <a:lnTo>
                    <a:pt x="1738" y="351"/>
                  </a:lnTo>
                  <a:lnTo>
                    <a:pt x="1734" y="361"/>
                  </a:lnTo>
                  <a:lnTo>
                    <a:pt x="1735" y="365"/>
                  </a:lnTo>
                  <a:lnTo>
                    <a:pt x="1735" y="369"/>
                  </a:lnTo>
                  <a:lnTo>
                    <a:pt x="1734" y="370"/>
                  </a:lnTo>
                  <a:lnTo>
                    <a:pt x="1729" y="374"/>
                  </a:lnTo>
                  <a:lnTo>
                    <a:pt x="1729" y="382"/>
                  </a:lnTo>
                  <a:lnTo>
                    <a:pt x="1729" y="383"/>
                  </a:lnTo>
                  <a:lnTo>
                    <a:pt x="1728" y="387"/>
                  </a:lnTo>
                  <a:lnTo>
                    <a:pt x="1729" y="387"/>
                  </a:lnTo>
                  <a:lnTo>
                    <a:pt x="1731" y="391"/>
                  </a:lnTo>
                  <a:lnTo>
                    <a:pt x="1731" y="396"/>
                  </a:lnTo>
                  <a:lnTo>
                    <a:pt x="1734" y="396"/>
                  </a:lnTo>
                  <a:lnTo>
                    <a:pt x="1737" y="400"/>
                  </a:lnTo>
                  <a:lnTo>
                    <a:pt x="1739" y="402"/>
                  </a:lnTo>
                  <a:lnTo>
                    <a:pt x="1743" y="402"/>
                  </a:lnTo>
                  <a:lnTo>
                    <a:pt x="1746" y="400"/>
                  </a:lnTo>
                  <a:lnTo>
                    <a:pt x="1756" y="387"/>
                  </a:lnTo>
                  <a:lnTo>
                    <a:pt x="1756" y="386"/>
                  </a:lnTo>
                  <a:lnTo>
                    <a:pt x="1759" y="383"/>
                  </a:lnTo>
                  <a:lnTo>
                    <a:pt x="1773" y="374"/>
                  </a:lnTo>
                  <a:lnTo>
                    <a:pt x="1777" y="366"/>
                  </a:lnTo>
                  <a:lnTo>
                    <a:pt x="1781" y="357"/>
                  </a:lnTo>
                  <a:lnTo>
                    <a:pt x="1784" y="351"/>
                  </a:lnTo>
                  <a:lnTo>
                    <a:pt x="1785" y="351"/>
                  </a:lnTo>
                  <a:lnTo>
                    <a:pt x="1791" y="351"/>
                  </a:lnTo>
                  <a:lnTo>
                    <a:pt x="1799" y="351"/>
                  </a:lnTo>
                  <a:lnTo>
                    <a:pt x="1802" y="360"/>
                  </a:lnTo>
                  <a:lnTo>
                    <a:pt x="1803" y="361"/>
                  </a:lnTo>
                  <a:lnTo>
                    <a:pt x="1807" y="361"/>
                  </a:lnTo>
                  <a:lnTo>
                    <a:pt x="1812" y="366"/>
                  </a:lnTo>
                  <a:lnTo>
                    <a:pt x="1813" y="370"/>
                  </a:lnTo>
                  <a:lnTo>
                    <a:pt x="1814" y="370"/>
                  </a:lnTo>
                  <a:lnTo>
                    <a:pt x="1816" y="370"/>
                  </a:lnTo>
                  <a:lnTo>
                    <a:pt x="1818" y="374"/>
                  </a:lnTo>
                  <a:lnTo>
                    <a:pt x="1829" y="379"/>
                  </a:lnTo>
                  <a:lnTo>
                    <a:pt x="1837" y="378"/>
                  </a:lnTo>
                  <a:lnTo>
                    <a:pt x="1846" y="373"/>
                  </a:lnTo>
                  <a:lnTo>
                    <a:pt x="1856" y="370"/>
                  </a:lnTo>
                  <a:lnTo>
                    <a:pt x="1859" y="366"/>
                  </a:lnTo>
                  <a:lnTo>
                    <a:pt x="1867" y="361"/>
                  </a:lnTo>
                  <a:lnTo>
                    <a:pt x="1878" y="356"/>
                  </a:lnTo>
                  <a:lnTo>
                    <a:pt x="1885" y="351"/>
                  </a:lnTo>
                  <a:lnTo>
                    <a:pt x="1895" y="337"/>
                  </a:lnTo>
                  <a:lnTo>
                    <a:pt x="1899" y="333"/>
                  </a:lnTo>
                  <a:lnTo>
                    <a:pt x="1907" y="329"/>
                  </a:lnTo>
                  <a:lnTo>
                    <a:pt x="1917" y="324"/>
                  </a:lnTo>
                  <a:lnTo>
                    <a:pt x="1927" y="320"/>
                  </a:lnTo>
                  <a:lnTo>
                    <a:pt x="1932" y="315"/>
                  </a:lnTo>
                  <a:lnTo>
                    <a:pt x="1935" y="312"/>
                  </a:lnTo>
                  <a:lnTo>
                    <a:pt x="1938" y="312"/>
                  </a:lnTo>
                  <a:lnTo>
                    <a:pt x="1942" y="311"/>
                  </a:lnTo>
                  <a:lnTo>
                    <a:pt x="1944" y="308"/>
                  </a:lnTo>
                  <a:lnTo>
                    <a:pt x="1951" y="298"/>
                  </a:lnTo>
                  <a:lnTo>
                    <a:pt x="1952" y="289"/>
                  </a:lnTo>
                  <a:lnTo>
                    <a:pt x="1953" y="289"/>
                  </a:lnTo>
                  <a:lnTo>
                    <a:pt x="1956" y="289"/>
                  </a:lnTo>
                  <a:lnTo>
                    <a:pt x="1964" y="276"/>
                  </a:lnTo>
                  <a:lnTo>
                    <a:pt x="1966" y="267"/>
                  </a:lnTo>
                  <a:lnTo>
                    <a:pt x="1969" y="257"/>
                  </a:lnTo>
                  <a:lnTo>
                    <a:pt x="1971" y="250"/>
                  </a:lnTo>
                  <a:lnTo>
                    <a:pt x="1969" y="245"/>
                  </a:lnTo>
                  <a:lnTo>
                    <a:pt x="1971" y="244"/>
                  </a:lnTo>
                  <a:lnTo>
                    <a:pt x="1973" y="236"/>
                  </a:lnTo>
                  <a:lnTo>
                    <a:pt x="1978" y="232"/>
                  </a:lnTo>
                  <a:lnTo>
                    <a:pt x="1980" y="232"/>
                  </a:lnTo>
                  <a:lnTo>
                    <a:pt x="1981" y="236"/>
                  </a:lnTo>
                  <a:lnTo>
                    <a:pt x="1985" y="237"/>
                  </a:lnTo>
                  <a:lnTo>
                    <a:pt x="1987" y="237"/>
                  </a:lnTo>
                  <a:lnTo>
                    <a:pt x="1985" y="241"/>
                  </a:lnTo>
                  <a:lnTo>
                    <a:pt x="1988" y="250"/>
                  </a:lnTo>
                  <a:lnTo>
                    <a:pt x="1991" y="250"/>
                  </a:lnTo>
                  <a:lnTo>
                    <a:pt x="1994" y="257"/>
                  </a:lnTo>
                  <a:lnTo>
                    <a:pt x="1998" y="258"/>
                  </a:lnTo>
                  <a:lnTo>
                    <a:pt x="2002" y="258"/>
                  </a:lnTo>
                  <a:lnTo>
                    <a:pt x="2006" y="258"/>
                  </a:lnTo>
                  <a:lnTo>
                    <a:pt x="2013" y="263"/>
                  </a:lnTo>
                  <a:lnTo>
                    <a:pt x="2017" y="262"/>
                  </a:lnTo>
                  <a:lnTo>
                    <a:pt x="2019" y="263"/>
                  </a:lnTo>
                  <a:lnTo>
                    <a:pt x="2022" y="267"/>
                  </a:lnTo>
                  <a:lnTo>
                    <a:pt x="2023" y="267"/>
                  </a:lnTo>
                  <a:lnTo>
                    <a:pt x="2026" y="266"/>
                  </a:lnTo>
                  <a:lnTo>
                    <a:pt x="2027" y="266"/>
                  </a:lnTo>
                  <a:lnTo>
                    <a:pt x="2030" y="267"/>
                  </a:lnTo>
                  <a:lnTo>
                    <a:pt x="2033" y="267"/>
                  </a:lnTo>
                  <a:lnTo>
                    <a:pt x="2034" y="267"/>
                  </a:lnTo>
                  <a:lnTo>
                    <a:pt x="2036" y="263"/>
                  </a:lnTo>
                  <a:lnTo>
                    <a:pt x="2045" y="266"/>
                  </a:lnTo>
                  <a:lnTo>
                    <a:pt x="2047" y="267"/>
                  </a:lnTo>
                  <a:lnTo>
                    <a:pt x="2048" y="273"/>
                  </a:lnTo>
                  <a:lnTo>
                    <a:pt x="2051" y="273"/>
                  </a:lnTo>
                  <a:lnTo>
                    <a:pt x="2056" y="276"/>
                  </a:lnTo>
                  <a:lnTo>
                    <a:pt x="2058" y="276"/>
                  </a:lnTo>
                  <a:lnTo>
                    <a:pt x="2064" y="276"/>
                  </a:lnTo>
                  <a:lnTo>
                    <a:pt x="2067" y="276"/>
                  </a:lnTo>
                  <a:lnTo>
                    <a:pt x="2069" y="276"/>
                  </a:lnTo>
                  <a:lnTo>
                    <a:pt x="2074" y="271"/>
                  </a:lnTo>
                  <a:lnTo>
                    <a:pt x="2078" y="267"/>
                  </a:lnTo>
                  <a:lnTo>
                    <a:pt x="2084" y="267"/>
                  </a:lnTo>
                  <a:lnTo>
                    <a:pt x="2087" y="271"/>
                  </a:lnTo>
                  <a:lnTo>
                    <a:pt x="2088" y="271"/>
                  </a:lnTo>
                  <a:lnTo>
                    <a:pt x="2095" y="267"/>
                  </a:lnTo>
                  <a:lnTo>
                    <a:pt x="2101" y="267"/>
                  </a:lnTo>
                  <a:lnTo>
                    <a:pt x="2103" y="263"/>
                  </a:lnTo>
                  <a:lnTo>
                    <a:pt x="2112" y="258"/>
                  </a:lnTo>
                  <a:lnTo>
                    <a:pt x="2117" y="257"/>
                  </a:lnTo>
                  <a:lnTo>
                    <a:pt x="2119" y="257"/>
                  </a:lnTo>
                  <a:lnTo>
                    <a:pt x="2119" y="258"/>
                  </a:lnTo>
                  <a:lnTo>
                    <a:pt x="2123" y="258"/>
                  </a:lnTo>
                  <a:lnTo>
                    <a:pt x="2124" y="262"/>
                  </a:lnTo>
                  <a:lnTo>
                    <a:pt x="2126" y="262"/>
                  </a:lnTo>
                  <a:lnTo>
                    <a:pt x="2134" y="263"/>
                  </a:lnTo>
                  <a:lnTo>
                    <a:pt x="2145" y="258"/>
                  </a:lnTo>
                  <a:lnTo>
                    <a:pt x="2148" y="263"/>
                  </a:lnTo>
                  <a:lnTo>
                    <a:pt x="2151" y="263"/>
                  </a:lnTo>
                  <a:lnTo>
                    <a:pt x="2155" y="266"/>
                  </a:lnTo>
                  <a:lnTo>
                    <a:pt x="2158" y="266"/>
                  </a:lnTo>
                  <a:lnTo>
                    <a:pt x="2161" y="267"/>
                  </a:lnTo>
                  <a:lnTo>
                    <a:pt x="2167" y="267"/>
                  </a:lnTo>
                  <a:lnTo>
                    <a:pt x="2177" y="276"/>
                  </a:lnTo>
                  <a:lnTo>
                    <a:pt x="2180" y="281"/>
                  </a:lnTo>
                  <a:lnTo>
                    <a:pt x="2181" y="281"/>
                  </a:lnTo>
                  <a:lnTo>
                    <a:pt x="2181" y="284"/>
                  </a:lnTo>
                  <a:lnTo>
                    <a:pt x="2183" y="286"/>
                  </a:lnTo>
                  <a:lnTo>
                    <a:pt x="2197" y="294"/>
                  </a:lnTo>
                  <a:lnTo>
                    <a:pt x="2201" y="294"/>
                  </a:lnTo>
                  <a:lnTo>
                    <a:pt x="2203" y="298"/>
                  </a:lnTo>
                  <a:lnTo>
                    <a:pt x="2205" y="298"/>
                  </a:lnTo>
                  <a:lnTo>
                    <a:pt x="2209" y="294"/>
                  </a:lnTo>
                  <a:lnTo>
                    <a:pt x="2215" y="294"/>
                  </a:lnTo>
                  <a:lnTo>
                    <a:pt x="2220" y="294"/>
                  </a:lnTo>
                  <a:lnTo>
                    <a:pt x="2227" y="294"/>
                  </a:lnTo>
                  <a:lnTo>
                    <a:pt x="2230" y="298"/>
                  </a:lnTo>
                  <a:lnTo>
                    <a:pt x="2231" y="299"/>
                  </a:lnTo>
                  <a:lnTo>
                    <a:pt x="2237" y="301"/>
                  </a:lnTo>
                  <a:lnTo>
                    <a:pt x="2238" y="299"/>
                  </a:lnTo>
                  <a:lnTo>
                    <a:pt x="2245" y="299"/>
                  </a:lnTo>
                  <a:lnTo>
                    <a:pt x="2250" y="298"/>
                  </a:lnTo>
                  <a:lnTo>
                    <a:pt x="2252" y="299"/>
                  </a:lnTo>
                  <a:lnTo>
                    <a:pt x="2257" y="299"/>
                  </a:lnTo>
                  <a:lnTo>
                    <a:pt x="2261" y="301"/>
                  </a:lnTo>
                  <a:lnTo>
                    <a:pt x="2273" y="301"/>
                  </a:lnTo>
                  <a:lnTo>
                    <a:pt x="2282" y="308"/>
                  </a:lnTo>
                  <a:lnTo>
                    <a:pt x="2287" y="308"/>
                  </a:lnTo>
                  <a:lnTo>
                    <a:pt x="2290" y="312"/>
                  </a:lnTo>
                  <a:lnTo>
                    <a:pt x="2296" y="312"/>
                  </a:lnTo>
                  <a:lnTo>
                    <a:pt x="2298" y="312"/>
                  </a:lnTo>
                  <a:lnTo>
                    <a:pt x="2301" y="316"/>
                  </a:lnTo>
                  <a:lnTo>
                    <a:pt x="2308" y="316"/>
                  </a:lnTo>
                  <a:lnTo>
                    <a:pt x="2311" y="316"/>
                  </a:lnTo>
                  <a:lnTo>
                    <a:pt x="2315" y="312"/>
                  </a:lnTo>
                  <a:lnTo>
                    <a:pt x="2321" y="312"/>
                  </a:lnTo>
                  <a:lnTo>
                    <a:pt x="2323" y="311"/>
                  </a:lnTo>
                  <a:lnTo>
                    <a:pt x="2326" y="311"/>
                  </a:lnTo>
                  <a:lnTo>
                    <a:pt x="2327" y="308"/>
                  </a:lnTo>
                  <a:lnTo>
                    <a:pt x="2329" y="308"/>
                  </a:lnTo>
                  <a:lnTo>
                    <a:pt x="2332" y="307"/>
                  </a:lnTo>
                  <a:lnTo>
                    <a:pt x="2337" y="303"/>
                  </a:lnTo>
                  <a:lnTo>
                    <a:pt x="2338" y="301"/>
                  </a:lnTo>
                  <a:lnTo>
                    <a:pt x="2346" y="299"/>
                  </a:lnTo>
                  <a:lnTo>
                    <a:pt x="2347" y="301"/>
                  </a:lnTo>
                  <a:lnTo>
                    <a:pt x="2351" y="299"/>
                  </a:lnTo>
                  <a:lnTo>
                    <a:pt x="2358" y="301"/>
                  </a:lnTo>
                  <a:lnTo>
                    <a:pt x="2362" y="301"/>
                  </a:lnTo>
                  <a:lnTo>
                    <a:pt x="2365" y="301"/>
                  </a:lnTo>
                  <a:lnTo>
                    <a:pt x="2371" y="303"/>
                  </a:lnTo>
                  <a:lnTo>
                    <a:pt x="2373" y="308"/>
                  </a:lnTo>
                  <a:lnTo>
                    <a:pt x="2375" y="315"/>
                  </a:lnTo>
                  <a:lnTo>
                    <a:pt x="2379" y="315"/>
                  </a:lnTo>
                  <a:lnTo>
                    <a:pt x="2380" y="316"/>
                  </a:lnTo>
                  <a:lnTo>
                    <a:pt x="2383" y="320"/>
                  </a:lnTo>
                  <a:lnTo>
                    <a:pt x="2383" y="324"/>
                  </a:lnTo>
                  <a:lnTo>
                    <a:pt x="2385" y="324"/>
                  </a:lnTo>
                  <a:lnTo>
                    <a:pt x="2387" y="325"/>
                  </a:lnTo>
                  <a:lnTo>
                    <a:pt x="2393" y="325"/>
                  </a:lnTo>
                  <a:lnTo>
                    <a:pt x="2396" y="333"/>
                  </a:lnTo>
                  <a:lnTo>
                    <a:pt x="2401" y="337"/>
                  </a:lnTo>
                  <a:lnTo>
                    <a:pt x="2404" y="337"/>
                  </a:lnTo>
                  <a:lnTo>
                    <a:pt x="2405" y="334"/>
                  </a:lnTo>
                  <a:lnTo>
                    <a:pt x="2410" y="334"/>
                  </a:lnTo>
                  <a:lnTo>
                    <a:pt x="2411" y="334"/>
                  </a:lnTo>
                  <a:lnTo>
                    <a:pt x="2415" y="337"/>
                  </a:lnTo>
                  <a:lnTo>
                    <a:pt x="2419" y="337"/>
                  </a:lnTo>
                  <a:lnTo>
                    <a:pt x="2426" y="338"/>
                  </a:lnTo>
                  <a:lnTo>
                    <a:pt x="2429" y="343"/>
                  </a:lnTo>
                  <a:lnTo>
                    <a:pt x="2437" y="346"/>
                  </a:lnTo>
                  <a:lnTo>
                    <a:pt x="2440" y="346"/>
                  </a:lnTo>
                  <a:lnTo>
                    <a:pt x="2446" y="344"/>
                  </a:lnTo>
                  <a:lnTo>
                    <a:pt x="2450" y="344"/>
                  </a:lnTo>
                  <a:lnTo>
                    <a:pt x="2457" y="343"/>
                  </a:lnTo>
                  <a:lnTo>
                    <a:pt x="2462" y="343"/>
                  </a:lnTo>
                  <a:lnTo>
                    <a:pt x="2465" y="338"/>
                  </a:lnTo>
                  <a:lnTo>
                    <a:pt x="2473" y="324"/>
                  </a:lnTo>
                  <a:lnTo>
                    <a:pt x="2475" y="316"/>
                  </a:lnTo>
                  <a:lnTo>
                    <a:pt x="2485" y="308"/>
                  </a:lnTo>
                  <a:lnTo>
                    <a:pt x="2493" y="301"/>
                  </a:lnTo>
                  <a:lnTo>
                    <a:pt x="2503" y="299"/>
                  </a:lnTo>
                  <a:lnTo>
                    <a:pt x="2507" y="299"/>
                  </a:lnTo>
                  <a:lnTo>
                    <a:pt x="2512" y="294"/>
                  </a:lnTo>
                  <a:lnTo>
                    <a:pt x="2517" y="294"/>
                  </a:lnTo>
                  <a:lnTo>
                    <a:pt x="2523" y="294"/>
                  </a:lnTo>
                  <a:lnTo>
                    <a:pt x="2528" y="289"/>
                  </a:lnTo>
                  <a:lnTo>
                    <a:pt x="2531" y="286"/>
                  </a:lnTo>
                  <a:lnTo>
                    <a:pt x="2533" y="286"/>
                  </a:lnTo>
                  <a:lnTo>
                    <a:pt x="2535" y="286"/>
                  </a:lnTo>
                  <a:lnTo>
                    <a:pt x="2536" y="284"/>
                  </a:lnTo>
                  <a:lnTo>
                    <a:pt x="2540" y="286"/>
                  </a:lnTo>
                  <a:lnTo>
                    <a:pt x="2547" y="288"/>
                  </a:lnTo>
                  <a:lnTo>
                    <a:pt x="2550" y="288"/>
                  </a:lnTo>
                  <a:lnTo>
                    <a:pt x="2554" y="281"/>
                  </a:lnTo>
                  <a:lnTo>
                    <a:pt x="2557" y="286"/>
                  </a:lnTo>
                  <a:lnTo>
                    <a:pt x="2561" y="288"/>
                  </a:lnTo>
                  <a:lnTo>
                    <a:pt x="2570" y="288"/>
                  </a:lnTo>
                  <a:lnTo>
                    <a:pt x="2572" y="289"/>
                  </a:lnTo>
                  <a:lnTo>
                    <a:pt x="2578" y="289"/>
                  </a:lnTo>
                  <a:lnTo>
                    <a:pt x="2581" y="294"/>
                  </a:lnTo>
                  <a:lnTo>
                    <a:pt x="2583" y="289"/>
                  </a:lnTo>
                  <a:lnTo>
                    <a:pt x="2586" y="289"/>
                  </a:lnTo>
                  <a:lnTo>
                    <a:pt x="2595" y="294"/>
                  </a:lnTo>
                  <a:lnTo>
                    <a:pt x="2598" y="294"/>
                  </a:lnTo>
                  <a:lnTo>
                    <a:pt x="2600" y="294"/>
                  </a:lnTo>
                  <a:lnTo>
                    <a:pt x="2603" y="294"/>
                  </a:lnTo>
                  <a:lnTo>
                    <a:pt x="2604" y="289"/>
                  </a:lnTo>
                  <a:lnTo>
                    <a:pt x="2610" y="289"/>
                  </a:lnTo>
                  <a:lnTo>
                    <a:pt x="2615" y="286"/>
                  </a:lnTo>
                  <a:lnTo>
                    <a:pt x="2617" y="286"/>
                  </a:lnTo>
                  <a:lnTo>
                    <a:pt x="2621" y="281"/>
                  </a:lnTo>
                  <a:lnTo>
                    <a:pt x="2628" y="281"/>
                  </a:lnTo>
                  <a:lnTo>
                    <a:pt x="2633" y="276"/>
                  </a:lnTo>
                  <a:lnTo>
                    <a:pt x="2639" y="273"/>
                  </a:lnTo>
                  <a:lnTo>
                    <a:pt x="2640" y="267"/>
                  </a:lnTo>
                  <a:lnTo>
                    <a:pt x="2645" y="266"/>
                  </a:lnTo>
                  <a:lnTo>
                    <a:pt x="2647" y="263"/>
                  </a:lnTo>
                  <a:lnTo>
                    <a:pt x="2651" y="258"/>
                  </a:lnTo>
                  <a:lnTo>
                    <a:pt x="2654" y="257"/>
                  </a:lnTo>
                  <a:lnTo>
                    <a:pt x="2657" y="254"/>
                  </a:lnTo>
                  <a:lnTo>
                    <a:pt x="2662" y="254"/>
                  </a:lnTo>
                  <a:lnTo>
                    <a:pt x="2664" y="253"/>
                  </a:lnTo>
                  <a:lnTo>
                    <a:pt x="2671" y="254"/>
                  </a:lnTo>
                  <a:lnTo>
                    <a:pt x="2675" y="250"/>
                  </a:lnTo>
                  <a:lnTo>
                    <a:pt x="2679" y="249"/>
                  </a:lnTo>
                  <a:lnTo>
                    <a:pt x="2683" y="245"/>
                  </a:lnTo>
                  <a:lnTo>
                    <a:pt x="2693" y="245"/>
                  </a:lnTo>
                  <a:lnTo>
                    <a:pt x="2699" y="241"/>
                  </a:lnTo>
                  <a:lnTo>
                    <a:pt x="2703" y="241"/>
                  </a:lnTo>
                  <a:lnTo>
                    <a:pt x="2715" y="237"/>
                  </a:lnTo>
                  <a:lnTo>
                    <a:pt x="2718" y="237"/>
                  </a:lnTo>
                  <a:lnTo>
                    <a:pt x="2725" y="236"/>
                  </a:lnTo>
                  <a:lnTo>
                    <a:pt x="2732" y="232"/>
                  </a:lnTo>
                  <a:lnTo>
                    <a:pt x="2733" y="232"/>
                  </a:lnTo>
                  <a:lnTo>
                    <a:pt x="2737" y="222"/>
                  </a:lnTo>
                  <a:lnTo>
                    <a:pt x="2742" y="221"/>
                  </a:lnTo>
                  <a:lnTo>
                    <a:pt x="2750" y="209"/>
                  </a:lnTo>
                  <a:lnTo>
                    <a:pt x="2754" y="205"/>
                  </a:lnTo>
                  <a:lnTo>
                    <a:pt x="2760" y="200"/>
                  </a:lnTo>
                  <a:lnTo>
                    <a:pt x="2760" y="192"/>
                  </a:lnTo>
                  <a:lnTo>
                    <a:pt x="2763" y="183"/>
                  </a:lnTo>
                  <a:lnTo>
                    <a:pt x="2764" y="174"/>
                  </a:lnTo>
                  <a:lnTo>
                    <a:pt x="2760" y="172"/>
                  </a:lnTo>
                  <a:lnTo>
                    <a:pt x="2756" y="170"/>
                  </a:lnTo>
                  <a:lnTo>
                    <a:pt x="2756" y="164"/>
                  </a:lnTo>
                  <a:lnTo>
                    <a:pt x="2753" y="159"/>
                  </a:lnTo>
                  <a:lnTo>
                    <a:pt x="2757" y="151"/>
                  </a:lnTo>
                  <a:lnTo>
                    <a:pt x="2757" y="143"/>
                  </a:lnTo>
                  <a:lnTo>
                    <a:pt x="2761" y="138"/>
                  </a:lnTo>
                  <a:lnTo>
                    <a:pt x="2761" y="134"/>
                  </a:lnTo>
                  <a:lnTo>
                    <a:pt x="2761" y="133"/>
                  </a:lnTo>
                  <a:lnTo>
                    <a:pt x="2767" y="125"/>
                  </a:lnTo>
                  <a:lnTo>
                    <a:pt x="2768" y="125"/>
                  </a:lnTo>
                  <a:lnTo>
                    <a:pt x="2772" y="125"/>
                  </a:lnTo>
                  <a:lnTo>
                    <a:pt x="2776" y="121"/>
                  </a:lnTo>
                  <a:lnTo>
                    <a:pt x="2778" y="116"/>
                  </a:lnTo>
                  <a:lnTo>
                    <a:pt x="2781" y="112"/>
                  </a:lnTo>
                  <a:lnTo>
                    <a:pt x="2784" y="108"/>
                  </a:lnTo>
                  <a:lnTo>
                    <a:pt x="2785" y="93"/>
                  </a:lnTo>
                  <a:lnTo>
                    <a:pt x="2792" y="89"/>
                  </a:lnTo>
                  <a:lnTo>
                    <a:pt x="2793" y="89"/>
                  </a:lnTo>
                  <a:lnTo>
                    <a:pt x="2795" y="85"/>
                  </a:lnTo>
                  <a:lnTo>
                    <a:pt x="2793" y="79"/>
                  </a:lnTo>
                  <a:lnTo>
                    <a:pt x="2793" y="71"/>
                  </a:lnTo>
                  <a:lnTo>
                    <a:pt x="2795" y="67"/>
                  </a:lnTo>
                  <a:lnTo>
                    <a:pt x="2795" y="62"/>
                  </a:lnTo>
                  <a:lnTo>
                    <a:pt x="2796" y="56"/>
                  </a:lnTo>
                  <a:lnTo>
                    <a:pt x="2796" y="45"/>
                  </a:lnTo>
                  <a:lnTo>
                    <a:pt x="2796" y="41"/>
                  </a:lnTo>
                  <a:lnTo>
                    <a:pt x="2797" y="35"/>
                  </a:lnTo>
                  <a:lnTo>
                    <a:pt x="2803" y="39"/>
                  </a:lnTo>
                  <a:lnTo>
                    <a:pt x="2807" y="35"/>
                  </a:lnTo>
                  <a:lnTo>
                    <a:pt x="2810" y="35"/>
                  </a:lnTo>
                  <a:lnTo>
                    <a:pt x="2818" y="35"/>
                  </a:lnTo>
                  <a:lnTo>
                    <a:pt x="2820" y="35"/>
                  </a:lnTo>
                  <a:lnTo>
                    <a:pt x="2820" y="31"/>
                  </a:lnTo>
                  <a:lnTo>
                    <a:pt x="2822" y="30"/>
                  </a:lnTo>
                  <a:lnTo>
                    <a:pt x="2825" y="30"/>
                  </a:lnTo>
                  <a:lnTo>
                    <a:pt x="2828" y="23"/>
                  </a:lnTo>
                  <a:lnTo>
                    <a:pt x="2828" y="21"/>
                  </a:lnTo>
                  <a:lnTo>
                    <a:pt x="2834" y="18"/>
                  </a:lnTo>
                  <a:lnTo>
                    <a:pt x="2841" y="14"/>
                  </a:lnTo>
                  <a:lnTo>
                    <a:pt x="2849" y="17"/>
                  </a:lnTo>
                  <a:lnTo>
                    <a:pt x="2852" y="14"/>
                  </a:lnTo>
                  <a:lnTo>
                    <a:pt x="2855" y="9"/>
                  </a:lnTo>
                  <a:lnTo>
                    <a:pt x="2859" y="8"/>
                  </a:lnTo>
                  <a:lnTo>
                    <a:pt x="2861" y="5"/>
                  </a:lnTo>
                  <a:lnTo>
                    <a:pt x="2864" y="1"/>
                  </a:lnTo>
                  <a:lnTo>
                    <a:pt x="2867" y="5"/>
                  </a:lnTo>
                  <a:lnTo>
                    <a:pt x="2872" y="0"/>
                  </a:lnTo>
                  <a:lnTo>
                    <a:pt x="2875" y="0"/>
                  </a:lnTo>
                  <a:lnTo>
                    <a:pt x="2878" y="0"/>
                  </a:lnTo>
                  <a:lnTo>
                    <a:pt x="2881" y="0"/>
                  </a:lnTo>
                  <a:lnTo>
                    <a:pt x="2884" y="0"/>
                  </a:lnTo>
                  <a:lnTo>
                    <a:pt x="2888" y="0"/>
                  </a:lnTo>
                  <a:lnTo>
                    <a:pt x="2891" y="0"/>
                  </a:lnTo>
                  <a:lnTo>
                    <a:pt x="2894" y="5"/>
                  </a:lnTo>
                  <a:lnTo>
                    <a:pt x="2900" y="9"/>
                  </a:lnTo>
                  <a:lnTo>
                    <a:pt x="2903" y="9"/>
                  </a:lnTo>
                  <a:lnTo>
                    <a:pt x="2909" y="9"/>
                  </a:lnTo>
                  <a:lnTo>
                    <a:pt x="2910" y="9"/>
                  </a:lnTo>
                  <a:lnTo>
                    <a:pt x="2913" y="9"/>
                  </a:lnTo>
                  <a:lnTo>
                    <a:pt x="2917" y="5"/>
                  </a:lnTo>
                  <a:lnTo>
                    <a:pt x="2922" y="1"/>
                  </a:lnTo>
                  <a:lnTo>
                    <a:pt x="2927" y="1"/>
                  </a:lnTo>
                  <a:lnTo>
                    <a:pt x="2932" y="5"/>
                  </a:lnTo>
                  <a:lnTo>
                    <a:pt x="2939" y="9"/>
                  </a:lnTo>
                  <a:lnTo>
                    <a:pt x="2941" y="9"/>
                  </a:lnTo>
                  <a:lnTo>
                    <a:pt x="2947" y="13"/>
                  </a:lnTo>
                  <a:lnTo>
                    <a:pt x="2949" y="9"/>
                  </a:lnTo>
                  <a:lnTo>
                    <a:pt x="2952" y="9"/>
                  </a:lnTo>
                  <a:lnTo>
                    <a:pt x="2957" y="9"/>
                  </a:lnTo>
                  <a:lnTo>
                    <a:pt x="2960" y="9"/>
                  </a:lnTo>
                  <a:lnTo>
                    <a:pt x="2967" y="9"/>
                  </a:lnTo>
                  <a:lnTo>
                    <a:pt x="2974" y="14"/>
                  </a:lnTo>
                  <a:lnTo>
                    <a:pt x="2980" y="14"/>
                  </a:lnTo>
                  <a:lnTo>
                    <a:pt x="2994" y="9"/>
                  </a:lnTo>
                  <a:lnTo>
                    <a:pt x="2996" y="8"/>
                  </a:lnTo>
                  <a:lnTo>
                    <a:pt x="3007" y="5"/>
                  </a:lnTo>
                  <a:lnTo>
                    <a:pt x="3009" y="1"/>
                  </a:lnTo>
                  <a:lnTo>
                    <a:pt x="3014" y="0"/>
                  </a:lnTo>
                  <a:lnTo>
                    <a:pt x="3022" y="0"/>
                  </a:lnTo>
                  <a:lnTo>
                    <a:pt x="3024" y="0"/>
                  </a:lnTo>
                  <a:lnTo>
                    <a:pt x="3028" y="1"/>
                  </a:lnTo>
                  <a:lnTo>
                    <a:pt x="3031" y="5"/>
                  </a:lnTo>
                  <a:lnTo>
                    <a:pt x="3034" y="14"/>
                  </a:lnTo>
                  <a:lnTo>
                    <a:pt x="3035" y="14"/>
                  </a:lnTo>
                  <a:lnTo>
                    <a:pt x="3041" y="17"/>
                  </a:lnTo>
                  <a:lnTo>
                    <a:pt x="3042" y="18"/>
                  </a:lnTo>
                  <a:lnTo>
                    <a:pt x="3045" y="22"/>
                  </a:lnTo>
                  <a:lnTo>
                    <a:pt x="3052" y="22"/>
                  </a:lnTo>
                  <a:lnTo>
                    <a:pt x="3055" y="18"/>
                  </a:lnTo>
                  <a:lnTo>
                    <a:pt x="3059" y="17"/>
                  </a:lnTo>
                  <a:lnTo>
                    <a:pt x="3063" y="18"/>
                  </a:lnTo>
                  <a:lnTo>
                    <a:pt x="3070" y="17"/>
                  </a:lnTo>
                  <a:lnTo>
                    <a:pt x="3078" y="18"/>
                  </a:lnTo>
                  <a:lnTo>
                    <a:pt x="3082" y="18"/>
                  </a:lnTo>
                  <a:lnTo>
                    <a:pt x="3087" y="14"/>
                  </a:lnTo>
                  <a:lnTo>
                    <a:pt x="3094" y="14"/>
                  </a:lnTo>
                  <a:lnTo>
                    <a:pt x="3095" y="17"/>
                  </a:lnTo>
                  <a:lnTo>
                    <a:pt x="3095" y="18"/>
                  </a:lnTo>
                  <a:lnTo>
                    <a:pt x="3098" y="22"/>
                  </a:lnTo>
                  <a:lnTo>
                    <a:pt x="3099" y="22"/>
                  </a:lnTo>
                  <a:lnTo>
                    <a:pt x="3101" y="22"/>
                  </a:lnTo>
                  <a:lnTo>
                    <a:pt x="3104" y="22"/>
                  </a:lnTo>
                  <a:lnTo>
                    <a:pt x="3105" y="22"/>
                  </a:lnTo>
                  <a:lnTo>
                    <a:pt x="3106" y="22"/>
                  </a:lnTo>
                  <a:lnTo>
                    <a:pt x="3107" y="23"/>
                  </a:lnTo>
                  <a:lnTo>
                    <a:pt x="3110" y="22"/>
                  </a:lnTo>
                  <a:lnTo>
                    <a:pt x="3112" y="28"/>
                  </a:lnTo>
                  <a:lnTo>
                    <a:pt x="3117" y="28"/>
                  </a:lnTo>
                  <a:lnTo>
                    <a:pt x="3123" y="18"/>
                  </a:lnTo>
                  <a:lnTo>
                    <a:pt x="3130" y="22"/>
                  </a:lnTo>
                  <a:lnTo>
                    <a:pt x="3132" y="23"/>
                  </a:lnTo>
                  <a:lnTo>
                    <a:pt x="3135" y="28"/>
                  </a:lnTo>
                  <a:lnTo>
                    <a:pt x="3141" y="22"/>
                  </a:lnTo>
                  <a:lnTo>
                    <a:pt x="3142" y="22"/>
                  </a:lnTo>
                  <a:lnTo>
                    <a:pt x="3146" y="23"/>
                  </a:lnTo>
                  <a:lnTo>
                    <a:pt x="3146" y="30"/>
                  </a:lnTo>
                  <a:lnTo>
                    <a:pt x="3151" y="31"/>
                  </a:lnTo>
                  <a:lnTo>
                    <a:pt x="3149" y="35"/>
                  </a:lnTo>
                  <a:lnTo>
                    <a:pt x="3152" y="41"/>
                  </a:lnTo>
                  <a:lnTo>
                    <a:pt x="3152" y="48"/>
                  </a:lnTo>
                  <a:lnTo>
                    <a:pt x="3152" y="53"/>
                  </a:lnTo>
                  <a:lnTo>
                    <a:pt x="3152" y="58"/>
                  </a:lnTo>
                  <a:lnTo>
                    <a:pt x="3157" y="63"/>
                  </a:lnTo>
                  <a:lnTo>
                    <a:pt x="3162" y="62"/>
                  </a:lnTo>
                  <a:lnTo>
                    <a:pt x="3163" y="58"/>
                  </a:lnTo>
                  <a:lnTo>
                    <a:pt x="3170" y="58"/>
                  </a:lnTo>
                  <a:lnTo>
                    <a:pt x="3176" y="56"/>
                  </a:lnTo>
                  <a:lnTo>
                    <a:pt x="3187" y="56"/>
                  </a:lnTo>
                  <a:lnTo>
                    <a:pt x="3191" y="58"/>
                  </a:lnTo>
                  <a:lnTo>
                    <a:pt x="3196" y="62"/>
                  </a:lnTo>
                  <a:lnTo>
                    <a:pt x="3198" y="63"/>
                  </a:lnTo>
                  <a:lnTo>
                    <a:pt x="3201" y="67"/>
                  </a:lnTo>
                  <a:lnTo>
                    <a:pt x="3205" y="67"/>
                  </a:lnTo>
                  <a:lnTo>
                    <a:pt x="3206" y="71"/>
                  </a:lnTo>
                  <a:lnTo>
                    <a:pt x="3207" y="71"/>
                  </a:lnTo>
                  <a:lnTo>
                    <a:pt x="3207" y="76"/>
                  </a:lnTo>
                  <a:lnTo>
                    <a:pt x="3221" y="92"/>
                  </a:lnTo>
                  <a:lnTo>
                    <a:pt x="3227" y="93"/>
                  </a:lnTo>
                  <a:lnTo>
                    <a:pt x="3229" y="97"/>
                  </a:lnTo>
                  <a:lnTo>
                    <a:pt x="3229" y="101"/>
                  </a:lnTo>
                  <a:lnTo>
                    <a:pt x="3232" y="103"/>
                  </a:lnTo>
                  <a:lnTo>
                    <a:pt x="3238" y="103"/>
                  </a:lnTo>
                  <a:lnTo>
                    <a:pt x="3246" y="103"/>
                  </a:lnTo>
                  <a:lnTo>
                    <a:pt x="3251" y="107"/>
                  </a:lnTo>
                  <a:lnTo>
                    <a:pt x="3258" y="108"/>
                  </a:lnTo>
                  <a:lnTo>
                    <a:pt x="3262" y="108"/>
                  </a:lnTo>
                  <a:lnTo>
                    <a:pt x="3266" y="107"/>
                  </a:lnTo>
                  <a:lnTo>
                    <a:pt x="3271" y="108"/>
                  </a:lnTo>
                  <a:lnTo>
                    <a:pt x="3274" y="108"/>
                  </a:lnTo>
                  <a:lnTo>
                    <a:pt x="3276" y="112"/>
                  </a:lnTo>
                  <a:lnTo>
                    <a:pt x="3276" y="116"/>
                  </a:lnTo>
                  <a:lnTo>
                    <a:pt x="3279" y="120"/>
                  </a:lnTo>
                  <a:lnTo>
                    <a:pt x="3288" y="125"/>
                  </a:lnTo>
                  <a:lnTo>
                    <a:pt x="3291" y="129"/>
                  </a:lnTo>
                  <a:lnTo>
                    <a:pt x="3294" y="129"/>
                  </a:lnTo>
                  <a:lnTo>
                    <a:pt x="3296" y="133"/>
                  </a:lnTo>
                  <a:lnTo>
                    <a:pt x="3299" y="129"/>
                  </a:lnTo>
                  <a:lnTo>
                    <a:pt x="3301" y="129"/>
                  </a:lnTo>
                  <a:lnTo>
                    <a:pt x="3306" y="129"/>
                  </a:lnTo>
                  <a:lnTo>
                    <a:pt x="3308" y="129"/>
                  </a:lnTo>
                  <a:lnTo>
                    <a:pt x="3313" y="129"/>
                  </a:lnTo>
                  <a:lnTo>
                    <a:pt x="3320" y="133"/>
                  </a:lnTo>
                  <a:lnTo>
                    <a:pt x="3319" y="137"/>
                  </a:lnTo>
                  <a:lnTo>
                    <a:pt x="3312" y="147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pt-PT" sz="1200"/>
            </a:p>
          </p:txBody>
        </p:sp>
        <p:sp>
          <p:nvSpPr>
            <p:cNvPr id="193" name="Freeform 192"/>
            <p:cNvSpPr>
              <a:spLocks noEditPoints="1"/>
            </p:cNvSpPr>
            <p:nvPr/>
          </p:nvSpPr>
          <p:spPr bwMode="auto">
            <a:xfrm>
              <a:off x="1784648" y="1620702"/>
              <a:ext cx="445380" cy="800186"/>
            </a:xfrm>
            <a:custGeom>
              <a:avLst/>
              <a:gdLst>
                <a:gd name="T0" fmla="*/ 2047 w 2234"/>
                <a:gd name="T1" fmla="*/ 258 h 2965"/>
                <a:gd name="T2" fmla="*/ 2054 w 2234"/>
                <a:gd name="T3" fmla="*/ 382 h 2965"/>
                <a:gd name="T4" fmla="*/ 2068 w 2234"/>
                <a:gd name="T5" fmla="*/ 430 h 2965"/>
                <a:gd name="T6" fmla="*/ 1997 w 2234"/>
                <a:gd name="T7" fmla="*/ 640 h 2965"/>
                <a:gd name="T8" fmla="*/ 1976 w 2234"/>
                <a:gd name="T9" fmla="*/ 711 h 2965"/>
                <a:gd name="T10" fmla="*/ 2024 w 2234"/>
                <a:gd name="T11" fmla="*/ 800 h 2965"/>
                <a:gd name="T12" fmla="*/ 2012 w 2234"/>
                <a:gd name="T13" fmla="*/ 943 h 2965"/>
                <a:gd name="T14" fmla="*/ 2030 w 2234"/>
                <a:gd name="T15" fmla="*/ 1058 h 2965"/>
                <a:gd name="T16" fmla="*/ 2064 w 2234"/>
                <a:gd name="T17" fmla="*/ 1250 h 2965"/>
                <a:gd name="T18" fmla="*/ 2035 w 2234"/>
                <a:gd name="T19" fmla="*/ 1428 h 2965"/>
                <a:gd name="T20" fmla="*/ 2054 w 2234"/>
                <a:gd name="T21" fmla="*/ 1504 h 2965"/>
                <a:gd name="T22" fmla="*/ 2079 w 2234"/>
                <a:gd name="T23" fmla="*/ 1539 h 2965"/>
                <a:gd name="T24" fmla="*/ 2054 w 2234"/>
                <a:gd name="T25" fmla="*/ 1601 h 2965"/>
                <a:gd name="T26" fmla="*/ 2043 w 2234"/>
                <a:gd name="T27" fmla="*/ 1647 h 2965"/>
                <a:gd name="T28" fmla="*/ 2107 w 2234"/>
                <a:gd name="T29" fmla="*/ 1700 h 2965"/>
                <a:gd name="T30" fmla="*/ 2121 w 2234"/>
                <a:gd name="T31" fmla="*/ 1793 h 2965"/>
                <a:gd name="T32" fmla="*/ 2146 w 2234"/>
                <a:gd name="T33" fmla="*/ 1832 h 2965"/>
                <a:gd name="T34" fmla="*/ 2100 w 2234"/>
                <a:gd name="T35" fmla="*/ 1898 h 2965"/>
                <a:gd name="T36" fmla="*/ 2008 w 2234"/>
                <a:gd name="T37" fmla="*/ 1953 h 2965"/>
                <a:gd name="T38" fmla="*/ 2007 w 2234"/>
                <a:gd name="T39" fmla="*/ 2033 h 2965"/>
                <a:gd name="T40" fmla="*/ 2069 w 2234"/>
                <a:gd name="T41" fmla="*/ 2030 h 2965"/>
                <a:gd name="T42" fmla="*/ 2105 w 2234"/>
                <a:gd name="T43" fmla="*/ 2211 h 2965"/>
                <a:gd name="T44" fmla="*/ 2022 w 2234"/>
                <a:gd name="T45" fmla="*/ 2435 h 2965"/>
                <a:gd name="T46" fmla="*/ 1791 w 2234"/>
                <a:gd name="T47" fmla="*/ 2402 h 2965"/>
                <a:gd name="T48" fmla="*/ 1549 w 2234"/>
                <a:gd name="T49" fmla="*/ 2568 h 2965"/>
                <a:gd name="T50" fmla="*/ 1323 w 2234"/>
                <a:gd name="T51" fmla="*/ 2630 h 2965"/>
                <a:gd name="T52" fmla="*/ 1147 w 2234"/>
                <a:gd name="T53" fmla="*/ 2725 h 2965"/>
                <a:gd name="T54" fmla="*/ 923 w 2234"/>
                <a:gd name="T55" fmla="*/ 2809 h 2965"/>
                <a:gd name="T56" fmla="*/ 622 w 2234"/>
                <a:gd name="T57" fmla="*/ 2959 h 2965"/>
                <a:gd name="T58" fmla="*/ 356 w 2234"/>
                <a:gd name="T59" fmla="*/ 2920 h 2965"/>
                <a:gd name="T60" fmla="*/ 259 w 2234"/>
                <a:gd name="T61" fmla="*/ 2780 h 2965"/>
                <a:gd name="T62" fmla="*/ 180 w 2234"/>
                <a:gd name="T63" fmla="*/ 2629 h 2965"/>
                <a:gd name="T64" fmla="*/ 115 w 2234"/>
                <a:gd name="T65" fmla="*/ 2332 h 2965"/>
                <a:gd name="T66" fmla="*/ 202 w 2234"/>
                <a:gd name="T67" fmla="*/ 2231 h 2965"/>
                <a:gd name="T68" fmla="*/ 209 w 2234"/>
                <a:gd name="T69" fmla="*/ 2121 h 2965"/>
                <a:gd name="T70" fmla="*/ 37 w 2234"/>
                <a:gd name="T71" fmla="*/ 2025 h 2965"/>
                <a:gd name="T72" fmla="*/ 84 w 2234"/>
                <a:gd name="T73" fmla="*/ 1834 h 2965"/>
                <a:gd name="T74" fmla="*/ 88 w 2234"/>
                <a:gd name="T75" fmla="*/ 1676 h 2965"/>
                <a:gd name="T76" fmla="*/ 182 w 2234"/>
                <a:gd name="T77" fmla="*/ 1521 h 2965"/>
                <a:gd name="T78" fmla="*/ 323 w 2234"/>
                <a:gd name="T79" fmla="*/ 1321 h 2965"/>
                <a:gd name="T80" fmla="*/ 378 w 2234"/>
                <a:gd name="T81" fmla="*/ 955 h 2965"/>
                <a:gd name="T82" fmla="*/ 540 w 2234"/>
                <a:gd name="T83" fmla="*/ 672 h 2965"/>
                <a:gd name="T84" fmla="*/ 753 w 2234"/>
                <a:gd name="T85" fmla="*/ 573 h 2965"/>
                <a:gd name="T86" fmla="*/ 914 w 2234"/>
                <a:gd name="T87" fmla="*/ 560 h 2965"/>
                <a:gd name="T88" fmla="*/ 1120 w 2234"/>
                <a:gd name="T89" fmla="*/ 520 h 2965"/>
                <a:gd name="T90" fmla="*/ 1351 w 2234"/>
                <a:gd name="T91" fmla="*/ 391 h 2965"/>
                <a:gd name="T92" fmla="*/ 1501 w 2234"/>
                <a:gd name="T93" fmla="*/ 346 h 2965"/>
                <a:gd name="T94" fmla="*/ 1727 w 2234"/>
                <a:gd name="T95" fmla="*/ 216 h 2965"/>
                <a:gd name="T96" fmla="*/ 1930 w 2234"/>
                <a:gd name="T97" fmla="*/ 83 h 2965"/>
                <a:gd name="T98" fmla="*/ 2065 w 2234"/>
                <a:gd name="T99" fmla="*/ 15 h 2965"/>
                <a:gd name="T100" fmla="*/ 2040 w 2234"/>
                <a:gd name="T101" fmla="*/ 65 h 2965"/>
                <a:gd name="T102" fmla="*/ 2172 w 2234"/>
                <a:gd name="T103" fmla="*/ 172 h 2965"/>
                <a:gd name="T104" fmla="*/ 2115 w 2234"/>
                <a:gd name="T105" fmla="*/ 1527 h 2965"/>
                <a:gd name="T106" fmla="*/ 2140 w 2234"/>
                <a:gd name="T107" fmla="*/ 1486 h 2965"/>
                <a:gd name="T108" fmla="*/ 2132 w 2234"/>
                <a:gd name="T109" fmla="*/ 1556 h 2965"/>
                <a:gd name="T110" fmla="*/ 2171 w 2234"/>
                <a:gd name="T111" fmla="*/ 453 h 2965"/>
                <a:gd name="T112" fmla="*/ 2193 w 2234"/>
                <a:gd name="T113" fmla="*/ 306 h 2965"/>
                <a:gd name="T114" fmla="*/ 2199 w 2234"/>
                <a:gd name="T115" fmla="*/ 560 h 2965"/>
                <a:gd name="T116" fmla="*/ 2058 w 2234"/>
                <a:gd name="T117" fmla="*/ 79 h 2965"/>
                <a:gd name="T118" fmla="*/ 2142 w 2234"/>
                <a:gd name="T119" fmla="*/ 1705 h 2965"/>
                <a:gd name="T120" fmla="*/ 2164 w 2234"/>
                <a:gd name="T121" fmla="*/ 355 h 2965"/>
                <a:gd name="T122" fmla="*/ 2050 w 2234"/>
                <a:gd name="T123" fmla="*/ 2065 h 2965"/>
                <a:gd name="T124" fmla="*/ 2052 w 2234"/>
                <a:gd name="T125" fmla="*/ 1529 h 296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34"/>
                <a:gd name="T190" fmla="*/ 0 h 2965"/>
                <a:gd name="T191" fmla="*/ 2234 w 2234"/>
                <a:gd name="T192" fmla="*/ 2965 h 296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34" h="2965">
                  <a:moveTo>
                    <a:pt x="2165" y="185"/>
                  </a:moveTo>
                  <a:lnTo>
                    <a:pt x="2162" y="185"/>
                  </a:lnTo>
                  <a:lnTo>
                    <a:pt x="2159" y="181"/>
                  </a:lnTo>
                  <a:lnTo>
                    <a:pt x="2153" y="180"/>
                  </a:lnTo>
                  <a:lnTo>
                    <a:pt x="2137" y="177"/>
                  </a:lnTo>
                  <a:lnTo>
                    <a:pt x="2132" y="177"/>
                  </a:lnTo>
                  <a:lnTo>
                    <a:pt x="2128" y="172"/>
                  </a:lnTo>
                  <a:lnTo>
                    <a:pt x="2124" y="172"/>
                  </a:lnTo>
                  <a:lnTo>
                    <a:pt x="2111" y="177"/>
                  </a:lnTo>
                  <a:lnTo>
                    <a:pt x="2101" y="185"/>
                  </a:lnTo>
                  <a:lnTo>
                    <a:pt x="2069" y="208"/>
                  </a:lnTo>
                  <a:lnTo>
                    <a:pt x="2065" y="208"/>
                  </a:lnTo>
                  <a:lnTo>
                    <a:pt x="2064" y="212"/>
                  </a:lnTo>
                  <a:lnTo>
                    <a:pt x="2064" y="208"/>
                  </a:lnTo>
                  <a:lnTo>
                    <a:pt x="2058" y="208"/>
                  </a:lnTo>
                  <a:lnTo>
                    <a:pt x="2061" y="212"/>
                  </a:lnTo>
                  <a:lnTo>
                    <a:pt x="2060" y="208"/>
                  </a:lnTo>
                  <a:lnTo>
                    <a:pt x="2060" y="212"/>
                  </a:lnTo>
                  <a:lnTo>
                    <a:pt x="2058" y="212"/>
                  </a:lnTo>
                  <a:lnTo>
                    <a:pt x="2058" y="213"/>
                  </a:lnTo>
                  <a:lnTo>
                    <a:pt x="2057" y="213"/>
                  </a:lnTo>
                  <a:lnTo>
                    <a:pt x="2055" y="208"/>
                  </a:lnTo>
                  <a:lnTo>
                    <a:pt x="2055" y="204"/>
                  </a:lnTo>
                  <a:lnTo>
                    <a:pt x="2057" y="208"/>
                  </a:lnTo>
                  <a:lnTo>
                    <a:pt x="2064" y="200"/>
                  </a:lnTo>
                  <a:lnTo>
                    <a:pt x="2060" y="200"/>
                  </a:lnTo>
                  <a:lnTo>
                    <a:pt x="2054" y="204"/>
                  </a:lnTo>
                  <a:lnTo>
                    <a:pt x="2054" y="208"/>
                  </a:lnTo>
                  <a:lnTo>
                    <a:pt x="2047" y="225"/>
                  </a:lnTo>
                  <a:lnTo>
                    <a:pt x="2047" y="230"/>
                  </a:lnTo>
                  <a:lnTo>
                    <a:pt x="2049" y="236"/>
                  </a:lnTo>
                  <a:lnTo>
                    <a:pt x="2047" y="236"/>
                  </a:lnTo>
                  <a:lnTo>
                    <a:pt x="2046" y="239"/>
                  </a:lnTo>
                  <a:lnTo>
                    <a:pt x="2050" y="253"/>
                  </a:lnTo>
                  <a:lnTo>
                    <a:pt x="2051" y="247"/>
                  </a:lnTo>
                  <a:lnTo>
                    <a:pt x="2051" y="253"/>
                  </a:lnTo>
                  <a:lnTo>
                    <a:pt x="2043" y="258"/>
                  </a:lnTo>
                  <a:lnTo>
                    <a:pt x="2044" y="261"/>
                  </a:lnTo>
                  <a:lnTo>
                    <a:pt x="2047" y="262"/>
                  </a:lnTo>
                  <a:lnTo>
                    <a:pt x="2047" y="258"/>
                  </a:lnTo>
                  <a:lnTo>
                    <a:pt x="2051" y="258"/>
                  </a:lnTo>
                  <a:lnTo>
                    <a:pt x="2052" y="253"/>
                  </a:lnTo>
                  <a:lnTo>
                    <a:pt x="2054" y="249"/>
                  </a:lnTo>
                  <a:lnTo>
                    <a:pt x="2051" y="239"/>
                  </a:lnTo>
                  <a:lnTo>
                    <a:pt x="2054" y="239"/>
                  </a:lnTo>
                  <a:lnTo>
                    <a:pt x="2058" y="239"/>
                  </a:lnTo>
                  <a:lnTo>
                    <a:pt x="2080" y="253"/>
                  </a:lnTo>
                  <a:lnTo>
                    <a:pt x="2117" y="275"/>
                  </a:lnTo>
                  <a:lnTo>
                    <a:pt x="2129" y="279"/>
                  </a:lnTo>
                  <a:lnTo>
                    <a:pt x="2146" y="283"/>
                  </a:lnTo>
                  <a:lnTo>
                    <a:pt x="2151" y="283"/>
                  </a:lnTo>
                  <a:lnTo>
                    <a:pt x="2154" y="284"/>
                  </a:lnTo>
                  <a:lnTo>
                    <a:pt x="2154" y="288"/>
                  </a:lnTo>
                  <a:lnTo>
                    <a:pt x="2142" y="296"/>
                  </a:lnTo>
                  <a:lnTo>
                    <a:pt x="2139" y="297"/>
                  </a:lnTo>
                  <a:lnTo>
                    <a:pt x="2142" y="297"/>
                  </a:lnTo>
                  <a:lnTo>
                    <a:pt x="2143" y="297"/>
                  </a:lnTo>
                  <a:lnTo>
                    <a:pt x="2143" y="301"/>
                  </a:lnTo>
                  <a:lnTo>
                    <a:pt x="2145" y="301"/>
                  </a:lnTo>
                  <a:lnTo>
                    <a:pt x="2145" y="297"/>
                  </a:lnTo>
                  <a:lnTo>
                    <a:pt x="2147" y="297"/>
                  </a:lnTo>
                  <a:lnTo>
                    <a:pt x="2149" y="293"/>
                  </a:lnTo>
                  <a:lnTo>
                    <a:pt x="2149" y="297"/>
                  </a:lnTo>
                  <a:lnTo>
                    <a:pt x="2132" y="314"/>
                  </a:lnTo>
                  <a:lnTo>
                    <a:pt x="2096" y="331"/>
                  </a:lnTo>
                  <a:lnTo>
                    <a:pt x="2072" y="350"/>
                  </a:lnTo>
                  <a:lnTo>
                    <a:pt x="2068" y="355"/>
                  </a:lnTo>
                  <a:lnTo>
                    <a:pt x="2068" y="359"/>
                  </a:lnTo>
                  <a:lnTo>
                    <a:pt x="2065" y="359"/>
                  </a:lnTo>
                  <a:lnTo>
                    <a:pt x="2066" y="363"/>
                  </a:lnTo>
                  <a:lnTo>
                    <a:pt x="2065" y="365"/>
                  </a:lnTo>
                  <a:lnTo>
                    <a:pt x="2064" y="363"/>
                  </a:lnTo>
                  <a:lnTo>
                    <a:pt x="2062" y="363"/>
                  </a:lnTo>
                  <a:lnTo>
                    <a:pt x="2061" y="367"/>
                  </a:lnTo>
                  <a:lnTo>
                    <a:pt x="2062" y="367"/>
                  </a:lnTo>
                  <a:lnTo>
                    <a:pt x="2055" y="373"/>
                  </a:lnTo>
                  <a:lnTo>
                    <a:pt x="2055" y="378"/>
                  </a:lnTo>
                  <a:lnTo>
                    <a:pt x="2057" y="380"/>
                  </a:lnTo>
                  <a:lnTo>
                    <a:pt x="2055" y="380"/>
                  </a:lnTo>
                  <a:lnTo>
                    <a:pt x="2054" y="382"/>
                  </a:lnTo>
                  <a:lnTo>
                    <a:pt x="2057" y="382"/>
                  </a:lnTo>
                  <a:lnTo>
                    <a:pt x="2058" y="382"/>
                  </a:lnTo>
                  <a:lnTo>
                    <a:pt x="2055" y="382"/>
                  </a:lnTo>
                  <a:lnTo>
                    <a:pt x="2057" y="387"/>
                  </a:lnTo>
                  <a:lnTo>
                    <a:pt x="2052" y="386"/>
                  </a:lnTo>
                  <a:lnTo>
                    <a:pt x="2052" y="387"/>
                  </a:lnTo>
                  <a:lnTo>
                    <a:pt x="2055" y="390"/>
                  </a:lnTo>
                  <a:lnTo>
                    <a:pt x="2054" y="391"/>
                  </a:lnTo>
                  <a:lnTo>
                    <a:pt x="2051" y="390"/>
                  </a:lnTo>
                  <a:lnTo>
                    <a:pt x="2051" y="395"/>
                  </a:lnTo>
                  <a:lnTo>
                    <a:pt x="2052" y="395"/>
                  </a:lnTo>
                  <a:lnTo>
                    <a:pt x="2052" y="391"/>
                  </a:lnTo>
                  <a:lnTo>
                    <a:pt x="2055" y="404"/>
                  </a:lnTo>
                  <a:lnTo>
                    <a:pt x="2058" y="404"/>
                  </a:lnTo>
                  <a:lnTo>
                    <a:pt x="2055" y="404"/>
                  </a:lnTo>
                  <a:lnTo>
                    <a:pt x="2054" y="408"/>
                  </a:lnTo>
                  <a:lnTo>
                    <a:pt x="2052" y="412"/>
                  </a:lnTo>
                  <a:lnTo>
                    <a:pt x="2050" y="412"/>
                  </a:lnTo>
                  <a:lnTo>
                    <a:pt x="2050" y="408"/>
                  </a:lnTo>
                  <a:lnTo>
                    <a:pt x="2054" y="404"/>
                  </a:lnTo>
                  <a:lnTo>
                    <a:pt x="2051" y="400"/>
                  </a:lnTo>
                  <a:lnTo>
                    <a:pt x="2051" y="404"/>
                  </a:lnTo>
                  <a:lnTo>
                    <a:pt x="2046" y="408"/>
                  </a:lnTo>
                  <a:lnTo>
                    <a:pt x="2044" y="423"/>
                  </a:lnTo>
                  <a:lnTo>
                    <a:pt x="2049" y="425"/>
                  </a:lnTo>
                  <a:lnTo>
                    <a:pt x="2055" y="421"/>
                  </a:lnTo>
                  <a:lnTo>
                    <a:pt x="2060" y="423"/>
                  </a:lnTo>
                  <a:lnTo>
                    <a:pt x="2061" y="421"/>
                  </a:lnTo>
                  <a:lnTo>
                    <a:pt x="2061" y="423"/>
                  </a:lnTo>
                  <a:lnTo>
                    <a:pt x="2060" y="427"/>
                  </a:lnTo>
                  <a:lnTo>
                    <a:pt x="2061" y="430"/>
                  </a:lnTo>
                  <a:lnTo>
                    <a:pt x="2065" y="438"/>
                  </a:lnTo>
                  <a:lnTo>
                    <a:pt x="2065" y="440"/>
                  </a:lnTo>
                  <a:lnTo>
                    <a:pt x="2066" y="440"/>
                  </a:lnTo>
                  <a:lnTo>
                    <a:pt x="2066" y="438"/>
                  </a:lnTo>
                  <a:lnTo>
                    <a:pt x="2066" y="436"/>
                  </a:lnTo>
                  <a:lnTo>
                    <a:pt x="2064" y="436"/>
                  </a:lnTo>
                  <a:lnTo>
                    <a:pt x="2064" y="427"/>
                  </a:lnTo>
                  <a:lnTo>
                    <a:pt x="2065" y="430"/>
                  </a:lnTo>
                  <a:lnTo>
                    <a:pt x="2068" y="430"/>
                  </a:lnTo>
                  <a:lnTo>
                    <a:pt x="2071" y="436"/>
                  </a:lnTo>
                  <a:lnTo>
                    <a:pt x="2078" y="436"/>
                  </a:lnTo>
                  <a:lnTo>
                    <a:pt x="2079" y="436"/>
                  </a:lnTo>
                  <a:lnTo>
                    <a:pt x="2076" y="435"/>
                  </a:lnTo>
                  <a:lnTo>
                    <a:pt x="2075" y="436"/>
                  </a:lnTo>
                  <a:lnTo>
                    <a:pt x="2074" y="435"/>
                  </a:lnTo>
                  <a:lnTo>
                    <a:pt x="2078" y="435"/>
                  </a:lnTo>
                  <a:lnTo>
                    <a:pt x="2086" y="438"/>
                  </a:lnTo>
                  <a:lnTo>
                    <a:pt x="2089" y="440"/>
                  </a:lnTo>
                  <a:lnTo>
                    <a:pt x="2091" y="440"/>
                  </a:lnTo>
                  <a:lnTo>
                    <a:pt x="2112" y="443"/>
                  </a:lnTo>
                  <a:lnTo>
                    <a:pt x="2112" y="449"/>
                  </a:lnTo>
                  <a:lnTo>
                    <a:pt x="2110" y="449"/>
                  </a:lnTo>
                  <a:lnTo>
                    <a:pt x="2111" y="457"/>
                  </a:lnTo>
                  <a:lnTo>
                    <a:pt x="2107" y="471"/>
                  </a:lnTo>
                  <a:lnTo>
                    <a:pt x="2108" y="471"/>
                  </a:lnTo>
                  <a:lnTo>
                    <a:pt x="2099" y="487"/>
                  </a:lnTo>
                  <a:lnTo>
                    <a:pt x="2085" y="502"/>
                  </a:lnTo>
                  <a:lnTo>
                    <a:pt x="2082" y="510"/>
                  </a:lnTo>
                  <a:lnTo>
                    <a:pt x="2061" y="529"/>
                  </a:lnTo>
                  <a:lnTo>
                    <a:pt x="2061" y="533"/>
                  </a:lnTo>
                  <a:lnTo>
                    <a:pt x="2054" y="537"/>
                  </a:lnTo>
                  <a:lnTo>
                    <a:pt x="2052" y="542"/>
                  </a:lnTo>
                  <a:lnTo>
                    <a:pt x="2051" y="552"/>
                  </a:lnTo>
                  <a:lnTo>
                    <a:pt x="2051" y="560"/>
                  </a:lnTo>
                  <a:lnTo>
                    <a:pt x="2054" y="567"/>
                  </a:lnTo>
                  <a:lnTo>
                    <a:pt x="2054" y="569"/>
                  </a:lnTo>
                  <a:lnTo>
                    <a:pt x="2061" y="573"/>
                  </a:lnTo>
                  <a:lnTo>
                    <a:pt x="2064" y="573"/>
                  </a:lnTo>
                  <a:lnTo>
                    <a:pt x="2066" y="578"/>
                  </a:lnTo>
                  <a:lnTo>
                    <a:pt x="2066" y="581"/>
                  </a:lnTo>
                  <a:lnTo>
                    <a:pt x="2050" y="587"/>
                  </a:lnTo>
                  <a:lnTo>
                    <a:pt x="2016" y="609"/>
                  </a:lnTo>
                  <a:lnTo>
                    <a:pt x="2008" y="609"/>
                  </a:lnTo>
                  <a:lnTo>
                    <a:pt x="2007" y="609"/>
                  </a:lnTo>
                  <a:lnTo>
                    <a:pt x="2005" y="614"/>
                  </a:lnTo>
                  <a:lnTo>
                    <a:pt x="2000" y="627"/>
                  </a:lnTo>
                  <a:lnTo>
                    <a:pt x="2000" y="636"/>
                  </a:lnTo>
                  <a:lnTo>
                    <a:pt x="1997" y="639"/>
                  </a:lnTo>
                  <a:lnTo>
                    <a:pt x="1997" y="640"/>
                  </a:lnTo>
                  <a:lnTo>
                    <a:pt x="1999" y="640"/>
                  </a:lnTo>
                  <a:lnTo>
                    <a:pt x="1997" y="644"/>
                  </a:lnTo>
                  <a:lnTo>
                    <a:pt x="1999" y="645"/>
                  </a:lnTo>
                  <a:lnTo>
                    <a:pt x="1997" y="645"/>
                  </a:lnTo>
                  <a:lnTo>
                    <a:pt x="1980" y="672"/>
                  </a:lnTo>
                  <a:lnTo>
                    <a:pt x="1962" y="689"/>
                  </a:lnTo>
                  <a:lnTo>
                    <a:pt x="1960" y="685"/>
                  </a:lnTo>
                  <a:lnTo>
                    <a:pt x="1960" y="681"/>
                  </a:lnTo>
                  <a:lnTo>
                    <a:pt x="1958" y="676"/>
                  </a:lnTo>
                  <a:lnTo>
                    <a:pt x="1957" y="676"/>
                  </a:lnTo>
                  <a:lnTo>
                    <a:pt x="1954" y="685"/>
                  </a:lnTo>
                  <a:lnTo>
                    <a:pt x="1950" y="685"/>
                  </a:lnTo>
                  <a:lnTo>
                    <a:pt x="1941" y="681"/>
                  </a:lnTo>
                  <a:lnTo>
                    <a:pt x="1940" y="676"/>
                  </a:lnTo>
                  <a:lnTo>
                    <a:pt x="1936" y="674"/>
                  </a:lnTo>
                  <a:lnTo>
                    <a:pt x="1929" y="674"/>
                  </a:lnTo>
                  <a:lnTo>
                    <a:pt x="1926" y="672"/>
                  </a:lnTo>
                  <a:lnTo>
                    <a:pt x="1924" y="670"/>
                  </a:lnTo>
                  <a:lnTo>
                    <a:pt x="1922" y="662"/>
                  </a:lnTo>
                  <a:lnTo>
                    <a:pt x="1918" y="662"/>
                  </a:lnTo>
                  <a:lnTo>
                    <a:pt x="1921" y="666"/>
                  </a:lnTo>
                  <a:lnTo>
                    <a:pt x="1922" y="672"/>
                  </a:lnTo>
                  <a:lnTo>
                    <a:pt x="1925" y="672"/>
                  </a:lnTo>
                  <a:lnTo>
                    <a:pt x="1926" y="676"/>
                  </a:lnTo>
                  <a:lnTo>
                    <a:pt x="1927" y="676"/>
                  </a:lnTo>
                  <a:lnTo>
                    <a:pt x="1936" y="676"/>
                  </a:lnTo>
                  <a:lnTo>
                    <a:pt x="1939" y="685"/>
                  </a:lnTo>
                  <a:lnTo>
                    <a:pt x="1943" y="687"/>
                  </a:lnTo>
                  <a:lnTo>
                    <a:pt x="1947" y="689"/>
                  </a:lnTo>
                  <a:lnTo>
                    <a:pt x="1951" y="698"/>
                  </a:lnTo>
                  <a:lnTo>
                    <a:pt x="1958" y="711"/>
                  </a:lnTo>
                  <a:lnTo>
                    <a:pt x="1957" y="716"/>
                  </a:lnTo>
                  <a:lnTo>
                    <a:pt x="1960" y="715"/>
                  </a:lnTo>
                  <a:lnTo>
                    <a:pt x="1960" y="711"/>
                  </a:lnTo>
                  <a:lnTo>
                    <a:pt x="1965" y="707"/>
                  </a:lnTo>
                  <a:lnTo>
                    <a:pt x="1966" y="707"/>
                  </a:lnTo>
                  <a:lnTo>
                    <a:pt x="1965" y="707"/>
                  </a:lnTo>
                  <a:lnTo>
                    <a:pt x="1971" y="702"/>
                  </a:lnTo>
                  <a:lnTo>
                    <a:pt x="1974" y="706"/>
                  </a:lnTo>
                  <a:lnTo>
                    <a:pt x="1976" y="711"/>
                  </a:lnTo>
                  <a:lnTo>
                    <a:pt x="1982" y="715"/>
                  </a:lnTo>
                  <a:lnTo>
                    <a:pt x="1983" y="716"/>
                  </a:lnTo>
                  <a:lnTo>
                    <a:pt x="1985" y="716"/>
                  </a:lnTo>
                  <a:lnTo>
                    <a:pt x="1990" y="724"/>
                  </a:lnTo>
                  <a:lnTo>
                    <a:pt x="1990" y="732"/>
                  </a:lnTo>
                  <a:lnTo>
                    <a:pt x="1991" y="734"/>
                  </a:lnTo>
                  <a:lnTo>
                    <a:pt x="1993" y="734"/>
                  </a:lnTo>
                  <a:lnTo>
                    <a:pt x="1996" y="738"/>
                  </a:lnTo>
                  <a:lnTo>
                    <a:pt x="1999" y="734"/>
                  </a:lnTo>
                  <a:lnTo>
                    <a:pt x="1997" y="741"/>
                  </a:lnTo>
                  <a:lnTo>
                    <a:pt x="1999" y="743"/>
                  </a:lnTo>
                  <a:lnTo>
                    <a:pt x="1999" y="755"/>
                  </a:lnTo>
                  <a:lnTo>
                    <a:pt x="2001" y="752"/>
                  </a:lnTo>
                  <a:lnTo>
                    <a:pt x="2002" y="756"/>
                  </a:lnTo>
                  <a:lnTo>
                    <a:pt x="2004" y="756"/>
                  </a:lnTo>
                  <a:lnTo>
                    <a:pt x="2002" y="755"/>
                  </a:lnTo>
                  <a:lnTo>
                    <a:pt x="2001" y="747"/>
                  </a:lnTo>
                  <a:lnTo>
                    <a:pt x="2005" y="743"/>
                  </a:lnTo>
                  <a:lnTo>
                    <a:pt x="2014" y="747"/>
                  </a:lnTo>
                  <a:lnTo>
                    <a:pt x="2015" y="747"/>
                  </a:lnTo>
                  <a:lnTo>
                    <a:pt x="2018" y="751"/>
                  </a:lnTo>
                  <a:lnTo>
                    <a:pt x="2016" y="755"/>
                  </a:lnTo>
                  <a:lnTo>
                    <a:pt x="2019" y="755"/>
                  </a:lnTo>
                  <a:lnTo>
                    <a:pt x="2021" y="752"/>
                  </a:lnTo>
                  <a:lnTo>
                    <a:pt x="2025" y="752"/>
                  </a:lnTo>
                  <a:lnTo>
                    <a:pt x="2022" y="747"/>
                  </a:lnTo>
                  <a:lnTo>
                    <a:pt x="2027" y="743"/>
                  </a:lnTo>
                  <a:lnTo>
                    <a:pt x="2035" y="745"/>
                  </a:lnTo>
                  <a:lnTo>
                    <a:pt x="2040" y="747"/>
                  </a:lnTo>
                  <a:lnTo>
                    <a:pt x="2033" y="760"/>
                  </a:lnTo>
                  <a:lnTo>
                    <a:pt x="2033" y="770"/>
                  </a:lnTo>
                  <a:lnTo>
                    <a:pt x="2030" y="774"/>
                  </a:lnTo>
                  <a:lnTo>
                    <a:pt x="2026" y="777"/>
                  </a:lnTo>
                  <a:lnTo>
                    <a:pt x="2026" y="778"/>
                  </a:lnTo>
                  <a:lnTo>
                    <a:pt x="2025" y="778"/>
                  </a:lnTo>
                  <a:lnTo>
                    <a:pt x="2024" y="782"/>
                  </a:lnTo>
                  <a:lnTo>
                    <a:pt x="2026" y="791"/>
                  </a:lnTo>
                  <a:lnTo>
                    <a:pt x="2026" y="794"/>
                  </a:lnTo>
                  <a:lnTo>
                    <a:pt x="2024" y="795"/>
                  </a:lnTo>
                  <a:lnTo>
                    <a:pt x="2024" y="800"/>
                  </a:lnTo>
                  <a:lnTo>
                    <a:pt x="2026" y="800"/>
                  </a:lnTo>
                  <a:lnTo>
                    <a:pt x="2024" y="814"/>
                  </a:lnTo>
                  <a:lnTo>
                    <a:pt x="2021" y="817"/>
                  </a:lnTo>
                  <a:lnTo>
                    <a:pt x="2019" y="817"/>
                  </a:lnTo>
                  <a:lnTo>
                    <a:pt x="2014" y="822"/>
                  </a:lnTo>
                  <a:lnTo>
                    <a:pt x="2010" y="827"/>
                  </a:lnTo>
                  <a:lnTo>
                    <a:pt x="2011" y="831"/>
                  </a:lnTo>
                  <a:lnTo>
                    <a:pt x="2019" y="840"/>
                  </a:lnTo>
                  <a:lnTo>
                    <a:pt x="2021" y="845"/>
                  </a:lnTo>
                  <a:lnTo>
                    <a:pt x="2011" y="853"/>
                  </a:lnTo>
                  <a:lnTo>
                    <a:pt x="2007" y="852"/>
                  </a:lnTo>
                  <a:lnTo>
                    <a:pt x="2008" y="853"/>
                  </a:lnTo>
                  <a:lnTo>
                    <a:pt x="2007" y="853"/>
                  </a:lnTo>
                  <a:lnTo>
                    <a:pt x="2000" y="859"/>
                  </a:lnTo>
                  <a:lnTo>
                    <a:pt x="1993" y="868"/>
                  </a:lnTo>
                  <a:lnTo>
                    <a:pt x="1996" y="876"/>
                  </a:lnTo>
                  <a:lnTo>
                    <a:pt x="1997" y="875"/>
                  </a:lnTo>
                  <a:lnTo>
                    <a:pt x="1999" y="876"/>
                  </a:lnTo>
                  <a:lnTo>
                    <a:pt x="1997" y="888"/>
                  </a:lnTo>
                  <a:lnTo>
                    <a:pt x="2004" y="894"/>
                  </a:lnTo>
                  <a:lnTo>
                    <a:pt x="2015" y="898"/>
                  </a:lnTo>
                  <a:lnTo>
                    <a:pt x="2018" y="904"/>
                  </a:lnTo>
                  <a:lnTo>
                    <a:pt x="2025" y="906"/>
                  </a:lnTo>
                  <a:lnTo>
                    <a:pt x="2027" y="912"/>
                  </a:lnTo>
                  <a:lnTo>
                    <a:pt x="2027" y="917"/>
                  </a:lnTo>
                  <a:lnTo>
                    <a:pt x="2025" y="925"/>
                  </a:lnTo>
                  <a:lnTo>
                    <a:pt x="2021" y="920"/>
                  </a:lnTo>
                  <a:lnTo>
                    <a:pt x="2012" y="930"/>
                  </a:lnTo>
                  <a:lnTo>
                    <a:pt x="2007" y="932"/>
                  </a:lnTo>
                  <a:lnTo>
                    <a:pt x="2005" y="925"/>
                  </a:lnTo>
                  <a:lnTo>
                    <a:pt x="2005" y="932"/>
                  </a:lnTo>
                  <a:lnTo>
                    <a:pt x="2004" y="932"/>
                  </a:lnTo>
                  <a:lnTo>
                    <a:pt x="2004" y="938"/>
                  </a:lnTo>
                  <a:lnTo>
                    <a:pt x="1996" y="947"/>
                  </a:lnTo>
                  <a:lnTo>
                    <a:pt x="1993" y="951"/>
                  </a:lnTo>
                  <a:lnTo>
                    <a:pt x="2000" y="946"/>
                  </a:lnTo>
                  <a:lnTo>
                    <a:pt x="2007" y="943"/>
                  </a:lnTo>
                  <a:lnTo>
                    <a:pt x="2007" y="946"/>
                  </a:lnTo>
                  <a:lnTo>
                    <a:pt x="2010" y="943"/>
                  </a:lnTo>
                  <a:lnTo>
                    <a:pt x="2012" y="943"/>
                  </a:lnTo>
                  <a:lnTo>
                    <a:pt x="2014" y="946"/>
                  </a:lnTo>
                  <a:lnTo>
                    <a:pt x="2014" y="947"/>
                  </a:lnTo>
                  <a:lnTo>
                    <a:pt x="2012" y="947"/>
                  </a:lnTo>
                  <a:lnTo>
                    <a:pt x="2012" y="952"/>
                  </a:lnTo>
                  <a:lnTo>
                    <a:pt x="2010" y="955"/>
                  </a:lnTo>
                  <a:lnTo>
                    <a:pt x="2012" y="956"/>
                  </a:lnTo>
                  <a:lnTo>
                    <a:pt x="2011" y="960"/>
                  </a:lnTo>
                  <a:lnTo>
                    <a:pt x="2000" y="964"/>
                  </a:lnTo>
                  <a:lnTo>
                    <a:pt x="1993" y="969"/>
                  </a:lnTo>
                  <a:lnTo>
                    <a:pt x="2001" y="965"/>
                  </a:lnTo>
                  <a:lnTo>
                    <a:pt x="2012" y="965"/>
                  </a:lnTo>
                  <a:lnTo>
                    <a:pt x="2014" y="969"/>
                  </a:lnTo>
                  <a:lnTo>
                    <a:pt x="2012" y="969"/>
                  </a:lnTo>
                  <a:lnTo>
                    <a:pt x="2012" y="975"/>
                  </a:lnTo>
                  <a:lnTo>
                    <a:pt x="2010" y="977"/>
                  </a:lnTo>
                  <a:lnTo>
                    <a:pt x="2007" y="977"/>
                  </a:lnTo>
                  <a:lnTo>
                    <a:pt x="2004" y="977"/>
                  </a:lnTo>
                  <a:lnTo>
                    <a:pt x="1999" y="982"/>
                  </a:lnTo>
                  <a:lnTo>
                    <a:pt x="1996" y="982"/>
                  </a:lnTo>
                  <a:lnTo>
                    <a:pt x="1994" y="982"/>
                  </a:lnTo>
                  <a:lnTo>
                    <a:pt x="1996" y="987"/>
                  </a:lnTo>
                  <a:lnTo>
                    <a:pt x="1997" y="982"/>
                  </a:lnTo>
                  <a:lnTo>
                    <a:pt x="2000" y="982"/>
                  </a:lnTo>
                  <a:lnTo>
                    <a:pt x="2004" y="977"/>
                  </a:lnTo>
                  <a:lnTo>
                    <a:pt x="2008" y="981"/>
                  </a:lnTo>
                  <a:lnTo>
                    <a:pt x="2010" y="982"/>
                  </a:lnTo>
                  <a:lnTo>
                    <a:pt x="2011" y="991"/>
                  </a:lnTo>
                  <a:lnTo>
                    <a:pt x="2008" y="1005"/>
                  </a:lnTo>
                  <a:lnTo>
                    <a:pt x="2012" y="1014"/>
                  </a:lnTo>
                  <a:lnTo>
                    <a:pt x="2018" y="1022"/>
                  </a:lnTo>
                  <a:lnTo>
                    <a:pt x="2019" y="1018"/>
                  </a:lnTo>
                  <a:lnTo>
                    <a:pt x="2026" y="1022"/>
                  </a:lnTo>
                  <a:lnTo>
                    <a:pt x="2030" y="1018"/>
                  </a:lnTo>
                  <a:lnTo>
                    <a:pt x="2032" y="1018"/>
                  </a:lnTo>
                  <a:lnTo>
                    <a:pt x="2030" y="1027"/>
                  </a:lnTo>
                  <a:lnTo>
                    <a:pt x="2032" y="1037"/>
                  </a:lnTo>
                  <a:lnTo>
                    <a:pt x="2030" y="1041"/>
                  </a:lnTo>
                  <a:lnTo>
                    <a:pt x="2033" y="1050"/>
                  </a:lnTo>
                  <a:lnTo>
                    <a:pt x="2032" y="1054"/>
                  </a:lnTo>
                  <a:lnTo>
                    <a:pt x="2030" y="1058"/>
                  </a:lnTo>
                  <a:lnTo>
                    <a:pt x="2030" y="1059"/>
                  </a:lnTo>
                  <a:lnTo>
                    <a:pt x="2030" y="1062"/>
                  </a:lnTo>
                  <a:lnTo>
                    <a:pt x="2029" y="1068"/>
                  </a:lnTo>
                  <a:lnTo>
                    <a:pt x="2029" y="1076"/>
                  </a:lnTo>
                  <a:lnTo>
                    <a:pt x="2030" y="1076"/>
                  </a:lnTo>
                  <a:lnTo>
                    <a:pt x="2036" y="1089"/>
                  </a:lnTo>
                  <a:lnTo>
                    <a:pt x="2044" y="1097"/>
                  </a:lnTo>
                  <a:lnTo>
                    <a:pt x="2052" y="1099"/>
                  </a:lnTo>
                  <a:lnTo>
                    <a:pt x="2064" y="1104"/>
                  </a:lnTo>
                  <a:lnTo>
                    <a:pt x="2068" y="1106"/>
                  </a:lnTo>
                  <a:lnTo>
                    <a:pt x="2069" y="1104"/>
                  </a:lnTo>
                  <a:lnTo>
                    <a:pt x="2072" y="1104"/>
                  </a:lnTo>
                  <a:lnTo>
                    <a:pt x="2071" y="1106"/>
                  </a:lnTo>
                  <a:lnTo>
                    <a:pt x="2071" y="1108"/>
                  </a:lnTo>
                  <a:lnTo>
                    <a:pt x="2074" y="1106"/>
                  </a:lnTo>
                  <a:lnTo>
                    <a:pt x="2071" y="1111"/>
                  </a:lnTo>
                  <a:lnTo>
                    <a:pt x="2062" y="1116"/>
                  </a:lnTo>
                  <a:lnTo>
                    <a:pt x="2057" y="1121"/>
                  </a:lnTo>
                  <a:lnTo>
                    <a:pt x="2050" y="1129"/>
                  </a:lnTo>
                  <a:lnTo>
                    <a:pt x="2046" y="1142"/>
                  </a:lnTo>
                  <a:lnTo>
                    <a:pt x="2046" y="1155"/>
                  </a:lnTo>
                  <a:lnTo>
                    <a:pt x="2047" y="1161"/>
                  </a:lnTo>
                  <a:lnTo>
                    <a:pt x="2050" y="1164"/>
                  </a:lnTo>
                  <a:lnTo>
                    <a:pt x="2049" y="1166"/>
                  </a:lnTo>
                  <a:lnTo>
                    <a:pt x="2049" y="1170"/>
                  </a:lnTo>
                  <a:lnTo>
                    <a:pt x="2050" y="1170"/>
                  </a:lnTo>
                  <a:lnTo>
                    <a:pt x="2054" y="1188"/>
                  </a:lnTo>
                  <a:lnTo>
                    <a:pt x="2061" y="1201"/>
                  </a:lnTo>
                  <a:lnTo>
                    <a:pt x="2068" y="1205"/>
                  </a:lnTo>
                  <a:lnTo>
                    <a:pt x="2078" y="1215"/>
                  </a:lnTo>
                  <a:lnTo>
                    <a:pt x="2080" y="1215"/>
                  </a:lnTo>
                  <a:lnTo>
                    <a:pt x="2083" y="1218"/>
                  </a:lnTo>
                  <a:lnTo>
                    <a:pt x="2085" y="1218"/>
                  </a:lnTo>
                  <a:lnTo>
                    <a:pt x="2094" y="1224"/>
                  </a:lnTo>
                  <a:lnTo>
                    <a:pt x="2101" y="1224"/>
                  </a:lnTo>
                  <a:lnTo>
                    <a:pt x="2099" y="1226"/>
                  </a:lnTo>
                  <a:lnTo>
                    <a:pt x="2094" y="1226"/>
                  </a:lnTo>
                  <a:lnTo>
                    <a:pt x="2089" y="1228"/>
                  </a:lnTo>
                  <a:lnTo>
                    <a:pt x="2074" y="1237"/>
                  </a:lnTo>
                  <a:lnTo>
                    <a:pt x="2064" y="1250"/>
                  </a:lnTo>
                  <a:lnTo>
                    <a:pt x="2060" y="1263"/>
                  </a:lnTo>
                  <a:lnTo>
                    <a:pt x="2060" y="1271"/>
                  </a:lnTo>
                  <a:lnTo>
                    <a:pt x="2061" y="1273"/>
                  </a:lnTo>
                  <a:lnTo>
                    <a:pt x="2061" y="1275"/>
                  </a:lnTo>
                  <a:lnTo>
                    <a:pt x="2062" y="1282"/>
                  </a:lnTo>
                  <a:lnTo>
                    <a:pt x="2069" y="1291"/>
                  </a:lnTo>
                  <a:lnTo>
                    <a:pt x="2069" y="1295"/>
                  </a:lnTo>
                  <a:lnTo>
                    <a:pt x="2068" y="1299"/>
                  </a:lnTo>
                  <a:lnTo>
                    <a:pt x="2060" y="1317"/>
                  </a:lnTo>
                  <a:lnTo>
                    <a:pt x="2051" y="1334"/>
                  </a:lnTo>
                  <a:lnTo>
                    <a:pt x="2050" y="1344"/>
                  </a:lnTo>
                  <a:lnTo>
                    <a:pt x="2055" y="1361"/>
                  </a:lnTo>
                  <a:lnTo>
                    <a:pt x="2069" y="1382"/>
                  </a:lnTo>
                  <a:lnTo>
                    <a:pt x="2072" y="1389"/>
                  </a:lnTo>
                  <a:lnTo>
                    <a:pt x="2061" y="1397"/>
                  </a:lnTo>
                  <a:lnTo>
                    <a:pt x="2055" y="1394"/>
                  </a:lnTo>
                  <a:lnTo>
                    <a:pt x="2058" y="1391"/>
                  </a:lnTo>
                  <a:lnTo>
                    <a:pt x="2057" y="1391"/>
                  </a:lnTo>
                  <a:lnTo>
                    <a:pt x="2055" y="1394"/>
                  </a:lnTo>
                  <a:lnTo>
                    <a:pt x="2051" y="1394"/>
                  </a:lnTo>
                  <a:lnTo>
                    <a:pt x="2051" y="1392"/>
                  </a:lnTo>
                  <a:lnTo>
                    <a:pt x="2050" y="1392"/>
                  </a:lnTo>
                  <a:lnTo>
                    <a:pt x="2051" y="1396"/>
                  </a:lnTo>
                  <a:lnTo>
                    <a:pt x="2055" y="1396"/>
                  </a:lnTo>
                  <a:lnTo>
                    <a:pt x="2058" y="1397"/>
                  </a:lnTo>
                  <a:lnTo>
                    <a:pt x="2055" y="1402"/>
                  </a:lnTo>
                  <a:lnTo>
                    <a:pt x="2055" y="1406"/>
                  </a:lnTo>
                  <a:lnTo>
                    <a:pt x="2057" y="1402"/>
                  </a:lnTo>
                  <a:lnTo>
                    <a:pt x="2065" y="1402"/>
                  </a:lnTo>
                  <a:lnTo>
                    <a:pt x="2066" y="1402"/>
                  </a:lnTo>
                  <a:lnTo>
                    <a:pt x="2066" y="1409"/>
                  </a:lnTo>
                  <a:lnTo>
                    <a:pt x="2064" y="1420"/>
                  </a:lnTo>
                  <a:lnTo>
                    <a:pt x="2057" y="1428"/>
                  </a:lnTo>
                  <a:lnTo>
                    <a:pt x="2054" y="1437"/>
                  </a:lnTo>
                  <a:lnTo>
                    <a:pt x="2054" y="1441"/>
                  </a:lnTo>
                  <a:lnTo>
                    <a:pt x="2051" y="1441"/>
                  </a:lnTo>
                  <a:lnTo>
                    <a:pt x="2044" y="1441"/>
                  </a:lnTo>
                  <a:lnTo>
                    <a:pt x="2040" y="1436"/>
                  </a:lnTo>
                  <a:lnTo>
                    <a:pt x="2037" y="1433"/>
                  </a:lnTo>
                  <a:lnTo>
                    <a:pt x="2035" y="1428"/>
                  </a:lnTo>
                  <a:lnTo>
                    <a:pt x="2030" y="1424"/>
                  </a:lnTo>
                  <a:lnTo>
                    <a:pt x="2030" y="1420"/>
                  </a:lnTo>
                  <a:lnTo>
                    <a:pt x="2032" y="1415"/>
                  </a:lnTo>
                  <a:lnTo>
                    <a:pt x="2036" y="1411"/>
                  </a:lnTo>
                  <a:lnTo>
                    <a:pt x="2035" y="1406"/>
                  </a:lnTo>
                  <a:lnTo>
                    <a:pt x="2033" y="1406"/>
                  </a:lnTo>
                  <a:lnTo>
                    <a:pt x="2032" y="1409"/>
                  </a:lnTo>
                  <a:lnTo>
                    <a:pt x="2030" y="1406"/>
                  </a:lnTo>
                  <a:lnTo>
                    <a:pt x="2029" y="1406"/>
                  </a:lnTo>
                  <a:lnTo>
                    <a:pt x="2030" y="1411"/>
                  </a:lnTo>
                  <a:lnTo>
                    <a:pt x="2033" y="1409"/>
                  </a:lnTo>
                  <a:lnTo>
                    <a:pt x="2035" y="1411"/>
                  </a:lnTo>
                  <a:lnTo>
                    <a:pt x="2029" y="1411"/>
                  </a:lnTo>
                  <a:lnTo>
                    <a:pt x="2026" y="1420"/>
                  </a:lnTo>
                  <a:lnTo>
                    <a:pt x="2026" y="1437"/>
                  </a:lnTo>
                  <a:lnTo>
                    <a:pt x="2032" y="1441"/>
                  </a:lnTo>
                  <a:lnTo>
                    <a:pt x="2036" y="1441"/>
                  </a:lnTo>
                  <a:lnTo>
                    <a:pt x="2037" y="1441"/>
                  </a:lnTo>
                  <a:lnTo>
                    <a:pt x="2041" y="1445"/>
                  </a:lnTo>
                  <a:lnTo>
                    <a:pt x="2041" y="1449"/>
                  </a:lnTo>
                  <a:lnTo>
                    <a:pt x="2043" y="1446"/>
                  </a:lnTo>
                  <a:lnTo>
                    <a:pt x="2044" y="1446"/>
                  </a:lnTo>
                  <a:lnTo>
                    <a:pt x="2054" y="1446"/>
                  </a:lnTo>
                  <a:lnTo>
                    <a:pt x="2057" y="1449"/>
                  </a:lnTo>
                  <a:lnTo>
                    <a:pt x="2060" y="1456"/>
                  </a:lnTo>
                  <a:lnTo>
                    <a:pt x="2060" y="1459"/>
                  </a:lnTo>
                  <a:lnTo>
                    <a:pt x="2062" y="1464"/>
                  </a:lnTo>
                  <a:lnTo>
                    <a:pt x="2061" y="1468"/>
                  </a:lnTo>
                  <a:lnTo>
                    <a:pt x="2062" y="1468"/>
                  </a:lnTo>
                  <a:lnTo>
                    <a:pt x="2064" y="1469"/>
                  </a:lnTo>
                  <a:lnTo>
                    <a:pt x="2064" y="1477"/>
                  </a:lnTo>
                  <a:lnTo>
                    <a:pt x="2071" y="1486"/>
                  </a:lnTo>
                  <a:lnTo>
                    <a:pt x="2068" y="1486"/>
                  </a:lnTo>
                  <a:lnTo>
                    <a:pt x="2066" y="1491"/>
                  </a:lnTo>
                  <a:lnTo>
                    <a:pt x="2066" y="1498"/>
                  </a:lnTo>
                  <a:lnTo>
                    <a:pt x="2062" y="1498"/>
                  </a:lnTo>
                  <a:lnTo>
                    <a:pt x="2051" y="1499"/>
                  </a:lnTo>
                  <a:lnTo>
                    <a:pt x="2049" y="1499"/>
                  </a:lnTo>
                  <a:lnTo>
                    <a:pt x="2051" y="1503"/>
                  </a:lnTo>
                  <a:lnTo>
                    <a:pt x="2054" y="1504"/>
                  </a:lnTo>
                  <a:lnTo>
                    <a:pt x="2060" y="1499"/>
                  </a:lnTo>
                  <a:lnTo>
                    <a:pt x="2062" y="1499"/>
                  </a:lnTo>
                  <a:lnTo>
                    <a:pt x="2064" y="1508"/>
                  </a:lnTo>
                  <a:lnTo>
                    <a:pt x="2062" y="1514"/>
                  </a:lnTo>
                  <a:lnTo>
                    <a:pt x="2054" y="1518"/>
                  </a:lnTo>
                  <a:lnTo>
                    <a:pt x="2052" y="1520"/>
                  </a:lnTo>
                  <a:lnTo>
                    <a:pt x="2051" y="1526"/>
                  </a:lnTo>
                  <a:lnTo>
                    <a:pt x="2049" y="1532"/>
                  </a:lnTo>
                  <a:lnTo>
                    <a:pt x="2049" y="1535"/>
                  </a:lnTo>
                  <a:lnTo>
                    <a:pt x="2050" y="1531"/>
                  </a:lnTo>
                  <a:lnTo>
                    <a:pt x="2049" y="1544"/>
                  </a:lnTo>
                  <a:lnTo>
                    <a:pt x="2047" y="1544"/>
                  </a:lnTo>
                  <a:lnTo>
                    <a:pt x="2044" y="1543"/>
                  </a:lnTo>
                  <a:lnTo>
                    <a:pt x="2043" y="1544"/>
                  </a:lnTo>
                  <a:lnTo>
                    <a:pt x="2041" y="1540"/>
                  </a:lnTo>
                  <a:lnTo>
                    <a:pt x="2040" y="1540"/>
                  </a:lnTo>
                  <a:lnTo>
                    <a:pt x="2041" y="1543"/>
                  </a:lnTo>
                  <a:lnTo>
                    <a:pt x="2040" y="1544"/>
                  </a:lnTo>
                  <a:lnTo>
                    <a:pt x="2046" y="1544"/>
                  </a:lnTo>
                  <a:lnTo>
                    <a:pt x="2044" y="1546"/>
                  </a:lnTo>
                  <a:lnTo>
                    <a:pt x="2050" y="1544"/>
                  </a:lnTo>
                  <a:lnTo>
                    <a:pt x="2052" y="1540"/>
                  </a:lnTo>
                  <a:lnTo>
                    <a:pt x="2057" y="1535"/>
                  </a:lnTo>
                  <a:lnTo>
                    <a:pt x="2058" y="1535"/>
                  </a:lnTo>
                  <a:lnTo>
                    <a:pt x="2061" y="1535"/>
                  </a:lnTo>
                  <a:lnTo>
                    <a:pt x="2064" y="1535"/>
                  </a:lnTo>
                  <a:lnTo>
                    <a:pt x="2064" y="1539"/>
                  </a:lnTo>
                  <a:lnTo>
                    <a:pt x="2065" y="1535"/>
                  </a:lnTo>
                  <a:lnTo>
                    <a:pt x="2064" y="1540"/>
                  </a:lnTo>
                  <a:lnTo>
                    <a:pt x="2065" y="1540"/>
                  </a:lnTo>
                  <a:lnTo>
                    <a:pt x="2065" y="1535"/>
                  </a:lnTo>
                  <a:lnTo>
                    <a:pt x="2068" y="1539"/>
                  </a:lnTo>
                  <a:lnTo>
                    <a:pt x="2068" y="1535"/>
                  </a:lnTo>
                  <a:lnTo>
                    <a:pt x="2069" y="1535"/>
                  </a:lnTo>
                  <a:lnTo>
                    <a:pt x="2076" y="1535"/>
                  </a:lnTo>
                  <a:lnTo>
                    <a:pt x="2076" y="1543"/>
                  </a:lnTo>
                  <a:lnTo>
                    <a:pt x="2079" y="1544"/>
                  </a:lnTo>
                  <a:lnTo>
                    <a:pt x="2082" y="1546"/>
                  </a:lnTo>
                  <a:lnTo>
                    <a:pt x="2079" y="1543"/>
                  </a:lnTo>
                  <a:lnTo>
                    <a:pt x="2079" y="1539"/>
                  </a:lnTo>
                  <a:lnTo>
                    <a:pt x="2086" y="1535"/>
                  </a:lnTo>
                  <a:lnTo>
                    <a:pt x="2087" y="1535"/>
                  </a:lnTo>
                  <a:lnTo>
                    <a:pt x="2090" y="1540"/>
                  </a:lnTo>
                  <a:lnTo>
                    <a:pt x="2090" y="1548"/>
                  </a:lnTo>
                  <a:lnTo>
                    <a:pt x="2093" y="1540"/>
                  </a:lnTo>
                  <a:lnTo>
                    <a:pt x="2094" y="1540"/>
                  </a:lnTo>
                  <a:lnTo>
                    <a:pt x="2093" y="1535"/>
                  </a:lnTo>
                  <a:lnTo>
                    <a:pt x="2096" y="1535"/>
                  </a:lnTo>
                  <a:lnTo>
                    <a:pt x="2093" y="1533"/>
                  </a:lnTo>
                  <a:lnTo>
                    <a:pt x="2094" y="1532"/>
                  </a:lnTo>
                  <a:lnTo>
                    <a:pt x="2091" y="1527"/>
                  </a:lnTo>
                  <a:lnTo>
                    <a:pt x="2097" y="1533"/>
                  </a:lnTo>
                  <a:lnTo>
                    <a:pt x="2100" y="1535"/>
                  </a:lnTo>
                  <a:lnTo>
                    <a:pt x="2100" y="1544"/>
                  </a:lnTo>
                  <a:lnTo>
                    <a:pt x="2101" y="1540"/>
                  </a:lnTo>
                  <a:lnTo>
                    <a:pt x="2104" y="1540"/>
                  </a:lnTo>
                  <a:lnTo>
                    <a:pt x="2103" y="1535"/>
                  </a:lnTo>
                  <a:lnTo>
                    <a:pt x="2103" y="1533"/>
                  </a:lnTo>
                  <a:lnTo>
                    <a:pt x="2104" y="1533"/>
                  </a:lnTo>
                  <a:lnTo>
                    <a:pt x="2105" y="1535"/>
                  </a:lnTo>
                  <a:lnTo>
                    <a:pt x="2107" y="1535"/>
                  </a:lnTo>
                  <a:lnTo>
                    <a:pt x="2108" y="1535"/>
                  </a:lnTo>
                  <a:lnTo>
                    <a:pt x="2110" y="1539"/>
                  </a:lnTo>
                  <a:lnTo>
                    <a:pt x="2108" y="1540"/>
                  </a:lnTo>
                  <a:lnTo>
                    <a:pt x="2111" y="1540"/>
                  </a:lnTo>
                  <a:lnTo>
                    <a:pt x="2112" y="1540"/>
                  </a:lnTo>
                  <a:lnTo>
                    <a:pt x="2112" y="1544"/>
                  </a:lnTo>
                  <a:lnTo>
                    <a:pt x="2114" y="1543"/>
                  </a:lnTo>
                  <a:lnTo>
                    <a:pt x="2117" y="1544"/>
                  </a:lnTo>
                  <a:lnTo>
                    <a:pt x="2115" y="1548"/>
                  </a:lnTo>
                  <a:lnTo>
                    <a:pt x="2108" y="1549"/>
                  </a:lnTo>
                  <a:lnTo>
                    <a:pt x="2085" y="1563"/>
                  </a:lnTo>
                  <a:lnTo>
                    <a:pt x="2080" y="1566"/>
                  </a:lnTo>
                  <a:lnTo>
                    <a:pt x="2078" y="1569"/>
                  </a:lnTo>
                  <a:lnTo>
                    <a:pt x="2075" y="1566"/>
                  </a:lnTo>
                  <a:lnTo>
                    <a:pt x="2075" y="1569"/>
                  </a:lnTo>
                  <a:lnTo>
                    <a:pt x="2064" y="1574"/>
                  </a:lnTo>
                  <a:lnTo>
                    <a:pt x="2058" y="1580"/>
                  </a:lnTo>
                  <a:lnTo>
                    <a:pt x="2058" y="1589"/>
                  </a:lnTo>
                  <a:lnTo>
                    <a:pt x="2054" y="1601"/>
                  </a:lnTo>
                  <a:lnTo>
                    <a:pt x="2051" y="1601"/>
                  </a:lnTo>
                  <a:lnTo>
                    <a:pt x="2049" y="1599"/>
                  </a:lnTo>
                  <a:lnTo>
                    <a:pt x="2044" y="1601"/>
                  </a:lnTo>
                  <a:lnTo>
                    <a:pt x="2049" y="1601"/>
                  </a:lnTo>
                  <a:lnTo>
                    <a:pt x="2050" y="1602"/>
                  </a:lnTo>
                  <a:lnTo>
                    <a:pt x="2049" y="1605"/>
                  </a:lnTo>
                  <a:lnTo>
                    <a:pt x="2052" y="1606"/>
                  </a:lnTo>
                  <a:lnTo>
                    <a:pt x="2050" y="1614"/>
                  </a:lnTo>
                  <a:lnTo>
                    <a:pt x="2047" y="1615"/>
                  </a:lnTo>
                  <a:lnTo>
                    <a:pt x="2047" y="1619"/>
                  </a:lnTo>
                  <a:lnTo>
                    <a:pt x="2044" y="1619"/>
                  </a:lnTo>
                  <a:lnTo>
                    <a:pt x="2044" y="1620"/>
                  </a:lnTo>
                  <a:lnTo>
                    <a:pt x="2040" y="1625"/>
                  </a:lnTo>
                  <a:lnTo>
                    <a:pt x="2033" y="1625"/>
                  </a:lnTo>
                  <a:lnTo>
                    <a:pt x="2029" y="1627"/>
                  </a:lnTo>
                  <a:lnTo>
                    <a:pt x="2026" y="1627"/>
                  </a:lnTo>
                  <a:lnTo>
                    <a:pt x="2025" y="1628"/>
                  </a:lnTo>
                  <a:lnTo>
                    <a:pt x="2024" y="1632"/>
                  </a:lnTo>
                  <a:lnTo>
                    <a:pt x="2026" y="1632"/>
                  </a:lnTo>
                  <a:lnTo>
                    <a:pt x="2026" y="1628"/>
                  </a:lnTo>
                  <a:lnTo>
                    <a:pt x="2029" y="1628"/>
                  </a:lnTo>
                  <a:lnTo>
                    <a:pt x="2033" y="1627"/>
                  </a:lnTo>
                  <a:lnTo>
                    <a:pt x="2035" y="1627"/>
                  </a:lnTo>
                  <a:lnTo>
                    <a:pt x="2030" y="1628"/>
                  </a:lnTo>
                  <a:lnTo>
                    <a:pt x="2029" y="1632"/>
                  </a:lnTo>
                  <a:lnTo>
                    <a:pt x="2027" y="1633"/>
                  </a:lnTo>
                  <a:lnTo>
                    <a:pt x="2036" y="1628"/>
                  </a:lnTo>
                  <a:lnTo>
                    <a:pt x="2035" y="1633"/>
                  </a:lnTo>
                  <a:lnTo>
                    <a:pt x="2032" y="1638"/>
                  </a:lnTo>
                  <a:lnTo>
                    <a:pt x="2035" y="1636"/>
                  </a:lnTo>
                  <a:lnTo>
                    <a:pt x="2037" y="1633"/>
                  </a:lnTo>
                  <a:lnTo>
                    <a:pt x="2037" y="1636"/>
                  </a:lnTo>
                  <a:lnTo>
                    <a:pt x="2037" y="1638"/>
                  </a:lnTo>
                  <a:lnTo>
                    <a:pt x="2040" y="1638"/>
                  </a:lnTo>
                  <a:lnTo>
                    <a:pt x="2037" y="1642"/>
                  </a:lnTo>
                  <a:lnTo>
                    <a:pt x="2041" y="1640"/>
                  </a:lnTo>
                  <a:lnTo>
                    <a:pt x="2040" y="1642"/>
                  </a:lnTo>
                  <a:lnTo>
                    <a:pt x="2044" y="1643"/>
                  </a:lnTo>
                  <a:lnTo>
                    <a:pt x="2046" y="1645"/>
                  </a:lnTo>
                  <a:lnTo>
                    <a:pt x="2043" y="1647"/>
                  </a:lnTo>
                  <a:lnTo>
                    <a:pt x="2046" y="1647"/>
                  </a:lnTo>
                  <a:lnTo>
                    <a:pt x="2044" y="1651"/>
                  </a:lnTo>
                  <a:lnTo>
                    <a:pt x="2047" y="1658"/>
                  </a:lnTo>
                  <a:lnTo>
                    <a:pt x="2044" y="1663"/>
                  </a:lnTo>
                  <a:lnTo>
                    <a:pt x="2044" y="1664"/>
                  </a:lnTo>
                  <a:lnTo>
                    <a:pt x="2046" y="1663"/>
                  </a:lnTo>
                  <a:lnTo>
                    <a:pt x="2049" y="1660"/>
                  </a:lnTo>
                  <a:lnTo>
                    <a:pt x="2049" y="1651"/>
                  </a:lnTo>
                  <a:lnTo>
                    <a:pt x="2051" y="1651"/>
                  </a:lnTo>
                  <a:lnTo>
                    <a:pt x="2054" y="1651"/>
                  </a:lnTo>
                  <a:lnTo>
                    <a:pt x="2055" y="1655"/>
                  </a:lnTo>
                  <a:lnTo>
                    <a:pt x="2062" y="1655"/>
                  </a:lnTo>
                  <a:lnTo>
                    <a:pt x="2071" y="1651"/>
                  </a:lnTo>
                  <a:lnTo>
                    <a:pt x="2072" y="1651"/>
                  </a:lnTo>
                  <a:lnTo>
                    <a:pt x="2076" y="1651"/>
                  </a:lnTo>
                  <a:lnTo>
                    <a:pt x="2078" y="1655"/>
                  </a:lnTo>
                  <a:lnTo>
                    <a:pt x="2078" y="1651"/>
                  </a:lnTo>
                  <a:lnTo>
                    <a:pt x="2076" y="1651"/>
                  </a:lnTo>
                  <a:lnTo>
                    <a:pt x="2087" y="1651"/>
                  </a:lnTo>
                  <a:lnTo>
                    <a:pt x="2096" y="1651"/>
                  </a:lnTo>
                  <a:lnTo>
                    <a:pt x="2105" y="1651"/>
                  </a:lnTo>
                  <a:lnTo>
                    <a:pt x="2111" y="1651"/>
                  </a:lnTo>
                  <a:lnTo>
                    <a:pt x="2115" y="1651"/>
                  </a:lnTo>
                  <a:lnTo>
                    <a:pt x="2115" y="1655"/>
                  </a:lnTo>
                  <a:lnTo>
                    <a:pt x="2114" y="1656"/>
                  </a:lnTo>
                  <a:lnTo>
                    <a:pt x="2114" y="1664"/>
                  </a:lnTo>
                  <a:lnTo>
                    <a:pt x="2112" y="1668"/>
                  </a:lnTo>
                  <a:lnTo>
                    <a:pt x="2105" y="1669"/>
                  </a:lnTo>
                  <a:lnTo>
                    <a:pt x="2104" y="1669"/>
                  </a:lnTo>
                  <a:lnTo>
                    <a:pt x="2104" y="1668"/>
                  </a:lnTo>
                  <a:lnTo>
                    <a:pt x="2101" y="1668"/>
                  </a:lnTo>
                  <a:lnTo>
                    <a:pt x="2099" y="1669"/>
                  </a:lnTo>
                  <a:lnTo>
                    <a:pt x="2103" y="1669"/>
                  </a:lnTo>
                  <a:lnTo>
                    <a:pt x="2100" y="1682"/>
                  </a:lnTo>
                  <a:lnTo>
                    <a:pt x="2100" y="1686"/>
                  </a:lnTo>
                  <a:lnTo>
                    <a:pt x="2101" y="1690"/>
                  </a:lnTo>
                  <a:lnTo>
                    <a:pt x="2100" y="1692"/>
                  </a:lnTo>
                  <a:lnTo>
                    <a:pt x="2100" y="1695"/>
                  </a:lnTo>
                  <a:lnTo>
                    <a:pt x="2101" y="1698"/>
                  </a:lnTo>
                  <a:lnTo>
                    <a:pt x="2107" y="1700"/>
                  </a:lnTo>
                  <a:lnTo>
                    <a:pt x="2107" y="1703"/>
                  </a:lnTo>
                  <a:lnTo>
                    <a:pt x="2108" y="1705"/>
                  </a:lnTo>
                  <a:lnTo>
                    <a:pt x="2107" y="1705"/>
                  </a:lnTo>
                  <a:lnTo>
                    <a:pt x="2108" y="1705"/>
                  </a:lnTo>
                  <a:lnTo>
                    <a:pt x="2114" y="1722"/>
                  </a:lnTo>
                  <a:lnTo>
                    <a:pt x="2114" y="1726"/>
                  </a:lnTo>
                  <a:lnTo>
                    <a:pt x="2112" y="1727"/>
                  </a:lnTo>
                  <a:lnTo>
                    <a:pt x="2115" y="1727"/>
                  </a:lnTo>
                  <a:lnTo>
                    <a:pt x="2112" y="1727"/>
                  </a:lnTo>
                  <a:lnTo>
                    <a:pt x="2112" y="1731"/>
                  </a:lnTo>
                  <a:lnTo>
                    <a:pt x="2110" y="1731"/>
                  </a:lnTo>
                  <a:lnTo>
                    <a:pt x="2112" y="1734"/>
                  </a:lnTo>
                  <a:lnTo>
                    <a:pt x="2114" y="1731"/>
                  </a:lnTo>
                  <a:lnTo>
                    <a:pt x="2118" y="1730"/>
                  </a:lnTo>
                  <a:lnTo>
                    <a:pt x="2117" y="1731"/>
                  </a:lnTo>
                  <a:lnTo>
                    <a:pt x="2119" y="1735"/>
                  </a:lnTo>
                  <a:lnTo>
                    <a:pt x="2124" y="1737"/>
                  </a:lnTo>
                  <a:lnTo>
                    <a:pt x="2124" y="1739"/>
                  </a:lnTo>
                  <a:lnTo>
                    <a:pt x="2129" y="1740"/>
                  </a:lnTo>
                  <a:lnTo>
                    <a:pt x="2139" y="1740"/>
                  </a:lnTo>
                  <a:lnTo>
                    <a:pt x="2145" y="1738"/>
                  </a:lnTo>
                  <a:lnTo>
                    <a:pt x="2153" y="1744"/>
                  </a:lnTo>
                  <a:lnTo>
                    <a:pt x="2156" y="1754"/>
                  </a:lnTo>
                  <a:lnTo>
                    <a:pt x="2153" y="1765"/>
                  </a:lnTo>
                  <a:lnTo>
                    <a:pt x="2151" y="1763"/>
                  </a:lnTo>
                  <a:lnTo>
                    <a:pt x="2151" y="1757"/>
                  </a:lnTo>
                  <a:lnTo>
                    <a:pt x="2147" y="1762"/>
                  </a:lnTo>
                  <a:lnTo>
                    <a:pt x="2146" y="1762"/>
                  </a:lnTo>
                  <a:lnTo>
                    <a:pt x="2142" y="1754"/>
                  </a:lnTo>
                  <a:lnTo>
                    <a:pt x="2129" y="1752"/>
                  </a:lnTo>
                  <a:lnTo>
                    <a:pt x="2129" y="1750"/>
                  </a:lnTo>
                  <a:lnTo>
                    <a:pt x="2128" y="1748"/>
                  </a:lnTo>
                  <a:lnTo>
                    <a:pt x="2121" y="1748"/>
                  </a:lnTo>
                  <a:lnTo>
                    <a:pt x="2114" y="1754"/>
                  </a:lnTo>
                  <a:lnTo>
                    <a:pt x="2114" y="1772"/>
                  </a:lnTo>
                  <a:lnTo>
                    <a:pt x="2115" y="1780"/>
                  </a:lnTo>
                  <a:lnTo>
                    <a:pt x="2114" y="1784"/>
                  </a:lnTo>
                  <a:lnTo>
                    <a:pt x="2117" y="1784"/>
                  </a:lnTo>
                  <a:lnTo>
                    <a:pt x="2118" y="1792"/>
                  </a:lnTo>
                  <a:lnTo>
                    <a:pt x="2121" y="1793"/>
                  </a:lnTo>
                  <a:lnTo>
                    <a:pt x="2112" y="1802"/>
                  </a:lnTo>
                  <a:lnTo>
                    <a:pt x="2111" y="1806"/>
                  </a:lnTo>
                  <a:lnTo>
                    <a:pt x="2114" y="1810"/>
                  </a:lnTo>
                  <a:lnTo>
                    <a:pt x="2117" y="1812"/>
                  </a:lnTo>
                  <a:lnTo>
                    <a:pt x="2121" y="1812"/>
                  </a:lnTo>
                  <a:lnTo>
                    <a:pt x="2126" y="1815"/>
                  </a:lnTo>
                  <a:lnTo>
                    <a:pt x="2126" y="1829"/>
                  </a:lnTo>
                  <a:lnTo>
                    <a:pt x="2124" y="1829"/>
                  </a:lnTo>
                  <a:lnTo>
                    <a:pt x="2125" y="1829"/>
                  </a:lnTo>
                  <a:lnTo>
                    <a:pt x="2128" y="1827"/>
                  </a:lnTo>
                  <a:lnTo>
                    <a:pt x="2128" y="1825"/>
                  </a:lnTo>
                  <a:lnTo>
                    <a:pt x="2129" y="1821"/>
                  </a:lnTo>
                  <a:lnTo>
                    <a:pt x="2132" y="1821"/>
                  </a:lnTo>
                  <a:lnTo>
                    <a:pt x="2129" y="1821"/>
                  </a:lnTo>
                  <a:lnTo>
                    <a:pt x="2125" y="1807"/>
                  </a:lnTo>
                  <a:lnTo>
                    <a:pt x="2124" y="1807"/>
                  </a:lnTo>
                  <a:lnTo>
                    <a:pt x="2117" y="1807"/>
                  </a:lnTo>
                  <a:lnTo>
                    <a:pt x="2114" y="1807"/>
                  </a:lnTo>
                  <a:lnTo>
                    <a:pt x="2114" y="1806"/>
                  </a:lnTo>
                  <a:lnTo>
                    <a:pt x="2119" y="1802"/>
                  </a:lnTo>
                  <a:lnTo>
                    <a:pt x="2129" y="1801"/>
                  </a:lnTo>
                  <a:lnTo>
                    <a:pt x="2132" y="1797"/>
                  </a:lnTo>
                  <a:lnTo>
                    <a:pt x="2139" y="1793"/>
                  </a:lnTo>
                  <a:lnTo>
                    <a:pt x="2143" y="1793"/>
                  </a:lnTo>
                  <a:lnTo>
                    <a:pt x="2151" y="1802"/>
                  </a:lnTo>
                  <a:lnTo>
                    <a:pt x="2153" y="1812"/>
                  </a:lnTo>
                  <a:lnTo>
                    <a:pt x="2151" y="1815"/>
                  </a:lnTo>
                  <a:lnTo>
                    <a:pt x="2146" y="1815"/>
                  </a:lnTo>
                  <a:lnTo>
                    <a:pt x="2147" y="1815"/>
                  </a:lnTo>
                  <a:lnTo>
                    <a:pt x="2146" y="1821"/>
                  </a:lnTo>
                  <a:lnTo>
                    <a:pt x="2143" y="1829"/>
                  </a:lnTo>
                  <a:lnTo>
                    <a:pt x="2143" y="1832"/>
                  </a:lnTo>
                  <a:lnTo>
                    <a:pt x="2137" y="1838"/>
                  </a:lnTo>
                  <a:lnTo>
                    <a:pt x="2139" y="1838"/>
                  </a:lnTo>
                  <a:lnTo>
                    <a:pt x="2143" y="1837"/>
                  </a:lnTo>
                  <a:lnTo>
                    <a:pt x="2143" y="1841"/>
                  </a:lnTo>
                  <a:lnTo>
                    <a:pt x="2142" y="1842"/>
                  </a:lnTo>
                  <a:lnTo>
                    <a:pt x="2143" y="1842"/>
                  </a:lnTo>
                  <a:lnTo>
                    <a:pt x="2146" y="1838"/>
                  </a:lnTo>
                  <a:lnTo>
                    <a:pt x="2146" y="1832"/>
                  </a:lnTo>
                  <a:lnTo>
                    <a:pt x="2149" y="1829"/>
                  </a:lnTo>
                  <a:lnTo>
                    <a:pt x="2151" y="1829"/>
                  </a:lnTo>
                  <a:lnTo>
                    <a:pt x="2153" y="1832"/>
                  </a:lnTo>
                  <a:lnTo>
                    <a:pt x="2153" y="1842"/>
                  </a:lnTo>
                  <a:lnTo>
                    <a:pt x="2154" y="1834"/>
                  </a:lnTo>
                  <a:lnTo>
                    <a:pt x="2156" y="1834"/>
                  </a:lnTo>
                  <a:lnTo>
                    <a:pt x="2156" y="1829"/>
                  </a:lnTo>
                  <a:lnTo>
                    <a:pt x="2164" y="1825"/>
                  </a:lnTo>
                  <a:lnTo>
                    <a:pt x="2164" y="1838"/>
                  </a:lnTo>
                  <a:lnTo>
                    <a:pt x="2161" y="1847"/>
                  </a:lnTo>
                  <a:lnTo>
                    <a:pt x="2153" y="1866"/>
                  </a:lnTo>
                  <a:lnTo>
                    <a:pt x="2149" y="1869"/>
                  </a:lnTo>
                  <a:lnTo>
                    <a:pt x="2142" y="1873"/>
                  </a:lnTo>
                  <a:lnTo>
                    <a:pt x="2137" y="1873"/>
                  </a:lnTo>
                  <a:lnTo>
                    <a:pt x="2133" y="1876"/>
                  </a:lnTo>
                  <a:lnTo>
                    <a:pt x="2125" y="1881"/>
                  </a:lnTo>
                  <a:lnTo>
                    <a:pt x="2124" y="1881"/>
                  </a:lnTo>
                  <a:lnTo>
                    <a:pt x="2125" y="1879"/>
                  </a:lnTo>
                  <a:lnTo>
                    <a:pt x="2124" y="1876"/>
                  </a:lnTo>
                  <a:lnTo>
                    <a:pt x="2118" y="1872"/>
                  </a:lnTo>
                  <a:lnTo>
                    <a:pt x="2118" y="1866"/>
                  </a:lnTo>
                  <a:lnTo>
                    <a:pt x="2112" y="1860"/>
                  </a:lnTo>
                  <a:lnTo>
                    <a:pt x="2111" y="1856"/>
                  </a:lnTo>
                  <a:lnTo>
                    <a:pt x="2105" y="1855"/>
                  </a:lnTo>
                  <a:lnTo>
                    <a:pt x="2099" y="1843"/>
                  </a:lnTo>
                  <a:lnTo>
                    <a:pt x="2097" y="1850"/>
                  </a:lnTo>
                  <a:lnTo>
                    <a:pt x="2094" y="1850"/>
                  </a:lnTo>
                  <a:lnTo>
                    <a:pt x="2100" y="1851"/>
                  </a:lnTo>
                  <a:lnTo>
                    <a:pt x="2110" y="1864"/>
                  </a:lnTo>
                  <a:lnTo>
                    <a:pt x="2108" y="1868"/>
                  </a:lnTo>
                  <a:lnTo>
                    <a:pt x="2111" y="1869"/>
                  </a:lnTo>
                  <a:lnTo>
                    <a:pt x="2108" y="1873"/>
                  </a:lnTo>
                  <a:lnTo>
                    <a:pt x="2108" y="1876"/>
                  </a:lnTo>
                  <a:lnTo>
                    <a:pt x="2110" y="1877"/>
                  </a:lnTo>
                  <a:lnTo>
                    <a:pt x="2108" y="1883"/>
                  </a:lnTo>
                  <a:lnTo>
                    <a:pt x="2110" y="1883"/>
                  </a:lnTo>
                  <a:lnTo>
                    <a:pt x="2112" y="1885"/>
                  </a:lnTo>
                  <a:lnTo>
                    <a:pt x="2110" y="1891"/>
                  </a:lnTo>
                  <a:lnTo>
                    <a:pt x="2105" y="1892"/>
                  </a:lnTo>
                  <a:lnTo>
                    <a:pt x="2100" y="1898"/>
                  </a:lnTo>
                  <a:lnTo>
                    <a:pt x="2099" y="1896"/>
                  </a:lnTo>
                  <a:lnTo>
                    <a:pt x="2097" y="1892"/>
                  </a:lnTo>
                  <a:lnTo>
                    <a:pt x="2094" y="1894"/>
                  </a:lnTo>
                  <a:lnTo>
                    <a:pt x="2096" y="1896"/>
                  </a:lnTo>
                  <a:lnTo>
                    <a:pt x="2094" y="1896"/>
                  </a:lnTo>
                  <a:lnTo>
                    <a:pt x="2093" y="1896"/>
                  </a:lnTo>
                  <a:lnTo>
                    <a:pt x="2093" y="1901"/>
                  </a:lnTo>
                  <a:lnTo>
                    <a:pt x="2094" y="1904"/>
                  </a:lnTo>
                  <a:lnTo>
                    <a:pt x="2097" y="1904"/>
                  </a:lnTo>
                  <a:lnTo>
                    <a:pt x="2097" y="1905"/>
                  </a:lnTo>
                  <a:lnTo>
                    <a:pt x="2094" y="1914"/>
                  </a:lnTo>
                  <a:lnTo>
                    <a:pt x="2087" y="1928"/>
                  </a:lnTo>
                  <a:lnTo>
                    <a:pt x="2085" y="1931"/>
                  </a:lnTo>
                  <a:lnTo>
                    <a:pt x="2083" y="1945"/>
                  </a:lnTo>
                  <a:lnTo>
                    <a:pt x="2074" y="1958"/>
                  </a:lnTo>
                  <a:lnTo>
                    <a:pt x="2072" y="1966"/>
                  </a:lnTo>
                  <a:lnTo>
                    <a:pt x="2068" y="1972"/>
                  </a:lnTo>
                  <a:lnTo>
                    <a:pt x="2064" y="1971"/>
                  </a:lnTo>
                  <a:lnTo>
                    <a:pt x="2061" y="1967"/>
                  </a:lnTo>
                  <a:lnTo>
                    <a:pt x="2062" y="1966"/>
                  </a:lnTo>
                  <a:lnTo>
                    <a:pt x="2060" y="1958"/>
                  </a:lnTo>
                  <a:lnTo>
                    <a:pt x="2062" y="1956"/>
                  </a:lnTo>
                  <a:lnTo>
                    <a:pt x="2062" y="1943"/>
                  </a:lnTo>
                  <a:lnTo>
                    <a:pt x="2060" y="1937"/>
                  </a:lnTo>
                  <a:lnTo>
                    <a:pt x="2054" y="1935"/>
                  </a:lnTo>
                  <a:lnTo>
                    <a:pt x="2054" y="1934"/>
                  </a:lnTo>
                  <a:lnTo>
                    <a:pt x="2051" y="1931"/>
                  </a:lnTo>
                  <a:lnTo>
                    <a:pt x="2050" y="1931"/>
                  </a:lnTo>
                  <a:lnTo>
                    <a:pt x="2052" y="1934"/>
                  </a:lnTo>
                  <a:lnTo>
                    <a:pt x="2051" y="1935"/>
                  </a:lnTo>
                  <a:lnTo>
                    <a:pt x="2046" y="1934"/>
                  </a:lnTo>
                  <a:lnTo>
                    <a:pt x="2037" y="1934"/>
                  </a:lnTo>
                  <a:lnTo>
                    <a:pt x="2036" y="1935"/>
                  </a:lnTo>
                  <a:lnTo>
                    <a:pt x="2035" y="1934"/>
                  </a:lnTo>
                  <a:lnTo>
                    <a:pt x="2029" y="1935"/>
                  </a:lnTo>
                  <a:lnTo>
                    <a:pt x="2022" y="1939"/>
                  </a:lnTo>
                  <a:lnTo>
                    <a:pt x="2014" y="1945"/>
                  </a:lnTo>
                  <a:lnTo>
                    <a:pt x="2010" y="1950"/>
                  </a:lnTo>
                  <a:lnTo>
                    <a:pt x="2010" y="1953"/>
                  </a:lnTo>
                  <a:lnTo>
                    <a:pt x="2008" y="1953"/>
                  </a:lnTo>
                  <a:lnTo>
                    <a:pt x="2005" y="1956"/>
                  </a:lnTo>
                  <a:lnTo>
                    <a:pt x="2004" y="1954"/>
                  </a:lnTo>
                  <a:lnTo>
                    <a:pt x="2004" y="1958"/>
                  </a:lnTo>
                  <a:lnTo>
                    <a:pt x="2005" y="1958"/>
                  </a:lnTo>
                  <a:lnTo>
                    <a:pt x="2001" y="1958"/>
                  </a:lnTo>
                  <a:lnTo>
                    <a:pt x="2002" y="1958"/>
                  </a:lnTo>
                  <a:lnTo>
                    <a:pt x="2001" y="1963"/>
                  </a:lnTo>
                  <a:lnTo>
                    <a:pt x="1994" y="1961"/>
                  </a:lnTo>
                  <a:lnTo>
                    <a:pt x="1993" y="1958"/>
                  </a:lnTo>
                  <a:lnTo>
                    <a:pt x="1994" y="1954"/>
                  </a:lnTo>
                  <a:lnTo>
                    <a:pt x="1990" y="1954"/>
                  </a:lnTo>
                  <a:lnTo>
                    <a:pt x="1987" y="1954"/>
                  </a:lnTo>
                  <a:lnTo>
                    <a:pt x="1986" y="1958"/>
                  </a:lnTo>
                  <a:lnTo>
                    <a:pt x="1990" y="1954"/>
                  </a:lnTo>
                  <a:lnTo>
                    <a:pt x="1991" y="1956"/>
                  </a:lnTo>
                  <a:lnTo>
                    <a:pt x="1989" y="1958"/>
                  </a:lnTo>
                  <a:lnTo>
                    <a:pt x="1991" y="1967"/>
                  </a:lnTo>
                  <a:lnTo>
                    <a:pt x="1987" y="1966"/>
                  </a:lnTo>
                  <a:lnTo>
                    <a:pt x="1982" y="1967"/>
                  </a:lnTo>
                  <a:lnTo>
                    <a:pt x="1985" y="1967"/>
                  </a:lnTo>
                  <a:lnTo>
                    <a:pt x="1986" y="1967"/>
                  </a:lnTo>
                  <a:lnTo>
                    <a:pt x="1987" y="1967"/>
                  </a:lnTo>
                  <a:lnTo>
                    <a:pt x="1989" y="1967"/>
                  </a:lnTo>
                  <a:lnTo>
                    <a:pt x="1987" y="1971"/>
                  </a:lnTo>
                  <a:lnTo>
                    <a:pt x="1989" y="1972"/>
                  </a:lnTo>
                  <a:lnTo>
                    <a:pt x="1983" y="1985"/>
                  </a:lnTo>
                  <a:lnTo>
                    <a:pt x="1982" y="1993"/>
                  </a:lnTo>
                  <a:lnTo>
                    <a:pt x="1985" y="1995"/>
                  </a:lnTo>
                  <a:lnTo>
                    <a:pt x="1983" y="1998"/>
                  </a:lnTo>
                  <a:lnTo>
                    <a:pt x="1986" y="2001"/>
                  </a:lnTo>
                  <a:lnTo>
                    <a:pt x="1987" y="2006"/>
                  </a:lnTo>
                  <a:lnTo>
                    <a:pt x="1991" y="2008"/>
                  </a:lnTo>
                  <a:lnTo>
                    <a:pt x="1991" y="2012"/>
                  </a:lnTo>
                  <a:lnTo>
                    <a:pt x="2004" y="2023"/>
                  </a:lnTo>
                  <a:lnTo>
                    <a:pt x="2004" y="2025"/>
                  </a:lnTo>
                  <a:lnTo>
                    <a:pt x="2001" y="2025"/>
                  </a:lnTo>
                  <a:lnTo>
                    <a:pt x="2002" y="2025"/>
                  </a:lnTo>
                  <a:lnTo>
                    <a:pt x="2001" y="2028"/>
                  </a:lnTo>
                  <a:lnTo>
                    <a:pt x="2004" y="2028"/>
                  </a:lnTo>
                  <a:lnTo>
                    <a:pt x="2007" y="2033"/>
                  </a:lnTo>
                  <a:lnTo>
                    <a:pt x="2010" y="2037"/>
                  </a:lnTo>
                  <a:lnTo>
                    <a:pt x="2012" y="2041"/>
                  </a:lnTo>
                  <a:lnTo>
                    <a:pt x="2010" y="2041"/>
                  </a:lnTo>
                  <a:lnTo>
                    <a:pt x="2012" y="2043"/>
                  </a:lnTo>
                  <a:lnTo>
                    <a:pt x="2011" y="2043"/>
                  </a:lnTo>
                  <a:lnTo>
                    <a:pt x="2010" y="2047"/>
                  </a:lnTo>
                  <a:lnTo>
                    <a:pt x="2010" y="2050"/>
                  </a:lnTo>
                  <a:lnTo>
                    <a:pt x="2007" y="2051"/>
                  </a:lnTo>
                  <a:lnTo>
                    <a:pt x="2011" y="2051"/>
                  </a:lnTo>
                  <a:lnTo>
                    <a:pt x="2012" y="2051"/>
                  </a:lnTo>
                  <a:lnTo>
                    <a:pt x="2022" y="2050"/>
                  </a:lnTo>
                  <a:lnTo>
                    <a:pt x="2027" y="2050"/>
                  </a:lnTo>
                  <a:lnTo>
                    <a:pt x="2026" y="2057"/>
                  </a:lnTo>
                  <a:lnTo>
                    <a:pt x="2033" y="2060"/>
                  </a:lnTo>
                  <a:lnTo>
                    <a:pt x="2032" y="2059"/>
                  </a:lnTo>
                  <a:lnTo>
                    <a:pt x="2029" y="2057"/>
                  </a:lnTo>
                  <a:lnTo>
                    <a:pt x="2030" y="2051"/>
                  </a:lnTo>
                  <a:lnTo>
                    <a:pt x="2039" y="2055"/>
                  </a:lnTo>
                  <a:lnTo>
                    <a:pt x="2040" y="2051"/>
                  </a:lnTo>
                  <a:lnTo>
                    <a:pt x="2046" y="2055"/>
                  </a:lnTo>
                  <a:lnTo>
                    <a:pt x="2050" y="2051"/>
                  </a:lnTo>
                  <a:lnTo>
                    <a:pt x="2046" y="2057"/>
                  </a:lnTo>
                  <a:lnTo>
                    <a:pt x="2049" y="2063"/>
                  </a:lnTo>
                  <a:lnTo>
                    <a:pt x="2049" y="2070"/>
                  </a:lnTo>
                  <a:lnTo>
                    <a:pt x="2050" y="2066"/>
                  </a:lnTo>
                  <a:lnTo>
                    <a:pt x="2051" y="2065"/>
                  </a:lnTo>
                  <a:lnTo>
                    <a:pt x="2052" y="2066"/>
                  </a:lnTo>
                  <a:lnTo>
                    <a:pt x="2051" y="2070"/>
                  </a:lnTo>
                  <a:lnTo>
                    <a:pt x="2052" y="2070"/>
                  </a:lnTo>
                  <a:lnTo>
                    <a:pt x="2055" y="2066"/>
                  </a:lnTo>
                  <a:lnTo>
                    <a:pt x="2055" y="2060"/>
                  </a:lnTo>
                  <a:lnTo>
                    <a:pt x="2061" y="2057"/>
                  </a:lnTo>
                  <a:lnTo>
                    <a:pt x="2064" y="2057"/>
                  </a:lnTo>
                  <a:lnTo>
                    <a:pt x="2068" y="2051"/>
                  </a:lnTo>
                  <a:lnTo>
                    <a:pt x="2066" y="2047"/>
                  </a:lnTo>
                  <a:lnTo>
                    <a:pt x="2069" y="2043"/>
                  </a:lnTo>
                  <a:lnTo>
                    <a:pt x="2068" y="2043"/>
                  </a:lnTo>
                  <a:lnTo>
                    <a:pt x="2071" y="2034"/>
                  </a:lnTo>
                  <a:lnTo>
                    <a:pt x="2071" y="2030"/>
                  </a:lnTo>
                  <a:lnTo>
                    <a:pt x="2069" y="2030"/>
                  </a:lnTo>
                  <a:lnTo>
                    <a:pt x="2071" y="2028"/>
                  </a:lnTo>
                  <a:lnTo>
                    <a:pt x="2071" y="2025"/>
                  </a:lnTo>
                  <a:lnTo>
                    <a:pt x="2069" y="2016"/>
                  </a:lnTo>
                  <a:lnTo>
                    <a:pt x="2065" y="2012"/>
                  </a:lnTo>
                  <a:lnTo>
                    <a:pt x="2052" y="2003"/>
                  </a:lnTo>
                  <a:lnTo>
                    <a:pt x="2046" y="2003"/>
                  </a:lnTo>
                  <a:lnTo>
                    <a:pt x="2044" y="2001"/>
                  </a:lnTo>
                  <a:lnTo>
                    <a:pt x="2046" y="1998"/>
                  </a:lnTo>
                  <a:lnTo>
                    <a:pt x="2049" y="1997"/>
                  </a:lnTo>
                  <a:lnTo>
                    <a:pt x="2050" y="1995"/>
                  </a:lnTo>
                  <a:lnTo>
                    <a:pt x="2054" y="1995"/>
                  </a:lnTo>
                  <a:lnTo>
                    <a:pt x="2058" y="1989"/>
                  </a:lnTo>
                  <a:lnTo>
                    <a:pt x="2064" y="1989"/>
                  </a:lnTo>
                  <a:lnTo>
                    <a:pt x="2069" y="1993"/>
                  </a:lnTo>
                  <a:lnTo>
                    <a:pt x="2074" y="1997"/>
                  </a:lnTo>
                  <a:lnTo>
                    <a:pt x="2080" y="1998"/>
                  </a:lnTo>
                  <a:lnTo>
                    <a:pt x="2083" y="1998"/>
                  </a:lnTo>
                  <a:lnTo>
                    <a:pt x="2089" y="2003"/>
                  </a:lnTo>
                  <a:lnTo>
                    <a:pt x="2093" y="2006"/>
                  </a:lnTo>
                  <a:lnTo>
                    <a:pt x="2099" y="2006"/>
                  </a:lnTo>
                  <a:lnTo>
                    <a:pt x="2104" y="2003"/>
                  </a:lnTo>
                  <a:lnTo>
                    <a:pt x="2114" y="2001"/>
                  </a:lnTo>
                  <a:lnTo>
                    <a:pt x="2117" y="1998"/>
                  </a:lnTo>
                  <a:lnTo>
                    <a:pt x="2128" y="2003"/>
                  </a:lnTo>
                  <a:lnTo>
                    <a:pt x="2131" y="2008"/>
                  </a:lnTo>
                  <a:lnTo>
                    <a:pt x="2129" y="2021"/>
                  </a:lnTo>
                  <a:lnTo>
                    <a:pt x="2118" y="2051"/>
                  </a:lnTo>
                  <a:lnTo>
                    <a:pt x="2107" y="2070"/>
                  </a:lnTo>
                  <a:lnTo>
                    <a:pt x="2101" y="2091"/>
                  </a:lnTo>
                  <a:lnTo>
                    <a:pt x="2103" y="2102"/>
                  </a:lnTo>
                  <a:lnTo>
                    <a:pt x="2101" y="2109"/>
                  </a:lnTo>
                  <a:lnTo>
                    <a:pt x="2104" y="2124"/>
                  </a:lnTo>
                  <a:lnTo>
                    <a:pt x="2104" y="2132"/>
                  </a:lnTo>
                  <a:lnTo>
                    <a:pt x="2105" y="2137"/>
                  </a:lnTo>
                  <a:lnTo>
                    <a:pt x="2107" y="2141"/>
                  </a:lnTo>
                  <a:lnTo>
                    <a:pt x="2110" y="2149"/>
                  </a:lnTo>
                  <a:lnTo>
                    <a:pt x="2110" y="2170"/>
                  </a:lnTo>
                  <a:lnTo>
                    <a:pt x="2108" y="2189"/>
                  </a:lnTo>
                  <a:lnTo>
                    <a:pt x="2105" y="2203"/>
                  </a:lnTo>
                  <a:lnTo>
                    <a:pt x="2105" y="2211"/>
                  </a:lnTo>
                  <a:lnTo>
                    <a:pt x="2108" y="2221"/>
                  </a:lnTo>
                  <a:lnTo>
                    <a:pt x="2107" y="2231"/>
                  </a:lnTo>
                  <a:lnTo>
                    <a:pt x="2108" y="2234"/>
                  </a:lnTo>
                  <a:lnTo>
                    <a:pt x="2111" y="2248"/>
                  </a:lnTo>
                  <a:lnTo>
                    <a:pt x="2108" y="2261"/>
                  </a:lnTo>
                  <a:lnTo>
                    <a:pt x="2111" y="2273"/>
                  </a:lnTo>
                  <a:lnTo>
                    <a:pt x="2111" y="2283"/>
                  </a:lnTo>
                  <a:lnTo>
                    <a:pt x="2115" y="2286"/>
                  </a:lnTo>
                  <a:lnTo>
                    <a:pt x="2115" y="2289"/>
                  </a:lnTo>
                  <a:lnTo>
                    <a:pt x="2122" y="2296"/>
                  </a:lnTo>
                  <a:lnTo>
                    <a:pt x="2125" y="2302"/>
                  </a:lnTo>
                  <a:lnTo>
                    <a:pt x="2125" y="2309"/>
                  </a:lnTo>
                  <a:lnTo>
                    <a:pt x="2126" y="2315"/>
                  </a:lnTo>
                  <a:lnTo>
                    <a:pt x="2128" y="2321"/>
                  </a:lnTo>
                  <a:lnTo>
                    <a:pt x="2125" y="2341"/>
                  </a:lnTo>
                  <a:lnTo>
                    <a:pt x="2122" y="2351"/>
                  </a:lnTo>
                  <a:lnTo>
                    <a:pt x="2110" y="2357"/>
                  </a:lnTo>
                  <a:lnTo>
                    <a:pt x="2103" y="2364"/>
                  </a:lnTo>
                  <a:lnTo>
                    <a:pt x="2091" y="2385"/>
                  </a:lnTo>
                  <a:lnTo>
                    <a:pt x="2087" y="2399"/>
                  </a:lnTo>
                  <a:lnTo>
                    <a:pt x="2087" y="2407"/>
                  </a:lnTo>
                  <a:lnTo>
                    <a:pt x="2087" y="2412"/>
                  </a:lnTo>
                  <a:lnTo>
                    <a:pt x="2087" y="2415"/>
                  </a:lnTo>
                  <a:lnTo>
                    <a:pt x="2080" y="2431"/>
                  </a:lnTo>
                  <a:lnTo>
                    <a:pt x="2080" y="2439"/>
                  </a:lnTo>
                  <a:lnTo>
                    <a:pt x="2082" y="2439"/>
                  </a:lnTo>
                  <a:lnTo>
                    <a:pt x="2079" y="2439"/>
                  </a:lnTo>
                  <a:lnTo>
                    <a:pt x="2079" y="2437"/>
                  </a:lnTo>
                  <a:lnTo>
                    <a:pt x="2074" y="2437"/>
                  </a:lnTo>
                  <a:lnTo>
                    <a:pt x="2069" y="2444"/>
                  </a:lnTo>
                  <a:lnTo>
                    <a:pt x="2068" y="2444"/>
                  </a:lnTo>
                  <a:lnTo>
                    <a:pt x="2066" y="2444"/>
                  </a:lnTo>
                  <a:lnTo>
                    <a:pt x="2064" y="2444"/>
                  </a:lnTo>
                  <a:lnTo>
                    <a:pt x="2055" y="2443"/>
                  </a:lnTo>
                  <a:lnTo>
                    <a:pt x="2044" y="2451"/>
                  </a:lnTo>
                  <a:lnTo>
                    <a:pt x="2041" y="2451"/>
                  </a:lnTo>
                  <a:lnTo>
                    <a:pt x="2035" y="2444"/>
                  </a:lnTo>
                  <a:lnTo>
                    <a:pt x="2027" y="2444"/>
                  </a:lnTo>
                  <a:lnTo>
                    <a:pt x="2025" y="2439"/>
                  </a:lnTo>
                  <a:lnTo>
                    <a:pt x="2022" y="2435"/>
                  </a:lnTo>
                  <a:lnTo>
                    <a:pt x="2019" y="2430"/>
                  </a:lnTo>
                  <a:lnTo>
                    <a:pt x="2021" y="2422"/>
                  </a:lnTo>
                  <a:lnTo>
                    <a:pt x="2019" y="2412"/>
                  </a:lnTo>
                  <a:lnTo>
                    <a:pt x="2018" y="2408"/>
                  </a:lnTo>
                  <a:lnTo>
                    <a:pt x="2015" y="2407"/>
                  </a:lnTo>
                  <a:lnTo>
                    <a:pt x="2007" y="2407"/>
                  </a:lnTo>
                  <a:lnTo>
                    <a:pt x="2004" y="2403"/>
                  </a:lnTo>
                  <a:lnTo>
                    <a:pt x="1999" y="2399"/>
                  </a:lnTo>
                  <a:lnTo>
                    <a:pt x="1994" y="2395"/>
                  </a:lnTo>
                  <a:lnTo>
                    <a:pt x="1991" y="2395"/>
                  </a:lnTo>
                  <a:lnTo>
                    <a:pt x="1983" y="2399"/>
                  </a:lnTo>
                  <a:lnTo>
                    <a:pt x="1975" y="2398"/>
                  </a:lnTo>
                  <a:lnTo>
                    <a:pt x="1968" y="2399"/>
                  </a:lnTo>
                  <a:lnTo>
                    <a:pt x="1962" y="2399"/>
                  </a:lnTo>
                  <a:lnTo>
                    <a:pt x="1954" y="2395"/>
                  </a:lnTo>
                  <a:lnTo>
                    <a:pt x="1944" y="2395"/>
                  </a:lnTo>
                  <a:lnTo>
                    <a:pt x="1941" y="2398"/>
                  </a:lnTo>
                  <a:lnTo>
                    <a:pt x="1937" y="2398"/>
                  </a:lnTo>
                  <a:lnTo>
                    <a:pt x="1933" y="2399"/>
                  </a:lnTo>
                  <a:lnTo>
                    <a:pt x="1925" y="2403"/>
                  </a:lnTo>
                  <a:lnTo>
                    <a:pt x="1922" y="2407"/>
                  </a:lnTo>
                  <a:lnTo>
                    <a:pt x="1916" y="2408"/>
                  </a:lnTo>
                  <a:lnTo>
                    <a:pt x="1912" y="2411"/>
                  </a:lnTo>
                  <a:lnTo>
                    <a:pt x="1897" y="2403"/>
                  </a:lnTo>
                  <a:lnTo>
                    <a:pt x="1889" y="2408"/>
                  </a:lnTo>
                  <a:lnTo>
                    <a:pt x="1883" y="2415"/>
                  </a:lnTo>
                  <a:lnTo>
                    <a:pt x="1871" y="2418"/>
                  </a:lnTo>
                  <a:lnTo>
                    <a:pt x="1865" y="2416"/>
                  </a:lnTo>
                  <a:lnTo>
                    <a:pt x="1859" y="2420"/>
                  </a:lnTo>
                  <a:lnTo>
                    <a:pt x="1847" y="2420"/>
                  </a:lnTo>
                  <a:lnTo>
                    <a:pt x="1840" y="2426"/>
                  </a:lnTo>
                  <a:lnTo>
                    <a:pt x="1837" y="2431"/>
                  </a:lnTo>
                  <a:lnTo>
                    <a:pt x="1829" y="2431"/>
                  </a:lnTo>
                  <a:lnTo>
                    <a:pt x="1825" y="2426"/>
                  </a:lnTo>
                  <a:lnTo>
                    <a:pt x="1822" y="2420"/>
                  </a:lnTo>
                  <a:lnTo>
                    <a:pt x="1818" y="2416"/>
                  </a:lnTo>
                  <a:lnTo>
                    <a:pt x="1815" y="2412"/>
                  </a:lnTo>
                  <a:lnTo>
                    <a:pt x="1808" y="2412"/>
                  </a:lnTo>
                  <a:lnTo>
                    <a:pt x="1805" y="2403"/>
                  </a:lnTo>
                  <a:lnTo>
                    <a:pt x="1791" y="2402"/>
                  </a:lnTo>
                  <a:lnTo>
                    <a:pt x="1776" y="2403"/>
                  </a:lnTo>
                  <a:lnTo>
                    <a:pt x="1773" y="2399"/>
                  </a:lnTo>
                  <a:lnTo>
                    <a:pt x="1769" y="2390"/>
                  </a:lnTo>
                  <a:lnTo>
                    <a:pt x="1755" y="2389"/>
                  </a:lnTo>
                  <a:lnTo>
                    <a:pt x="1744" y="2389"/>
                  </a:lnTo>
                  <a:lnTo>
                    <a:pt x="1741" y="2390"/>
                  </a:lnTo>
                  <a:lnTo>
                    <a:pt x="1744" y="2395"/>
                  </a:lnTo>
                  <a:lnTo>
                    <a:pt x="1748" y="2403"/>
                  </a:lnTo>
                  <a:lnTo>
                    <a:pt x="1750" y="2408"/>
                  </a:lnTo>
                  <a:lnTo>
                    <a:pt x="1750" y="2412"/>
                  </a:lnTo>
                  <a:lnTo>
                    <a:pt x="1745" y="2416"/>
                  </a:lnTo>
                  <a:lnTo>
                    <a:pt x="1733" y="2416"/>
                  </a:lnTo>
                  <a:lnTo>
                    <a:pt x="1698" y="2430"/>
                  </a:lnTo>
                  <a:lnTo>
                    <a:pt x="1688" y="2431"/>
                  </a:lnTo>
                  <a:lnTo>
                    <a:pt x="1683" y="2435"/>
                  </a:lnTo>
                  <a:lnTo>
                    <a:pt x="1675" y="2437"/>
                  </a:lnTo>
                  <a:lnTo>
                    <a:pt x="1658" y="2439"/>
                  </a:lnTo>
                  <a:lnTo>
                    <a:pt x="1658" y="2444"/>
                  </a:lnTo>
                  <a:lnTo>
                    <a:pt x="1658" y="2453"/>
                  </a:lnTo>
                  <a:lnTo>
                    <a:pt x="1651" y="2465"/>
                  </a:lnTo>
                  <a:lnTo>
                    <a:pt x="1648" y="2466"/>
                  </a:lnTo>
                  <a:lnTo>
                    <a:pt x="1642" y="2480"/>
                  </a:lnTo>
                  <a:lnTo>
                    <a:pt x="1626" y="2489"/>
                  </a:lnTo>
                  <a:lnTo>
                    <a:pt x="1622" y="2492"/>
                  </a:lnTo>
                  <a:lnTo>
                    <a:pt x="1617" y="2492"/>
                  </a:lnTo>
                  <a:lnTo>
                    <a:pt x="1615" y="2493"/>
                  </a:lnTo>
                  <a:lnTo>
                    <a:pt x="1603" y="2501"/>
                  </a:lnTo>
                  <a:lnTo>
                    <a:pt x="1602" y="2509"/>
                  </a:lnTo>
                  <a:lnTo>
                    <a:pt x="1606" y="2511"/>
                  </a:lnTo>
                  <a:lnTo>
                    <a:pt x="1603" y="2518"/>
                  </a:lnTo>
                  <a:lnTo>
                    <a:pt x="1595" y="2527"/>
                  </a:lnTo>
                  <a:lnTo>
                    <a:pt x="1592" y="2527"/>
                  </a:lnTo>
                  <a:lnTo>
                    <a:pt x="1584" y="2542"/>
                  </a:lnTo>
                  <a:lnTo>
                    <a:pt x="1577" y="2545"/>
                  </a:lnTo>
                  <a:lnTo>
                    <a:pt x="1573" y="2551"/>
                  </a:lnTo>
                  <a:lnTo>
                    <a:pt x="1569" y="2555"/>
                  </a:lnTo>
                  <a:lnTo>
                    <a:pt x="1563" y="2557"/>
                  </a:lnTo>
                  <a:lnTo>
                    <a:pt x="1560" y="2559"/>
                  </a:lnTo>
                  <a:lnTo>
                    <a:pt x="1553" y="2564"/>
                  </a:lnTo>
                  <a:lnTo>
                    <a:pt x="1549" y="2568"/>
                  </a:lnTo>
                  <a:lnTo>
                    <a:pt x="1548" y="2572"/>
                  </a:lnTo>
                  <a:lnTo>
                    <a:pt x="1544" y="2576"/>
                  </a:lnTo>
                  <a:lnTo>
                    <a:pt x="1528" y="2576"/>
                  </a:lnTo>
                  <a:lnTo>
                    <a:pt x="1523" y="2573"/>
                  </a:lnTo>
                  <a:lnTo>
                    <a:pt x="1520" y="2573"/>
                  </a:lnTo>
                  <a:lnTo>
                    <a:pt x="1512" y="2577"/>
                  </a:lnTo>
                  <a:lnTo>
                    <a:pt x="1509" y="2577"/>
                  </a:lnTo>
                  <a:lnTo>
                    <a:pt x="1505" y="2573"/>
                  </a:lnTo>
                  <a:lnTo>
                    <a:pt x="1499" y="2576"/>
                  </a:lnTo>
                  <a:lnTo>
                    <a:pt x="1492" y="2573"/>
                  </a:lnTo>
                  <a:lnTo>
                    <a:pt x="1488" y="2576"/>
                  </a:lnTo>
                  <a:lnTo>
                    <a:pt x="1477" y="2568"/>
                  </a:lnTo>
                  <a:lnTo>
                    <a:pt x="1473" y="2568"/>
                  </a:lnTo>
                  <a:lnTo>
                    <a:pt x="1467" y="2564"/>
                  </a:lnTo>
                  <a:lnTo>
                    <a:pt x="1460" y="2562"/>
                  </a:lnTo>
                  <a:lnTo>
                    <a:pt x="1455" y="2564"/>
                  </a:lnTo>
                  <a:lnTo>
                    <a:pt x="1453" y="2572"/>
                  </a:lnTo>
                  <a:lnTo>
                    <a:pt x="1443" y="2577"/>
                  </a:lnTo>
                  <a:lnTo>
                    <a:pt x="1434" y="2580"/>
                  </a:lnTo>
                  <a:lnTo>
                    <a:pt x="1430" y="2586"/>
                  </a:lnTo>
                  <a:lnTo>
                    <a:pt x="1420" y="2594"/>
                  </a:lnTo>
                  <a:lnTo>
                    <a:pt x="1401" y="2598"/>
                  </a:lnTo>
                  <a:lnTo>
                    <a:pt x="1396" y="2602"/>
                  </a:lnTo>
                  <a:lnTo>
                    <a:pt x="1395" y="2607"/>
                  </a:lnTo>
                  <a:lnTo>
                    <a:pt x="1390" y="2609"/>
                  </a:lnTo>
                  <a:lnTo>
                    <a:pt x="1387" y="2612"/>
                  </a:lnTo>
                  <a:lnTo>
                    <a:pt x="1382" y="2617"/>
                  </a:lnTo>
                  <a:lnTo>
                    <a:pt x="1377" y="2618"/>
                  </a:lnTo>
                  <a:lnTo>
                    <a:pt x="1373" y="2615"/>
                  </a:lnTo>
                  <a:lnTo>
                    <a:pt x="1367" y="2618"/>
                  </a:lnTo>
                  <a:lnTo>
                    <a:pt x="1359" y="2617"/>
                  </a:lnTo>
                  <a:lnTo>
                    <a:pt x="1355" y="2618"/>
                  </a:lnTo>
                  <a:lnTo>
                    <a:pt x="1352" y="2621"/>
                  </a:lnTo>
                  <a:lnTo>
                    <a:pt x="1346" y="2622"/>
                  </a:lnTo>
                  <a:lnTo>
                    <a:pt x="1338" y="2618"/>
                  </a:lnTo>
                  <a:lnTo>
                    <a:pt x="1334" y="2618"/>
                  </a:lnTo>
                  <a:lnTo>
                    <a:pt x="1330" y="2622"/>
                  </a:lnTo>
                  <a:lnTo>
                    <a:pt x="1328" y="2622"/>
                  </a:lnTo>
                  <a:lnTo>
                    <a:pt x="1324" y="2626"/>
                  </a:lnTo>
                  <a:lnTo>
                    <a:pt x="1323" y="2630"/>
                  </a:lnTo>
                  <a:lnTo>
                    <a:pt x="1318" y="2634"/>
                  </a:lnTo>
                  <a:lnTo>
                    <a:pt x="1309" y="2634"/>
                  </a:lnTo>
                  <a:lnTo>
                    <a:pt x="1307" y="2634"/>
                  </a:lnTo>
                  <a:lnTo>
                    <a:pt x="1306" y="2638"/>
                  </a:lnTo>
                  <a:lnTo>
                    <a:pt x="1298" y="2638"/>
                  </a:lnTo>
                  <a:lnTo>
                    <a:pt x="1291" y="2635"/>
                  </a:lnTo>
                  <a:lnTo>
                    <a:pt x="1286" y="2638"/>
                  </a:lnTo>
                  <a:lnTo>
                    <a:pt x="1284" y="2638"/>
                  </a:lnTo>
                  <a:lnTo>
                    <a:pt x="1281" y="2639"/>
                  </a:lnTo>
                  <a:lnTo>
                    <a:pt x="1273" y="2640"/>
                  </a:lnTo>
                  <a:lnTo>
                    <a:pt x="1270" y="2640"/>
                  </a:lnTo>
                  <a:lnTo>
                    <a:pt x="1270" y="2644"/>
                  </a:lnTo>
                  <a:lnTo>
                    <a:pt x="1267" y="2644"/>
                  </a:lnTo>
                  <a:lnTo>
                    <a:pt x="1266" y="2648"/>
                  </a:lnTo>
                  <a:lnTo>
                    <a:pt x="1256" y="2652"/>
                  </a:lnTo>
                  <a:lnTo>
                    <a:pt x="1256" y="2656"/>
                  </a:lnTo>
                  <a:lnTo>
                    <a:pt x="1253" y="2656"/>
                  </a:lnTo>
                  <a:lnTo>
                    <a:pt x="1242" y="2661"/>
                  </a:lnTo>
                  <a:lnTo>
                    <a:pt x="1236" y="2667"/>
                  </a:lnTo>
                  <a:lnTo>
                    <a:pt x="1235" y="2679"/>
                  </a:lnTo>
                  <a:lnTo>
                    <a:pt x="1232" y="2686"/>
                  </a:lnTo>
                  <a:lnTo>
                    <a:pt x="1228" y="2689"/>
                  </a:lnTo>
                  <a:lnTo>
                    <a:pt x="1228" y="2693"/>
                  </a:lnTo>
                  <a:lnTo>
                    <a:pt x="1221" y="2696"/>
                  </a:lnTo>
                  <a:lnTo>
                    <a:pt x="1218" y="2701"/>
                  </a:lnTo>
                  <a:lnTo>
                    <a:pt x="1210" y="2705"/>
                  </a:lnTo>
                  <a:lnTo>
                    <a:pt x="1208" y="2706"/>
                  </a:lnTo>
                  <a:lnTo>
                    <a:pt x="1208" y="2710"/>
                  </a:lnTo>
                  <a:lnTo>
                    <a:pt x="1205" y="2714"/>
                  </a:lnTo>
                  <a:lnTo>
                    <a:pt x="1196" y="2714"/>
                  </a:lnTo>
                  <a:lnTo>
                    <a:pt x="1189" y="2710"/>
                  </a:lnTo>
                  <a:lnTo>
                    <a:pt x="1182" y="2711"/>
                  </a:lnTo>
                  <a:lnTo>
                    <a:pt x="1180" y="2714"/>
                  </a:lnTo>
                  <a:lnTo>
                    <a:pt x="1171" y="2716"/>
                  </a:lnTo>
                  <a:lnTo>
                    <a:pt x="1167" y="2714"/>
                  </a:lnTo>
                  <a:lnTo>
                    <a:pt x="1161" y="2716"/>
                  </a:lnTo>
                  <a:lnTo>
                    <a:pt x="1158" y="2716"/>
                  </a:lnTo>
                  <a:lnTo>
                    <a:pt x="1157" y="2722"/>
                  </a:lnTo>
                  <a:lnTo>
                    <a:pt x="1150" y="2722"/>
                  </a:lnTo>
                  <a:lnTo>
                    <a:pt x="1147" y="2725"/>
                  </a:lnTo>
                  <a:lnTo>
                    <a:pt x="1142" y="2725"/>
                  </a:lnTo>
                  <a:lnTo>
                    <a:pt x="1138" y="2727"/>
                  </a:lnTo>
                  <a:lnTo>
                    <a:pt x="1136" y="2738"/>
                  </a:lnTo>
                  <a:lnTo>
                    <a:pt x="1133" y="2742"/>
                  </a:lnTo>
                  <a:lnTo>
                    <a:pt x="1127" y="2742"/>
                  </a:lnTo>
                  <a:lnTo>
                    <a:pt x="1121" y="2747"/>
                  </a:lnTo>
                  <a:lnTo>
                    <a:pt x="1114" y="2747"/>
                  </a:lnTo>
                  <a:lnTo>
                    <a:pt x="1113" y="2750"/>
                  </a:lnTo>
                  <a:lnTo>
                    <a:pt x="1110" y="2747"/>
                  </a:lnTo>
                  <a:lnTo>
                    <a:pt x="1106" y="2751"/>
                  </a:lnTo>
                  <a:lnTo>
                    <a:pt x="1096" y="2754"/>
                  </a:lnTo>
                  <a:lnTo>
                    <a:pt x="1089" y="2751"/>
                  </a:lnTo>
                  <a:lnTo>
                    <a:pt x="1085" y="2754"/>
                  </a:lnTo>
                  <a:lnTo>
                    <a:pt x="1078" y="2758"/>
                  </a:lnTo>
                  <a:lnTo>
                    <a:pt x="1077" y="2763"/>
                  </a:lnTo>
                  <a:lnTo>
                    <a:pt x="1072" y="2768"/>
                  </a:lnTo>
                  <a:lnTo>
                    <a:pt x="1066" y="2770"/>
                  </a:lnTo>
                  <a:lnTo>
                    <a:pt x="1061" y="2772"/>
                  </a:lnTo>
                  <a:lnTo>
                    <a:pt x="1056" y="2772"/>
                  </a:lnTo>
                  <a:lnTo>
                    <a:pt x="1052" y="2773"/>
                  </a:lnTo>
                  <a:lnTo>
                    <a:pt x="1050" y="2781"/>
                  </a:lnTo>
                  <a:lnTo>
                    <a:pt x="1047" y="2783"/>
                  </a:lnTo>
                  <a:lnTo>
                    <a:pt x="1043" y="2785"/>
                  </a:lnTo>
                  <a:lnTo>
                    <a:pt x="1038" y="2789"/>
                  </a:lnTo>
                  <a:lnTo>
                    <a:pt x="1022" y="2793"/>
                  </a:lnTo>
                  <a:lnTo>
                    <a:pt x="1018" y="2798"/>
                  </a:lnTo>
                  <a:lnTo>
                    <a:pt x="1008" y="2804"/>
                  </a:lnTo>
                  <a:lnTo>
                    <a:pt x="1003" y="2800"/>
                  </a:lnTo>
                  <a:lnTo>
                    <a:pt x="1000" y="2796"/>
                  </a:lnTo>
                  <a:lnTo>
                    <a:pt x="996" y="2793"/>
                  </a:lnTo>
                  <a:lnTo>
                    <a:pt x="985" y="2789"/>
                  </a:lnTo>
                  <a:lnTo>
                    <a:pt x="979" y="2783"/>
                  </a:lnTo>
                  <a:lnTo>
                    <a:pt x="971" y="2783"/>
                  </a:lnTo>
                  <a:lnTo>
                    <a:pt x="961" y="2789"/>
                  </a:lnTo>
                  <a:lnTo>
                    <a:pt x="953" y="2791"/>
                  </a:lnTo>
                  <a:lnTo>
                    <a:pt x="947" y="2795"/>
                  </a:lnTo>
                  <a:lnTo>
                    <a:pt x="939" y="2800"/>
                  </a:lnTo>
                  <a:lnTo>
                    <a:pt x="934" y="2803"/>
                  </a:lnTo>
                  <a:lnTo>
                    <a:pt x="925" y="2805"/>
                  </a:lnTo>
                  <a:lnTo>
                    <a:pt x="923" y="2809"/>
                  </a:lnTo>
                  <a:lnTo>
                    <a:pt x="923" y="2817"/>
                  </a:lnTo>
                  <a:lnTo>
                    <a:pt x="919" y="2822"/>
                  </a:lnTo>
                  <a:lnTo>
                    <a:pt x="906" y="2831"/>
                  </a:lnTo>
                  <a:lnTo>
                    <a:pt x="890" y="2845"/>
                  </a:lnTo>
                  <a:lnTo>
                    <a:pt x="879" y="2847"/>
                  </a:lnTo>
                  <a:lnTo>
                    <a:pt x="873" y="2845"/>
                  </a:lnTo>
                  <a:lnTo>
                    <a:pt x="865" y="2845"/>
                  </a:lnTo>
                  <a:lnTo>
                    <a:pt x="861" y="2843"/>
                  </a:lnTo>
                  <a:lnTo>
                    <a:pt x="853" y="2845"/>
                  </a:lnTo>
                  <a:lnTo>
                    <a:pt x="848" y="2845"/>
                  </a:lnTo>
                  <a:lnTo>
                    <a:pt x="840" y="2848"/>
                  </a:lnTo>
                  <a:lnTo>
                    <a:pt x="832" y="2851"/>
                  </a:lnTo>
                  <a:lnTo>
                    <a:pt x="829" y="2856"/>
                  </a:lnTo>
                  <a:lnTo>
                    <a:pt x="819" y="2862"/>
                  </a:lnTo>
                  <a:lnTo>
                    <a:pt x="815" y="2867"/>
                  </a:lnTo>
                  <a:lnTo>
                    <a:pt x="809" y="2871"/>
                  </a:lnTo>
                  <a:lnTo>
                    <a:pt x="800" y="2871"/>
                  </a:lnTo>
                  <a:lnTo>
                    <a:pt x="775" y="2884"/>
                  </a:lnTo>
                  <a:lnTo>
                    <a:pt x="767" y="2887"/>
                  </a:lnTo>
                  <a:lnTo>
                    <a:pt x="758" y="2890"/>
                  </a:lnTo>
                  <a:lnTo>
                    <a:pt x="750" y="2893"/>
                  </a:lnTo>
                  <a:lnTo>
                    <a:pt x="743" y="2903"/>
                  </a:lnTo>
                  <a:lnTo>
                    <a:pt x="737" y="2909"/>
                  </a:lnTo>
                  <a:lnTo>
                    <a:pt x="729" y="2912"/>
                  </a:lnTo>
                  <a:lnTo>
                    <a:pt x="722" y="2920"/>
                  </a:lnTo>
                  <a:lnTo>
                    <a:pt x="715" y="2922"/>
                  </a:lnTo>
                  <a:lnTo>
                    <a:pt x="711" y="2924"/>
                  </a:lnTo>
                  <a:lnTo>
                    <a:pt x="701" y="2929"/>
                  </a:lnTo>
                  <a:lnTo>
                    <a:pt x="697" y="2929"/>
                  </a:lnTo>
                  <a:lnTo>
                    <a:pt x="693" y="2925"/>
                  </a:lnTo>
                  <a:lnTo>
                    <a:pt x="688" y="2918"/>
                  </a:lnTo>
                  <a:lnTo>
                    <a:pt x="684" y="2918"/>
                  </a:lnTo>
                  <a:lnTo>
                    <a:pt x="669" y="2929"/>
                  </a:lnTo>
                  <a:lnTo>
                    <a:pt x="662" y="2933"/>
                  </a:lnTo>
                  <a:lnTo>
                    <a:pt x="657" y="2934"/>
                  </a:lnTo>
                  <a:lnTo>
                    <a:pt x="640" y="2942"/>
                  </a:lnTo>
                  <a:lnTo>
                    <a:pt x="634" y="2947"/>
                  </a:lnTo>
                  <a:lnTo>
                    <a:pt x="629" y="2957"/>
                  </a:lnTo>
                  <a:lnTo>
                    <a:pt x="627" y="2958"/>
                  </a:lnTo>
                  <a:lnTo>
                    <a:pt x="622" y="2959"/>
                  </a:lnTo>
                  <a:lnTo>
                    <a:pt x="613" y="2955"/>
                  </a:lnTo>
                  <a:lnTo>
                    <a:pt x="607" y="2957"/>
                  </a:lnTo>
                  <a:lnTo>
                    <a:pt x="596" y="2947"/>
                  </a:lnTo>
                  <a:lnTo>
                    <a:pt x="583" y="2946"/>
                  </a:lnTo>
                  <a:lnTo>
                    <a:pt x="577" y="2947"/>
                  </a:lnTo>
                  <a:lnTo>
                    <a:pt x="572" y="2951"/>
                  </a:lnTo>
                  <a:lnTo>
                    <a:pt x="569" y="2951"/>
                  </a:lnTo>
                  <a:lnTo>
                    <a:pt x="565" y="2955"/>
                  </a:lnTo>
                  <a:lnTo>
                    <a:pt x="555" y="2955"/>
                  </a:lnTo>
                  <a:lnTo>
                    <a:pt x="551" y="2958"/>
                  </a:lnTo>
                  <a:lnTo>
                    <a:pt x="549" y="2957"/>
                  </a:lnTo>
                  <a:lnTo>
                    <a:pt x="547" y="2958"/>
                  </a:lnTo>
                  <a:lnTo>
                    <a:pt x="536" y="2965"/>
                  </a:lnTo>
                  <a:lnTo>
                    <a:pt x="530" y="2965"/>
                  </a:lnTo>
                  <a:lnTo>
                    <a:pt x="529" y="2965"/>
                  </a:lnTo>
                  <a:lnTo>
                    <a:pt x="523" y="2958"/>
                  </a:lnTo>
                  <a:lnTo>
                    <a:pt x="511" y="2957"/>
                  </a:lnTo>
                  <a:lnTo>
                    <a:pt x="499" y="2951"/>
                  </a:lnTo>
                  <a:lnTo>
                    <a:pt x="488" y="2957"/>
                  </a:lnTo>
                  <a:lnTo>
                    <a:pt x="481" y="2957"/>
                  </a:lnTo>
                  <a:lnTo>
                    <a:pt x="476" y="2963"/>
                  </a:lnTo>
                  <a:lnTo>
                    <a:pt x="473" y="2963"/>
                  </a:lnTo>
                  <a:lnTo>
                    <a:pt x="462" y="2959"/>
                  </a:lnTo>
                  <a:lnTo>
                    <a:pt x="454" y="2954"/>
                  </a:lnTo>
                  <a:lnTo>
                    <a:pt x="449" y="2951"/>
                  </a:lnTo>
                  <a:lnTo>
                    <a:pt x="445" y="2945"/>
                  </a:lnTo>
                  <a:lnTo>
                    <a:pt x="441" y="2942"/>
                  </a:lnTo>
                  <a:lnTo>
                    <a:pt x="434" y="2938"/>
                  </a:lnTo>
                  <a:lnTo>
                    <a:pt x="413" y="2934"/>
                  </a:lnTo>
                  <a:lnTo>
                    <a:pt x="406" y="2929"/>
                  </a:lnTo>
                  <a:lnTo>
                    <a:pt x="402" y="2929"/>
                  </a:lnTo>
                  <a:lnTo>
                    <a:pt x="399" y="2929"/>
                  </a:lnTo>
                  <a:lnTo>
                    <a:pt x="394" y="2934"/>
                  </a:lnTo>
                  <a:lnTo>
                    <a:pt x="374" y="2937"/>
                  </a:lnTo>
                  <a:lnTo>
                    <a:pt x="370" y="2937"/>
                  </a:lnTo>
                  <a:lnTo>
                    <a:pt x="367" y="2934"/>
                  </a:lnTo>
                  <a:lnTo>
                    <a:pt x="366" y="2932"/>
                  </a:lnTo>
                  <a:lnTo>
                    <a:pt x="363" y="2925"/>
                  </a:lnTo>
                  <a:lnTo>
                    <a:pt x="358" y="2920"/>
                  </a:lnTo>
                  <a:lnTo>
                    <a:pt x="356" y="2920"/>
                  </a:lnTo>
                  <a:lnTo>
                    <a:pt x="348" y="2922"/>
                  </a:lnTo>
                  <a:lnTo>
                    <a:pt x="342" y="2920"/>
                  </a:lnTo>
                  <a:lnTo>
                    <a:pt x="341" y="2916"/>
                  </a:lnTo>
                  <a:lnTo>
                    <a:pt x="341" y="2907"/>
                  </a:lnTo>
                  <a:lnTo>
                    <a:pt x="328" y="2890"/>
                  </a:lnTo>
                  <a:lnTo>
                    <a:pt x="330" y="2883"/>
                  </a:lnTo>
                  <a:lnTo>
                    <a:pt x="328" y="2880"/>
                  </a:lnTo>
                  <a:lnTo>
                    <a:pt x="323" y="2884"/>
                  </a:lnTo>
                  <a:lnTo>
                    <a:pt x="320" y="2884"/>
                  </a:lnTo>
                  <a:lnTo>
                    <a:pt x="320" y="2880"/>
                  </a:lnTo>
                  <a:lnTo>
                    <a:pt x="316" y="2876"/>
                  </a:lnTo>
                  <a:lnTo>
                    <a:pt x="319" y="2875"/>
                  </a:lnTo>
                  <a:lnTo>
                    <a:pt x="317" y="2873"/>
                  </a:lnTo>
                  <a:lnTo>
                    <a:pt x="313" y="2875"/>
                  </a:lnTo>
                  <a:lnTo>
                    <a:pt x="310" y="2871"/>
                  </a:lnTo>
                  <a:lnTo>
                    <a:pt x="308" y="2867"/>
                  </a:lnTo>
                  <a:lnTo>
                    <a:pt x="308" y="2865"/>
                  </a:lnTo>
                  <a:lnTo>
                    <a:pt x="303" y="2865"/>
                  </a:lnTo>
                  <a:lnTo>
                    <a:pt x="298" y="2858"/>
                  </a:lnTo>
                  <a:lnTo>
                    <a:pt x="297" y="2854"/>
                  </a:lnTo>
                  <a:lnTo>
                    <a:pt x="297" y="2853"/>
                  </a:lnTo>
                  <a:lnTo>
                    <a:pt x="287" y="2845"/>
                  </a:lnTo>
                  <a:lnTo>
                    <a:pt x="285" y="2840"/>
                  </a:lnTo>
                  <a:lnTo>
                    <a:pt x="280" y="2838"/>
                  </a:lnTo>
                  <a:lnTo>
                    <a:pt x="275" y="2831"/>
                  </a:lnTo>
                  <a:lnTo>
                    <a:pt x="275" y="2830"/>
                  </a:lnTo>
                  <a:lnTo>
                    <a:pt x="281" y="2817"/>
                  </a:lnTo>
                  <a:lnTo>
                    <a:pt x="284" y="2816"/>
                  </a:lnTo>
                  <a:lnTo>
                    <a:pt x="281" y="2813"/>
                  </a:lnTo>
                  <a:lnTo>
                    <a:pt x="281" y="2812"/>
                  </a:lnTo>
                  <a:lnTo>
                    <a:pt x="280" y="2809"/>
                  </a:lnTo>
                  <a:lnTo>
                    <a:pt x="277" y="2804"/>
                  </a:lnTo>
                  <a:lnTo>
                    <a:pt x="273" y="2804"/>
                  </a:lnTo>
                  <a:lnTo>
                    <a:pt x="273" y="2800"/>
                  </a:lnTo>
                  <a:lnTo>
                    <a:pt x="275" y="2800"/>
                  </a:lnTo>
                  <a:lnTo>
                    <a:pt x="274" y="2791"/>
                  </a:lnTo>
                  <a:lnTo>
                    <a:pt x="267" y="2785"/>
                  </a:lnTo>
                  <a:lnTo>
                    <a:pt x="264" y="2786"/>
                  </a:lnTo>
                  <a:lnTo>
                    <a:pt x="259" y="2783"/>
                  </a:lnTo>
                  <a:lnTo>
                    <a:pt x="259" y="2780"/>
                  </a:lnTo>
                  <a:lnTo>
                    <a:pt x="258" y="2773"/>
                  </a:lnTo>
                  <a:lnTo>
                    <a:pt x="259" y="2772"/>
                  </a:lnTo>
                  <a:lnTo>
                    <a:pt x="260" y="2767"/>
                  </a:lnTo>
                  <a:lnTo>
                    <a:pt x="259" y="2764"/>
                  </a:lnTo>
                  <a:lnTo>
                    <a:pt x="258" y="2759"/>
                  </a:lnTo>
                  <a:lnTo>
                    <a:pt x="253" y="2758"/>
                  </a:lnTo>
                  <a:lnTo>
                    <a:pt x="252" y="2751"/>
                  </a:lnTo>
                  <a:lnTo>
                    <a:pt x="252" y="2747"/>
                  </a:lnTo>
                  <a:lnTo>
                    <a:pt x="245" y="2742"/>
                  </a:lnTo>
                  <a:lnTo>
                    <a:pt x="244" y="2734"/>
                  </a:lnTo>
                  <a:lnTo>
                    <a:pt x="237" y="2729"/>
                  </a:lnTo>
                  <a:lnTo>
                    <a:pt x="235" y="2723"/>
                  </a:lnTo>
                  <a:lnTo>
                    <a:pt x="233" y="2723"/>
                  </a:lnTo>
                  <a:lnTo>
                    <a:pt x="225" y="2716"/>
                  </a:lnTo>
                  <a:lnTo>
                    <a:pt x="222" y="2711"/>
                  </a:lnTo>
                  <a:lnTo>
                    <a:pt x="223" y="2709"/>
                  </a:lnTo>
                  <a:lnTo>
                    <a:pt x="220" y="2706"/>
                  </a:lnTo>
                  <a:lnTo>
                    <a:pt x="220" y="2705"/>
                  </a:lnTo>
                  <a:lnTo>
                    <a:pt x="222" y="2701"/>
                  </a:lnTo>
                  <a:lnTo>
                    <a:pt x="223" y="2701"/>
                  </a:lnTo>
                  <a:lnTo>
                    <a:pt x="217" y="2699"/>
                  </a:lnTo>
                  <a:lnTo>
                    <a:pt x="216" y="2697"/>
                  </a:lnTo>
                  <a:lnTo>
                    <a:pt x="212" y="2696"/>
                  </a:lnTo>
                  <a:lnTo>
                    <a:pt x="210" y="2693"/>
                  </a:lnTo>
                  <a:lnTo>
                    <a:pt x="212" y="2689"/>
                  </a:lnTo>
                  <a:lnTo>
                    <a:pt x="212" y="2686"/>
                  </a:lnTo>
                  <a:lnTo>
                    <a:pt x="213" y="2676"/>
                  </a:lnTo>
                  <a:lnTo>
                    <a:pt x="208" y="2673"/>
                  </a:lnTo>
                  <a:lnTo>
                    <a:pt x="206" y="2671"/>
                  </a:lnTo>
                  <a:lnTo>
                    <a:pt x="203" y="2669"/>
                  </a:lnTo>
                  <a:lnTo>
                    <a:pt x="203" y="2667"/>
                  </a:lnTo>
                  <a:lnTo>
                    <a:pt x="196" y="2661"/>
                  </a:lnTo>
                  <a:lnTo>
                    <a:pt x="196" y="2656"/>
                  </a:lnTo>
                  <a:lnTo>
                    <a:pt x="196" y="2654"/>
                  </a:lnTo>
                  <a:lnTo>
                    <a:pt x="189" y="2648"/>
                  </a:lnTo>
                  <a:lnTo>
                    <a:pt x="185" y="2651"/>
                  </a:lnTo>
                  <a:lnTo>
                    <a:pt x="187" y="2639"/>
                  </a:lnTo>
                  <a:lnTo>
                    <a:pt x="185" y="2635"/>
                  </a:lnTo>
                  <a:lnTo>
                    <a:pt x="180" y="2634"/>
                  </a:lnTo>
                  <a:lnTo>
                    <a:pt x="180" y="2629"/>
                  </a:lnTo>
                  <a:lnTo>
                    <a:pt x="181" y="2622"/>
                  </a:lnTo>
                  <a:lnTo>
                    <a:pt x="181" y="2612"/>
                  </a:lnTo>
                  <a:lnTo>
                    <a:pt x="184" y="2609"/>
                  </a:lnTo>
                  <a:lnTo>
                    <a:pt x="184" y="2599"/>
                  </a:lnTo>
                  <a:lnTo>
                    <a:pt x="187" y="2593"/>
                  </a:lnTo>
                  <a:lnTo>
                    <a:pt x="185" y="2582"/>
                  </a:lnTo>
                  <a:lnTo>
                    <a:pt x="187" y="2581"/>
                  </a:lnTo>
                  <a:lnTo>
                    <a:pt x="189" y="2576"/>
                  </a:lnTo>
                  <a:lnTo>
                    <a:pt x="188" y="2572"/>
                  </a:lnTo>
                  <a:lnTo>
                    <a:pt x="181" y="2568"/>
                  </a:lnTo>
                  <a:lnTo>
                    <a:pt x="177" y="2568"/>
                  </a:lnTo>
                  <a:lnTo>
                    <a:pt x="175" y="2564"/>
                  </a:lnTo>
                  <a:lnTo>
                    <a:pt x="175" y="2560"/>
                  </a:lnTo>
                  <a:lnTo>
                    <a:pt x="173" y="2555"/>
                  </a:lnTo>
                  <a:lnTo>
                    <a:pt x="171" y="2551"/>
                  </a:lnTo>
                  <a:lnTo>
                    <a:pt x="167" y="2549"/>
                  </a:lnTo>
                  <a:lnTo>
                    <a:pt x="168" y="2542"/>
                  </a:lnTo>
                  <a:lnTo>
                    <a:pt x="167" y="2536"/>
                  </a:lnTo>
                  <a:lnTo>
                    <a:pt x="171" y="2509"/>
                  </a:lnTo>
                  <a:lnTo>
                    <a:pt x="170" y="2506"/>
                  </a:lnTo>
                  <a:lnTo>
                    <a:pt x="167" y="2505"/>
                  </a:lnTo>
                  <a:lnTo>
                    <a:pt x="164" y="2487"/>
                  </a:lnTo>
                  <a:lnTo>
                    <a:pt x="166" y="2470"/>
                  </a:lnTo>
                  <a:lnTo>
                    <a:pt x="159" y="2461"/>
                  </a:lnTo>
                  <a:lnTo>
                    <a:pt x="159" y="2457"/>
                  </a:lnTo>
                  <a:lnTo>
                    <a:pt x="157" y="2452"/>
                  </a:lnTo>
                  <a:lnTo>
                    <a:pt x="153" y="2448"/>
                  </a:lnTo>
                  <a:lnTo>
                    <a:pt x="142" y="2443"/>
                  </a:lnTo>
                  <a:lnTo>
                    <a:pt x="139" y="2443"/>
                  </a:lnTo>
                  <a:lnTo>
                    <a:pt x="138" y="2437"/>
                  </a:lnTo>
                  <a:lnTo>
                    <a:pt x="135" y="2430"/>
                  </a:lnTo>
                  <a:lnTo>
                    <a:pt x="134" y="2426"/>
                  </a:lnTo>
                  <a:lnTo>
                    <a:pt x="113" y="2431"/>
                  </a:lnTo>
                  <a:lnTo>
                    <a:pt x="100" y="2437"/>
                  </a:lnTo>
                  <a:lnTo>
                    <a:pt x="79" y="2364"/>
                  </a:lnTo>
                  <a:lnTo>
                    <a:pt x="84" y="2360"/>
                  </a:lnTo>
                  <a:lnTo>
                    <a:pt x="85" y="2354"/>
                  </a:lnTo>
                  <a:lnTo>
                    <a:pt x="90" y="2351"/>
                  </a:lnTo>
                  <a:lnTo>
                    <a:pt x="99" y="2341"/>
                  </a:lnTo>
                  <a:lnTo>
                    <a:pt x="115" y="2332"/>
                  </a:lnTo>
                  <a:lnTo>
                    <a:pt x="120" y="2327"/>
                  </a:lnTo>
                  <a:lnTo>
                    <a:pt x="124" y="2327"/>
                  </a:lnTo>
                  <a:lnTo>
                    <a:pt x="124" y="2323"/>
                  </a:lnTo>
                  <a:lnTo>
                    <a:pt x="127" y="2315"/>
                  </a:lnTo>
                  <a:lnTo>
                    <a:pt x="131" y="2315"/>
                  </a:lnTo>
                  <a:lnTo>
                    <a:pt x="137" y="2318"/>
                  </a:lnTo>
                  <a:lnTo>
                    <a:pt x="149" y="2315"/>
                  </a:lnTo>
                  <a:lnTo>
                    <a:pt x="160" y="2315"/>
                  </a:lnTo>
                  <a:lnTo>
                    <a:pt x="167" y="2309"/>
                  </a:lnTo>
                  <a:lnTo>
                    <a:pt x="170" y="2308"/>
                  </a:lnTo>
                  <a:lnTo>
                    <a:pt x="168" y="2302"/>
                  </a:lnTo>
                  <a:lnTo>
                    <a:pt x="170" y="2301"/>
                  </a:lnTo>
                  <a:lnTo>
                    <a:pt x="178" y="2291"/>
                  </a:lnTo>
                  <a:lnTo>
                    <a:pt x="181" y="2289"/>
                  </a:lnTo>
                  <a:lnTo>
                    <a:pt x="182" y="2286"/>
                  </a:lnTo>
                  <a:lnTo>
                    <a:pt x="187" y="2283"/>
                  </a:lnTo>
                  <a:lnTo>
                    <a:pt x="189" y="2279"/>
                  </a:lnTo>
                  <a:lnTo>
                    <a:pt x="194" y="2274"/>
                  </a:lnTo>
                  <a:lnTo>
                    <a:pt x="195" y="2273"/>
                  </a:lnTo>
                  <a:lnTo>
                    <a:pt x="196" y="2273"/>
                  </a:lnTo>
                  <a:lnTo>
                    <a:pt x="199" y="2270"/>
                  </a:lnTo>
                  <a:lnTo>
                    <a:pt x="196" y="2270"/>
                  </a:lnTo>
                  <a:lnTo>
                    <a:pt x="196" y="2266"/>
                  </a:lnTo>
                  <a:lnTo>
                    <a:pt x="192" y="2266"/>
                  </a:lnTo>
                  <a:lnTo>
                    <a:pt x="191" y="2265"/>
                  </a:lnTo>
                  <a:lnTo>
                    <a:pt x="194" y="2261"/>
                  </a:lnTo>
                  <a:lnTo>
                    <a:pt x="192" y="2256"/>
                  </a:lnTo>
                  <a:lnTo>
                    <a:pt x="196" y="2253"/>
                  </a:lnTo>
                  <a:lnTo>
                    <a:pt x="195" y="2252"/>
                  </a:lnTo>
                  <a:lnTo>
                    <a:pt x="191" y="2253"/>
                  </a:lnTo>
                  <a:lnTo>
                    <a:pt x="189" y="2252"/>
                  </a:lnTo>
                  <a:lnTo>
                    <a:pt x="192" y="2248"/>
                  </a:lnTo>
                  <a:lnTo>
                    <a:pt x="192" y="2244"/>
                  </a:lnTo>
                  <a:lnTo>
                    <a:pt x="194" y="2239"/>
                  </a:lnTo>
                  <a:lnTo>
                    <a:pt x="196" y="2239"/>
                  </a:lnTo>
                  <a:lnTo>
                    <a:pt x="195" y="2234"/>
                  </a:lnTo>
                  <a:lnTo>
                    <a:pt x="196" y="2234"/>
                  </a:lnTo>
                  <a:lnTo>
                    <a:pt x="196" y="2231"/>
                  </a:lnTo>
                  <a:lnTo>
                    <a:pt x="200" y="2231"/>
                  </a:lnTo>
                  <a:lnTo>
                    <a:pt x="202" y="2231"/>
                  </a:lnTo>
                  <a:lnTo>
                    <a:pt x="203" y="2225"/>
                  </a:lnTo>
                  <a:lnTo>
                    <a:pt x="202" y="2221"/>
                  </a:lnTo>
                  <a:lnTo>
                    <a:pt x="205" y="2221"/>
                  </a:lnTo>
                  <a:lnTo>
                    <a:pt x="205" y="2217"/>
                  </a:lnTo>
                  <a:lnTo>
                    <a:pt x="208" y="2217"/>
                  </a:lnTo>
                  <a:lnTo>
                    <a:pt x="208" y="2216"/>
                  </a:lnTo>
                  <a:lnTo>
                    <a:pt x="208" y="2215"/>
                  </a:lnTo>
                  <a:lnTo>
                    <a:pt x="209" y="2212"/>
                  </a:lnTo>
                  <a:lnTo>
                    <a:pt x="212" y="2208"/>
                  </a:lnTo>
                  <a:lnTo>
                    <a:pt x="212" y="2207"/>
                  </a:lnTo>
                  <a:lnTo>
                    <a:pt x="210" y="2203"/>
                  </a:lnTo>
                  <a:lnTo>
                    <a:pt x="210" y="2195"/>
                  </a:lnTo>
                  <a:lnTo>
                    <a:pt x="213" y="2194"/>
                  </a:lnTo>
                  <a:lnTo>
                    <a:pt x="212" y="2190"/>
                  </a:lnTo>
                  <a:lnTo>
                    <a:pt x="214" y="2189"/>
                  </a:lnTo>
                  <a:lnTo>
                    <a:pt x="214" y="2186"/>
                  </a:lnTo>
                  <a:lnTo>
                    <a:pt x="217" y="2184"/>
                  </a:lnTo>
                  <a:lnTo>
                    <a:pt x="217" y="2180"/>
                  </a:lnTo>
                  <a:lnTo>
                    <a:pt x="219" y="2180"/>
                  </a:lnTo>
                  <a:lnTo>
                    <a:pt x="219" y="2177"/>
                  </a:lnTo>
                  <a:lnTo>
                    <a:pt x="217" y="2172"/>
                  </a:lnTo>
                  <a:lnTo>
                    <a:pt x="222" y="2172"/>
                  </a:lnTo>
                  <a:lnTo>
                    <a:pt x="223" y="2171"/>
                  </a:lnTo>
                  <a:lnTo>
                    <a:pt x="225" y="2167"/>
                  </a:lnTo>
                  <a:lnTo>
                    <a:pt x="225" y="2166"/>
                  </a:lnTo>
                  <a:lnTo>
                    <a:pt x="228" y="2159"/>
                  </a:lnTo>
                  <a:lnTo>
                    <a:pt x="225" y="2154"/>
                  </a:lnTo>
                  <a:lnTo>
                    <a:pt x="227" y="2145"/>
                  </a:lnTo>
                  <a:lnTo>
                    <a:pt x="225" y="2145"/>
                  </a:lnTo>
                  <a:lnTo>
                    <a:pt x="224" y="2145"/>
                  </a:lnTo>
                  <a:lnTo>
                    <a:pt x="224" y="2141"/>
                  </a:lnTo>
                  <a:lnTo>
                    <a:pt x="222" y="2135"/>
                  </a:lnTo>
                  <a:lnTo>
                    <a:pt x="222" y="2134"/>
                  </a:lnTo>
                  <a:lnTo>
                    <a:pt x="224" y="2134"/>
                  </a:lnTo>
                  <a:lnTo>
                    <a:pt x="224" y="2132"/>
                  </a:lnTo>
                  <a:lnTo>
                    <a:pt x="222" y="2128"/>
                  </a:lnTo>
                  <a:lnTo>
                    <a:pt x="222" y="2127"/>
                  </a:lnTo>
                  <a:lnTo>
                    <a:pt x="220" y="2127"/>
                  </a:lnTo>
                  <a:lnTo>
                    <a:pt x="220" y="2124"/>
                  </a:lnTo>
                  <a:lnTo>
                    <a:pt x="209" y="2121"/>
                  </a:lnTo>
                  <a:lnTo>
                    <a:pt x="202" y="2119"/>
                  </a:lnTo>
                  <a:lnTo>
                    <a:pt x="200" y="2119"/>
                  </a:lnTo>
                  <a:lnTo>
                    <a:pt x="198" y="2122"/>
                  </a:lnTo>
                  <a:lnTo>
                    <a:pt x="195" y="2124"/>
                  </a:lnTo>
                  <a:lnTo>
                    <a:pt x="189" y="2122"/>
                  </a:lnTo>
                  <a:lnTo>
                    <a:pt x="182" y="2124"/>
                  </a:lnTo>
                  <a:lnTo>
                    <a:pt x="175" y="2128"/>
                  </a:lnTo>
                  <a:lnTo>
                    <a:pt x="170" y="2137"/>
                  </a:lnTo>
                  <a:lnTo>
                    <a:pt x="159" y="2141"/>
                  </a:lnTo>
                  <a:lnTo>
                    <a:pt x="149" y="2141"/>
                  </a:lnTo>
                  <a:lnTo>
                    <a:pt x="148" y="2140"/>
                  </a:lnTo>
                  <a:lnTo>
                    <a:pt x="142" y="2141"/>
                  </a:lnTo>
                  <a:lnTo>
                    <a:pt x="127" y="2134"/>
                  </a:lnTo>
                  <a:lnTo>
                    <a:pt x="121" y="2132"/>
                  </a:lnTo>
                  <a:lnTo>
                    <a:pt x="120" y="2132"/>
                  </a:lnTo>
                  <a:lnTo>
                    <a:pt x="113" y="2132"/>
                  </a:lnTo>
                  <a:lnTo>
                    <a:pt x="110" y="2128"/>
                  </a:lnTo>
                  <a:lnTo>
                    <a:pt x="109" y="2124"/>
                  </a:lnTo>
                  <a:lnTo>
                    <a:pt x="103" y="2124"/>
                  </a:lnTo>
                  <a:lnTo>
                    <a:pt x="103" y="2119"/>
                  </a:lnTo>
                  <a:lnTo>
                    <a:pt x="99" y="2115"/>
                  </a:lnTo>
                  <a:lnTo>
                    <a:pt x="85" y="2113"/>
                  </a:lnTo>
                  <a:lnTo>
                    <a:pt x="81" y="2109"/>
                  </a:lnTo>
                  <a:lnTo>
                    <a:pt x="78" y="2108"/>
                  </a:lnTo>
                  <a:lnTo>
                    <a:pt x="71" y="2105"/>
                  </a:lnTo>
                  <a:lnTo>
                    <a:pt x="65" y="2108"/>
                  </a:lnTo>
                  <a:lnTo>
                    <a:pt x="63" y="2105"/>
                  </a:lnTo>
                  <a:lnTo>
                    <a:pt x="53" y="2102"/>
                  </a:lnTo>
                  <a:lnTo>
                    <a:pt x="50" y="2100"/>
                  </a:lnTo>
                  <a:lnTo>
                    <a:pt x="45" y="2102"/>
                  </a:lnTo>
                  <a:lnTo>
                    <a:pt x="37" y="2099"/>
                  </a:lnTo>
                  <a:lnTo>
                    <a:pt x="14" y="2074"/>
                  </a:lnTo>
                  <a:lnTo>
                    <a:pt x="2" y="2066"/>
                  </a:lnTo>
                  <a:lnTo>
                    <a:pt x="0" y="2060"/>
                  </a:lnTo>
                  <a:lnTo>
                    <a:pt x="3" y="2051"/>
                  </a:lnTo>
                  <a:lnTo>
                    <a:pt x="6" y="2050"/>
                  </a:lnTo>
                  <a:lnTo>
                    <a:pt x="17" y="2037"/>
                  </a:lnTo>
                  <a:lnTo>
                    <a:pt x="23" y="2037"/>
                  </a:lnTo>
                  <a:lnTo>
                    <a:pt x="28" y="2030"/>
                  </a:lnTo>
                  <a:lnTo>
                    <a:pt x="37" y="2025"/>
                  </a:lnTo>
                  <a:lnTo>
                    <a:pt x="40" y="2021"/>
                  </a:lnTo>
                  <a:lnTo>
                    <a:pt x="45" y="2012"/>
                  </a:lnTo>
                  <a:lnTo>
                    <a:pt x="49" y="2010"/>
                  </a:lnTo>
                  <a:lnTo>
                    <a:pt x="49" y="2006"/>
                  </a:lnTo>
                  <a:lnTo>
                    <a:pt x="48" y="2001"/>
                  </a:lnTo>
                  <a:lnTo>
                    <a:pt x="49" y="1998"/>
                  </a:lnTo>
                  <a:lnTo>
                    <a:pt x="48" y="1995"/>
                  </a:lnTo>
                  <a:lnTo>
                    <a:pt x="48" y="1989"/>
                  </a:lnTo>
                  <a:lnTo>
                    <a:pt x="46" y="1988"/>
                  </a:lnTo>
                  <a:lnTo>
                    <a:pt x="50" y="1980"/>
                  </a:lnTo>
                  <a:lnTo>
                    <a:pt x="52" y="1976"/>
                  </a:lnTo>
                  <a:lnTo>
                    <a:pt x="54" y="1972"/>
                  </a:lnTo>
                  <a:lnTo>
                    <a:pt x="56" y="1967"/>
                  </a:lnTo>
                  <a:lnTo>
                    <a:pt x="59" y="1966"/>
                  </a:lnTo>
                  <a:lnTo>
                    <a:pt x="60" y="1958"/>
                  </a:lnTo>
                  <a:lnTo>
                    <a:pt x="73" y="1945"/>
                  </a:lnTo>
                  <a:lnTo>
                    <a:pt x="73" y="1941"/>
                  </a:lnTo>
                  <a:lnTo>
                    <a:pt x="71" y="1937"/>
                  </a:lnTo>
                  <a:lnTo>
                    <a:pt x="67" y="1935"/>
                  </a:lnTo>
                  <a:lnTo>
                    <a:pt x="67" y="1930"/>
                  </a:lnTo>
                  <a:lnTo>
                    <a:pt x="71" y="1928"/>
                  </a:lnTo>
                  <a:lnTo>
                    <a:pt x="73" y="1922"/>
                  </a:lnTo>
                  <a:lnTo>
                    <a:pt x="77" y="1918"/>
                  </a:lnTo>
                  <a:lnTo>
                    <a:pt x="81" y="1909"/>
                  </a:lnTo>
                  <a:lnTo>
                    <a:pt x="87" y="1904"/>
                  </a:lnTo>
                  <a:lnTo>
                    <a:pt x="87" y="1898"/>
                  </a:lnTo>
                  <a:lnTo>
                    <a:pt x="82" y="1896"/>
                  </a:lnTo>
                  <a:lnTo>
                    <a:pt x="81" y="1891"/>
                  </a:lnTo>
                  <a:lnTo>
                    <a:pt x="74" y="1892"/>
                  </a:lnTo>
                  <a:lnTo>
                    <a:pt x="71" y="1883"/>
                  </a:lnTo>
                  <a:lnTo>
                    <a:pt x="71" y="1881"/>
                  </a:lnTo>
                  <a:lnTo>
                    <a:pt x="74" y="1877"/>
                  </a:lnTo>
                  <a:lnTo>
                    <a:pt x="78" y="1873"/>
                  </a:lnTo>
                  <a:lnTo>
                    <a:pt x="77" y="1866"/>
                  </a:lnTo>
                  <a:lnTo>
                    <a:pt x="79" y="1863"/>
                  </a:lnTo>
                  <a:lnTo>
                    <a:pt x="82" y="1856"/>
                  </a:lnTo>
                  <a:lnTo>
                    <a:pt x="88" y="1847"/>
                  </a:lnTo>
                  <a:lnTo>
                    <a:pt x="88" y="1843"/>
                  </a:lnTo>
                  <a:lnTo>
                    <a:pt x="88" y="1838"/>
                  </a:lnTo>
                  <a:lnTo>
                    <a:pt x="84" y="1834"/>
                  </a:lnTo>
                  <a:lnTo>
                    <a:pt x="82" y="1829"/>
                  </a:lnTo>
                  <a:lnTo>
                    <a:pt x="82" y="1825"/>
                  </a:lnTo>
                  <a:lnTo>
                    <a:pt x="77" y="1815"/>
                  </a:lnTo>
                  <a:lnTo>
                    <a:pt x="78" y="1815"/>
                  </a:lnTo>
                  <a:lnTo>
                    <a:pt x="81" y="1812"/>
                  </a:lnTo>
                  <a:lnTo>
                    <a:pt x="78" y="1802"/>
                  </a:lnTo>
                  <a:lnTo>
                    <a:pt x="79" y="1798"/>
                  </a:lnTo>
                  <a:lnTo>
                    <a:pt x="81" y="1797"/>
                  </a:lnTo>
                  <a:lnTo>
                    <a:pt x="79" y="1793"/>
                  </a:lnTo>
                  <a:lnTo>
                    <a:pt x="82" y="1789"/>
                  </a:lnTo>
                  <a:lnTo>
                    <a:pt x="81" y="1785"/>
                  </a:lnTo>
                  <a:lnTo>
                    <a:pt x="84" y="1779"/>
                  </a:lnTo>
                  <a:lnTo>
                    <a:pt x="82" y="1776"/>
                  </a:lnTo>
                  <a:lnTo>
                    <a:pt x="81" y="1767"/>
                  </a:lnTo>
                  <a:lnTo>
                    <a:pt x="77" y="1763"/>
                  </a:lnTo>
                  <a:lnTo>
                    <a:pt x="77" y="1760"/>
                  </a:lnTo>
                  <a:lnTo>
                    <a:pt x="75" y="1757"/>
                  </a:lnTo>
                  <a:lnTo>
                    <a:pt x="74" y="1756"/>
                  </a:lnTo>
                  <a:lnTo>
                    <a:pt x="73" y="1757"/>
                  </a:lnTo>
                  <a:lnTo>
                    <a:pt x="68" y="1756"/>
                  </a:lnTo>
                  <a:lnTo>
                    <a:pt x="70" y="1752"/>
                  </a:lnTo>
                  <a:lnTo>
                    <a:pt x="70" y="1750"/>
                  </a:lnTo>
                  <a:lnTo>
                    <a:pt x="71" y="1748"/>
                  </a:lnTo>
                  <a:lnTo>
                    <a:pt x="70" y="1744"/>
                  </a:lnTo>
                  <a:lnTo>
                    <a:pt x="73" y="1734"/>
                  </a:lnTo>
                  <a:lnTo>
                    <a:pt x="71" y="1731"/>
                  </a:lnTo>
                  <a:lnTo>
                    <a:pt x="73" y="1730"/>
                  </a:lnTo>
                  <a:lnTo>
                    <a:pt x="73" y="1727"/>
                  </a:lnTo>
                  <a:lnTo>
                    <a:pt x="75" y="1722"/>
                  </a:lnTo>
                  <a:lnTo>
                    <a:pt x="77" y="1715"/>
                  </a:lnTo>
                  <a:lnTo>
                    <a:pt x="79" y="1714"/>
                  </a:lnTo>
                  <a:lnTo>
                    <a:pt x="78" y="1709"/>
                  </a:lnTo>
                  <a:lnTo>
                    <a:pt x="84" y="1705"/>
                  </a:lnTo>
                  <a:lnTo>
                    <a:pt x="87" y="1700"/>
                  </a:lnTo>
                  <a:lnTo>
                    <a:pt x="89" y="1698"/>
                  </a:lnTo>
                  <a:lnTo>
                    <a:pt x="90" y="1695"/>
                  </a:lnTo>
                  <a:lnTo>
                    <a:pt x="92" y="1692"/>
                  </a:lnTo>
                  <a:lnTo>
                    <a:pt x="89" y="1690"/>
                  </a:lnTo>
                  <a:lnTo>
                    <a:pt x="85" y="1682"/>
                  </a:lnTo>
                  <a:lnTo>
                    <a:pt x="88" y="1676"/>
                  </a:lnTo>
                  <a:lnTo>
                    <a:pt x="88" y="1668"/>
                  </a:lnTo>
                  <a:lnTo>
                    <a:pt x="90" y="1664"/>
                  </a:lnTo>
                  <a:lnTo>
                    <a:pt x="93" y="1664"/>
                  </a:lnTo>
                  <a:lnTo>
                    <a:pt x="96" y="1663"/>
                  </a:lnTo>
                  <a:lnTo>
                    <a:pt x="100" y="1656"/>
                  </a:lnTo>
                  <a:lnTo>
                    <a:pt x="104" y="1651"/>
                  </a:lnTo>
                  <a:lnTo>
                    <a:pt x="102" y="1647"/>
                  </a:lnTo>
                  <a:lnTo>
                    <a:pt x="109" y="1642"/>
                  </a:lnTo>
                  <a:lnTo>
                    <a:pt x="110" y="1632"/>
                  </a:lnTo>
                  <a:lnTo>
                    <a:pt x="114" y="1628"/>
                  </a:lnTo>
                  <a:lnTo>
                    <a:pt x="113" y="1627"/>
                  </a:lnTo>
                  <a:lnTo>
                    <a:pt x="115" y="1623"/>
                  </a:lnTo>
                  <a:lnTo>
                    <a:pt x="115" y="1614"/>
                  </a:lnTo>
                  <a:lnTo>
                    <a:pt x="114" y="1610"/>
                  </a:lnTo>
                  <a:lnTo>
                    <a:pt x="112" y="1611"/>
                  </a:lnTo>
                  <a:lnTo>
                    <a:pt x="112" y="1607"/>
                  </a:lnTo>
                  <a:lnTo>
                    <a:pt x="109" y="1607"/>
                  </a:lnTo>
                  <a:lnTo>
                    <a:pt x="110" y="1601"/>
                  </a:lnTo>
                  <a:lnTo>
                    <a:pt x="107" y="1601"/>
                  </a:lnTo>
                  <a:lnTo>
                    <a:pt x="107" y="1597"/>
                  </a:lnTo>
                  <a:lnTo>
                    <a:pt x="113" y="1593"/>
                  </a:lnTo>
                  <a:lnTo>
                    <a:pt x="115" y="1588"/>
                  </a:lnTo>
                  <a:lnTo>
                    <a:pt x="115" y="1585"/>
                  </a:lnTo>
                  <a:lnTo>
                    <a:pt x="118" y="1580"/>
                  </a:lnTo>
                  <a:lnTo>
                    <a:pt x="117" y="1576"/>
                  </a:lnTo>
                  <a:lnTo>
                    <a:pt x="118" y="1570"/>
                  </a:lnTo>
                  <a:lnTo>
                    <a:pt x="127" y="1569"/>
                  </a:lnTo>
                  <a:lnTo>
                    <a:pt x="129" y="1566"/>
                  </a:lnTo>
                  <a:lnTo>
                    <a:pt x="137" y="1565"/>
                  </a:lnTo>
                  <a:lnTo>
                    <a:pt x="142" y="1557"/>
                  </a:lnTo>
                  <a:lnTo>
                    <a:pt x="150" y="1552"/>
                  </a:lnTo>
                  <a:lnTo>
                    <a:pt x="149" y="1549"/>
                  </a:lnTo>
                  <a:lnTo>
                    <a:pt x="152" y="1546"/>
                  </a:lnTo>
                  <a:lnTo>
                    <a:pt x="156" y="1543"/>
                  </a:lnTo>
                  <a:lnTo>
                    <a:pt x="159" y="1535"/>
                  </a:lnTo>
                  <a:lnTo>
                    <a:pt x="167" y="1533"/>
                  </a:lnTo>
                  <a:lnTo>
                    <a:pt x="173" y="1529"/>
                  </a:lnTo>
                  <a:lnTo>
                    <a:pt x="175" y="1529"/>
                  </a:lnTo>
                  <a:lnTo>
                    <a:pt x="180" y="1521"/>
                  </a:lnTo>
                  <a:lnTo>
                    <a:pt x="182" y="1521"/>
                  </a:lnTo>
                  <a:lnTo>
                    <a:pt x="188" y="1518"/>
                  </a:lnTo>
                  <a:lnTo>
                    <a:pt x="188" y="1514"/>
                  </a:lnTo>
                  <a:lnTo>
                    <a:pt x="191" y="1512"/>
                  </a:lnTo>
                  <a:lnTo>
                    <a:pt x="194" y="1504"/>
                  </a:lnTo>
                  <a:lnTo>
                    <a:pt x="202" y="1499"/>
                  </a:lnTo>
                  <a:lnTo>
                    <a:pt x="206" y="1495"/>
                  </a:lnTo>
                  <a:lnTo>
                    <a:pt x="209" y="1486"/>
                  </a:lnTo>
                  <a:lnTo>
                    <a:pt x="216" y="1481"/>
                  </a:lnTo>
                  <a:lnTo>
                    <a:pt x="216" y="1478"/>
                  </a:lnTo>
                  <a:lnTo>
                    <a:pt x="213" y="1478"/>
                  </a:lnTo>
                  <a:lnTo>
                    <a:pt x="212" y="1477"/>
                  </a:lnTo>
                  <a:lnTo>
                    <a:pt x="212" y="1469"/>
                  </a:lnTo>
                  <a:lnTo>
                    <a:pt x="210" y="1464"/>
                  </a:lnTo>
                  <a:lnTo>
                    <a:pt x="212" y="1462"/>
                  </a:lnTo>
                  <a:lnTo>
                    <a:pt x="214" y="1458"/>
                  </a:lnTo>
                  <a:lnTo>
                    <a:pt x="213" y="1454"/>
                  </a:lnTo>
                  <a:lnTo>
                    <a:pt x="216" y="1446"/>
                  </a:lnTo>
                  <a:lnTo>
                    <a:pt x="220" y="1445"/>
                  </a:lnTo>
                  <a:lnTo>
                    <a:pt x="222" y="1436"/>
                  </a:lnTo>
                  <a:lnTo>
                    <a:pt x="227" y="1433"/>
                  </a:lnTo>
                  <a:lnTo>
                    <a:pt x="231" y="1432"/>
                  </a:lnTo>
                  <a:lnTo>
                    <a:pt x="231" y="1428"/>
                  </a:lnTo>
                  <a:lnTo>
                    <a:pt x="228" y="1428"/>
                  </a:lnTo>
                  <a:lnTo>
                    <a:pt x="228" y="1420"/>
                  </a:lnTo>
                  <a:lnTo>
                    <a:pt x="235" y="1411"/>
                  </a:lnTo>
                  <a:lnTo>
                    <a:pt x="238" y="1402"/>
                  </a:lnTo>
                  <a:lnTo>
                    <a:pt x="238" y="1397"/>
                  </a:lnTo>
                  <a:lnTo>
                    <a:pt x="234" y="1394"/>
                  </a:lnTo>
                  <a:lnTo>
                    <a:pt x="235" y="1389"/>
                  </a:lnTo>
                  <a:lnTo>
                    <a:pt x="233" y="1387"/>
                  </a:lnTo>
                  <a:lnTo>
                    <a:pt x="233" y="1384"/>
                  </a:lnTo>
                  <a:lnTo>
                    <a:pt x="231" y="1382"/>
                  </a:lnTo>
                  <a:lnTo>
                    <a:pt x="228" y="1375"/>
                  </a:lnTo>
                  <a:lnTo>
                    <a:pt x="237" y="1371"/>
                  </a:lnTo>
                  <a:lnTo>
                    <a:pt x="260" y="1352"/>
                  </a:lnTo>
                  <a:lnTo>
                    <a:pt x="277" y="1344"/>
                  </a:lnTo>
                  <a:lnTo>
                    <a:pt x="285" y="1334"/>
                  </a:lnTo>
                  <a:lnTo>
                    <a:pt x="298" y="1333"/>
                  </a:lnTo>
                  <a:lnTo>
                    <a:pt x="314" y="1321"/>
                  </a:lnTo>
                  <a:lnTo>
                    <a:pt x="323" y="1321"/>
                  </a:lnTo>
                  <a:lnTo>
                    <a:pt x="330" y="1321"/>
                  </a:lnTo>
                  <a:lnTo>
                    <a:pt x="333" y="1317"/>
                  </a:lnTo>
                  <a:lnTo>
                    <a:pt x="335" y="1316"/>
                  </a:lnTo>
                  <a:lnTo>
                    <a:pt x="347" y="1312"/>
                  </a:lnTo>
                  <a:lnTo>
                    <a:pt x="356" y="1303"/>
                  </a:lnTo>
                  <a:lnTo>
                    <a:pt x="356" y="1290"/>
                  </a:lnTo>
                  <a:lnTo>
                    <a:pt x="353" y="1286"/>
                  </a:lnTo>
                  <a:lnTo>
                    <a:pt x="353" y="1282"/>
                  </a:lnTo>
                  <a:lnTo>
                    <a:pt x="359" y="1271"/>
                  </a:lnTo>
                  <a:lnTo>
                    <a:pt x="366" y="1263"/>
                  </a:lnTo>
                  <a:lnTo>
                    <a:pt x="364" y="1250"/>
                  </a:lnTo>
                  <a:lnTo>
                    <a:pt x="367" y="1241"/>
                  </a:lnTo>
                  <a:lnTo>
                    <a:pt x="373" y="1228"/>
                  </a:lnTo>
                  <a:lnTo>
                    <a:pt x="372" y="1218"/>
                  </a:lnTo>
                  <a:lnTo>
                    <a:pt x="374" y="1204"/>
                  </a:lnTo>
                  <a:lnTo>
                    <a:pt x="378" y="1183"/>
                  </a:lnTo>
                  <a:lnTo>
                    <a:pt x="385" y="1166"/>
                  </a:lnTo>
                  <a:lnTo>
                    <a:pt x="391" y="1138"/>
                  </a:lnTo>
                  <a:lnTo>
                    <a:pt x="385" y="1116"/>
                  </a:lnTo>
                  <a:lnTo>
                    <a:pt x="384" y="1108"/>
                  </a:lnTo>
                  <a:lnTo>
                    <a:pt x="391" y="1093"/>
                  </a:lnTo>
                  <a:lnTo>
                    <a:pt x="391" y="1084"/>
                  </a:lnTo>
                  <a:lnTo>
                    <a:pt x="385" y="1072"/>
                  </a:lnTo>
                  <a:lnTo>
                    <a:pt x="383" y="1059"/>
                  </a:lnTo>
                  <a:lnTo>
                    <a:pt x="381" y="1054"/>
                  </a:lnTo>
                  <a:lnTo>
                    <a:pt x="381" y="1052"/>
                  </a:lnTo>
                  <a:lnTo>
                    <a:pt x="380" y="1044"/>
                  </a:lnTo>
                  <a:lnTo>
                    <a:pt x="383" y="1027"/>
                  </a:lnTo>
                  <a:lnTo>
                    <a:pt x="381" y="1027"/>
                  </a:lnTo>
                  <a:lnTo>
                    <a:pt x="381" y="1026"/>
                  </a:lnTo>
                  <a:lnTo>
                    <a:pt x="380" y="1018"/>
                  </a:lnTo>
                  <a:lnTo>
                    <a:pt x="374" y="1013"/>
                  </a:lnTo>
                  <a:lnTo>
                    <a:pt x="374" y="1009"/>
                  </a:lnTo>
                  <a:lnTo>
                    <a:pt x="374" y="1005"/>
                  </a:lnTo>
                  <a:lnTo>
                    <a:pt x="376" y="1001"/>
                  </a:lnTo>
                  <a:lnTo>
                    <a:pt x="377" y="997"/>
                  </a:lnTo>
                  <a:lnTo>
                    <a:pt x="378" y="992"/>
                  </a:lnTo>
                  <a:lnTo>
                    <a:pt x="378" y="977"/>
                  </a:lnTo>
                  <a:lnTo>
                    <a:pt x="377" y="964"/>
                  </a:lnTo>
                  <a:lnTo>
                    <a:pt x="378" y="955"/>
                  </a:lnTo>
                  <a:lnTo>
                    <a:pt x="383" y="943"/>
                  </a:lnTo>
                  <a:lnTo>
                    <a:pt x="383" y="939"/>
                  </a:lnTo>
                  <a:lnTo>
                    <a:pt x="383" y="932"/>
                  </a:lnTo>
                  <a:lnTo>
                    <a:pt x="378" y="920"/>
                  </a:lnTo>
                  <a:lnTo>
                    <a:pt x="378" y="912"/>
                  </a:lnTo>
                  <a:lnTo>
                    <a:pt x="383" y="904"/>
                  </a:lnTo>
                  <a:lnTo>
                    <a:pt x="385" y="889"/>
                  </a:lnTo>
                  <a:lnTo>
                    <a:pt x="387" y="876"/>
                  </a:lnTo>
                  <a:lnTo>
                    <a:pt x="387" y="872"/>
                  </a:lnTo>
                  <a:lnTo>
                    <a:pt x="389" y="868"/>
                  </a:lnTo>
                  <a:lnTo>
                    <a:pt x="389" y="867"/>
                  </a:lnTo>
                  <a:lnTo>
                    <a:pt x="389" y="863"/>
                  </a:lnTo>
                  <a:lnTo>
                    <a:pt x="391" y="863"/>
                  </a:lnTo>
                  <a:lnTo>
                    <a:pt x="392" y="861"/>
                  </a:lnTo>
                  <a:lnTo>
                    <a:pt x="392" y="859"/>
                  </a:lnTo>
                  <a:lnTo>
                    <a:pt x="394" y="859"/>
                  </a:lnTo>
                  <a:lnTo>
                    <a:pt x="392" y="859"/>
                  </a:lnTo>
                  <a:lnTo>
                    <a:pt x="398" y="848"/>
                  </a:lnTo>
                  <a:lnTo>
                    <a:pt x="403" y="831"/>
                  </a:lnTo>
                  <a:lnTo>
                    <a:pt x="409" y="813"/>
                  </a:lnTo>
                  <a:lnTo>
                    <a:pt x="417" y="794"/>
                  </a:lnTo>
                  <a:lnTo>
                    <a:pt x="427" y="781"/>
                  </a:lnTo>
                  <a:lnTo>
                    <a:pt x="430" y="778"/>
                  </a:lnTo>
                  <a:lnTo>
                    <a:pt x="437" y="768"/>
                  </a:lnTo>
                  <a:lnTo>
                    <a:pt x="438" y="764"/>
                  </a:lnTo>
                  <a:lnTo>
                    <a:pt x="441" y="760"/>
                  </a:lnTo>
                  <a:lnTo>
                    <a:pt x="442" y="760"/>
                  </a:lnTo>
                  <a:lnTo>
                    <a:pt x="454" y="751"/>
                  </a:lnTo>
                  <a:lnTo>
                    <a:pt x="459" y="743"/>
                  </a:lnTo>
                  <a:lnTo>
                    <a:pt x="466" y="734"/>
                  </a:lnTo>
                  <a:lnTo>
                    <a:pt x="467" y="730"/>
                  </a:lnTo>
                  <a:lnTo>
                    <a:pt x="470" y="730"/>
                  </a:lnTo>
                  <a:lnTo>
                    <a:pt x="474" y="724"/>
                  </a:lnTo>
                  <a:lnTo>
                    <a:pt x="483" y="719"/>
                  </a:lnTo>
                  <a:lnTo>
                    <a:pt x="487" y="716"/>
                  </a:lnTo>
                  <a:lnTo>
                    <a:pt x="494" y="710"/>
                  </a:lnTo>
                  <a:lnTo>
                    <a:pt x="508" y="702"/>
                  </a:lnTo>
                  <a:lnTo>
                    <a:pt x="516" y="697"/>
                  </a:lnTo>
                  <a:lnTo>
                    <a:pt x="524" y="693"/>
                  </a:lnTo>
                  <a:lnTo>
                    <a:pt x="540" y="672"/>
                  </a:lnTo>
                  <a:lnTo>
                    <a:pt x="559" y="659"/>
                  </a:lnTo>
                  <a:lnTo>
                    <a:pt x="562" y="654"/>
                  </a:lnTo>
                  <a:lnTo>
                    <a:pt x="565" y="652"/>
                  </a:lnTo>
                  <a:lnTo>
                    <a:pt x="568" y="652"/>
                  </a:lnTo>
                  <a:lnTo>
                    <a:pt x="577" y="652"/>
                  </a:lnTo>
                  <a:lnTo>
                    <a:pt x="583" y="653"/>
                  </a:lnTo>
                  <a:lnTo>
                    <a:pt x="586" y="652"/>
                  </a:lnTo>
                  <a:lnTo>
                    <a:pt x="587" y="649"/>
                  </a:lnTo>
                  <a:lnTo>
                    <a:pt x="591" y="645"/>
                  </a:lnTo>
                  <a:lnTo>
                    <a:pt x="594" y="645"/>
                  </a:lnTo>
                  <a:lnTo>
                    <a:pt x="596" y="645"/>
                  </a:lnTo>
                  <a:lnTo>
                    <a:pt x="602" y="648"/>
                  </a:lnTo>
                  <a:lnTo>
                    <a:pt x="608" y="645"/>
                  </a:lnTo>
                  <a:lnTo>
                    <a:pt x="609" y="645"/>
                  </a:lnTo>
                  <a:lnTo>
                    <a:pt x="612" y="644"/>
                  </a:lnTo>
                  <a:lnTo>
                    <a:pt x="613" y="640"/>
                  </a:lnTo>
                  <a:lnTo>
                    <a:pt x="615" y="640"/>
                  </a:lnTo>
                  <a:lnTo>
                    <a:pt x="627" y="645"/>
                  </a:lnTo>
                  <a:lnTo>
                    <a:pt x="632" y="645"/>
                  </a:lnTo>
                  <a:lnTo>
                    <a:pt x="638" y="645"/>
                  </a:lnTo>
                  <a:lnTo>
                    <a:pt x="640" y="645"/>
                  </a:lnTo>
                  <a:lnTo>
                    <a:pt x="646" y="648"/>
                  </a:lnTo>
                  <a:lnTo>
                    <a:pt x="657" y="636"/>
                  </a:lnTo>
                  <a:lnTo>
                    <a:pt x="661" y="632"/>
                  </a:lnTo>
                  <a:lnTo>
                    <a:pt x="666" y="627"/>
                  </a:lnTo>
                  <a:lnTo>
                    <a:pt x="668" y="627"/>
                  </a:lnTo>
                  <a:lnTo>
                    <a:pt x="672" y="627"/>
                  </a:lnTo>
                  <a:lnTo>
                    <a:pt x="677" y="627"/>
                  </a:lnTo>
                  <a:lnTo>
                    <a:pt x="684" y="622"/>
                  </a:lnTo>
                  <a:lnTo>
                    <a:pt x="691" y="617"/>
                  </a:lnTo>
                  <a:lnTo>
                    <a:pt x="696" y="617"/>
                  </a:lnTo>
                  <a:lnTo>
                    <a:pt x="711" y="604"/>
                  </a:lnTo>
                  <a:lnTo>
                    <a:pt x="721" y="595"/>
                  </a:lnTo>
                  <a:lnTo>
                    <a:pt x="723" y="591"/>
                  </a:lnTo>
                  <a:lnTo>
                    <a:pt x="730" y="587"/>
                  </a:lnTo>
                  <a:lnTo>
                    <a:pt x="739" y="582"/>
                  </a:lnTo>
                  <a:lnTo>
                    <a:pt x="741" y="578"/>
                  </a:lnTo>
                  <a:lnTo>
                    <a:pt x="747" y="577"/>
                  </a:lnTo>
                  <a:lnTo>
                    <a:pt x="750" y="573"/>
                  </a:lnTo>
                  <a:lnTo>
                    <a:pt x="753" y="573"/>
                  </a:lnTo>
                  <a:lnTo>
                    <a:pt x="754" y="569"/>
                  </a:lnTo>
                  <a:lnTo>
                    <a:pt x="757" y="567"/>
                  </a:lnTo>
                  <a:lnTo>
                    <a:pt x="762" y="565"/>
                  </a:lnTo>
                  <a:lnTo>
                    <a:pt x="764" y="565"/>
                  </a:lnTo>
                  <a:lnTo>
                    <a:pt x="768" y="565"/>
                  </a:lnTo>
                  <a:lnTo>
                    <a:pt x="769" y="565"/>
                  </a:lnTo>
                  <a:lnTo>
                    <a:pt x="771" y="565"/>
                  </a:lnTo>
                  <a:lnTo>
                    <a:pt x="773" y="565"/>
                  </a:lnTo>
                  <a:lnTo>
                    <a:pt x="778" y="564"/>
                  </a:lnTo>
                  <a:lnTo>
                    <a:pt x="783" y="565"/>
                  </a:lnTo>
                  <a:lnTo>
                    <a:pt x="790" y="564"/>
                  </a:lnTo>
                  <a:lnTo>
                    <a:pt x="793" y="560"/>
                  </a:lnTo>
                  <a:lnTo>
                    <a:pt x="798" y="564"/>
                  </a:lnTo>
                  <a:lnTo>
                    <a:pt x="800" y="564"/>
                  </a:lnTo>
                  <a:lnTo>
                    <a:pt x="804" y="565"/>
                  </a:lnTo>
                  <a:lnTo>
                    <a:pt x="807" y="567"/>
                  </a:lnTo>
                  <a:lnTo>
                    <a:pt x="809" y="569"/>
                  </a:lnTo>
                  <a:lnTo>
                    <a:pt x="815" y="565"/>
                  </a:lnTo>
                  <a:lnTo>
                    <a:pt x="819" y="565"/>
                  </a:lnTo>
                  <a:lnTo>
                    <a:pt x="821" y="567"/>
                  </a:lnTo>
                  <a:lnTo>
                    <a:pt x="823" y="569"/>
                  </a:lnTo>
                  <a:lnTo>
                    <a:pt x="825" y="569"/>
                  </a:lnTo>
                  <a:lnTo>
                    <a:pt x="836" y="569"/>
                  </a:lnTo>
                  <a:lnTo>
                    <a:pt x="843" y="569"/>
                  </a:lnTo>
                  <a:lnTo>
                    <a:pt x="847" y="567"/>
                  </a:lnTo>
                  <a:lnTo>
                    <a:pt x="850" y="569"/>
                  </a:lnTo>
                  <a:lnTo>
                    <a:pt x="857" y="565"/>
                  </a:lnTo>
                  <a:lnTo>
                    <a:pt x="859" y="567"/>
                  </a:lnTo>
                  <a:lnTo>
                    <a:pt x="864" y="565"/>
                  </a:lnTo>
                  <a:lnTo>
                    <a:pt x="871" y="567"/>
                  </a:lnTo>
                  <a:lnTo>
                    <a:pt x="873" y="565"/>
                  </a:lnTo>
                  <a:lnTo>
                    <a:pt x="879" y="565"/>
                  </a:lnTo>
                  <a:lnTo>
                    <a:pt x="883" y="565"/>
                  </a:lnTo>
                  <a:lnTo>
                    <a:pt x="886" y="565"/>
                  </a:lnTo>
                  <a:lnTo>
                    <a:pt x="889" y="565"/>
                  </a:lnTo>
                  <a:lnTo>
                    <a:pt x="892" y="565"/>
                  </a:lnTo>
                  <a:lnTo>
                    <a:pt x="897" y="564"/>
                  </a:lnTo>
                  <a:lnTo>
                    <a:pt x="901" y="560"/>
                  </a:lnTo>
                  <a:lnTo>
                    <a:pt x="908" y="560"/>
                  </a:lnTo>
                  <a:lnTo>
                    <a:pt x="914" y="560"/>
                  </a:lnTo>
                  <a:lnTo>
                    <a:pt x="917" y="558"/>
                  </a:lnTo>
                  <a:lnTo>
                    <a:pt x="921" y="556"/>
                  </a:lnTo>
                  <a:lnTo>
                    <a:pt x="925" y="556"/>
                  </a:lnTo>
                  <a:lnTo>
                    <a:pt x="931" y="556"/>
                  </a:lnTo>
                  <a:lnTo>
                    <a:pt x="933" y="556"/>
                  </a:lnTo>
                  <a:lnTo>
                    <a:pt x="947" y="554"/>
                  </a:lnTo>
                  <a:lnTo>
                    <a:pt x="951" y="552"/>
                  </a:lnTo>
                  <a:lnTo>
                    <a:pt x="956" y="550"/>
                  </a:lnTo>
                  <a:lnTo>
                    <a:pt x="958" y="550"/>
                  </a:lnTo>
                  <a:lnTo>
                    <a:pt x="967" y="547"/>
                  </a:lnTo>
                  <a:lnTo>
                    <a:pt x="979" y="552"/>
                  </a:lnTo>
                  <a:lnTo>
                    <a:pt x="983" y="556"/>
                  </a:lnTo>
                  <a:lnTo>
                    <a:pt x="985" y="560"/>
                  </a:lnTo>
                  <a:lnTo>
                    <a:pt x="989" y="560"/>
                  </a:lnTo>
                  <a:lnTo>
                    <a:pt x="996" y="560"/>
                  </a:lnTo>
                  <a:lnTo>
                    <a:pt x="1006" y="564"/>
                  </a:lnTo>
                  <a:lnTo>
                    <a:pt x="1008" y="565"/>
                  </a:lnTo>
                  <a:lnTo>
                    <a:pt x="1014" y="567"/>
                  </a:lnTo>
                  <a:lnTo>
                    <a:pt x="1025" y="569"/>
                  </a:lnTo>
                  <a:lnTo>
                    <a:pt x="1027" y="569"/>
                  </a:lnTo>
                  <a:lnTo>
                    <a:pt x="1031" y="573"/>
                  </a:lnTo>
                  <a:lnTo>
                    <a:pt x="1035" y="577"/>
                  </a:lnTo>
                  <a:lnTo>
                    <a:pt x="1036" y="577"/>
                  </a:lnTo>
                  <a:lnTo>
                    <a:pt x="1043" y="573"/>
                  </a:lnTo>
                  <a:lnTo>
                    <a:pt x="1052" y="573"/>
                  </a:lnTo>
                  <a:lnTo>
                    <a:pt x="1053" y="569"/>
                  </a:lnTo>
                  <a:lnTo>
                    <a:pt x="1057" y="569"/>
                  </a:lnTo>
                  <a:lnTo>
                    <a:pt x="1067" y="564"/>
                  </a:lnTo>
                  <a:lnTo>
                    <a:pt x="1070" y="560"/>
                  </a:lnTo>
                  <a:lnTo>
                    <a:pt x="1077" y="556"/>
                  </a:lnTo>
                  <a:lnTo>
                    <a:pt x="1085" y="552"/>
                  </a:lnTo>
                  <a:lnTo>
                    <a:pt x="1091" y="552"/>
                  </a:lnTo>
                  <a:lnTo>
                    <a:pt x="1097" y="547"/>
                  </a:lnTo>
                  <a:lnTo>
                    <a:pt x="1100" y="542"/>
                  </a:lnTo>
                  <a:lnTo>
                    <a:pt x="1104" y="541"/>
                  </a:lnTo>
                  <a:lnTo>
                    <a:pt x="1110" y="537"/>
                  </a:lnTo>
                  <a:lnTo>
                    <a:pt x="1111" y="533"/>
                  </a:lnTo>
                  <a:lnTo>
                    <a:pt x="1116" y="532"/>
                  </a:lnTo>
                  <a:lnTo>
                    <a:pt x="1118" y="524"/>
                  </a:lnTo>
                  <a:lnTo>
                    <a:pt x="1120" y="520"/>
                  </a:lnTo>
                  <a:lnTo>
                    <a:pt x="1129" y="511"/>
                  </a:lnTo>
                  <a:lnTo>
                    <a:pt x="1135" y="505"/>
                  </a:lnTo>
                  <a:lnTo>
                    <a:pt x="1138" y="502"/>
                  </a:lnTo>
                  <a:lnTo>
                    <a:pt x="1139" y="502"/>
                  </a:lnTo>
                  <a:lnTo>
                    <a:pt x="1147" y="502"/>
                  </a:lnTo>
                  <a:lnTo>
                    <a:pt x="1150" y="498"/>
                  </a:lnTo>
                  <a:lnTo>
                    <a:pt x="1155" y="497"/>
                  </a:lnTo>
                  <a:lnTo>
                    <a:pt x="1160" y="494"/>
                  </a:lnTo>
                  <a:lnTo>
                    <a:pt x="1170" y="488"/>
                  </a:lnTo>
                  <a:lnTo>
                    <a:pt x="1177" y="485"/>
                  </a:lnTo>
                  <a:lnTo>
                    <a:pt x="1182" y="485"/>
                  </a:lnTo>
                  <a:lnTo>
                    <a:pt x="1185" y="485"/>
                  </a:lnTo>
                  <a:lnTo>
                    <a:pt x="1189" y="479"/>
                  </a:lnTo>
                  <a:lnTo>
                    <a:pt x="1192" y="475"/>
                  </a:lnTo>
                  <a:lnTo>
                    <a:pt x="1199" y="471"/>
                  </a:lnTo>
                  <a:lnTo>
                    <a:pt x="1211" y="471"/>
                  </a:lnTo>
                  <a:lnTo>
                    <a:pt x="1214" y="471"/>
                  </a:lnTo>
                  <a:lnTo>
                    <a:pt x="1220" y="466"/>
                  </a:lnTo>
                  <a:lnTo>
                    <a:pt x="1233" y="449"/>
                  </a:lnTo>
                  <a:lnTo>
                    <a:pt x="1238" y="449"/>
                  </a:lnTo>
                  <a:lnTo>
                    <a:pt x="1249" y="440"/>
                  </a:lnTo>
                  <a:lnTo>
                    <a:pt x="1256" y="440"/>
                  </a:lnTo>
                  <a:lnTo>
                    <a:pt x="1257" y="438"/>
                  </a:lnTo>
                  <a:lnTo>
                    <a:pt x="1260" y="436"/>
                  </a:lnTo>
                  <a:lnTo>
                    <a:pt x="1263" y="427"/>
                  </a:lnTo>
                  <a:lnTo>
                    <a:pt x="1274" y="427"/>
                  </a:lnTo>
                  <a:lnTo>
                    <a:pt x="1284" y="413"/>
                  </a:lnTo>
                  <a:lnTo>
                    <a:pt x="1282" y="412"/>
                  </a:lnTo>
                  <a:lnTo>
                    <a:pt x="1288" y="412"/>
                  </a:lnTo>
                  <a:lnTo>
                    <a:pt x="1293" y="408"/>
                  </a:lnTo>
                  <a:lnTo>
                    <a:pt x="1296" y="408"/>
                  </a:lnTo>
                  <a:lnTo>
                    <a:pt x="1305" y="408"/>
                  </a:lnTo>
                  <a:lnTo>
                    <a:pt x="1309" y="404"/>
                  </a:lnTo>
                  <a:lnTo>
                    <a:pt x="1313" y="404"/>
                  </a:lnTo>
                  <a:lnTo>
                    <a:pt x="1323" y="400"/>
                  </a:lnTo>
                  <a:lnTo>
                    <a:pt x="1328" y="395"/>
                  </a:lnTo>
                  <a:lnTo>
                    <a:pt x="1338" y="395"/>
                  </a:lnTo>
                  <a:lnTo>
                    <a:pt x="1342" y="395"/>
                  </a:lnTo>
                  <a:lnTo>
                    <a:pt x="1349" y="391"/>
                  </a:lnTo>
                  <a:lnTo>
                    <a:pt x="1351" y="391"/>
                  </a:lnTo>
                  <a:lnTo>
                    <a:pt x="1351" y="387"/>
                  </a:lnTo>
                  <a:lnTo>
                    <a:pt x="1352" y="386"/>
                  </a:lnTo>
                  <a:lnTo>
                    <a:pt x="1355" y="386"/>
                  </a:lnTo>
                  <a:lnTo>
                    <a:pt x="1357" y="386"/>
                  </a:lnTo>
                  <a:lnTo>
                    <a:pt x="1359" y="382"/>
                  </a:lnTo>
                  <a:lnTo>
                    <a:pt x="1360" y="382"/>
                  </a:lnTo>
                  <a:lnTo>
                    <a:pt x="1362" y="382"/>
                  </a:lnTo>
                  <a:lnTo>
                    <a:pt x="1363" y="386"/>
                  </a:lnTo>
                  <a:lnTo>
                    <a:pt x="1371" y="382"/>
                  </a:lnTo>
                  <a:lnTo>
                    <a:pt x="1373" y="382"/>
                  </a:lnTo>
                  <a:lnTo>
                    <a:pt x="1381" y="382"/>
                  </a:lnTo>
                  <a:lnTo>
                    <a:pt x="1384" y="382"/>
                  </a:lnTo>
                  <a:lnTo>
                    <a:pt x="1385" y="382"/>
                  </a:lnTo>
                  <a:lnTo>
                    <a:pt x="1388" y="382"/>
                  </a:lnTo>
                  <a:lnTo>
                    <a:pt x="1392" y="382"/>
                  </a:lnTo>
                  <a:lnTo>
                    <a:pt x="1398" y="382"/>
                  </a:lnTo>
                  <a:lnTo>
                    <a:pt x="1401" y="382"/>
                  </a:lnTo>
                  <a:lnTo>
                    <a:pt x="1402" y="382"/>
                  </a:lnTo>
                  <a:lnTo>
                    <a:pt x="1407" y="378"/>
                  </a:lnTo>
                  <a:lnTo>
                    <a:pt x="1409" y="378"/>
                  </a:lnTo>
                  <a:lnTo>
                    <a:pt x="1420" y="376"/>
                  </a:lnTo>
                  <a:lnTo>
                    <a:pt x="1421" y="376"/>
                  </a:lnTo>
                  <a:lnTo>
                    <a:pt x="1427" y="373"/>
                  </a:lnTo>
                  <a:lnTo>
                    <a:pt x="1430" y="373"/>
                  </a:lnTo>
                  <a:lnTo>
                    <a:pt x="1431" y="368"/>
                  </a:lnTo>
                  <a:lnTo>
                    <a:pt x="1435" y="368"/>
                  </a:lnTo>
                  <a:lnTo>
                    <a:pt x="1438" y="367"/>
                  </a:lnTo>
                  <a:lnTo>
                    <a:pt x="1441" y="368"/>
                  </a:lnTo>
                  <a:lnTo>
                    <a:pt x="1445" y="368"/>
                  </a:lnTo>
                  <a:lnTo>
                    <a:pt x="1453" y="365"/>
                  </a:lnTo>
                  <a:lnTo>
                    <a:pt x="1459" y="365"/>
                  </a:lnTo>
                  <a:lnTo>
                    <a:pt x="1465" y="363"/>
                  </a:lnTo>
                  <a:lnTo>
                    <a:pt x="1468" y="359"/>
                  </a:lnTo>
                  <a:lnTo>
                    <a:pt x="1474" y="359"/>
                  </a:lnTo>
                  <a:lnTo>
                    <a:pt x="1476" y="359"/>
                  </a:lnTo>
                  <a:lnTo>
                    <a:pt x="1478" y="355"/>
                  </a:lnTo>
                  <a:lnTo>
                    <a:pt x="1482" y="355"/>
                  </a:lnTo>
                  <a:lnTo>
                    <a:pt x="1491" y="350"/>
                  </a:lnTo>
                  <a:lnTo>
                    <a:pt x="1495" y="350"/>
                  </a:lnTo>
                  <a:lnTo>
                    <a:pt x="1501" y="346"/>
                  </a:lnTo>
                  <a:lnTo>
                    <a:pt x="1505" y="342"/>
                  </a:lnTo>
                  <a:lnTo>
                    <a:pt x="1505" y="341"/>
                  </a:lnTo>
                  <a:lnTo>
                    <a:pt x="1506" y="337"/>
                  </a:lnTo>
                  <a:lnTo>
                    <a:pt x="1510" y="337"/>
                  </a:lnTo>
                  <a:lnTo>
                    <a:pt x="1517" y="337"/>
                  </a:lnTo>
                  <a:lnTo>
                    <a:pt x="1521" y="333"/>
                  </a:lnTo>
                  <a:lnTo>
                    <a:pt x="1526" y="329"/>
                  </a:lnTo>
                  <a:lnTo>
                    <a:pt x="1535" y="323"/>
                  </a:lnTo>
                  <a:lnTo>
                    <a:pt x="1540" y="320"/>
                  </a:lnTo>
                  <a:lnTo>
                    <a:pt x="1555" y="314"/>
                  </a:lnTo>
                  <a:lnTo>
                    <a:pt x="1563" y="305"/>
                  </a:lnTo>
                  <a:lnTo>
                    <a:pt x="1572" y="297"/>
                  </a:lnTo>
                  <a:lnTo>
                    <a:pt x="1572" y="296"/>
                  </a:lnTo>
                  <a:lnTo>
                    <a:pt x="1573" y="296"/>
                  </a:lnTo>
                  <a:lnTo>
                    <a:pt x="1576" y="293"/>
                  </a:lnTo>
                  <a:lnTo>
                    <a:pt x="1581" y="297"/>
                  </a:lnTo>
                  <a:lnTo>
                    <a:pt x="1588" y="293"/>
                  </a:lnTo>
                  <a:lnTo>
                    <a:pt x="1591" y="293"/>
                  </a:lnTo>
                  <a:lnTo>
                    <a:pt x="1594" y="292"/>
                  </a:lnTo>
                  <a:lnTo>
                    <a:pt x="1603" y="288"/>
                  </a:lnTo>
                  <a:lnTo>
                    <a:pt x="1608" y="287"/>
                  </a:lnTo>
                  <a:lnTo>
                    <a:pt x="1615" y="287"/>
                  </a:lnTo>
                  <a:lnTo>
                    <a:pt x="1619" y="284"/>
                  </a:lnTo>
                  <a:lnTo>
                    <a:pt x="1631" y="284"/>
                  </a:lnTo>
                  <a:lnTo>
                    <a:pt x="1637" y="284"/>
                  </a:lnTo>
                  <a:lnTo>
                    <a:pt x="1638" y="284"/>
                  </a:lnTo>
                  <a:lnTo>
                    <a:pt x="1644" y="279"/>
                  </a:lnTo>
                  <a:lnTo>
                    <a:pt x="1654" y="279"/>
                  </a:lnTo>
                  <a:lnTo>
                    <a:pt x="1659" y="275"/>
                  </a:lnTo>
                  <a:lnTo>
                    <a:pt x="1672" y="269"/>
                  </a:lnTo>
                  <a:lnTo>
                    <a:pt x="1683" y="261"/>
                  </a:lnTo>
                  <a:lnTo>
                    <a:pt x="1684" y="258"/>
                  </a:lnTo>
                  <a:lnTo>
                    <a:pt x="1686" y="253"/>
                  </a:lnTo>
                  <a:lnTo>
                    <a:pt x="1697" y="239"/>
                  </a:lnTo>
                  <a:lnTo>
                    <a:pt x="1698" y="238"/>
                  </a:lnTo>
                  <a:lnTo>
                    <a:pt x="1700" y="236"/>
                  </a:lnTo>
                  <a:lnTo>
                    <a:pt x="1712" y="229"/>
                  </a:lnTo>
                  <a:lnTo>
                    <a:pt x="1719" y="221"/>
                  </a:lnTo>
                  <a:lnTo>
                    <a:pt x="1726" y="217"/>
                  </a:lnTo>
                  <a:lnTo>
                    <a:pt x="1727" y="216"/>
                  </a:lnTo>
                  <a:lnTo>
                    <a:pt x="1731" y="213"/>
                  </a:lnTo>
                  <a:lnTo>
                    <a:pt x="1737" y="208"/>
                  </a:lnTo>
                  <a:lnTo>
                    <a:pt x="1744" y="204"/>
                  </a:lnTo>
                  <a:lnTo>
                    <a:pt x="1750" y="202"/>
                  </a:lnTo>
                  <a:lnTo>
                    <a:pt x="1769" y="185"/>
                  </a:lnTo>
                  <a:lnTo>
                    <a:pt x="1775" y="177"/>
                  </a:lnTo>
                  <a:lnTo>
                    <a:pt x="1781" y="172"/>
                  </a:lnTo>
                  <a:lnTo>
                    <a:pt x="1783" y="168"/>
                  </a:lnTo>
                  <a:lnTo>
                    <a:pt x="1786" y="164"/>
                  </a:lnTo>
                  <a:lnTo>
                    <a:pt x="1790" y="163"/>
                  </a:lnTo>
                  <a:lnTo>
                    <a:pt x="1795" y="158"/>
                  </a:lnTo>
                  <a:lnTo>
                    <a:pt x="1802" y="155"/>
                  </a:lnTo>
                  <a:lnTo>
                    <a:pt x="1804" y="150"/>
                  </a:lnTo>
                  <a:lnTo>
                    <a:pt x="1806" y="150"/>
                  </a:lnTo>
                  <a:lnTo>
                    <a:pt x="1812" y="146"/>
                  </a:lnTo>
                  <a:lnTo>
                    <a:pt x="1814" y="146"/>
                  </a:lnTo>
                  <a:lnTo>
                    <a:pt x="1825" y="133"/>
                  </a:lnTo>
                  <a:lnTo>
                    <a:pt x="1829" y="129"/>
                  </a:lnTo>
                  <a:lnTo>
                    <a:pt x="1839" y="120"/>
                  </a:lnTo>
                  <a:lnTo>
                    <a:pt x="1840" y="114"/>
                  </a:lnTo>
                  <a:lnTo>
                    <a:pt x="1851" y="106"/>
                  </a:lnTo>
                  <a:lnTo>
                    <a:pt x="1855" y="105"/>
                  </a:lnTo>
                  <a:lnTo>
                    <a:pt x="1861" y="101"/>
                  </a:lnTo>
                  <a:lnTo>
                    <a:pt x="1864" y="97"/>
                  </a:lnTo>
                  <a:lnTo>
                    <a:pt x="1869" y="97"/>
                  </a:lnTo>
                  <a:lnTo>
                    <a:pt x="1871" y="96"/>
                  </a:lnTo>
                  <a:lnTo>
                    <a:pt x="1873" y="92"/>
                  </a:lnTo>
                  <a:lnTo>
                    <a:pt x="1879" y="92"/>
                  </a:lnTo>
                  <a:lnTo>
                    <a:pt x="1880" y="88"/>
                  </a:lnTo>
                  <a:lnTo>
                    <a:pt x="1886" y="88"/>
                  </a:lnTo>
                  <a:lnTo>
                    <a:pt x="1887" y="88"/>
                  </a:lnTo>
                  <a:lnTo>
                    <a:pt x="1889" y="88"/>
                  </a:lnTo>
                  <a:lnTo>
                    <a:pt x="1901" y="84"/>
                  </a:lnTo>
                  <a:lnTo>
                    <a:pt x="1908" y="84"/>
                  </a:lnTo>
                  <a:lnTo>
                    <a:pt x="1912" y="84"/>
                  </a:lnTo>
                  <a:lnTo>
                    <a:pt x="1916" y="84"/>
                  </a:lnTo>
                  <a:lnTo>
                    <a:pt x="1919" y="87"/>
                  </a:lnTo>
                  <a:lnTo>
                    <a:pt x="1924" y="87"/>
                  </a:lnTo>
                  <a:lnTo>
                    <a:pt x="1927" y="84"/>
                  </a:lnTo>
                  <a:lnTo>
                    <a:pt x="1930" y="83"/>
                  </a:lnTo>
                  <a:lnTo>
                    <a:pt x="1932" y="84"/>
                  </a:lnTo>
                  <a:lnTo>
                    <a:pt x="1935" y="83"/>
                  </a:lnTo>
                  <a:lnTo>
                    <a:pt x="1939" y="84"/>
                  </a:lnTo>
                  <a:lnTo>
                    <a:pt x="1941" y="84"/>
                  </a:lnTo>
                  <a:lnTo>
                    <a:pt x="1946" y="79"/>
                  </a:lnTo>
                  <a:lnTo>
                    <a:pt x="1952" y="75"/>
                  </a:lnTo>
                  <a:lnTo>
                    <a:pt x="1960" y="71"/>
                  </a:lnTo>
                  <a:lnTo>
                    <a:pt x="1965" y="62"/>
                  </a:lnTo>
                  <a:lnTo>
                    <a:pt x="1966" y="52"/>
                  </a:lnTo>
                  <a:lnTo>
                    <a:pt x="1969" y="47"/>
                  </a:lnTo>
                  <a:lnTo>
                    <a:pt x="1972" y="43"/>
                  </a:lnTo>
                  <a:lnTo>
                    <a:pt x="1976" y="38"/>
                  </a:lnTo>
                  <a:lnTo>
                    <a:pt x="1983" y="30"/>
                  </a:lnTo>
                  <a:lnTo>
                    <a:pt x="1985" y="34"/>
                  </a:lnTo>
                  <a:lnTo>
                    <a:pt x="1991" y="30"/>
                  </a:lnTo>
                  <a:lnTo>
                    <a:pt x="1989" y="26"/>
                  </a:lnTo>
                  <a:lnTo>
                    <a:pt x="1991" y="25"/>
                  </a:lnTo>
                  <a:lnTo>
                    <a:pt x="1999" y="14"/>
                  </a:lnTo>
                  <a:lnTo>
                    <a:pt x="2002" y="3"/>
                  </a:lnTo>
                  <a:lnTo>
                    <a:pt x="2010" y="8"/>
                  </a:lnTo>
                  <a:lnTo>
                    <a:pt x="2015" y="0"/>
                  </a:lnTo>
                  <a:lnTo>
                    <a:pt x="2019" y="0"/>
                  </a:lnTo>
                  <a:lnTo>
                    <a:pt x="2029" y="3"/>
                  </a:lnTo>
                  <a:lnTo>
                    <a:pt x="2030" y="8"/>
                  </a:lnTo>
                  <a:lnTo>
                    <a:pt x="2032" y="8"/>
                  </a:lnTo>
                  <a:lnTo>
                    <a:pt x="2033" y="8"/>
                  </a:lnTo>
                  <a:lnTo>
                    <a:pt x="2033" y="3"/>
                  </a:lnTo>
                  <a:lnTo>
                    <a:pt x="2036" y="3"/>
                  </a:lnTo>
                  <a:lnTo>
                    <a:pt x="2049" y="8"/>
                  </a:lnTo>
                  <a:lnTo>
                    <a:pt x="2060" y="11"/>
                  </a:lnTo>
                  <a:lnTo>
                    <a:pt x="2058" y="13"/>
                  </a:lnTo>
                  <a:lnTo>
                    <a:pt x="2052" y="14"/>
                  </a:lnTo>
                  <a:lnTo>
                    <a:pt x="2049" y="17"/>
                  </a:lnTo>
                  <a:lnTo>
                    <a:pt x="2043" y="15"/>
                  </a:lnTo>
                  <a:lnTo>
                    <a:pt x="2041" y="21"/>
                  </a:lnTo>
                  <a:lnTo>
                    <a:pt x="2043" y="26"/>
                  </a:lnTo>
                  <a:lnTo>
                    <a:pt x="2040" y="30"/>
                  </a:lnTo>
                  <a:lnTo>
                    <a:pt x="2041" y="30"/>
                  </a:lnTo>
                  <a:lnTo>
                    <a:pt x="2051" y="26"/>
                  </a:lnTo>
                  <a:lnTo>
                    <a:pt x="2065" y="15"/>
                  </a:lnTo>
                  <a:lnTo>
                    <a:pt x="2068" y="11"/>
                  </a:lnTo>
                  <a:lnTo>
                    <a:pt x="2068" y="3"/>
                  </a:lnTo>
                  <a:lnTo>
                    <a:pt x="2075" y="3"/>
                  </a:lnTo>
                  <a:lnTo>
                    <a:pt x="2082" y="8"/>
                  </a:lnTo>
                  <a:lnTo>
                    <a:pt x="2082" y="13"/>
                  </a:lnTo>
                  <a:lnTo>
                    <a:pt x="2085" y="13"/>
                  </a:lnTo>
                  <a:lnTo>
                    <a:pt x="2086" y="17"/>
                  </a:lnTo>
                  <a:lnTo>
                    <a:pt x="2089" y="17"/>
                  </a:lnTo>
                  <a:lnTo>
                    <a:pt x="2086" y="26"/>
                  </a:lnTo>
                  <a:lnTo>
                    <a:pt x="2089" y="34"/>
                  </a:lnTo>
                  <a:lnTo>
                    <a:pt x="2093" y="39"/>
                  </a:lnTo>
                  <a:lnTo>
                    <a:pt x="2094" y="47"/>
                  </a:lnTo>
                  <a:lnTo>
                    <a:pt x="2097" y="48"/>
                  </a:lnTo>
                  <a:lnTo>
                    <a:pt x="2099" y="51"/>
                  </a:lnTo>
                  <a:lnTo>
                    <a:pt x="2096" y="56"/>
                  </a:lnTo>
                  <a:lnTo>
                    <a:pt x="2096" y="62"/>
                  </a:lnTo>
                  <a:lnTo>
                    <a:pt x="2094" y="62"/>
                  </a:lnTo>
                  <a:lnTo>
                    <a:pt x="2091" y="62"/>
                  </a:lnTo>
                  <a:lnTo>
                    <a:pt x="2090" y="62"/>
                  </a:lnTo>
                  <a:lnTo>
                    <a:pt x="2087" y="60"/>
                  </a:lnTo>
                  <a:lnTo>
                    <a:pt x="2085" y="60"/>
                  </a:lnTo>
                  <a:lnTo>
                    <a:pt x="2085" y="64"/>
                  </a:lnTo>
                  <a:lnTo>
                    <a:pt x="2080" y="64"/>
                  </a:lnTo>
                  <a:lnTo>
                    <a:pt x="2078" y="65"/>
                  </a:lnTo>
                  <a:lnTo>
                    <a:pt x="2075" y="65"/>
                  </a:lnTo>
                  <a:lnTo>
                    <a:pt x="2074" y="62"/>
                  </a:lnTo>
                  <a:lnTo>
                    <a:pt x="2072" y="62"/>
                  </a:lnTo>
                  <a:lnTo>
                    <a:pt x="2074" y="65"/>
                  </a:lnTo>
                  <a:lnTo>
                    <a:pt x="2072" y="65"/>
                  </a:lnTo>
                  <a:lnTo>
                    <a:pt x="2066" y="64"/>
                  </a:lnTo>
                  <a:lnTo>
                    <a:pt x="2062" y="62"/>
                  </a:lnTo>
                  <a:lnTo>
                    <a:pt x="2060" y="64"/>
                  </a:lnTo>
                  <a:lnTo>
                    <a:pt x="2058" y="70"/>
                  </a:lnTo>
                  <a:lnTo>
                    <a:pt x="2055" y="71"/>
                  </a:lnTo>
                  <a:lnTo>
                    <a:pt x="2051" y="70"/>
                  </a:lnTo>
                  <a:lnTo>
                    <a:pt x="2047" y="73"/>
                  </a:lnTo>
                  <a:lnTo>
                    <a:pt x="2046" y="75"/>
                  </a:lnTo>
                  <a:lnTo>
                    <a:pt x="2044" y="73"/>
                  </a:lnTo>
                  <a:lnTo>
                    <a:pt x="2046" y="65"/>
                  </a:lnTo>
                  <a:lnTo>
                    <a:pt x="2040" y="65"/>
                  </a:lnTo>
                  <a:lnTo>
                    <a:pt x="2036" y="71"/>
                  </a:lnTo>
                  <a:lnTo>
                    <a:pt x="2036" y="73"/>
                  </a:lnTo>
                  <a:lnTo>
                    <a:pt x="2039" y="71"/>
                  </a:lnTo>
                  <a:lnTo>
                    <a:pt x="2040" y="65"/>
                  </a:lnTo>
                  <a:lnTo>
                    <a:pt x="2041" y="65"/>
                  </a:lnTo>
                  <a:lnTo>
                    <a:pt x="2041" y="79"/>
                  </a:lnTo>
                  <a:lnTo>
                    <a:pt x="2043" y="79"/>
                  </a:lnTo>
                  <a:lnTo>
                    <a:pt x="2050" y="79"/>
                  </a:lnTo>
                  <a:lnTo>
                    <a:pt x="2050" y="83"/>
                  </a:lnTo>
                  <a:lnTo>
                    <a:pt x="2047" y="84"/>
                  </a:lnTo>
                  <a:lnTo>
                    <a:pt x="2046" y="92"/>
                  </a:lnTo>
                  <a:lnTo>
                    <a:pt x="2050" y="88"/>
                  </a:lnTo>
                  <a:lnTo>
                    <a:pt x="2054" y="92"/>
                  </a:lnTo>
                  <a:lnTo>
                    <a:pt x="2068" y="92"/>
                  </a:lnTo>
                  <a:lnTo>
                    <a:pt x="2078" y="88"/>
                  </a:lnTo>
                  <a:lnTo>
                    <a:pt x="2082" y="84"/>
                  </a:lnTo>
                  <a:lnTo>
                    <a:pt x="2086" y="83"/>
                  </a:lnTo>
                  <a:lnTo>
                    <a:pt x="2090" y="83"/>
                  </a:lnTo>
                  <a:lnTo>
                    <a:pt x="2097" y="84"/>
                  </a:lnTo>
                  <a:lnTo>
                    <a:pt x="2100" y="88"/>
                  </a:lnTo>
                  <a:lnTo>
                    <a:pt x="2107" y="88"/>
                  </a:lnTo>
                  <a:lnTo>
                    <a:pt x="2115" y="97"/>
                  </a:lnTo>
                  <a:lnTo>
                    <a:pt x="2121" y="97"/>
                  </a:lnTo>
                  <a:lnTo>
                    <a:pt x="2126" y="101"/>
                  </a:lnTo>
                  <a:lnTo>
                    <a:pt x="2128" y="101"/>
                  </a:lnTo>
                  <a:lnTo>
                    <a:pt x="2125" y="106"/>
                  </a:lnTo>
                  <a:lnTo>
                    <a:pt x="2125" y="110"/>
                  </a:lnTo>
                  <a:lnTo>
                    <a:pt x="2118" y="110"/>
                  </a:lnTo>
                  <a:lnTo>
                    <a:pt x="2115" y="120"/>
                  </a:lnTo>
                  <a:lnTo>
                    <a:pt x="2115" y="137"/>
                  </a:lnTo>
                  <a:lnTo>
                    <a:pt x="2118" y="146"/>
                  </a:lnTo>
                  <a:lnTo>
                    <a:pt x="2125" y="154"/>
                  </a:lnTo>
                  <a:lnTo>
                    <a:pt x="2129" y="154"/>
                  </a:lnTo>
                  <a:lnTo>
                    <a:pt x="2136" y="155"/>
                  </a:lnTo>
                  <a:lnTo>
                    <a:pt x="2146" y="158"/>
                  </a:lnTo>
                  <a:lnTo>
                    <a:pt x="2154" y="158"/>
                  </a:lnTo>
                  <a:lnTo>
                    <a:pt x="2160" y="159"/>
                  </a:lnTo>
                  <a:lnTo>
                    <a:pt x="2165" y="163"/>
                  </a:lnTo>
                  <a:lnTo>
                    <a:pt x="2170" y="168"/>
                  </a:lnTo>
                  <a:lnTo>
                    <a:pt x="2172" y="172"/>
                  </a:lnTo>
                  <a:lnTo>
                    <a:pt x="2171" y="185"/>
                  </a:lnTo>
                  <a:lnTo>
                    <a:pt x="2165" y="185"/>
                  </a:lnTo>
                  <a:close/>
                  <a:moveTo>
                    <a:pt x="2156" y="1498"/>
                  </a:moveTo>
                  <a:lnTo>
                    <a:pt x="2153" y="1503"/>
                  </a:lnTo>
                  <a:lnTo>
                    <a:pt x="2156" y="1504"/>
                  </a:lnTo>
                  <a:lnTo>
                    <a:pt x="2153" y="1504"/>
                  </a:lnTo>
                  <a:lnTo>
                    <a:pt x="2156" y="1508"/>
                  </a:lnTo>
                  <a:lnTo>
                    <a:pt x="2157" y="1518"/>
                  </a:lnTo>
                  <a:lnTo>
                    <a:pt x="2154" y="1520"/>
                  </a:lnTo>
                  <a:lnTo>
                    <a:pt x="2151" y="1518"/>
                  </a:lnTo>
                  <a:lnTo>
                    <a:pt x="2149" y="1521"/>
                  </a:lnTo>
                  <a:lnTo>
                    <a:pt x="2146" y="1526"/>
                  </a:lnTo>
                  <a:lnTo>
                    <a:pt x="2145" y="1526"/>
                  </a:lnTo>
                  <a:lnTo>
                    <a:pt x="2143" y="1529"/>
                  </a:lnTo>
                  <a:lnTo>
                    <a:pt x="2142" y="1529"/>
                  </a:lnTo>
                  <a:lnTo>
                    <a:pt x="2140" y="1532"/>
                  </a:lnTo>
                  <a:lnTo>
                    <a:pt x="2139" y="1532"/>
                  </a:lnTo>
                  <a:lnTo>
                    <a:pt x="2140" y="1535"/>
                  </a:lnTo>
                  <a:lnTo>
                    <a:pt x="2136" y="1535"/>
                  </a:lnTo>
                  <a:lnTo>
                    <a:pt x="2137" y="1535"/>
                  </a:lnTo>
                  <a:lnTo>
                    <a:pt x="2136" y="1535"/>
                  </a:lnTo>
                  <a:lnTo>
                    <a:pt x="2132" y="1540"/>
                  </a:lnTo>
                  <a:lnTo>
                    <a:pt x="2133" y="1540"/>
                  </a:lnTo>
                  <a:lnTo>
                    <a:pt x="2137" y="1539"/>
                  </a:lnTo>
                  <a:lnTo>
                    <a:pt x="2142" y="1540"/>
                  </a:lnTo>
                  <a:lnTo>
                    <a:pt x="2140" y="1543"/>
                  </a:lnTo>
                  <a:lnTo>
                    <a:pt x="2136" y="1544"/>
                  </a:lnTo>
                  <a:lnTo>
                    <a:pt x="2137" y="1540"/>
                  </a:lnTo>
                  <a:lnTo>
                    <a:pt x="2133" y="1543"/>
                  </a:lnTo>
                  <a:lnTo>
                    <a:pt x="2128" y="1544"/>
                  </a:lnTo>
                  <a:lnTo>
                    <a:pt x="2118" y="1553"/>
                  </a:lnTo>
                  <a:lnTo>
                    <a:pt x="2119" y="1549"/>
                  </a:lnTo>
                  <a:lnTo>
                    <a:pt x="2118" y="1548"/>
                  </a:lnTo>
                  <a:lnTo>
                    <a:pt x="2118" y="1540"/>
                  </a:lnTo>
                  <a:lnTo>
                    <a:pt x="2114" y="1535"/>
                  </a:lnTo>
                  <a:lnTo>
                    <a:pt x="2110" y="1531"/>
                  </a:lnTo>
                  <a:lnTo>
                    <a:pt x="2118" y="1532"/>
                  </a:lnTo>
                  <a:lnTo>
                    <a:pt x="2118" y="1531"/>
                  </a:lnTo>
                  <a:lnTo>
                    <a:pt x="2125" y="1527"/>
                  </a:lnTo>
                  <a:lnTo>
                    <a:pt x="2115" y="1527"/>
                  </a:lnTo>
                  <a:lnTo>
                    <a:pt x="2115" y="1521"/>
                  </a:lnTo>
                  <a:lnTo>
                    <a:pt x="2114" y="1521"/>
                  </a:lnTo>
                  <a:lnTo>
                    <a:pt x="2112" y="1527"/>
                  </a:lnTo>
                  <a:lnTo>
                    <a:pt x="2108" y="1527"/>
                  </a:lnTo>
                  <a:lnTo>
                    <a:pt x="2110" y="1526"/>
                  </a:lnTo>
                  <a:lnTo>
                    <a:pt x="2108" y="1521"/>
                  </a:lnTo>
                  <a:lnTo>
                    <a:pt x="2105" y="1521"/>
                  </a:lnTo>
                  <a:lnTo>
                    <a:pt x="2101" y="1520"/>
                  </a:lnTo>
                  <a:lnTo>
                    <a:pt x="2100" y="1521"/>
                  </a:lnTo>
                  <a:lnTo>
                    <a:pt x="2096" y="1518"/>
                  </a:lnTo>
                  <a:lnTo>
                    <a:pt x="2096" y="1516"/>
                  </a:lnTo>
                  <a:lnTo>
                    <a:pt x="2100" y="1511"/>
                  </a:lnTo>
                  <a:lnTo>
                    <a:pt x="2103" y="1511"/>
                  </a:lnTo>
                  <a:lnTo>
                    <a:pt x="2104" y="1512"/>
                  </a:lnTo>
                  <a:lnTo>
                    <a:pt x="2103" y="1508"/>
                  </a:lnTo>
                  <a:lnTo>
                    <a:pt x="2104" y="1511"/>
                  </a:lnTo>
                  <a:lnTo>
                    <a:pt x="2107" y="1507"/>
                  </a:lnTo>
                  <a:lnTo>
                    <a:pt x="2111" y="1504"/>
                  </a:lnTo>
                  <a:lnTo>
                    <a:pt x="2111" y="1503"/>
                  </a:lnTo>
                  <a:lnTo>
                    <a:pt x="2114" y="1499"/>
                  </a:lnTo>
                  <a:lnTo>
                    <a:pt x="2115" y="1499"/>
                  </a:lnTo>
                  <a:lnTo>
                    <a:pt x="2118" y="1504"/>
                  </a:lnTo>
                  <a:lnTo>
                    <a:pt x="2119" y="1512"/>
                  </a:lnTo>
                  <a:lnTo>
                    <a:pt x="2125" y="1514"/>
                  </a:lnTo>
                  <a:lnTo>
                    <a:pt x="2124" y="1508"/>
                  </a:lnTo>
                  <a:lnTo>
                    <a:pt x="2125" y="1508"/>
                  </a:lnTo>
                  <a:lnTo>
                    <a:pt x="2126" y="1508"/>
                  </a:lnTo>
                  <a:lnTo>
                    <a:pt x="2131" y="1514"/>
                  </a:lnTo>
                  <a:lnTo>
                    <a:pt x="2135" y="1516"/>
                  </a:lnTo>
                  <a:lnTo>
                    <a:pt x="2133" y="1508"/>
                  </a:lnTo>
                  <a:lnTo>
                    <a:pt x="2135" y="1508"/>
                  </a:lnTo>
                  <a:lnTo>
                    <a:pt x="2136" y="1508"/>
                  </a:lnTo>
                  <a:lnTo>
                    <a:pt x="2131" y="1503"/>
                  </a:lnTo>
                  <a:lnTo>
                    <a:pt x="2128" y="1499"/>
                  </a:lnTo>
                  <a:lnTo>
                    <a:pt x="2125" y="1503"/>
                  </a:lnTo>
                  <a:lnTo>
                    <a:pt x="2126" y="1499"/>
                  </a:lnTo>
                  <a:lnTo>
                    <a:pt x="2126" y="1495"/>
                  </a:lnTo>
                  <a:lnTo>
                    <a:pt x="2128" y="1495"/>
                  </a:lnTo>
                  <a:lnTo>
                    <a:pt x="2136" y="1491"/>
                  </a:lnTo>
                  <a:lnTo>
                    <a:pt x="2140" y="1486"/>
                  </a:lnTo>
                  <a:lnTo>
                    <a:pt x="2143" y="1491"/>
                  </a:lnTo>
                  <a:lnTo>
                    <a:pt x="2150" y="1495"/>
                  </a:lnTo>
                  <a:lnTo>
                    <a:pt x="2157" y="1495"/>
                  </a:lnTo>
                  <a:lnTo>
                    <a:pt x="2159" y="1491"/>
                  </a:lnTo>
                  <a:lnTo>
                    <a:pt x="2160" y="1495"/>
                  </a:lnTo>
                  <a:lnTo>
                    <a:pt x="2156" y="1498"/>
                  </a:lnTo>
                  <a:close/>
                  <a:moveTo>
                    <a:pt x="2151" y="1400"/>
                  </a:moveTo>
                  <a:lnTo>
                    <a:pt x="2151" y="1406"/>
                  </a:lnTo>
                  <a:lnTo>
                    <a:pt x="2154" y="1411"/>
                  </a:lnTo>
                  <a:lnTo>
                    <a:pt x="2146" y="1420"/>
                  </a:lnTo>
                  <a:lnTo>
                    <a:pt x="2133" y="1428"/>
                  </a:lnTo>
                  <a:lnTo>
                    <a:pt x="2131" y="1428"/>
                  </a:lnTo>
                  <a:lnTo>
                    <a:pt x="2131" y="1424"/>
                  </a:lnTo>
                  <a:lnTo>
                    <a:pt x="2128" y="1424"/>
                  </a:lnTo>
                  <a:lnTo>
                    <a:pt x="2126" y="1424"/>
                  </a:lnTo>
                  <a:lnTo>
                    <a:pt x="2129" y="1420"/>
                  </a:lnTo>
                  <a:lnTo>
                    <a:pt x="2131" y="1416"/>
                  </a:lnTo>
                  <a:lnTo>
                    <a:pt x="2128" y="1406"/>
                  </a:lnTo>
                  <a:lnTo>
                    <a:pt x="2124" y="1402"/>
                  </a:lnTo>
                  <a:lnTo>
                    <a:pt x="2125" y="1397"/>
                  </a:lnTo>
                  <a:lnTo>
                    <a:pt x="2118" y="1392"/>
                  </a:lnTo>
                  <a:lnTo>
                    <a:pt x="2117" y="1389"/>
                  </a:lnTo>
                  <a:lnTo>
                    <a:pt x="2107" y="1383"/>
                  </a:lnTo>
                  <a:lnTo>
                    <a:pt x="2124" y="1371"/>
                  </a:lnTo>
                  <a:lnTo>
                    <a:pt x="2128" y="1371"/>
                  </a:lnTo>
                  <a:lnTo>
                    <a:pt x="2129" y="1371"/>
                  </a:lnTo>
                  <a:lnTo>
                    <a:pt x="2139" y="1375"/>
                  </a:lnTo>
                  <a:lnTo>
                    <a:pt x="2149" y="1389"/>
                  </a:lnTo>
                  <a:lnTo>
                    <a:pt x="2151" y="1400"/>
                  </a:lnTo>
                  <a:close/>
                  <a:moveTo>
                    <a:pt x="2151" y="1593"/>
                  </a:moveTo>
                  <a:lnTo>
                    <a:pt x="2147" y="1598"/>
                  </a:lnTo>
                  <a:lnTo>
                    <a:pt x="2139" y="1593"/>
                  </a:lnTo>
                  <a:lnTo>
                    <a:pt x="2137" y="1591"/>
                  </a:lnTo>
                  <a:lnTo>
                    <a:pt x="2139" y="1589"/>
                  </a:lnTo>
                  <a:lnTo>
                    <a:pt x="2137" y="1588"/>
                  </a:lnTo>
                  <a:lnTo>
                    <a:pt x="2137" y="1585"/>
                  </a:lnTo>
                  <a:lnTo>
                    <a:pt x="2136" y="1580"/>
                  </a:lnTo>
                  <a:lnTo>
                    <a:pt x="2136" y="1570"/>
                  </a:lnTo>
                  <a:lnTo>
                    <a:pt x="2132" y="1566"/>
                  </a:lnTo>
                  <a:lnTo>
                    <a:pt x="2132" y="1556"/>
                  </a:lnTo>
                  <a:lnTo>
                    <a:pt x="2135" y="1552"/>
                  </a:lnTo>
                  <a:lnTo>
                    <a:pt x="2136" y="1549"/>
                  </a:lnTo>
                  <a:lnTo>
                    <a:pt x="2139" y="1552"/>
                  </a:lnTo>
                  <a:lnTo>
                    <a:pt x="2142" y="1553"/>
                  </a:lnTo>
                  <a:lnTo>
                    <a:pt x="2147" y="1557"/>
                  </a:lnTo>
                  <a:lnTo>
                    <a:pt x="2149" y="1557"/>
                  </a:lnTo>
                  <a:lnTo>
                    <a:pt x="2151" y="1561"/>
                  </a:lnTo>
                  <a:lnTo>
                    <a:pt x="2154" y="1563"/>
                  </a:lnTo>
                  <a:lnTo>
                    <a:pt x="2153" y="1566"/>
                  </a:lnTo>
                  <a:lnTo>
                    <a:pt x="2156" y="1574"/>
                  </a:lnTo>
                  <a:lnTo>
                    <a:pt x="2154" y="1589"/>
                  </a:lnTo>
                  <a:lnTo>
                    <a:pt x="2151" y="1593"/>
                  </a:lnTo>
                  <a:close/>
                  <a:moveTo>
                    <a:pt x="2234" y="425"/>
                  </a:moveTo>
                  <a:lnTo>
                    <a:pt x="2232" y="427"/>
                  </a:lnTo>
                  <a:lnTo>
                    <a:pt x="2234" y="430"/>
                  </a:lnTo>
                  <a:lnTo>
                    <a:pt x="2232" y="430"/>
                  </a:lnTo>
                  <a:lnTo>
                    <a:pt x="2229" y="436"/>
                  </a:lnTo>
                  <a:lnTo>
                    <a:pt x="2226" y="435"/>
                  </a:lnTo>
                  <a:lnTo>
                    <a:pt x="2226" y="436"/>
                  </a:lnTo>
                  <a:lnTo>
                    <a:pt x="2225" y="436"/>
                  </a:lnTo>
                  <a:lnTo>
                    <a:pt x="2226" y="438"/>
                  </a:lnTo>
                  <a:lnTo>
                    <a:pt x="2222" y="440"/>
                  </a:lnTo>
                  <a:lnTo>
                    <a:pt x="2221" y="440"/>
                  </a:lnTo>
                  <a:lnTo>
                    <a:pt x="2224" y="440"/>
                  </a:lnTo>
                  <a:lnTo>
                    <a:pt x="2222" y="440"/>
                  </a:lnTo>
                  <a:lnTo>
                    <a:pt x="2215" y="443"/>
                  </a:lnTo>
                  <a:lnTo>
                    <a:pt x="2211" y="443"/>
                  </a:lnTo>
                  <a:lnTo>
                    <a:pt x="2204" y="440"/>
                  </a:lnTo>
                  <a:lnTo>
                    <a:pt x="2201" y="443"/>
                  </a:lnTo>
                  <a:lnTo>
                    <a:pt x="2184" y="449"/>
                  </a:lnTo>
                  <a:lnTo>
                    <a:pt x="2179" y="453"/>
                  </a:lnTo>
                  <a:lnTo>
                    <a:pt x="2178" y="453"/>
                  </a:lnTo>
                  <a:lnTo>
                    <a:pt x="2176" y="453"/>
                  </a:lnTo>
                  <a:lnTo>
                    <a:pt x="2174" y="453"/>
                  </a:lnTo>
                  <a:lnTo>
                    <a:pt x="2178" y="453"/>
                  </a:lnTo>
                  <a:lnTo>
                    <a:pt x="2178" y="449"/>
                  </a:lnTo>
                  <a:lnTo>
                    <a:pt x="2176" y="453"/>
                  </a:lnTo>
                  <a:lnTo>
                    <a:pt x="2172" y="453"/>
                  </a:lnTo>
                  <a:lnTo>
                    <a:pt x="2172" y="457"/>
                  </a:lnTo>
                  <a:lnTo>
                    <a:pt x="2171" y="453"/>
                  </a:lnTo>
                  <a:lnTo>
                    <a:pt x="2168" y="449"/>
                  </a:lnTo>
                  <a:lnTo>
                    <a:pt x="2151" y="449"/>
                  </a:lnTo>
                  <a:lnTo>
                    <a:pt x="2139" y="440"/>
                  </a:lnTo>
                  <a:lnTo>
                    <a:pt x="2149" y="440"/>
                  </a:lnTo>
                  <a:lnTo>
                    <a:pt x="2164" y="448"/>
                  </a:lnTo>
                  <a:lnTo>
                    <a:pt x="2176" y="448"/>
                  </a:lnTo>
                  <a:lnTo>
                    <a:pt x="2192" y="443"/>
                  </a:lnTo>
                  <a:lnTo>
                    <a:pt x="2200" y="440"/>
                  </a:lnTo>
                  <a:lnTo>
                    <a:pt x="2215" y="436"/>
                  </a:lnTo>
                  <a:lnTo>
                    <a:pt x="2221" y="430"/>
                  </a:lnTo>
                  <a:lnTo>
                    <a:pt x="2222" y="430"/>
                  </a:lnTo>
                  <a:lnTo>
                    <a:pt x="2221" y="427"/>
                  </a:lnTo>
                  <a:lnTo>
                    <a:pt x="2224" y="425"/>
                  </a:lnTo>
                  <a:lnTo>
                    <a:pt x="2226" y="423"/>
                  </a:lnTo>
                  <a:lnTo>
                    <a:pt x="2231" y="423"/>
                  </a:lnTo>
                  <a:lnTo>
                    <a:pt x="2234" y="425"/>
                  </a:lnTo>
                  <a:close/>
                  <a:moveTo>
                    <a:pt x="2207" y="297"/>
                  </a:moveTo>
                  <a:lnTo>
                    <a:pt x="2207" y="305"/>
                  </a:lnTo>
                  <a:lnTo>
                    <a:pt x="2204" y="306"/>
                  </a:lnTo>
                  <a:lnTo>
                    <a:pt x="2196" y="311"/>
                  </a:lnTo>
                  <a:lnTo>
                    <a:pt x="2193" y="311"/>
                  </a:lnTo>
                  <a:lnTo>
                    <a:pt x="2190" y="320"/>
                  </a:lnTo>
                  <a:lnTo>
                    <a:pt x="2186" y="320"/>
                  </a:lnTo>
                  <a:lnTo>
                    <a:pt x="2186" y="323"/>
                  </a:lnTo>
                  <a:lnTo>
                    <a:pt x="2184" y="323"/>
                  </a:lnTo>
                  <a:lnTo>
                    <a:pt x="2181" y="320"/>
                  </a:lnTo>
                  <a:lnTo>
                    <a:pt x="2178" y="320"/>
                  </a:lnTo>
                  <a:lnTo>
                    <a:pt x="2181" y="324"/>
                  </a:lnTo>
                  <a:lnTo>
                    <a:pt x="2176" y="324"/>
                  </a:lnTo>
                  <a:lnTo>
                    <a:pt x="2175" y="324"/>
                  </a:lnTo>
                  <a:lnTo>
                    <a:pt x="2179" y="314"/>
                  </a:lnTo>
                  <a:lnTo>
                    <a:pt x="2179" y="306"/>
                  </a:lnTo>
                  <a:lnTo>
                    <a:pt x="2182" y="301"/>
                  </a:lnTo>
                  <a:lnTo>
                    <a:pt x="2182" y="297"/>
                  </a:lnTo>
                  <a:lnTo>
                    <a:pt x="2184" y="297"/>
                  </a:lnTo>
                  <a:lnTo>
                    <a:pt x="2187" y="301"/>
                  </a:lnTo>
                  <a:lnTo>
                    <a:pt x="2190" y="311"/>
                  </a:lnTo>
                  <a:lnTo>
                    <a:pt x="2193" y="309"/>
                  </a:lnTo>
                  <a:lnTo>
                    <a:pt x="2197" y="306"/>
                  </a:lnTo>
                  <a:lnTo>
                    <a:pt x="2193" y="306"/>
                  </a:lnTo>
                  <a:lnTo>
                    <a:pt x="2192" y="301"/>
                  </a:lnTo>
                  <a:lnTo>
                    <a:pt x="2189" y="301"/>
                  </a:lnTo>
                  <a:lnTo>
                    <a:pt x="2189" y="297"/>
                  </a:lnTo>
                  <a:lnTo>
                    <a:pt x="2190" y="297"/>
                  </a:lnTo>
                  <a:lnTo>
                    <a:pt x="2190" y="293"/>
                  </a:lnTo>
                  <a:lnTo>
                    <a:pt x="2189" y="293"/>
                  </a:lnTo>
                  <a:lnTo>
                    <a:pt x="2186" y="288"/>
                  </a:lnTo>
                  <a:lnTo>
                    <a:pt x="2184" y="287"/>
                  </a:lnTo>
                  <a:lnTo>
                    <a:pt x="2185" y="283"/>
                  </a:lnTo>
                  <a:lnTo>
                    <a:pt x="2187" y="287"/>
                  </a:lnTo>
                  <a:lnTo>
                    <a:pt x="2199" y="292"/>
                  </a:lnTo>
                  <a:lnTo>
                    <a:pt x="2207" y="297"/>
                  </a:lnTo>
                  <a:close/>
                  <a:moveTo>
                    <a:pt x="2147" y="1656"/>
                  </a:moveTo>
                  <a:lnTo>
                    <a:pt x="2149" y="1663"/>
                  </a:lnTo>
                  <a:lnTo>
                    <a:pt x="2147" y="1669"/>
                  </a:lnTo>
                  <a:lnTo>
                    <a:pt x="2145" y="1673"/>
                  </a:lnTo>
                  <a:lnTo>
                    <a:pt x="2143" y="1677"/>
                  </a:lnTo>
                  <a:lnTo>
                    <a:pt x="2142" y="1678"/>
                  </a:lnTo>
                  <a:lnTo>
                    <a:pt x="2139" y="1681"/>
                  </a:lnTo>
                  <a:lnTo>
                    <a:pt x="2137" y="1678"/>
                  </a:lnTo>
                  <a:lnTo>
                    <a:pt x="2133" y="1678"/>
                  </a:lnTo>
                  <a:lnTo>
                    <a:pt x="2131" y="1682"/>
                  </a:lnTo>
                  <a:lnTo>
                    <a:pt x="2128" y="1682"/>
                  </a:lnTo>
                  <a:lnTo>
                    <a:pt x="2131" y="1678"/>
                  </a:lnTo>
                  <a:lnTo>
                    <a:pt x="2129" y="1673"/>
                  </a:lnTo>
                  <a:lnTo>
                    <a:pt x="2128" y="1669"/>
                  </a:lnTo>
                  <a:lnTo>
                    <a:pt x="2124" y="1668"/>
                  </a:lnTo>
                  <a:lnTo>
                    <a:pt x="2124" y="1664"/>
                  </a:lnTo>
                  <a:lnTo>
                    <a:pt x="2128" y="1660"/>
                  </a:lnTo>
                  <a:lnTo>
                    <a:pt x="2133" y="1658"/>
                  </a:lnTo>
                  <a:lnTo>
                    <a:pt x="2133" y="1656"/>
                  </a:lnTo>
                  <a:lnTo>
                    <a:pt x="2143" y="1651"/>
                  </a:lnTo>
                  <a:lnTo>
                    <a:pt x="2147" y="1656"/>
                  </a:lnTo>
                  <a:close/>
                  <a:moveTo>
                    <a:pt x="2215" y="537"/>
                  </a:moveTo>
                  <a:lnTo>
                    <a:pt x="2218" y="554"/>
                  </a:lnTo>
                  <a:lnTo>
                    <a:pt x="2214" y="556"/>
                  </a:lnTo>
                  <a:lnTo>
                    <a:pt x="2209" y="560"/>
                  </a:lnTo>
                  <a:lnTo>
                    <a:pt x="2204" y="558"/>
                  </a:lnTo>
                  <a:lnTo>
                    <a:pt x="2201" y="560"/>
                  </a:lnTo>
                  <a:lnTo>
                    <a:pt x="2199" y="560"/>
                  </a:lnTo>
                  <a:lnTo>
                    <a:pt x="2193" y="560"/>
                  </a:lnTo>
                  <a:lnTo>
                    <a:pt x="2193" y="564"/>
                  </a:lnTo>
                  <a:lnTo>
                    <a:pt x="2189" y="565"/>
                  </a:lnTo>
                  <a:lnTo>
                    <a:pt x="2182" y="569"/>
                  </a:lnTo>
                  <a:lnTo>
                    <a:pt x="2190" y="560"/>
                  </a:lnTo>
                  <a:lnTo>
                    <a:pt x="2195" y="552"/>
                  </a:lnTo>
                  <a:lnTo>
                    <a:pt x="2195" y="547"/>
                  </a:lnTo>
                  <a:lnTo>
                    <a:pt x="2197" y="545"/>
                  </a:lnTo>
                  <a:lnTo>
                    <a:pt x="2199" y="541"/>
                  </a:lnTo>
                  <a:lnTo>
                    <a:pt x="2201" y="537"/>
                  </a:lnTo>
                  <a:lnTo>
                    <a:pt x="2207" y="537"/>
                  </a:lnTo>
                  <a:lnTo>
                    <a:pt x="2215" y="537"/>
                  </a:lnTo>
                  <a:close/>
                  <a:moveTo>
                    <a:pt x="2189" y="243"/>
                  </a:moveTo>
                  <a:lnTo>
                    <a:pt x="2186" y="256"/>
                  </a:lnTo>
                  <a:lnTo>
                    <a:pt x="2186" y="253"/>
                  </a:lnTo>
                  <a:lnTo>
                    <a:pt x="2185" y="253"/>
                  </a:lnTo>
                  <a:lnTo>
                    <a:pt x="2182" y="262"/>
                  </a:lnTo>
                  <a:lnTo>
                    <a:pt x="2179" y="253"/>
                  </a:lnTo>
                  <a:lnTo>
                    <a:pt x="2178" y="249"/>
                  </a:lnTo>
                  <a:lnTo>
                    <a:pt x="2174" y="243"/>
                  </a:lnTo>
                  <a:lnTo>
                    <a:pt x="2164" y="239"/>
                  </a:lnTo>
                  <a:lnTo>
                    <a:pt x="2167" y="238"/>
                  </a:lnTo>
                  <a:lnTo>
                    <a:pt x="2170" y="238"/>
                  </a:lnTo>
                  <a:lnTo>
                    <a:pt x="2171" y="236"/>
                  </a:lnTo>
                  <a:lnTo>
                    <a:pt x="2179" y="238"/>
                  </a:lnTo>
                  <a:lnTo>
                    <a:pt x="2182" y="236"/>
                  </a:lnTo>
                  <a:lnTo>
                    <a:pt x="2184" y="238"/>
                  </a:lnTo>
                  <a:lnTo>
                    <a:pt x="2186" y="238"/>
                  </a:lnTo>
                  <a:lnTo>
                    <a:pt x="2189" y="243"/>
                  </a:lnTo>
                  <a:close/>
                  <a:moveTo>
                    <a:pt x="2076" y="79"/>
                  </a:moveTo>
                  <a:lnTo>
                    <a:pt x="2075" y="84"/>
                  </a:lnTo>
                  <a:lnTo>
                    <a:pt x="2066" y="88"/>
                  </a:lnTo>
                  <a:lnTo>
                    <a:pt x="2055" y="88"/>
                  </a:lnTo>
                  <a:lnTo>
                    <a:pt x="2051" y="88"/>
                  </a:lnTo>
                  <a:lnTo>
                    <a:pt x="2049" y="88"/>
                  </a:lnTo>
                  <a:lnTo>
                    <a:pt x="2050" y="84"/>
                  </a:lnTo>
                  <a:lnTo>
                    <a:pt x="2051" y="83"/>
                  </a:lnTo>
                  <a:lnTo>
                    <a:pt x="2051" y="75"/>
                  </a:lnTo>
                  <a:lnTo>
                    <a:pt x="2052" y="73"/>
                  </a:lnTo>
                  <a:lnTo>
                    <a:pt x="2058" y="79"/>
                  </a:lnTo>
                  <a:lnTo>
                    <a:pt x="2071" y="75"/>
                  </a:lnTo>
                  <a:lnTo>
                    <a:pt x="2074" y="79"/>
                  </a:lnTo>
                  <a:lnTo>
                    <a:pt x="2076" y="79"/>
                  </a:lnTo>
                  <a:close/>
                  <a:moveTo>
                    <a:pt x="2135" y="1205"/>
                  </a:moveTo>
                  <a:lnTo>
                    <a:pt x="2135" y="1211"/>
                  </a:lnTo>
                  <a:lnTo>
                    <a:pt x="2132" y="1218"/>
                  </a:lnTo>
                  <a:lnTo>
                    <a:pt x="2129" y="1218"/>
                  </a:lnTo>
                  <a:lnTo>
                    <a:pt x="2129" y="1224"/>
                  </a:lnTo>
                  <a:lnTo>
                    <a:pt x="2124" y="1228"/>
                  </a:lnTo>
                  <a:lnTo>
                    <a:pt x="2124" y="1218"/>
                  </a:lnTo>
                  <a:lnTo>
                    <a:pt x="2122" y="1215"/>
                  </a:lnTo>
                  <a:lnTo>
                    <a:pt x="2114" y="1211"/>
                  </a:lnTo>
                  <a:lnTo>
                    <a:pt x="2115" y="1205"/>
                  </a:lnTo>
                  <a:lnTo>
                    <a:pt x="2121" y="1205"/>
                  </a:lnTo>
                  <a:lnTo>
                    <a:pt x="2122" y="1205"/>
                  </a:lnTo>
                  <a:lnTo>
                    <a:pt x="2131" y="1205"/>
                  </a:lnTo>
                  <a:lnTo>
                    <a:pt x="2135" y="1205"/>
                  </a:lnTo>
                  <a:close/>
                  <a:moveTo>
                    <a:pt x="2176" y="573"/>
                  </a:moveTo>
                  <a:lnTo>
                    <a:pt x="2178" y="573"/>
                  </a:lnTo>
                  <a:lnTo>
                    <a:pt x="2171" y="577"/>
                  </a:lnTo>
                  <a:lnTo>
                    <a:pt x="2164" y="578"/>
                  </a:lnTo>
                  <a:lnTo>
                    <a:pt x="2161" y="578"/>
                  </a:lnTo>
                  <a:lnTo>
                    <a:pt x="2153" y="581"/>
                  </a:lnTo>
                  <a:lnTo>
                    <a:pt x="2129" y="565"/>
                  </a:lnTo>
                  <a:lnTo>
                    <a:pt x="2126" y="564"/>
                  </a:lnTo>
                  <a:lnTo>
                    <a:pt x="2135" y="565"/>
                  </a:lnTo>
                  <a:lnTo>
                    <a:pt x="2150" y="573"/>
                  </a:lnTo>
                  <a:lnTo>
                    <a:pt x="2160" y="577"/>
                  </a:lnTo>
                  <a:lnTo>
                    <a:pt x="2167" y="577"/>
                  </a:lnTo>
                  <a:lnTo>
                    <a:pt x="2176" y="573"/>
                  </a:lnTo>
                  <a:close/>
                  <a:moveTo>
                    <a:pt x="2159" y="1709"/>
                  </a:moveTo>
                  <a:lnTo>
                    <a:pt x="2160" y="1709"/>
                  </a:lnTo>
                  <a:lnTo>
                    <a:pt x="2156" y="1712"/>
                  </a:lnTo>
                  <a:lnTo>
                    <a:pt x="2157" y="1715"/>
                  </a:lnTo>
                  <a:lnTo>
                    <a:pt x="2156" y="1717"/>
                  </a:lnTo>
                  <a:lnTo>
                    <a:pt x="2156" y="1715"/>
                  </a:lnTo>
                  <a:lnTo>
                    <a:pt x="2151" y="1713"/>
                  </a:lnTo>
                  <a:lnTo>
                    <a:pt x="2139" y="1709"/>
                  </a:lnTo>
                  <a:lnTo>
                    <a:pt x="2139" y="1705"/>
                  </a:lnTo>
                  <a:lnTo>
                    <a:pt x="2142" y="1705"/>
                  </a:lnTo>
                  <a:lnTo>
                    <a:pt x="2149" y="1703"/>
                  </a:lnTo>
                  <a:lnTo>
                    <a:pt x="2150" y="1703"/>
                  </a:lnTo>
                  <a:lnTo>
                    <a:pt x="2154" y="1703"/>
                  </a:lnTo>
                  <a:lnTo>
                    <a:pt x="2153" y="1705"/>
                  </a:lnTo>
                  <a:lnTo>
                    <a:pt x="2159" y="1709"/>
                  </a:lnTo>
                  <a:close/>
                  <a:moveTo>
                    <a:pt x="2079" y="75"/>
                  </a:moveTo>
                  <a:lnTo>
                    <a:pt x="2078" y="75"/>
                  </a:lnTo>
                  <a:lnTo>
                    <a:pt x="2071" y="75"/>
                  </a:lnTo>
                  <a:lnTo>
                    <a:pt x="2061" y="75"/>
                  </a:lnTo>
                  <a:lnTo>
                    <a:pt x="2058" y="75"/>
                  </a:lnTo>
                  <a:lnTo>
                    <a:pt x="2061" y="73"/>
                  </a:lnTo>
                  <a:lnTo>
                    <a:pt x="2062" y="71"/>
                  </a:lnTo>
                  <a:lnTo>
                    <a:pt x="2061" y="70"/>
                  </a:lnTo>
                  <a:lnTo>
                    <a:pt x="2061" y="65"/>
                  </a:lnTo>
                  <a:lnTo>
                    <a:pt x="2062" y="65"/>
                  </a:lnTo>
                  <a:lnTo>
                    <a:pt x="2071" y="71"/>
                  </a:lnTo>
                  <a:lnTo>
                    <a:pt x="2079" y="75"/>
                  </a:lnTo>
                  <a:close/>
                  <a:moveTo>
                    <a:pt x="2182" y="716"/>
                  </a:moveTo>
                  <a:lnTo>
                    <a:pt x="2184" y="716"/>
                  </a:lnTo>
                  <a:lnTo>
                    <a:pt x="2179" y="719"/>
                  </a:lnTo>
                  <a:lnTo>
                    <a:pt x="2165" y="719"/>
                  </a:lnTo>
                  <a:lnTo>
                    <a:pt x="2162" y="720"/>
                  </a:lnTo>
                  <a:lnTo>
                    <a:pt x="2160" y="720"/>
                  </a:lnTo>
                  <a:lnTo>
                    <a:pt x="2160" y="716"/>
                  </a:lnTo>
                  <a:lnTo>
                    <a:pt x="2162" y="716"/>
                  </a:lnTo>
                  <a:lnTo>
                    <a:pt x="2171" y="719"/>
                  </a:lnTo>
                  <a:lnTo>
                    <a:pt x="2178" y="716"/>
                  </a:lnTo>
                  <a:lnTo>
                    <a:pt x="2182" y="716"/>
                  </a:lnTo>
                  <a:close/>
                  <a:moveTo>
                    <a:pt x="2164" y="355"/>
                  </a:moveTo>
                  <a:lnTo>
                    <a:pt x="2165" y="355"/>
                  </a:lnTo>
                  <a:lnTo>
                    <a:pt x="2161" y="358"/>
                  </a:lnTo>
                  <a:lnTo>
                    <a:pt x="2160" y="359"/>
                  </a:lnTo>
                  <a:lnTo>
                    <a:pt x="2160" y="355"/>
                  </a:lnTo>
                  <a:lnTo>
                    <a:pt x="2159" y="355"/>
                  </a:lnTo>
                  <a:lnTo>
                    <a:pt x="2159" y="350"/>
                  </a:lnTo>
                  <a:lnTo>
                    <a:pt x="2157" y="346"/>
                  </a:lnTo>
                  <a:lnTo>
                    <a:pt x="2159" y="346"/>
                  </a:lnTo>
                  <a:lnTo>
                    <a:pt x="2160" y="350"/>
                  </a:lnTo>
                  <a:lnTo>
                    <a:pt x="2162" y="350"/>
                  </a:lnTo>
                  <a:lnTo>
                    <a:pt x="2164" y="355"/>
                  </a:lnTo>
                  <a:close/>
                  <a:moveTo>
                    <a:pt x="2167" y="1610"/>
                  </a:moveTo>
                  <a:lnTo>
                    <a:pt x="2167" y="1615"/>
                  </a:lnTo>
                  <a:lnTo>
                    <a:pt x="2164" y="1615"/>
                  </a:lnTo>
                  <a:lnTo>
                    <a:pt x="2162" y="1614"/>
                  </a:lnTo>
                  <a:lnTo>
                    <a:pt x="2165" y="1606"/>
                  </a:lnTo>
                  <a:lnTo>
                    <a:pt x="2168" y="1606"/>
                  </a:lnTo>
                  <a:lnTo>
                    <a:pt x="2168" y="1607"/>
                  </a:lnTo>
                  <a:lnTo>
                    <a:pt x="2167" y="1610"/>
                  </a:lnTo>
                  <a:close/>
                  <a:moveTo>
                    <a:pt x="2086" y="764"/>
                  </a:moveTo>
                  <a:lnTo>
                    <a:pt x="2087" y="765"/>
                  </a:lnTo>
                  <a:lnTo>
                    <a:pt x="2085" y="765"/>
                  </a:lnTo>
                  <a:lnTo>
                    <a:pt x="2080" y="764"/>
                  </a:lnTo>
                  <a:lnTo>
                    <a:pt x="2076" y="760"/>
                  </a:lnTo>
                  <a:lnTo>
                    <a:pt x="2076" y="756"/>
                  </a:lnTo>
                  <a:lnTo>
                    <a:pt x="2083" y="760"/>
                  </a:lnTo>
                  <a:lnTo>
                    <a:pt x="2086" y="764"/>
                  </a:lnTo>
                  <a:close/>
                  <a:moveTo>
                    <a:pt x="2087" y="711"/>
                  </a:moveTo>
                  <a:lnTo>
                    <a:pt x="2089" y="711"/>
                  </a:lnTo>
                  <a:lnTo>
                    <a:pt x="2083" y="711"/>
                  </a:lnTo>
                  <a:lnTo>
                    <a:pt x="2079" y="707"/>
                  </a:lnTo>
                  <a:lnTo>
                    <a:pt x="2080" y="707"/>
                  </a:lnTo>
                  <a:lnTo>
                    <a:pt x="2082" y="707"/>
                  </a:lnTo>
                  <a:lnTo>
                    <a:pt x="2087" y="711"/>
                  </a:lnTo>
                  <a:close/>
                  <a:moveTo>
                    <a:pt x="2058" y="1520"/>
                  </a:moveTo>
                  <a:lnTo>
                    <a:pt x="2057" y="1526"/>
                  </a:lnTo>
                  <a:lnTo>
                    <a:pt x="2052" y="1527"/>
                  </a:lnTo>
                  <a:lnTo>
                    <a:pt x="2054" y="1520"/>
                  </a:lnTo>
                  <a:lnTo>
                    <a:pt x="2055" y="1518"/>
                  </a:lnTo>
                  <a:lnTo>
                    <a:pt x="2058" y="1520"/>
                  </a:lnTo>
                  <a:close/>
                  <a:moveTo>
                    <a:pt x="2151" y="1772"/>
                  </a:moveTo>
                  <a:lnTo>
                    <a:pt x="2151" y="1776"/>
                  </a:lnTo>
                  <a:lnTo>
                    <a:pt x="2149" y="1779"/>
                  </a:lnTo>
                  <a:lnTo>
                    <a:pt x="2147" y="1776"/>
                  </a:lnTo>
                  <a:lnTo>
                    <a:pt x="2146" y="1772"/>
                  </a:lnTo>
                  <a:lnTo>
                    <a:pt x="2146" y="1771"/>
                  </a:lnTo>
                  <a:lnTo>
                    <a:pt x="2150" y="1772"/>
                  </a:lnTo>
                  <a:lnTo>
                    <a:pt x="2151" y="1772"/>
                  </a:lnTo>
                  <a:close/>
                  <a:moveTo>
                    <a:pt x="2051" y="2057"/>
                  </a:moveTo>
                  <a:lnTo>
                    <a:pt x="2051" y="2060"/>
                  </a:lnTo>
                  <a:lnTo>
                    <a:pt x="2050" y="2065"/>
                  </a:lnTo>
                  <a:lnTo>
                    <a:pt x="2050" y="2060"/>
                  </a:lnTo>
                  <a:lnTo>
                    <a:pt x="2047" y="2059"/>
                  </a:lnTo>
                  <a:lnTo>
                    <a:pt x="2049" y="2057"/>
                  </a:lnTo>
                  <a:lnTo>
                    <a:pt x="2051" y="2057"/>
                  </a:lnTo>
                  <a:close/>
                  <a:moveTo>
                    <a:pt x="2145" y="1623"/>
                  </a:moveTo>
                  <a:lnTo>
                    <a:pt x="2145" y="1625"/>
                  </a:lnTo>
                  <a:lnTo>
                    <a:pt x="2143" y="1625"/>
                  </a:lnTo>
                  <a:lnTo>
                    <a:pt x="2142" y="1625"/>
                  </a:lnTo>
                  <a:lnTo>
                    <a:pt x="2143" y="1623"/>
                  </a:lnTo>
                  <a:lnTo>
                    <a:pt x="2140" y="1620"/>
                  </a:lnTo>
                  <a:lnTo>
                    <a:pt x="2140" y="1619"/>
                  </a:lnTo>
                  <a:lnTo>
                    <a:pt x="2145" y="1623"/>
                  </a:lnTo>
                  <a:close/>
                  <a:moveTo>
                    <a:pt x="2147" y="1076"/>
                  </a:moveTo>
                  <a:lnTo>
                    <a:pt x="2149" y="1076"/>
                  </a:lnTo>
                  <a:lnTo>
                    <a:pt x="2145" y="1076"/>
                  </a:lnTo>
                  <a:lnTo>
                    <a:pt x="2145" y="1080"/>
                  </a:lnTo>
                  <a:lnTo>
                    <a:pt x="2137" y="1076"/>
                  </a:lnTo>
                  <a:lnTo>
                    <a:pt x="2147" y="1076"/>
                  </a:lnTo>
                  <a:close/>
                  <a:moveTo>
                    <a:pt x="2087" y="1531"/>
                  </a:moveTo>
                  <a:lnTo>
                    <a:pt x="2089" y="1532"/>
                  </a:lnTo>
                  <a:lnTo>
                    <a:pt x="2083" y="1533"/>
                  </a:lnTo>
                  <a:lnTo>
                    <a:pt x="2083" y="1532"/>
                  </a:lnTo>
                  <a:lnTo>
                    <a:pt x="2083" y="1531"/>
                  </a:lnTo>
                  <a:lnTo>
                    <a:pt x="2085" y="1531"/>
                  </a:lnTo>
                  <a:lnTo>
                    <a:pt x="2087" y="1531"/>
                  </a:lnTo>
                  <a:close/>
                  <a:moveTo>
                    <a:pt x="2097" y="1259"/>
                  </a:moveTo>
                  <a:lnTo>
                    <a:pt x="2096" y="1263"/>
                  </a:lnTo>
                  <a:lnTo>
                    <a:pt x="2093" y="1263"/>
                  </a:lnTo>
                  <a:lnTo>
                    <a:pt x="2093" y="1259"/>
                  </a:lnTo>
                  <a:lnTo>
                    <a:pt x="2094" y="1259"/>
                  </a:lnTo>
                  <a:lnTo>
                    <a:pt x="2097" y="1259"/>
                  </a:lnTo>
                  <a:close/>
                  <a:moveTo>
                    <a:pt x="2128" y="672"/>
                  </a:moveTo>
                  <a:lnTo>
                    <a:pt x="2126" y="674"/>
                  </a:lnTo>
                  <a:lnTo>
                    <a:pt x="2122" y="672"/>
                  </a:lnTo>
                  <a:lnTo>
                    <a:pt x="2121" y="672"/>
                  </a:lnTo>
                  <a:lnTo>
                    <a:pt x="2124" y="672"/>
                  </a:lnTo>
                  <a:lnTo>
                    <a:pt x="2128" y="672"/>
                  </a:lnTo>
                  <a:close/>
                  <a:moveTo>
                    <a:pt x="2052" y="1533"/>
                  </a:moveTo>
                  <a:lnTo>
                    <a:pt x="2052" y="1532"/>
                  </a:lnTo>
                  <a:lnTo>
                    <a:pt x="2052" y="1529"/>
                  </a:lnTo>
                  <a:lnTo>
                    <a:pt x="2054" y="1527"/>
                  </a:lnTo>
                  <a:lnTo>
                    <a:pt x="2052" y="1529"/>
                  </a:lnTo>
                  <a:lnTo>
                    <a:pt x="2054" y="1529"/>
                  </a:lnTo>
                  <a:lnTo>
                    <a:pt x="2055" y="1532"/>
                  </a:lnTo>
                  <a:lnTo>
                    <a:pt x="2052" y="1533"/>
                  </a:lnTo>
                  <a:close/>
                  <a:moveTo>
                    <a:pt x="2061" y="1527"/>
                  </a:moveTo>
                  <a:lnTo>
                    <a:pt x="2060" y="1529"/>
                  </a:lnTo>
                  <a:lnTo>
                    <a:pt x="2057" y="1532"/>
                  </a:lnTo>
                  <a:lnTo>
                    <a:pt x="2057" y="1529"/>
                  </a:lnTo>
                  <a:lnTo>
                    <a:pt x="2058" y="1529"/>
                  </a:lnTo>
                  <a:lnTo>
                    <a:pt x="2061" y="1527"/>
                  </a:lnTo>
                  <a:close/>
                  <a:moveTo>
                    <a:pt x="2032" y="1436"/>
                  </a:moveTo>
                  <a:lnTo>
                    <a:pt x="2029" y="1433"/>
                  </a:lnTo>
                  <a:lnTo>
                    <a:pt x="2029" y="1432"/>
                  </a:lnTo>
                  <a:lnTo>
                    <a:pt x="2029" y="1428"/>
                  </a:lnTo>
                  <a:lnTo>
                    <a:pt x="2032" y="1436"/>
                  </a:lnTo>
                  <a:close/>
                  <a:moveTo>
                    <a:pt x="2091" y="1241"/>
                  </a:moveTo>
                  <a:lnTo>
                    <a:pt x="2090" y="1241"/>
                  </a:lnTo>
                  <a:lnTo>
                    <a:pt x="2087" y="1240"/>
                  </a:lnTo>
                  <a:lnTo>
                    <a:pt x="2091" y="1241"/>
                  </a:lnTo>
                  <a:close/>
                  <a:moveTo>
                    <a:pt x="2027" y="1436"/>
                  </a:moveTo>
                  <a:lnTo>
                    <a:pt x="2030" y="1440"/>
                  </a:lnTo>
                  <a:lnTo>
                    <a:pt x="2026" y="1436"/>
                  </a:lnTo>
                  <a:lnTo>
                    <a:pt x="2027" y="1436"/>
                  </a:lnTo>
                  <a:close/>
                  <a:moveTo>
                    <a:pt x="2114" y="1084"/>
                  </a:moveTo>
                  <a:lnTo>
                    <a:pt x="2114" y="1086"/>
                  </a:lnTo>
                  <a:lnTo>
                    <a:pt x="2112" y="1086"/>
                  </a:lnTo>
                  <a:lnTo>
                    <a:pt x="2111" y="1084"/>
                  </a:lnTo>
                  <a:lnTo>
                    <a:pt x="2114" y="1084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94" name="Freeform 193"/>
            <p:cNvSpPr>
              <a:spLocks noEditPoints="1"/>
            </p:cNvSpPr>
            <p:nvPr/>
          </p:nvSpPr>
          <p:spPr bwMode="auto">
            <a:xfrm>
              <a:off x="1646534" y="2219078"/>
              <a:ext cx="663885" cy="761055"/>
            </a:xfrm>
            <a:custGeom>
              <a:avLst/>
              <a:gdLst>
                <a:gd name="T0" fmla="*/ 3326 w 3330"/>
                <a:gd name="T1" fmla="*/ 1006 h 2820"/>
                <a:gd name="T2" fmla="*/ 3299 w 3330"/>
                <a:gd name="T3" fmla="*/ 1124 h 2820"/>
                <a:gd name="T4" fmla="*/ 3165 w 3330"/>
                <a:gd name="T5" fmla="*/ 1137 h 2820"/>
                <a:gd name="T6" fmla="*/ 3270 w 3330"/>
                <a:gd name="T7" fmla="*/ 1250 h 2820"/>
                <a:gd name="T8" fmla="*/ 3201 w 3330"/>
                <a:gd name="T9" fmla="*/ 1237 h 2820"/>
                <a:gd name="T10" fmla="*/ 3183 w 3330"/>
                <a:gd name="T11" fmla="*/ 1240 h 2820"/>
                <a:gd name="T12" fmla="*/ 3169 w 3330"/>
                <a:gd name="T13" fmla="*/ 1318 h 2820"/>
                <a:gd name="T14" fmla="*/ 3069 w 3330"/>
                <a:gd name="T15" fmla="*/ 1386 h 2820"/>
                <a:gd name="T16" fmla="*/ 3145 w 3330"/>
                <a:gd name="T17" fmla="*/ 1369 h 2820"/>
                <a:gd name="T18" fmla="*/ 3120 w 3330"/>
                <a:gd name="T19" fmla="*/ 1607 h 2820"/>
                <a:gd name="T20" fmla="*/ 2994 w 3330"/>
                <a:gd name="T21" fmla="*/ 1760 h 2820"/>
                <a:gd name="T22" fmla="*/ 2757 w 3330"/>
                <a:gd name="T23" fmla="*/ 2024 h 2820"/>
                <a:gd name="T24" fmla="*/ 2684 w 3330"/>
                <a:gd name="T25" fmla="*/ 2183 h 2820"/>
                <a:gd name="T26" fmla="*/ 2558 w 3330"/>
                <a:gd name="T27" fmla="*/ 2246 h 2820"/>
                <a:gd name="T28" fmla="*/ 2499 w 3330"/>
                <a:gd name="T29" fmla="*/ 2356 h 2820"/>
                <a:gd name="T30" fmla="*/ 2429 w 3330"/>
                <a:gd name="T31" fmla="*/ 2473 h 2820"/>
                <a:gd name="T32" fmla="*/ 2051 w 3330"/>
                <a:gd name="T33" fmla="*/ 2648 h 2820"/>
                <a:gd name="T34" fmla="*/ 1956 w 3330"/>
                <a:gd name="T35" fmla="*/ 2738 h 2820"/>
                <a:gd name="T36" fmla="*/ 1870 w 3330"/>
                <a:gd name="T37" fmla="*/ 2580 h 2820"/>
                <a:gd name="T38" fmla="*/ 1873 w 3330"/>
                <a:gd name="T39" fmla="*/ 2434 h 2820"/>
                <a:gd name="T40" fmla="*/ 1785 w 3330"/>
                <a:gd name="T41" fmla="*/ 2188 h 2820"/>
                <a:gd name="T42" fmla="*/ 1752 w 3330"/>
                <a:gd name="T43" fmla="*/ 2019 h 2820"/>
                <a:gd name="T44" fmla="*/ 1644 w 3330"/>
                <a:gd name="T45" fmla="*/ 1859 h 2820"/>
                <a:gd name="T46" fmla="*/ 1463 w 3330"/>
                <a:gd name="T47" fmla="*/ 1715 h 2820"/>
                <a:gd name="T48" fmla="*/ 1256 w 3330"/>
                <a:gd name="T49" fmla="*/ 1602 h 2820"/>
                <a:gd name="T50" fmla="*/ 1110 w 3330"/>
                <a:gd name="T51" fmla="*/ 1515 h 2820"/>
                <a:gd name="T52" fmla="*/ 941 w 3330"/>
                <a:gd name="T53" fmla="*/ 1433 h 2820"/>
                <a:gd name="T54" fmla="*/ 763 w 3330"/>
                <a:gd name="T55" fmla="*/ 1440 h 2820"/>
                <a:gd name="T56" fmla="*/ 677 w 3330"/>
                <a:gd name="T57" fmla="*/ 1363 h 2820"/>
                <a:gd name="T58" fmla="*/ 571 w 3330"/>
                <a:gd name="T59" fmla="*/ 1385 h 2820"/>
                <a:gd name="T60" fmla="*/ 427 w 3330"/>
                <a:gd name="T61" fmla="*/ 1275 h 2820"/>
                <a:gd name="T62" fmla="*/ 107 w 3330"/>
                <a:gd name="T63" fmla="*/ 1133 h 2820"/>
                <a:gd name="T64" fmla="*/ 256 w 3330"/>
                <a:gd name="T65" fmla="*/ 988 h 2820"/>
                <a:gd name="T66" fmla="*/ 498 w 3330"/>
                <a:gd name="T67" fmla="*/ 897 h 2820"/>
                <a:gd name="T68" fmla="*/ 674 w 3330"/>
                <a:gd name="T69" fmla="*/ 767 h 2820"/>
                <a:gd name="T70" fmla="*/ 824 w 3330"/>
                <a:gd name="T71" fmla="*/ 686 h 2820"/>
                <a:gd name="T72" fmla="*/ 1066 w 3330"/>
                <a:gd name="T73" fmla="*/ 647 h 2820"/>
                <a:gd name="T74" fmla="*/ 1323 w 3330"/>
                <a:gd name="T75" fmla="*/ 576 h 2820"/>
                <a:gd name="T76" fmla="*/ 1581 w 3330"/>
                <a:gd name="T77" fmla="*/ 557 h 2820"/>
                <a:gd name="T78" fmla="*/ 1871 w 3330"/>
                <a:gd name="T79" fmla="*/ 456 h 2820"/>
                <a:gd name="T80" fmla="*/ 2111 w 3330"/>
                <a:gd name="T81" fmla="*/ 361 h 2820"/>
                <a:gd name="T82" fmla="*/ 2271 w 3330"/>
                <a:gd name="T83" fmla="*/ 251 h 2820"/>
                <a:gd name="T84" fmla="*/ 2475 w 3330"/>
                <a:gd name="T85" fmla="*/ 179 h 2820"/>
                <a:gd name="T86" fmla="*/ 2686 w 3330"/>
                <a:gd name="T87" fmla="*/ 42 h 2820"/>
                <a:gd name="T88" fmla="*/ 2942 w 3330"/>
                <a:gd name="T89" fmla="*/ 6 h 2820"/>
                <a:gd name="T90" fmla="*/ 3092 w 3330"/>
                <a:gd name="T91" fmla="*/ 93 h 2820"/>
                <a:gd name="T92" fmla="*/ 3103 w 3330"/>
                <a:gd name="T93" fmla="*/ 201 h 2820"/>
                <a:gd name="T94" fmla="*/ 3152 w 3330"/>
                <a:gd name="T95" fmla="*/ 442 h 2820"/>
                <a:gd name="T96" fmla="*/ 3141 w 3330"/>
                <a:gd name="T97" fmla="*/ 553 h 2820"/>
                <a:gd name="T98" fmla="*/ 3106 w 3330"/>
                <a:gd name="T99" fmla="*/ 632 h 2820"/>
                <a:gd name="T100" fmla="*/ 3133 w 3330"/>
                <a:gd name="T101" fmla="*/ 658 h 2820"/>
                <a:gd name="T102" fmla="*/ 3194 w 3330"/>
                <a:gd name="T103" fmla="*/ 605 h 2820"/>
                <a:gd name="T104" fmla="*/ 3162 w 3330"/>
                <a:gd name="T105" fmla="*/ 710 h 2820"/>
                <a:gd name="T106" fmla="*/ 3176 w 3330"/>
                <a:gd name="T107" fmla="*/ 838 h 2820"/>
                <a:gd name="T108" fmla="*/ 3151 w 3330"/>
                <a:gd name="T109" fmla="*/ 933 h 2820"/>
                <a:gd name="T110" fmla="*/ 3219 w 3330"/>
                <a:gd name="T111" fmla="*/ 805 h 2820"/>
                <a:gd name="T112" fmla="*/ 3268 w 3330"/>
                <a:gd name="T113" fmla="*/ 888 h 2820"/>
                <a:gd name="T114" fmla="*/ 2572 w 3330"/>
                <a:gd name="T115" fmla="*/ 2393 h 2820"/>
                <a:gd name="T116" fmla="*/ 2539 w 3330"/>
                <a:gd name="T117" fmla="*/ 2311 h 2820"/>
                <a:gd name="T118" fmla="*/ 2598 w 3330"/>
                <a:gd name="T119" fmla="*/ 2312 h 2820"/>
                <a:gd name="T120" fmla="*/ 3316 w 3330"/>
                <a:gd name="T121" fmla="*/ 1145 h 2820"/>
                <a:gd name="T122" fmla="*/ 3291 w 3330"/>
                <a:gd name="T123" fmla="*/ 1287 h 28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30"/>
                <a:gd name="T187" fmla="*/ 0 h 2820"/>
                <a:gd name="T188" fmla="*/ 3330 w 3330"/>
                <a:gd name="T189" fmla="*/ 2820 h 28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30" h="2820">
                  <a:moveTo>
                    <a:pt x="1920" y="2807"/>
                  </a:moveTo>
                  <a:lnTo>
                    <a:pt x="1920" y="2813"/>
                  </a:lnTo>
                  <a:lnTo>
                    <a:pt x="1916" y="2820"/>
                  </a:lnTo>
                  <a:lnTo>
                    <a:pt x="1912" y="2820"/>
                  </a:lnTo>
                  <a:lnTo>
                    <a:pt x="1904" y="2817"/>
                  </a:lnTo>
                  <a:lnTo>
                    <a:pt x="1902" y="2816"/>
                  </a:lnTo>
                  <a:lnTo>
                    <a:pt x="1902" y="2813"/>
                  </a:lnTo>
                  <a:lnTo>
                    <a:pt x="1905" y="2812"/>
                  </a:lnTo>
                  <a:lnTo>
                    <a:pt x="1904" y="2807"/>
                  </a:lnTo>
                  <a:lnTo>
                    <a:pt x="1904" y="2802"/>
                  </a:lnTo>
                  <a:lnTo>
                    <a:pt x="1909" y="2802"/>
                  </a:lnTo>
                  <a:lnTo>
                    <a:pt x="1916" y="2807"/>
                  </a:lnTo>
                  <a:lnTo>
                    <a:pt x="1920" y="2807"/>
                  </a:lnTo>
                  <a:close/>
                  <a:moveTo>
                    <a:pt x="3323" y="892"/>
                  </a:moveTo>
                  <a:lnTo>
                    <a:pt x="3321" y="904"/>
                  </a:lnTo>
                  <a:lnTo>
                    <a:pt x="3318" y="909"/>
                  </a:lnTo>
                  <a:lnTo>
                    <a:pt x="3316" y="922"/>
                  </a:lnTo>
                  <a:lnTo>
                    <a:pt x="3313" y="930"/>
                  </a:lnTo>
                  <a:lnTo>
                    <a:pt x="3308" y="936"/>
                  </a:lnTo>
                  <a:lnTo>
                    <a:pt x="3305" y="936"/>
                  </a:lnTo>
                  <a:lnTo>
                    <a:pt x="3304" y="939"/>
                  </a:lnTo>
                  <a:lnTo>
                    <a:pt x="3299" y="941"/>
                  </a:lnTo>
                  <a:lnTo>
                    <a:pt x="3298" y="950"/>
                  </a:lnTo>
                  <a:lnTo>
                    <a:pt x="3299" y="954"/>
                  </a:lnTo>
                  <a:lnTo>
                    <a:pt x="3301" y="955"/>
                  </a:lnTo>
                  <a:lnTo>
                    <a:pt x="3301" y="958"/>
                  </a:lnTo>
                  <a:lnTo>
                    <a:pt x="3304" y="959"/>
                  </a:lnTo>
                  <a:lnTo>
                    <a:pt x="3304" y="963"/>
                  </a:lnTo>
                  <a:lnTo>
                    <a:pt x="3311" y="972"/>
                  </a:lnTo>
                  <a:lnTo>
                    <a:pt x="3313" y="972"/>
                  </a:lnTo>
                  <a:lnTo>
                    <a:pt x="3315" y="972"/>
                  </a:lnTo>
                  <a:lnTo>
                    <a:pt x="3319" y="972"/>
                  </a:lnTo>
                  <a:lnTo>
                    <a:pt x="3321" y="972"/>
                  </a:lnTo>
                  <a:lnTo>
                    <a:pt x="3323" y="976"/>
                  </a:lnTo>
                  <a:lnTo>
                    <a:pt x="3323" y="979"/>
                  </a:lnTo>
                  <a:lnTo>
                    <a:pt x="3324" y="980"/>
                  </a:lnTo>
                  <a:lnTo>
                    <a:pt x="3329" y="993"/>
                  </a:lnTo>
                  <a:lnTo>
                    <a:pt x="3326" y="1006"/>
                  </a:lnTo>
                  <a:lnTo>
                    <a:pt x="3327" y="1010"/>
                  </a:lnTo>
                  <a:lnTo>
                    <a:pt x="3327" y="1017"/>
                  </a:lnTo>
                  <a:lnTo>
                    <a:pt x="3329" y="1017"/>
                  </a:lnTo>
                  <a:lnTo>
                    <a:pt x="3327" y="1023"/>
                  </a:lnTo>
                  <a:lnTo>
                    <a:pt x="3329" y="1030"/>
                  </a:lnTo>
                  <a:lnTo>
                    <a:pt x="3327" y="1033"/>
                  </a:lnTo>
                  <a:lnTo>
                    <a:pt x="3329" y="1034"/>
                  </a:lnTo>
                  <a:lnTo>
                    <a:pt x="3329" y="1043"/>
                  </a:lnTo>
                  <a:lnTo>
                    <a:pt x="3327" y="1072"/>
                  </a:lnTo>
                  <a:lnTo>
                    <a:pt x="3326" y="1072"/>
                  </a:lnTo>
                  <a:lnTo>
                    <a:pt x="3326" y="1066"/>
                  </a:lnTo>
                  <a:lnTo>
                    <a:pt x="3324" y="1066"/>
                  </a:lnTo>
                  <a:lnTo>
                    <a:pt x="3323" y="1066"/>
                  </a:lnTo>
                  <a:lnTo>
                    <a:pt x="3323" y="1068"/>
                  </a:lnTo>
                  <a:lnTo>
                    <a:pt x="3322" y="1068"/>
                  </a:lnTo>
                  <a:lnTo>
                    <a:pt x="3319" y="1068"/>
                  </a:lnTo>
                  <a:lnTo>
                    <a:pt x="3316" y="1075"/>
                  </a:lnTo>
                  <a:lnTo>
                    <a:pt x="3318" y="1082"/>
                  </a:lnTo>
                  <a:lnTo>
                    <a:pt x="3313" y="1085"/>
                  </a:lnTo>
                  <a:lnTo>
                    <a:pt x="3312" y="1088"/>
                  </a:lnTo>
                  <a:lnTo>
                    <a:pt x="3315" y="1097"/>
                  </a:lnTo>
                  <a:lnTo>
                    <a:pt x="3319" y="1097"/>
                  </a:lnTo>
                  <a:lnTo>
                    <a:pt x="3322" y="1100"/>
                  </a:lnTo>
                  <a:lnTo>
                    <a:pt x="3321" y="1095"/>
                  </a:lnTo>
                  <a:lnTo>
                    <a:pt x="3322" y="1095"/>
                  </a:lnTo>
                  <a:lnTo>
                    <a:pt x="3324" y="1092"/>
                  </a:lnTo>
                  <a:lnTo>
                    <a:pt x="3326" y="1092"/>
                  </a:lnTo>
                  <a:lnTo>
                    <a:pt x="3326" y="1105"/>
                  </a:lnTo>
                  <a:lnTo>
                    <a:pt x="3327" y="1105"/>
                  </a:lnTo>
                  <a:lnTo>
                    <a:pt x="3324" y="1118"/>
                  </a:lnTo>
                  <a:lnTo>
                    <a:pt x="3323" y="1120"/>
                  </a:lnTo>
                  <a:lnTo>
                    <a:pt x="3323" y="1110"/>
                  </a:lnTo>
                  <a:lnTo>
                    <a:pt x="3319" y="1109"/>
                  </a:lnTo>
                  <a:lnTo>
                    <a:pt x="3313" y="1110"/>
                  </a:lnTo>
                  <a:lnTo>
                    <a:pt x="3309" y="1113"/>
                  </a:lnTo>
                  <a:lnTo>
                    <a:pt x="3305" y="1118"/>
                  </a:lnTo>
                  <a:lnTo>
                    <a:pt x="3304" y="1126"/>
                  </a:lnTo>
                  <a:lnTo>
                    <a:pt x="3299" y="1124"/>
                  </a:lnTo>
                  <a:lnTo>
                    <a:pt x="3288" y="1124"/>
                  </a:lnTo>
                  <a:lnTo>
                    <a:pt x="3276" y="1128"/>
                  </a:lnTo>
                  <a:lnTo>
                    <a:pt x="3270" y="1135"/>
                  </a:lnTo>
                  <a:lnTo>
                    <a:pt x="3272" y="1137"/>
                  </a:lnTo>
                  <a:lnTo>
                    <a:pt x="3274" y="1137"/>
                  </a:lnTo>
                  <a:lnTo>
                    <a:pt x="3262" y="1149"/>
                  </a:lnTo>
                  <a:lnTo>
                    <a:pt x="3259" y="1146"/>
                  </a:lnTo>
                  <a:lnTo>
                    <a:pt x="3251" y="1150"/>
                  </a:lnTo>
                  <a:lnTo>
                    <a:pt x="3247" y="1150"/>
                  </a:lnTo>
                  <a:lnTo>
                    <a:pt x="3241" y="1153"/>
                  </a:lnTo>
                  <a:lnTo>
                    <a:pt x="3236" y="1158"/>
                  </a:lnTo>
                  <a:lnTo>
                    <a:pt x="3223" y="1159"/>
                  </a:lnTo>
                  <a:lnTo>
                    <a:pt x="3215" y="1167"/>
                  </a:lnTo>
                  <a:lnTo>
                    <a:pt x="3212" y="1167"/>
                  </a:lnTo>
                  <a:lnTo>
                    <a:pt x="3209" y="1169"/>
                  </a:lnTo>
                  <a:lnTo>
                    <a:pt x="3205" y="1169"/>
                  </a:lnTo>
                  <a:lnTo>
                    <a:pt x="3201" y="1171"/>
                  </a:lnTo>
                  <a:lnTo>
                    <a:pt x="3194" y="1171"/>
                  </a:lnTo>
                  <a:lnTo>
                    <a:pt x="3182" y="1172"/>
                  </a:lnTo>
                  <a:lnTo>
                    <a:pt x="3179" y="1172"/>
                  </a:lnTo>
                  <a:lnTo>
                    <a:pt x="3187" y="1169"/>
                  </a:lnTo>
                  <a:lnTo>
                    <a:pt x="3188" y="1163"/>
                  </a:lnTo>
                  <a:lnTo>
                    <a:pt x="3183" y="1159"/>
                  </a:lnTo>
                  <a:lnTo>
                    <a:pt x="3183" y="1149"/>
                  </a:lnTo>
                  <a:lnTo>
                    <a:pt x="3177" y="1145"/>
                  </a:lnTo>
                  <a:lnTo>
                    <a:pt x="3176" y="1141"/>
                  </a:lnTo>
                  <a:lnTo>
                    <a:pt x="3173" y="1140"/>
                  </a:lnTo>
                  <a:lnTo>
                    <a:pt x="3170" y="1128"/>
                  </a:lnTo>
                  <a:lnTo>
                    <a:pt x="3172" y="1122"/>
                  </a:lnTo>
                  <a:lnTo>
                    <a:pt x="3177" y="1122"/>
                  </a:lnTo>
                  <a:lnTo>
                    <a:pt x="3177" y="1120"/>
                  </a:lnTo>
                  <a:lnTo>
                    <a:pt x="3170" y="1122"/>
                  </a:lnTo>
                  <a:lnTo>
                    <a:pt x="3168" y="1124"/>
                  </a:lnTo>
                  <a:lnTo>
                    <a:pt x="3166" y="1126"/>
                  </a:lnTo>
                  <a:lnTo>
                    <a:pt x="3166" y="1130"/>
                  </a:lnTo>
                  <a:lnTo>
                    <a:pt x="3165" y="1135"/>
                  </a:lnTo>
                  <a:lnTo>
                    <a:pt x="3166" y="1135"/>
                  </a:lnTo>
                  <a:lnTo>
                    <a:pt x="3165" y="1137"/>
                  </a:lnTo>
                  <a:lnTo>
                    <a:pt x="3166" y="1137"/>
                  </a:lnTo>
                  <a:lnTo>
                    <a:pt x="3166" y="1141"/>
                  </a:lnTo>
                  <a:lnTo>
                    <a:pt x="3165" y="1141"/>
                  </a:lnTo>
                  <a:lnTo>
                    <a:pt x="3169" y="1146"/>
                  </a:lnTo>
                  <a:lnTo>
                    <a:pt x="3169" y="1150"/>
                  </a:lnTo>
                  <a:lnTo>
                    <a:pt x="3174" y="1153"/>
                  </a:lnTo>
                  <a:lnTo>
                    <a:pt x="3177" y="1155"/>
                  </a:lnTo>
                  <a:lnTo>
                    <a:pt x="3174" y="1163"/>
                  </a:lnTo>
                  <a:lnTo>
                    <a:pt x="3176" y="1180"/>
                  </a:lnTo>
                  <a:lnTo>
                    <a:pt x="3179" y="1182"/>
                  </a:lnTo>
                  <a:lnTo>
                    <a:pt x="3190" y="1192"/>
                  </a:lnTo>
                  <a:lnTo>
                    <a:pt x="3208" y="1199"/>
                  </a:lnTo>
                  <a:lnTo>
                    <a:pt x="3215" y="1203"/>
                  </a:lnTo>
                  <a:lnTo>
                    <a:pt x="3220" y="1201"/>
                  </a:lnTo>
                  <a:lnTo>
                    <a:pt x="3220" y="1199"/>
                  </a:lnTo>
                  <a:lnTo>
                    <a:pt x="3213" y="1199"/>
                  </a:lnTo>
                  <a:lnTo>
                    <a:pt x="3210" y="1195"/>
                  </a:lnTo>
                  <a:lnTo>
                    <a:pt x="3212" y="1194"/>
                  </a:lnTo>
                  <a:lnTo>
                    <a:pt x="3209" y="1194"/>
                  </a:lnTo>
                  <a:lnTo>
                    <a:pt x="3209" y="1192"/>
                  </a:lnTo>
                  <a:lnTo>
                    <a:pt x="3215" y="1191"/>
                  </a:lnTo>
                  <a:lnTo>
                    <a:pt x="3223" y="1195"/>
                  </a:lnTo>
                  <a:lnTo>
                    <a:pt x="3227" y="1195"/>
                  </a:lnTo>
                  <a:lnTo>
                    <a:pt x="3232" y="1192"/>
                  </a:lnTo>
                  <a:lnTo>
                    <a:pt x="3237" y="1195"/>
                  </a:lnTo>
                  <a:lnTo>
                    <a:pt x="3245" y="1195"/>
                  </a:lnTo>
                  <a:lnTo>
                    <a:pt x="3249" y="1197"/>
                  </a:lnTo>
                  <a:lnTo>
                    <a:pt x="3249" y="1203"/>
                  </a:lnTo>
                  <a:lnTo>
                    <a:pt x="3255" y="1221"/>
                  </a:lnTo>
                  <a:lnTo>
                    <a:pt x="3258" y="1225"/>
                  </a:lnTo>
                  <a:lnTo>
                    <a:pt x="3262" y="1231"/>
                  </a:lnTo>
                  <a:lnTo>
                    <a:pt x="3268" y="1238"/>
                  </a:lnTo>
                  <a:lnTo>
                    <a:pt x="3279" y="1244"/>
                  </a:lnTo>
                  <a:lnTo>
                    <a:pt x="3279" y="1248"/>
                  </a:lnTo>
                  <a:lnTo>
                    <a:pt x="3276" y="1251"/>
                  </a:lnTo>
                  <a:lnTo>
                    <a:pt x="3276" y="1256"/>
                  </a:lnTo>
                  <a:lnTo>
                    <a:pt x="3272" y="1261"/>
                  </a:lnTo>
                  <a:lnTo>
                    <a:pt x="3270" y="1250"/>
                  </a:lnTo>
                  <a:lnTo>
                    <a:pt x="3266" y="1249"/>
                  </a:lnTo>
                  <a:lnTo>
                    <a:pt x="3258" y="1249"/>
                  </a:lnTo>
                  <a:lnTo>
                    <a:pt x="3258" y="1251"/>
                  </a:lnTo>
                  <a:lnTo>
                    <a:pt x="3255" y="1253"/>
                  </a:lnTo>
                  <a:lnTo>
                    <a:pt x="3252" y="1257"/>
                  </a:lnTo>
                  <a:lnTo>
                    <a:pt x="3252" y="1253"/>
                  </a:lnTo>
                  <a:lnTo>
                    <a:pt x="3255" y="1249"/>
                  </a:lnTo>
                  <a:lnTo>
                    <a:pt x="3259" y="1246"/>
                  </a:lnTo>
                  <a:lnTo>
                    <a:pt x="3261" y="1242"/>
                  </a:lnTo>
                  <a:lnTo>
                    <a:pt x="3263" y="1242"/>
                  </a:lnTo>
                  <a:lnTo>
                    <a:pt x="3261" y="1240"/>
                  </a:lnTo>
                  <a:lnTo>
                    <a:pt x="3259" y="1240"/>
                  </a:lnTo>
                  <a:lnTo>
                    <a:pt x="3257" y="1246"/>
                  </a:lnTo>
                  <a:lnTo>
                    <a:pt x="3257" y="1244"/>
                  </a:lnTo>
                  <a:lnTo>
                    <a:pt x="3255" y="1244"/>
                  </a:lnTo>
                  <a:lnTo>
                    <a:pt x="3251" y="1249"/>
                  </a:lnTo>
                  <a:lnTo>
                    <a:pt x="3254" y="1244"/>
                  </a:lnTo>
                  <a:lnTo>
                    <a:pt x="3252" y="1242"/>
                  </a:lnTo>
                  <a:lnTo>
                    <a:pt x="3251" y="1244"/>
                  </a:lnTo>
                  <a:lnTo>
                    <a:pt x="3251" y="1240"/>
                  </a:lnTo>
                  <a:lnTo>
                    <a:pt x="3249" y="1242"/>
                  </a:lnTo>
                  <a:lnTo>
                    <a:pt x="3247" y="1242"/>
                  </a:lnTo>
                  <a:lnTo>
                    <a:pt x="3245" y="1248"/>
                  </a:lnTo>
                  <a:lnTo>
                    <a:pt x="3245" y="1240"/>
                  </a:lnTo>
                  <a:lnTo>
                    <a:pt x="3241" y="1240"/>
                  </a:lnTo>
                  <a:lnTo>
                    <a:pt x="3240" y="1242"/>
                  </a:lnTo>
                  <a:lnTo>
                    <a:pt x="3237" y="1242"/>
                  </a:lnTo>
                  <a:lnTo>
                    <a:pt x="3232" y="1242"/>
                  </a:lnTo>
                  <a:lnTo>
                    <a:pt x="3227" y="1240"/>
                  </a:lnTo>
                  <a:lnTo>
                    <a:pt x="3215" y="1242"/>
                  </a:lnTo>
                  <a:lnTo>
                    <a:pt x="3215" y="1240"/>
                  </a:lnTo>
                  <a:lnTo>
                    <a:pt x="3209" y="1240"/>
                  </a:lnTo>
                  <a:lnTo>
                    <a:pt x="3208" y="1244"/>
                  </a:lnTo>
                  <a:lnTo>
                    <a:pt x="3202" y="1244"/>
                  </a:lnTo>
                  <a:lnTo>
                    <a:pt x="3201" y="1240"/>
                  </a:lnTo>
                  <a:lnTo>
                    <a:pt x="3198" y="1242"/>
                  </a:lnTo>
                  <a:lnTo>
                    <a:pt x="3198" y="1238"/>
                  </a:lnTo>
                  <a:lnTo>
                    <a:pt x="3201" y="1237"/>
                  </a:lnTo>
                  <a:lnTo>
                    <a:pt x="3201" y="1234"/>
                  </a:lnTo>
                  <a:lnTo>
                    <a:pt x="3195" y="1234"/>
                  </a:lnTo>
                  <a:lnTo>
                    <a:pt x="3194" y="1234"/>
                  </a:lnTo>
                  <a:lnTo>
                    <a:pt x="3188" y="1224"/>
                  </a:lnTo>
                  <a:lnTo>
                    <a:pt x="3184" y="1221"/>
                  </a:lnTo>
                  <a:lnTo>
                    <a:pt x="3176" y="1224"/>
                  </a:lnTo>
                  <a:lnTo>
                    <a:pt x="3172" y="1224"/>
                  </a:lnTo>
                  <a:lnTo>
                    <a:pt x="3170" y="1221"/>
                  </a:lnTo>
                  <a:lnTo>
                    <a:pt x="3172" y="1217"/>
                  </a:lnTo>
                  <a:lnTo>
                    <a:pt x="3169" y="1215"/>
                  </a:lnTo>
                  <a:lnTo>
                    <a:pt x="3168" y="1216"/>
                  </a:lnTo>
                  <a:lnTo>
                    <a:pt x="3166" y="1221"/>
                  </a:lnTo>
                  <a:lnTo>
                    <a:pt x="3166" y="1226"/>
                  </a:lnTo>
                  <a:lnTo>
                    <a:pt x="3168" y="1226"/>
                  </a:lnTo>
                  <a:lnTo>
                    <a:pt x="3170" y="1231"/>
                  </a:lnTo>
                  <a:lnTo>
                    <a:pt x="3177" y="1229"/>
                  </a:lnTo>
                  <a:lnTo>
                    <a:pt x="3179" y="1231"/>
                  </a:lnTo>
                  <a:lnTo>
                    <a:pt x="3173" y="1237"/>
                  </a:lnTo>
                  <a:lnTo>
                    <a:pt x="3169" y="1238"/>
                  </a:lnTo>
                  <a:lnTo>
                    <a:pt x="3162" y="1234"/>
                  </a:lnTo>
                  <a:lnTo>
                    <a:pt x="3159" y="1234"/>
                  </a:lnTo>
                  <a:lnTo>
                    <a:pt x="3155" y="1240"/>
                  </a:lnTo>
                  <a:lnTo>
                    <a:pt x="3152" y="1244"/>
                  </a:lnTo>
                  <a:lnTo>
                    <a:pt x="3154" y="1244"/>
                  </a:lnTo>
                  <a:lnTo>
                    <a:pt x="3155" y="1244"/>
                  </a:lnTo>
                  <a:lnTo>
                    <a:pt x="3159" y="1238"/>
                  </a:lnTo>
                  <a:lnTo>
                    <a:pt x="3168" y="1240"/>
                  </a:lnTo>
                  <a:lnTo>
                    <a:pt x="3176" y="1244"/>
                  </a:lnTo>
                  <a:lnTo>
                    <a:pt x="3179" y="1250"/>
                  </a:lnTo>
                  <a:lnTo>
                    <a:pt x="3179" y="1253"/>
                  </a:lnTo>
                  <a:lnTo>
                    <a:pt x="3182" y="1253"/>
                  </a:lnTo>
                  <a:lnTo>
                    <a:pt x="3182" y="1257"/>
                  </a:lnTo>
                  <a:lnTo>
                    <a:pt x="3184" y="1259"/>
                  </a:lnTo>
                  <a:lnTo>
                    <a:pt x="3185" y="1257"/>
                  </a:lnTo>
                  <a:lnTo>
                    <a:pt x="3184" y="1253"/>
                  </a:lnTo>
                  <a:lnTo>
                    <a:pt x="3184" y="1250"/>
                  </a:lnTo>
                  <a:lnTo>
                    <a:pt x="3182" y="1244"/>
                  </a:lnTo>
                  <a:lnTo>
                    <a:pt x="3183" y="1240"/>
                  </a:lnTo>
                  <a:lnTo>
                    <a:pt x="3185" y="1250"/>
                  </a:lnTo>
                  <a:lnTo>
                    <a:pt x="3188" y="1251"/>
                  </a:lnTo>
                  <a:lnTo>
                    <a:pt x="3193" y="1257"/>
                  </a:lnTo>
                  <a:lnTo>
                    <a:pt x="3197" y="1263"/>
                  </a:lnTo>
                  <a:lnTo>
                    <a:pt x="3207" y="1270"/>
                  </a:lnTo>
                  <a:lnTo>
                    <a:pt x="3209" y="1273"/>
                  </a:lnTo>
                  <a:lnTo>
                    <a:pt x="3212" y="1273"/>
                  </a:lnTo>
                  <a:lnTo>
                    <a:pt x="3215" y="1275"/>
                  </a:lnTo>
                  <a:lnTo>
                    <a:pt x="3215" y="1283"/>
                  </a:lnTo>
                  <a:lnTo>
                    <a:pt x="3218" y="1284"/>
                  </a:lnTo>
                  <a:lnTo>
                    <a:pt x="3213" y="1287"/>
                  </a:lnTo>
                  <a:lnTo>
                    <a:pt x="3213" y="1291"/>
                  </a:lnTo>
                  <a:lnTo>
                    <a:pt x="3219" y="1300"/>
                  </a:lnTo>
                  <a:lnTo>
                    <a:pt x="3223" y="1301"/>
                  </a:lnTo>
                  <a:lnTo>
                    <a:pt x="3227" y="1307"/>
                  </a:lnTo>
                  <a:lnTo>
                    <a:pt x="3229" y="1309"/>
                  </a:lnTo>
                  <a:lnTo>
                    <a:pt x="3226" y="1313"/>
                  </a:lnTo>
                  <a:lnTo>
                    <a:pt x="3229" y="1315"/>
                  </a:lnTo>
                  <a:lnTo>
                    <a:pt x="3224" y="1319"/>
                  </a:lnTo>
                  <a:lnTo>
                    <a:pt x="3219" y="1319"/>
                  </a:lnTo>
                  <a:lnTo>
                    <a:pt x="3212" y="1323"/>
                  </a:lnTo>
                  <a:lnTo>
                    <a:pt x="3208" y="1321"/>
                  </a:lnTo>
                  <a:lnTo>
                    <a:pt x="3199" y="1323"/>
                  </a:lnTo>
                  <a:lnTo>
                    <a:pt x="3195" y="1324"/>
                  </a:lnTo>
                  <a:lnTo>
                    <a:pt x="3190" y="1324"/>
                  </a:lnTo>
                  <a:lnTo>
                    <a:pt x="3191" y="1324"/>
                  </a:lnTo>
                  <a:lnTo>
                    <a:pt x="3190" y="1323"/>
                  </a:lnTo>
                  <a:lnTo>
                    <a:pt x="3187" y="1324"/>
                  </a:lnTo>
                  <a:lnTo>
                    <a:pt x="3185" y="1324"/>
                  </a:lnTo>
                  <a:lnTo>
                    <a:pt x="3187" y="1324"/>
                  </a:lnTo>
                  <a:lnTo>
                    <a:pt x="3185" y="1321"/>
                  </a:lnTo>
                  <a:lnTo>
                    <a:pt x="3180" y="1323"/>
                  </a:lnTo>
                  <a:lnTo>
                    <a:pt x="3182" y="1321"/>
                  </a:lnTo>
                  <a:lnTo>
                    <a:pt x="3182" y="1320"/>
                  </a:lnTo>
                  <a:lnTo>
                    <a:pt x="3179" y="1320"/>
                  </a:lnTo>
                  <a:lnTo>
                    <a:pt x="3176" y="1321"/>
                  </a:lnTo>
                  <a:lnTo>
                    <a:pt x="3173" y="1321"/>
                  </a:lnTo>
                  <a:lnTo>
                    <a:pt x="3169" y="1318"/>
                  </a:lnTo>
                  <a:lnTo>
                    <a:pt x="3165" y="1319"/>
                  </a:lnTo>
                  <a:lnTo>
                    <a:pt x="3159" y="1321"/>
                  </a:lnTo>
                  <a:lnTo>
                    <a:pt x="3154" y="1328"/>
                  </a:lnTo>
                  <a:lnTo>
                    <a:pt x="3151" y="1333"/>
                  </a:lnTo>
                  <a:lnTo>
                    <a:pt x="3145" y="1336"/>
                  </a:lnTo>
                  <a:lnTo>
                    <a:pt x="3143" y="1340"/>
                  </a:lnTo>
                  <a:lnTo>
                    <a:pt x="3140" y="1340"/>
                  </a:lnTo>
                  <a:lnTo>
                    <a:pt x="3138" y="1343"/>
                  </a:lnTo>
                  <a:lnTo>
                    <a:pt x="3137" y="1346"/>
                  </a:lnTo>
                  <a:lnTo>
                    <a:pt x="3134" y="1346"/>
                  </a:lnTo>
                  <a:lnTo>
                    <a:pt x="3134" y="1350"/>
                  </a:lnTo>
                  <a:lnTo>
                    <a:pt x="3129" y="1353"/>
                  </a:lnTo>
                  <a:lnTo>
                    <a:pt x="3126" y="1357"/>
                  </a:lnTo>
                  <a:lnTo>
                    <a:pt x="3124" y="1360"/>
                  </a:lnTo>
                  <a:lnTo>
                    <a:pt x="3123" y="1363"/>
                  </a:lnTo>
                  <a:lnTo>
                    <a:pt x="3122" y="1362"/>
                  </a:lnTo>
                  <a:lnTo>
                    <a:pt x="3120" y="1360"/>
                  </a:lnTo>
                  <a:lnTo>
                    <a:pt x="3117" y="1360"/>
                  </a:lnTo>
                  <a:lnTo>
                    <a:pt x="3115" y="1356"/>
                  </a:lnTo>
                  <a:lnTo>
                    <a:pt x="3110" y="1354"/>
                  </a:lnTo>
                  <a:lnTo>
                    <a:pt x="3109" y="1350"/>
                  </a:lnTo>
                  <a:lnTo>
                    <a:pt x="3105" y="1346"/>
                  </a:lnTo>
                  <a:lnTo>
                    <a:pt x="3094" y="1346"/>
                  </a:lnTo>
                  <a:lnTo>
                    <a:pt x="3089" y="1356"/>
                  </a:lnTo>
                  <a:lnTo>
                    <a:pt x="3088" y="1350"/>
                  </a:lnTo>
                  <a:lnTo>
                    <a:pt x="3084" y="1346"/>
                  </a:lnTo>
                  <a:lnTo>
                    <a:pt x="3078" y="1350"/>
                  </a:lnTo>
                  <a:lnTo>
                    <a:pt x="3076" y="1354"/>
                  </a:lnTo>
                  <a:lnTo>
                    <a:pt x="3076" y="1358"/>
                  </a:lnTo>
                  <a:lnTo>
                    <a:pt x="3077" y="1362"/>
                  </a:lnTo>
                  <a:lnTo>
                    <a:pt x="3076" y="1369"/>
                  </a:lnTo>
                  <a:lnTo>
                    <a:pt x="3074" y="1373"/>
                  </a:lnTo>
                  <a:lnTo>
                    <a:pt x="3072" y="1373"/>
                  </a:lnTo>
                  <a:lnTo>
                    <a:pt x="3070" y="1375"/>
                  </a:lnTo>
                  <a:lnTo>
                    <a:pt x="3070" y="1377"/>
                  </a:lnTo>
                  <a:lnTo>
                    <a:pt x="3073" y="1377"/>
                  </a:lnTo>
                  <a:lnTo>
                    <a:pt x="3072" y="1385"/>
                  </a:lnTo>
                  <a:lnTo>
                    <a:pt x="3069" y="1386"/>
                  </a:lnTo>
                  <a:lnTo>
                    <a:pt x="3066" y="1382"/>
                  </a:lnTo>
                  <a:lnTo>
                    <a:pt x="3064" y="1386"/>
                  </a:lnTo>
                  <a:lnTo>
                    <a:pt x="3063" y="1382"/>
                  </a:lnTo>
                  <a:lnTo>
                    <a:pt x="3059" y="1382"/>
                  </a:lnTo>
                  <a:lnTo>
                    <a:pt x="3059" y="1390"/>
                  </a:lnTo>
                  <a:lnTo>
                    <a:pt x="3060" y="1391"/>
                  </a:lnTo>
                  <a:lnTo>
                    <a:pt x="3058" y="1393"/>
                  </a:lnTo>
                  <a:lnTo>
                    <a:pt x="3056" y="1394"/>
                  </a:lnTo>
                  <a:lnTo>
                    <a:pt x="3058" y="1395"/>
                  </a:lnTo>
                  <a:lnTo>
                    <a:pt x="3056" y="1395"/>
                  </a:lnTo>
                  <a:lnTo>
                    <a:pt x="3056" y="1399"/>
                  </a:lnTo>
                  <a:lnTo>
                    <a:pt x="3059" y="1399"/>
                  </a:lnTo>
                  <a:lnTo>
                    <a:pt x="3059" y="1402"/>
                  </a:lnTo>
                  <a:lnTo>
                    <a:pt x="3060" y="1405"/>
                  </a:lnTo>
                  <a:lnTo>
                    <a:pt x="3063" y="1405"/>
                  </a:lnTo>
                  <a:lnTo>
                    <a:pt x="3062" y="1402"/>
                  </a:lnTo>
                  <a:lnTo>
                    <a:pt x="3064" y="1394"/>
                  </a:lnTo>
                  <a:lnTo>
                    <a:pt x="3069" y="1391"/>
                  </a:lnTo>
                  <a:lnTo>
                    <a:pt x="3076" y="1402"/>
                  </a:lnTo>
                  <a:lnTo>
                    <a:pt x="3077" y="1403"/>
                  </a:lnTo>
                  <a:lnTo>
                    <a:pt x="3083" y="1405"/>
                  </a:lnTo>
                  <a:lnTo>
                    <a:pt x="3088" y="1405"/>
                  </a:lnTo>
                  <a:lnTo>
                    <a:pt x="3092" y="1407"/>
                  </a:lnTo>
                  <a:lnTo>
                    <a:pt x="3094" y="1405"/>
                  </a:lnTo>
                  <a:lnTo>
                    <a:pt x="3103" y="1408"/>
                  </a:lnTo>
                  <a:lnTo>
                    <a:pt x="3110" y="1411"/>
                  </a:lnTo>
                  <a:lnTo>
                    <a:pt x="3113" y="1408"/>
                  </a:lnTo>
                  <a:lnTo>
                    <a:pt x="3115" y="1405"/>
                  </a:lnTo>
                  <a:lnTo>
                    <a:pt x="3124" y="1395"/>
                  </a:lnTo>
                  <a:lnTo>
                    <a:pt x="3131" y="1398"/>
                  </a:lnTo>
                  <a:lnTo>
                    <a:pt x="3134" y="1394"/>
                  </a:lnTo>
                  <a:lnTo>
                    <a:pt x="3133" y="1386"/>
                  </a:lnTo>
                  <a:lnTo>
                    <a:pt x="3127" y="1379"/>
                  </a:lnTo>
                  <a:lnTo>
                    <a:pt x="3133" y="1381"/>
                  </a:lnTo>
                  <a:lnTo>
                    <a:pt x="3137" y="1379"/>
                  </a:lnTo>
                  <a:lnTo>
                    <a:pt x="3141" y="1373"/>
                  </a:lnTo>
                  <a:lnTo>
                    <a:pt x="3143" y="1369"/>
                  </a:lnTo>
                  <a:lnTo>
                    <a:pt x="3145" y="1369"/>
                  </a:lnTo>
                  <a:lnTo>
                    <a:pt x="3151" y="1369"/>
                  </a:lnTo>
                  <a:lnTo>
                    <a:pt x="3149" y="1369"/>
                  </a:lnTo>
                  <a:lnTo>
                    <a:pt x="3147" y="1368"/>
                  </a:lnTo>
                  <a:lnTo>
                    <a:pt x="3147" y="1366"/>
                  </a:lnTo>
                  <a:lnTo>
                    <a:pt x="3152" y="1366"/>
                  </a:lnTo>
                  <a:lnTo>
                    <a:pt x="3152" y="1363"/>
                  </a:lnTo>
                  <a:lnTo>
                    <a:pt x="3159" y="1373"/>
                  </a:lnTo>
                  <a:lnTo>
                    <a:pt x="3166" y="1385"/>
                  </a:lnTo>
                  <a:lnTo>
                    <a:pt x="3169" y="1386"/>
                  </a:lnTo>
                  <a:lnTo>
                    <a:pt x="3174" y="1386"/>
                  </a:lnTo>
                  <a:lnTo>
                    <a:pt x="3187" y="1395"/>
                  </a:lnTo>
                  <a:lnTo>
                    <a:pt x="3188" y="1395"/>
                  </a:lnTo>
                  <a:lnTo>
                    <a:pt x="3190" y="1399"/>
                  </a:lnTo>
                  <a:lnTo>
                    <a:pt x="3190" y="1403"/>
                  </a:lnTo>
                  <a:lnTo>
                    <a:pt x="3191" y="1408"/>
                  </a:lnTo>
                  <a:lnTo>
                    <a:pt x="3191" y="1435"/>
                  </a:lnTo>
                  <a:lnTo>
                    <a:pt x="3194" y="1440"/>
                  </a:lnTo>
                  <a:lnTo>
                    <a:pt x="3202" y="1449"/>
                  </a:lnTo>
                  <a:lnTo>
                    <a:pt x="3202" y="1456"/>
                  </a:lnTo>
                  <a:lnTo>
                    <a:pt x="3201" y="1457"/>
                  </a:lnTo>
                  <a:lnTo>
                    <a:pt x="3197" y="1469"/>
                  </a:lnTo>
                  <a:lnTo>
                    <a:pt x="3180" y="1493"/>
                  </a:lnTo>
                  <a:lnTo>
                    <a:pt x="3168" y="1509"/>
                  </a:lnTo>
                  <a:lnTo>
                    <a:pt x="3165" y="1524"/>
                  </a:lnTo>
                  <a:lnTo>
                    <a:pt x="3160" y="1531"/>
                  </a:lnTo>
                  <a:lnTo>
                    <a:pt x="3162" y="1534"/>
                  </a:lnTo>
                  <a:lnTo>
                    <a:pt x="3158" y="1537"/>
                  </a:lnTo>
                  <a:lnTo>
                    <a:pt x="3152" y="1542"/>
                  </a:lnTo>
                  <a:lnTo>
                    <a:pt x="3131" y="1567"/>
                  </a:lnTo>
                  <a:lnTo>
                    <a:pt x="3127" y="1577"/>
                  </a:lnTo>
                  <a:lnTo>
                    <a:pt x="3123" y="1581"/>
                  </a:lnTo>
                  <a:lnTo>
                    <a:pt x="3124" y="1585"/>
                  </a:lnTo>
                  <a:lnTo>
                    <a:pt x="3122" y="1590"/>
                  </a:lnTo>
                  <a:lnTo>
                    <a:pt x="3120" y="1598"/>
                  </a:lnTo>
                  <a:lnTo>
                    <a:pt x="3119" y="1602"/>
                  </a:lnTo>
                  <a:lnTo>
                    <a:pt x="3119" y="1604"/>
                  </a:lnTo>
                  <a:lnTo>
                    <a:pt x="3120" y="1604"/>
                  </a:lnTo>
                  <a:lnTo>
                    <a:pt x="3120" y="1607"/>
                  </a:lnTo>
                  <a:lnTo>
                    <a:pt x="3120" y="1611"/>
                  </a:lnTo>
                  <a:lnTo>
                    <a:pt x="3115" y="1621"/>
                  </a:lnTo>
                  <a:lnTo>
                    <a:pt x="3116" y="1631"/>
                  </a:lnTo>
                  <a:lnTo>
                    <a:pt x="3115" y="1631"/>
                  </a:lnTo>
                  <a:lnTo>
                    <a:pt x="3117" y="1635"/>
                  </a:lnTo>
                  <a:lnTo>
                    <a:pt x="3110" y="1647"/>
                  </a:lnTo>
                  <a:lnTo>
                    <a:pt x="3101" y="1654"/>
                  </a:lnTo>
                  <a:lnTo>
                    <a:pt x="3091" y="1669"/>
                  </a:lnTo>
                  <a:lnTo>
                    <a:pt x="3083" y="1680"/>
                  </a:lnTo>
                  <a:lnTo>
                    <a:pt x="3081" y="1682"/>
                  </a:lnTo>
                  <a:lnTo>
                    <a:pt x="3077" y="1688"/>
                  </a:lnTo>
                  <a:lnTo>
                    <a:pt x="3076" y="1686"/>
                  </a:lnTo>
                  <a:lnTo>
                    <a:pt x="3074" y="1684"/>
                  </a:lnTo>
                  <a:lnTo>
                    <a:pt x="3080" y="1680"/>
                  </a:lnTo>
                  <a:lnTo>
                    <a:pt x="3078" y="1679"/>
                  </a:lnTo>
                  <a:lnTo>
                    <a:pt x="3074" y="1679"/>
                  </a:lnTo>
                  <a:lnTo>
                    <a:pt x="3070" y="1676"/>
                  </a:lnTo>
                  <a:lnTo>
                    <a:pt x="3063" y="1680"/>
                  </a:lnTo>
                  <a:lnTo>
                    <a:pt x="3063" y="1685"/>
                  </a:lnTo>
                  <a:lnTo>
                    <a:pt x="3059" y="1685"/>
                  </a:lnTo>
                  <a:lnTo>
                    <a:pt x="3059" y="1686"/>
                  </a:lnTo>
                  <a:lnTo>
                    <a:pt x="3058" y="1692"/>
                  </a:lnTo>
                  <a:lnTo>
                    <a:pt x="3059" y="1692"/>
                  </a:lnTo>
                  <a:lnTo>
                    <a:pt x="3063" y="1694"/>
                  </a:lnTo>
                  <a:lnTo>
                    <a:pt x="3067" y="1692"/>
                  </a:lnTo>
                  <a:lnTo>
                    <a:pt x="3064" y="1698"/>
                  </a:lnTo>
                  <a:lnTo>
                    <a:pt x="3055" y="1702"/>
                  </a:lnTo>
                  <a:lnTo>
                    <a:pt x="3045" y="1709"/>
                  </a:lnTo>
                  <a:lnTo>
                    <a:pt x="3042" y="1715"/>
                  </a:lnTo>
                  <a:lnTo>
                    <a:pt x="3041" y="1719"/>
                  </a:lnTo>
                  <a:lnTo>
                    <a:pt x="3035" y="1718"/>
                  </a:lnTo>
                  <a:lnTo>
                    <a:pt x="3035" y="1721"/>
                  </a:lnTo>
                  <a:lnTo>
                    <a:pt x="3024" y="1725"/>
                  </a:lnTo>
                  <a:lnTo>
                    <a:pt x="3008" y="1736"/>
                  </a:lnTo>
                  <a:lnTo>
                    <a:pt x="2999" y="1744"/>
                  </a:lnTo>
                  <a:lnTo>
                    <a:pt x="2997" y="1750"/>
                  </a:lnTo>
                  <a:lnTo>
                    <a:pt x="2997" y="1754"/>
                  </a:lnTo>
                  <a:lnTo>
                    <a:pt x="2994" y="1760"/>
                  </a:lnTo>
                  <a:lnTo>
                    <a:pt x="2977" y="1781"/>
                  </a:lnTo>
                  <a:lnTo>
                    <a:pt x="2973" y="1793"/>
                  </a:lnTo>
                  <a:lnTo>
                    <a:pt x="2966" y="1800"/>
                  </a:lnTo>
                  <a:lnTo>
                    <a:pt x="2958" y="1814"/>
                  </a:lnTo>
                  <a:lnTo>
                    <a:pt x="2958" y="1818"/>
                  </a:lnTo>
                  <a:lnTo>
                    <a:pt x="2950" y="1830"/>
                  </a:lnTo>
                  <a:lnTo>
                    <a:pt x="2937" y="1848"/>
                  </a:lnTo>
                  <a:lnTo>
                    <a:pt x="2919" y="1863"/>
                  </a:lnTo>
                  <a:lnTo>
                    <a:pt x="2913" y="1867"/>
                  </a:lnTo>
                  <a:lnTo>
                    <a:pt x="2908" y="1876"/>
                  </a:lnTo>
                  <a:lnTo>
                    <a:pt x="2905" y="1880"/>
                  </a:lnTo>
                  <a:lnTo>
                    <a:pt x="2878" y="1905"/>
                  </a:lnTo>
                  <a:lnTo>
                    <a:pt x="2869" y="1912"/>
                  </a:lnTo>
                  <a:lnTo>
                    <a:pt x="2855" y="1925"/>
                  </a:lnTo>
                  <a:lnTo>
                    <a:pt x="2848" y="1934"/>
                  </a:lnTo>
                  <a:lnTo>
                    <a:pt x="2846" y="1937"/>
                  </a:lnTo>
                  <a:lnTo>
                    <a:pt x="2837" y="1945"/>
                  </a:lnTo>
                  <a:lnTo>
                    <a:pt x="2824" y="1959"/>
                  </a:lnTo>
                  <a:lnTo>
                    <a:pt x="2804" y="1974"/>
                  </a:lnTo>
                  <a:lnTo>
                    <a:pt x="2785" y="1999"/>
                  </a:lnTo>
                  <a:lnTo>
                    <a:pt x="2785" y="2005"/>
                  </a:lnTo>
                  <a:lnTo>
                    <a:pt x="2781" y="2004"/>
                  </a:lnTo>
                  <a:lnTo>
                    <a:pt x="2763" y="2012"/>
                  </a:lnTo>
                  <a:lnTo>
                    <a:pt x="2756" y="2016"/>
                  </a:lnTo>
                  <a:lnTo>
                    <a:pt x="2754" y="2013"/>
                  </a:lnTo>
                  <a:lnTo>
                    <a:pt x="2757" y="2009"/>
                  </a:lnTo>
                  <a:lnTo>
                    <a:pt x="2771" y="2005"/>
                  </a:lnTo>
                  <a:lnTo>
                    <a:pt x="2773" y="2002"/>
                  </a:lnTo>
                  <a:lnTo>
                    <a:pt x="2773" y="1991"/>
                  </a:lnTo>
                  <a:lnTo>
                    <a:pt x="2771" y="1989"/>
                  </a:lnTo>
                  <a:lnTo>
                    <a:pt x="2768" y="2001"/>
                  </a:lnTo>
                  <a:lnTo>
                    <a:pt x="2763" y="2001"/>
                  </a:lnTo>
                  <a:lnTo>
                    <a:pt x="2759" y="2005"/>
                  </a:lnTo>
                  <a:lnTo>
                    <a:pt x="2756" y="2005"/>
                  </a:lnTo>
                  <a:lnTo>
                    <a:pt x="2750" y="2012"/>
                  </a:lnTo>
                  <a:lnTo>
                    <a:pt x="2750" y="2021"/>
                  </a:lnTo>
                  <a:lnTo>
                    <a:pt x="2753" y="2024"/>
                  </a:lnTo>
                  <a:lnTo>
                    <a:pt x="2757" y="2024"/>
                  </a:lnTo>
                  <a:lnTo>
                    <a:pt x="2752" y="2028"/>
                  </a:lnTo>
                  <a:lnTo>
                    <a:pt x="2745" y="2047"/>
                  </a:lnTo>
                  <a:lnTo>
                    <a:pt x="2739" y="2051"/>
                  </a:lnTo>
                  <a:lnTo>
                    <a:pt x="2727" y="2050"/>
                  </a:lnTo>
                  <a:lnTo>
                    <a:pt x="2717" y="2053"/>
                  </a:lnTo>
                  <a:lnTo>
                    <a:pt x="2710" y="2059"/>
                  </a:lnTo>
                  <a:lnTo>
                    <a:pt x="2707" y="2064"/>
                  </a:lnTo>
                  <a:lnTo>
                    <a:pt x="2706" y="2075"/>
                  </a:lnTo>
                  <a:lnTo>
                    <a:pt x="2709" y="2073"/>
                  </a:lnTo>
                  <a:lnTo>
                    <a:pt x="2715" y="2061"/>
                  </a:lnTo>
                  <a:lnTo>
                    <a:pt x="2721" y="2054"/>
                  </a:lnTo>
                  <a:lnTo>
                    <a:pt x="2739" y="2057"/>
                  </a:lnTo>
                  <a:lnTo>
                    <a:pt x="2748" y="2057"/>
                  </a:lnTo>
                  <a:lnTo>
                    <a:pt x="2752" y="2051"/>
                  </a:lnTo>
                  <a:lnTo>
                    <a:pt x="2756" y="2046"/>
                  </a:lnTo>
                  <a:lnTo>
                    <a:pt x="2762" y="2041"/>
                  </a:lnTo>
                  <a:lnTo>
                    <a:pt x="2762" y="2030"/>
                  </a:lnTo>
                  <a:lnTo>
                    <a:pt x="2764" y="2028"/>
                  </a:lnTo>
                  <a:lnTo>
                    <a:pt x="2765" y="2028"/>
                  </a:lnTo>
                  <a:lnTo>
                    <a:pt x="2767" y="2032"/>
                  </a:lnTo>
                  <a:lnTo>
                    <a:pt x="2764" y="2045"/>
                  </a:lnTo>
                  <a:lnTo>
                    <a:pt x="2764" y="2053"/>
                  </a:lnTo>
                  <a:lnTo>
                    <a:pt x="2749" y="2073"/>
                  </a:lnTo>
                  <a:lnTo>
                    <a:pt x="2742" y="2087"/>
                  </a:lnTo>
                  <a:lnTo>
                    <a:pt x="2742" y="2089"/>
                  </a:lnTo>
                  <a:lnTo>
                    <a:pt x="2743" y="2091"/>
                  </a:lnTo>
                  <a:lnTo>
                    <a:pt x="2737" y="2101"/>
                  </a:lnTo>
                  <a:lnTo>
                    <a:pt x="2735" y="2106"/>
                  </a:lnTo>
                  <a:lnTo>
                    <a:pt x="2735" y="2108"/>
                  </a:lnTo>
                  <a:lnTo>
                    <a:pt x="2738" y="2108"/>
                  </a:lnTo>
                  <a:lnTo>
                    <a:pt x="2739" y="2109"/>
                  </a:lnTo>
                  <a:lnTo>
                    <a:pt x="2739" y="2113"/>
                  </a:lnTo>
                  <a:lnTo>
                    <a:pt x="2731" y="2120"/>
                  </a:lnTo>
                  <a:lnTo>
                    <a:pt x="2715" y="2143"/>
                  </a:lnTo>
                  <a:lnTo>
                    <a:pt x="2706" y="2150"/>
                  </a:lnTo>
                  <a:lnTo>
                    <a:pt x="2702" y="2151"/>
                  </a:lnTo>
                  <a:lnTo>
                    <a:pt x="2696" y="2157"/>
                  </a:lnTo>
                  <a:lnTo>
                    <a:pt x="2684" y="2183"/>
                  </a:lnTo>
                  <a:lnTo>
                    <a:pt x="2682" y="2191"/>
                  </a:lnTo>
                  <a:lnTo>
                    <a:pt x="2677" y="2203"/>
                  </a:lnTo>
                  <a:lnTo>
                    <a:pt x="2656" y="2218"/>
                  </a:lnTo>
                  <a:lnTo>
                    <a:pt x="2646" y="2228"/>
                  </a:lnTo>
                  <a:lnTo>
                    <a:pt x="2638" y="2237"/>
                  </a:lnTo>
                  <a:lnTo>
                    <a:pt x="2624" y="2248"/>
                  </a:lnTo>
                  <a:lnTo>
                    <a:pt x="2607" y="2246"/>
                  </a:lnTo>
                  <a:lnTo>
                    <a:pt x="2589" y="2250"/>
                  </a:lnTo>
                  <a:lnTo>
                    <a:pt x="2586" y="2248"/>
                  </a:lnTo>
                  <a:lnTo>
                    <a:pt x="2588" y="2248"/>
                  </a:lnTo>
                  <a:lnTo>
                    <a:pt x="2586" y="2248"/>
                  </a:lnTo>
                  <a:lnTo>
                    <a:pt x="2584" y="2250"/>
                  </a:lnTo>
                  <a:lnTo>
                    <a:pt x="2579" y="2250"/>
                  </a:lnTo>
                  <a:lnTo>
                    <a:pt x="2576" y="2246"/>
                  </a:lnTo>
                  <a:lnTo>
                    <a:pt x="2578" y="2241"/>
                  </a:lnTo>
                  <a:lnTo>
                    <a:pt x="2576" y="2241"/>
                  </a:lnTo>
                  <a:lnTo>
                    <a:pt x="2578" y="2240"/>
                  </a:lnTo>
                  <a:lnTo>
                    <a:pt x="2576" y="2237"/>
                  </a:lnTo>
                  <a:lnTo>
                    <a:pt x="2564" y="2218"/>
                  </a:lnTo>
                  <a:lnTo>
                    <a:pt x="2564" y="2213"/>
                  </a:lnTo>
                  <a:lnTo>
                    <a:pt x="2570" y="2207"/>
                  </a:lnTo>
                  <a:lnTo>
                    <a:pt x="2575" y="2207"/>
                  </a:lnTo>
                  <a:lnTo>
                    <a:pt x="2576" y="2203"/>
                  </a:lnTo>
                  <a:lnTo>
                    <a:pt x="2572" y="2193"/>
                  </a:lnTo>
                  <a:lnTo>
                    <a:pt x="2568" y="2195"/>
                  </a:lnTo>
                  <a:lnTo>
                    <a:pt x="2567" y="2196"/>
                  </a:lnTo>
                  <a:lnTo>
                    <a:pt x="2564" y="2196"/>
                  </a:lnTo>
                  <a:lnTo>
                    <a:pt x="2564" y="2199"/>
                  </a:lnTo>
                  <a:lnTo>
                    <a:pt x="2560" y="2202"/>
                  </a:lnTo>
                  <a:lnTo>
                    <a:pt x="2561" y="2211"/>
                  </a:lnTo>
                  <a:lnTo>
                    <a:pt x="2556" y="2215"/>
                  </a:lnTo>
                  <a:lnTo>
                    <a:pt x="2558" y="2221"/>
                  </a:lnTo>
                  <a:lnTo>
                    <a:pt x="2560" y="2225"/>
                  </a:lnTo>
                  <a:lnTo>
                    <a:pt x="2564" y="2229"/>
                  </a:lnTo>
                  <a:lnTo>
                    <a:pt x="2565" y="2229"/>
                  </a:lnTo>
                  <a:lnTo>
                    <a:pt x="2565" y="2244"/>
                  </a:lnTo>
                  <a:lnTo>
                    <a:pt x="2563" y="2246"/>
                  </a:lnTo>
                  <a:lnTo>
                    <a:pt x="2558" y="2246"/>
                  </a:lnTo>
                  <a:lnTo>
                    <a:pt x="2546" y="2241"/>
                  </a:lnTo>
                  <a:lnTo>
                    <a:pt x="2542" y="2241"/>
                  </a:lnTo>
                  <a:lnTo>
                    <a:pt x="2546" y="2252"/>
                  </a:lnTo>
                  <a:lnTo>
                    <a:pt x="2544" y="2252"/>
                  </a:lnTo>
                  <a:lnTo>
                    <a:pt x="2543" y="2260"/>
                  </a:lnTo>
                  <a:lnTo>
                    <a:pt x="2539" y="2263"/>
                  </a:lnTo>
                  <a:lnTo>
                    <a:pt x="2535" y="2263"/>
                  </a:lnTo>
                  <a:lnTo>
                    <a:pt x="2526" y="2268"/>
                  </a:lnTo>
                  <a:lnTo>
                    <a:pt x="2519" y="2268"/>
                  </a:lnTo>
                  <a:lnTo>
                    <a:pt x="2507" y="2274"/>
                  </a:lnTo>
                  <a:lnTo>
                    <a:pt x="2501" y="2273"/>
                  </a:lnTo>
                  <a:lnTo>
                    <a:pt x="2496" y="2278"/>
                  </a:lnTo>
                  <a:lnTo>
                    <a:pt x="2480" y="2281"/>
                  </a:lnTo>
                  <a:lnTo>
                    <a:pt x="2476" y="2278"/>
                  </a:lnTo>
                  <a:lnTo>
                    <a:pt x="2469" y="2268"/>
                  </a:lnTo>
                  <a:lnTo>
                    <a:pt x="2465" y="2266"/>
                  </a:lnTo>
                  <a:lnTo>
                    <a:pt x="2464" y="2262"/>
                  </a:lnTo>
                  <a:lnTo>
                    <a:pt x="2458" y="2260"/>
                  </a:lnTo>
                  <a:lnTo>
                    <a:pt x="2460" y="2266"/>
                  </a:lnTo>
                  <a:lnTo>
                    <a:pt x="2468" y="2270"/>
                  </a:lnTo>
                  <a:lnTo>
                    <a:pt x="2474" y="2282"/>
                  </a:lnTo>
                  <a:lnTo>
                    <a:pt x="2478" y="2286"/>
                  </a:lnTo>
                  <a:lnTo>
                    <a:pt x="2485" y="2286"/>
                  </a:lnTo>
                  <a:lnTo>
                    <a:pt x="2493" y="2286"/>
                  </a:lnTo>
                  <a:lnTo>
                    <a:pt x="2503" y="2282"/>
                  </a:lnTo>
                  <a:lnTo>
                    <a:pt x="2494" y="2293"/>
                  </a:lnTo>
                  <a:lnTo>
                    <a:pt x="2486" y="2293"/>
                  </a:lnTo>
                  <a:lnTo>
                    <a:pt x="2485" y="2297"/>
                  </a:lnTo>
                  <a:lnTo>
                    <a:pt x="2480" y="2299"/>
                  </a:lnTo>
                  <a:lnTo>
                    <a:pt x="2474" y="2311"/>
                  </a:lnTo>
                  <a:lnTo>
                    <a:pt x="2476" y="2312"/>
                  </a:lnTo>
                  <a:lnTo>
                    <a:pt x="2479" y="2307"/>
                  </a:lnTo>
                  <a:lnTo>
                    <a:pt x="2486" y="2323"/>
                  </a:lnTo>
                  <a:lnTo>
                    <a:pt x="2486" y="2335"/>
                  </a:lnTo>
                  <a:lnTo>
                    <a:pt x="2489" y="2341"/>
                  </a:lnTo>
                  <a:lnTo>
                    <a:pt x="2489" y="2345"/>
                  </a:lnTo>
                  <a:lnTo>
                    <a:pt x="2493" y="2352"/>
                  </a:lnTo>
                  <a:lnTo>
                    <a:pt x="2499" y="2356"/>
                  </a:lnTo>
                  <a:lnTo>
                    <a:pt x="2499" y="2357"/>
                  </a:lnTo>
                  <a:lnTo>
                    <a:pt x="2504" y="2360"/>
                  </a:lnTo>
                  <a:lnTo>
                    <a:pt x="2508" y="2368"/>
                  </a:lnTo>
                  <a:lnTo>
                    <a:pt x="2514" y="2372"/>
                  </a:lnTo>
                  <a:lnTo>
                    <a:pt x="2514" y="2376"/>
                  </a:lnTo>
                  <a:lnTo>
                    <a:pt x="2515" y="2379"/>
                  </a:lnTo>
                  <a:lnTo>
                    <a:pt x="2504" y="2382"/>
                  </a:lnTo>
                  <a:lnTo>
                    <a:pt x="2497" y="2386"/>
                  </a:lnTo>
                  <a:lnTo>
                    <a:pt x="2501" y="2386"/>
                  </a:lnTo>
                  <a:lnTo>
                    <a:pt x="2507" y="2384"/>
                  </a:lnTo>
                  <a:lnTo>
                    <a:pt x="2519" y="2384"/>
                  </a:lnTo>
                  <a:lnTo>
                    <a:pt x="2521" y="2386"/>
                  </a:lnTo>
                  <a:lnTo>
                    <a:pt x="2521" y="2389"/>
                  </a:lnTo>
                  <a:lnTo>
                    <a:pt x="2525" y="2389"/>
                  </a:lnTo>
                  <a:lnTo>
                    <a:pt x="2532" y="2397"/>
                  </a:lnTo>
                  <a:lnTo>
                    <a:pt x="2530" y="2398"/>
                  </a:lnTo>
                  <a:lnTo>
                    <a:pt x="2533" y="2401"/>
                  </a:lnTo>
                  <a:lnTo>
                    <a:pt x="2538" y="2402"/>
                  </a:lnTo>
                  <a:lnTo>
                    <a:pt x="2544" y="2401"/>
                  </a:lnTo>
                  <a:lnTo>
                    <a:pt x="2547" y="2402"/>
                  </a:lnTo>
                  <a:lnTo>
                    <a:pt x="2546" y="2406"/>
                  </a:lnTo>
                  <a:lnTo>
                    <a:pt x="2540" y="2409"/>
                  </a:lnTo>
                  <a:lnTo>
                    <a:pt x="2499" y="2424"/>
                  </a:lnTo>
                  <a:lnTo>
                    <a:pt x="2494" y="2428"/>
                  </a:lnTo>
                  <a:lnTo>
                    <a:pt x="2491" y="2434"/>
                  </a:lnTo>
                  <a:lnTo>
                    <a:pt x="2490" y="2432"/>
                  </a:lnTo>
                  <a:lnTo>
                    <a:pt x="2489" y="2431"/>
                  </a:lnTo>
                  <a:lnTo>
                    <a:pt x="2482" y="2432"/>
                  </a:lnTo>
                  <a:lnTo>
                    <a:pt x="2479" y="2435"/>
                  </a:lnTo>
                  <a:lnTo>
                    <a:pt x="2472" y="2439"/>
                  </a:lnTo>
                  <a:lnTo>
                    <a:pt x="2474" y="2441"/>
                  </a:lnTo>
                  <a:lnTo>
                    <a:pt x="2476" y="2441"/>
                  </a:lnTo>
                  <a:lnTo>
                    <a:pt x="2483" y="2435"/>
                  </a:lnTo>
                  <a:lnTo>
                    <a:pt x="2488" y="2434"/>
                  </a:lnTo>
                  <a:lnTo>
                    <a:pt x="2489" y="2439"/>
                  </a:lnTo>
                  <a:lnTo>
                    <a:pt x="2482" y="2446"/>
                  </a:lnTo>
                  <a:lnTo>
                    <a:pt x="2438" y="2468"/>
                  </a:lnTo>
                  <a:lnTo>
                    <a:pt x="2429" y="2473"/>
                  </a:lnTo>
                  <a:lnTo>
                    <a:pt x="2428" y="2473"/>
                  </a:lnTo>
                  <a:lnTo>
                    <a:pt x="2430" y="2469"/>
                  </a:lnTo>
                  <a:lnTo>
                    <a:pt x="2429" y="2465"/>
                  </a:lnTo>
                  <a:lnTo>
                    <a:pt x="2426" y="2465"/>
                  </a:lnTo>
                  <a:lnTo>
                    <a:pt x="2424" y="2473"/>
                  </a:lnTo>
                  <a:lnTo>
                    <a:pt x="2426" y="2473"/>
                  </a:lnTo>
                  <a:lnTo>
                    <a:pt x="2426" y="2477"/>
                  </a:lnTo>
                  <a:lnTo>
                    <a:pt x="2400" y="2496"/>
                  </a:lnTo>
                  <a:lnTo>
                    <a:pt x="2390" y="2499"/>
                  </a:lnTo>
                  <a:lnTo>
                    <a:pt x="2369" y="2509"/>
                  </a:lnTo>
                  <a:lnTo>
                    <a:pt x="2361" y="2514"/>
                  </a:lnTo>
                  <a:lnTo>
                    <a:pt x="2358" y="2516"/>
                  </a:lnTo>
                  <a:lnTo>
                    <a:pt x="2354" y="2522"/>
                  </a:lnTo>
                  <a:lnTo>
                    <a:pt x="2341" y="2533"/>
                  </a:lnTo>
                  <a:lnTo>
                    <a:pt x="2322" y="2540"/>
                  </a:lnTo>
                  <a:lnTo>
                    <a:pt x="2305" y="2547"/>
                  </a:lnTo>
                  <a:lnTo>
                    <a:pt x="2294" y="2551"/>
                  </a:lnTo>
                  <a:lnTo>
                    <a:pt x="2290" y="2555"/>
                  </a:lnTo>
                  <a:lnTo>
                    <a:pt x="2289" y="2563"/>
                  </a:lnTo>
                  <a:lnTo>
                    <a:pt x="2286" y="2566"/>
                  </a:lnTo>
                  <a:lnTo>
                    <a:pt x="2283" y="2571"/>
                  </a:lnTo>
                  <a:lnTo>
                    <a:pt x="2276" y="2576"/>
                  </a:lnTo>
                  <a:lnTo>
                    <a:pt x="2229" y="2603"/>
                  </a:lnTo>
                  <a:lnTo>
                    <a:pt x="2187" y="2625"/>
                  </a:lnTo>
                  <a:lnTo>
                    <a:pt x="2125" y="2651"/>
                  </a:lnTo>
                  <a:lnTo>
                    <a:pt x="2116" y="2655"/>
                  </a:lnTo>
                  <a:lnTo>
                    <a:pt x="2109" y="2663"/>
                  </a:lnTo>
                  <a:lnTo>
                    <a:pt x="2093" y="2675"/>
                  </a:lnTo>
                  <a:lnTo>
                    <a:pt x="2094" y="2679"/>
                  </a:lnTo>
                  <a:lnTo>
                    <a:pt x="2090" y="2675"/>
                  </a:lnTo>
                  <a:lnTo>
                    <a:pt x="2087" y="2675"/>
                  </a:lnTo>
                  <a:lnTo>
                    <a:pt x="2087" y="2673"/>
                  </a:lnTo>
                  <a:lnTo>
                    <a:pt x="2086" y="2671"/>
                  </a:lnTo>
                  <a:lnTo>
                    <a:pt x="2076" y="2675"/>
                  </a:lnTo>
                  <a:lnTo>
                    <a:pt x="2065" y="2675"/>
                  </a:lnTo>
                  <a:lnTo>
                    <a:pt x="2062" y="2673"/>
                  </a:lnTo>
                  <a:lnTo>
                    <a:pt x="2051" y="2656"/>
                  </a:lnTo>
                  <a:lnTo>
                    <a:pt x="2051" y="2648"/>
                  </a:lnTo>
                  <a:lnTo>
                    <a:pt x="2054" y="2646"/>
                  </a:lnTo>
                  <a:lnTo>
                    <a:pt x="2054" y="2642"/>
                  </a:lnTo>
                  <a:lnTo>
                    <a:pt x="2044" y="2622"/>
                  </a:lnTo>
                  <a:lnTo>
                    <a:pt x="2044" y="2611"/>
                  </a:lnTo>
                  <a:lnTo>
                    <a:pt x="2043" y="2611"/>
                  </a:lnTo>
                  <a:lnTo>
                    <a:pt x="2040" y="2615"/>
                  </a:lnTo>
                  <a:lnTo>
                    <a:pt x="2040" y="2620"/>
                  </a:lnTo>
                  <a:lnTo>
                    <a:pt x="2040" y="2626"/>
                  </a:lnTo>
                  <a:lnTo>
                    <a:pt x="2044" y="2634"/>
                  </a:lnTo>
                  <a:lnTo>
                    <a:pt x="2044" y="2652"/>
                  </a:lnTo>
                  <a:lnTo>
                    <a:pt x="2045" y="2660"/>
                  </a:lnTo>
                  <a:lnTo>
                    <a:pt x="2050" y="2667"/>
                  </a:lnTo>
                  <a:lnTo>
                    <a:pt x="2047" y="2670"/>
                  </a:lnTo>
                  <a:lnTo>
                    <a:pt x="2044" y="2671"/>
                  </a:lnTo>
                  <a:lnTo>
                    <a:pt x="2026" y="2668"/>
                  </a:lnTo>
                  <a:lnTo>
                    <a:pt x="2023" y="2671"/>
                  </a:lnTo>
                  <a:lnTo>
                    <a:pt x="2030" y="2675"/>
                  </a:lnTo>
                  <a:lnTo>
                    <a:pt x="2037" y="2679"/>
                  </a:lnTo>
                  <a:lnTo>
                    <a:pt x="2039" y="2683"/>
                  </a:lnTo>
                  <a:lnTo>
                    <a:pt x="2051" y="2683"/>
                  </a:lnTo>
                  <a:lnTo>
                    <a:pt x="2056" y="2690"/>
                  </a:lnTo>
                  <a:lnTo>
                    <a:pt x="2062" y="2687"/>
                  </a:lnTo>
                  <a:lnTo>
                    <a:pt x="2064" y="2687"/>
                  </a:lnTo>
                  <a:lnTo>
                    <a:pt x="2066" y="2683"/>
                  </a:lnTo>
                  <a:lnTo>
                    <a:pt x="2072" y="2685"/>
                  </a:lnTo>
                  <a:lnTo>
                    <a:pt x="2062" y="2693"/>
                  </a:lnTo>
                  <a:lnTo>
                    <a:pt x="2041" y="2705"/>
                  </a:lnTo>
                  <a:lnTo>
                    <a:pt x="2001" y="2732"/>
                  </a:lnTo>
                  <a:lnTo>
                    <a:pt x="1981" y="2754"/>
                  </a:lnTo>
                  <a:lnTo>
                    <a:pt x="1967" y="2772"/>
                  </a:lnTo>
                  <a:lnTo>
                    <a:pt x="1967" y="2776"/>
                  </a:lnTo>
                  <a:lnTo>
                    <a:pt x="1966" y="2776"/>
                  </a:lnTo>
                  <a:lnTo>
                    <a:pt x="1966" y="2772"/>
                  </a:lnTo>
                  <a:lnTo>
                    <a:pt x="1965" y="2763"/>
                  </a:lnTo>
                  <a:lnTo>
                    <a:pt x="1959" y="2757"/>
                  </a:lnTo>
                  <a:lnTo>
                    <a:pt x="1958" y="2746"/>
                  </a:lnTo>
                  <a:lnTo>
                    <a:pt x="1956" y="2742"/>
                  </a:lnTo>
                  <a:lnTo>
                    <a:pt x="1956" y="2738"/>
                  </a:lnTo>
                  <a:lnTo>
                    <a:pt x="1960" y="2735"/>
                  </a:lnTo>
                  <a:lnTo>
                    <a:pt x="1962" y="2732"/>
                  </a:lnTo>
                  <a:lnTo>
                    <a:pt x="1963" y="2726"/>
                  </a:lnTo>
                  <a:lnTo>
                    <a:pt x="1962" y="2724"/>
                  </a:lnTo>
                  <a:lnTo>
                    <a:pt x="1951" y="2715"/>
                  </a:lnTo>
                  <a:lnTo>
                    <a:pt x="1948" y="2713"/>
                  </a:lnTo>
                  <a:lnTo>
                    <a:pt x="1946" y="2708"/>
                  </a:lnTo>
                  <a:lnTo>
                    <a:pt x="1946" y="2701"/>
                  </a:lnTo>
                  <a:lnTo>
                    <a:pt x="1942" y="2690"/>
                  </a:lnTo>
                  <a:lnTo>
                    <a:pt x="1935" y="2689"/>
                  </a:lnTo>
                  <a:lnTo>
                    <a:pt x="1934" y="2683"/>
                  </a:lnTo>
                  <a:lnTo>
                    <a:pt x="1929" y="2685"/>
                  </a:lnTo>
                  <a:lnTo>
                    <a:pt x="1926" y="2681"/>
                  </a:lnTo>
                  <a:lnTo>
                    <a:pt x="1921" y="2681"/>
                  </a:lnTo>
                  <a:lnTo>
                    <a:pt x="1919" y="2675"/>
                  </a:lnTo>
                  <a:lnTo>
                    <a:pt x="1916" y="2673"/>
                  </a:lnTo>
                  <a:lnTo>
                    <a:pt x="1915" y="2668"/>
                  </a:lnTo>
                  <a:lnTo>
                    <a:pt x="1912" y="2663"/>
                  </a:lnTo>
                  <a:lnTo>
                    <a:pt x="1913" y="2656"/>
                  </a:lnTo>
                  <a:lnTo>
                    <a:pt x="1912" y="2652"/>
                  </a:lnTo>
                  <a:lnTo>
                    <a:pt x="1912" y="2648"/>
                  </a:lnTo>
                  <a:lnTo>
                    <a:pt x="1910" y="2646"/>
                  </a:lnTo>
                  <a:lnTo>
                    <a:pt x="1910" y="2645"/>
                  </a:lnTo>
                  <a:lnTo>
                    <a:pt x="1904" y="2638"/>
                  </a:lnTo>
                  <a:lnTo>
                    <a:pt x="1899" y="2638"/>
                  </a:lnTo>
                  <a:lnTo>
                    <a:pt x="1894" y="2630"/>
                  </a:lnTo>
                  <a:lnTo>
                    <a:pt x="1890" y="2628"/>
                  </a:lnTo>
                  <a:lnTo>
                    <a:pt x="1891" y="2622"/>
                  </a:lnTo>
                  <a:lnTo>
                    <a:pt x="1890" y="2618"/>
                  </a:lnTo>
                  <a:lnTo>
                    <a:pt x="1892" y="2610"/>
                  </a:lnTo>
                  <a:lnTo>
                    <a:pt x="1890" y="2600"/>
                  </a:lnTo>
                  <a:lnTo>
                    <a:pt x="1890" y="2593"/>
                  </a:lnTo>
                  <a:lnTo>
                    <a:pt x="1885" y="2592"/>
                  </a:lnTo>
                  <a:lnTo>
                    <a:pt x="1884" y="2588"/>
                  </a:lnTo>
                  <a:lnTo>
                    <a:pt x="1882" y="2585"/>
                  </a:lnTo>
                  <a:lnTo>
                    <a:pt x="1880" y="2585"/>
                  </a:lnTo>
                  <a:lnTo>
                    <a:pt x="1874" y="2584"/>
                  </a:lnTo>
                  <a:lnTo>
                    <a:pt x="1870" y="2580"/>
                  </a:lnTo>
                  <a:lnTo>
                    <a:pt x="1867" y="2581"/>
                  </a:lnTo>
                  <a:lnTo>
                    <a:pt x="1863" y="2581"/>
                  </a:lnTo>
                  <a:lnTo>
                    <a:pt x="1862" y="2577"/>
                  </a:lnTo>
                  <a:lnTo>
                    <a:pt x="1859" y="2580"/>
                  </a:lnTo>
                  <a:lnTo>
                    <a:pt x="1856" y="2577"/>
                  </a:lnTo>
                  <a:lnTo>
                    <a:pt x="1855" y="2577"/>
                  </a:lnTo>
                  <a:lnTo>
                    <a:pt x="1851" y="2575"/>
                  </a:lnTo>
                  <a:lnTo>
                    <a:pt x="1851" y="2571"/>
                  </a:lnTo>
                  <a:lnTo>
                    <a:pt x="1845" y="2569"/>
                  </a:lnTo>
                  <a:lnTo>
                    <a:pt x="1845" y="2563"/>
                  </a:lnTo>
                  <a:lnTo>
                    <a:pt x="1842" y="2561"/>
                  </a:lnTo>
                  <a:lnTo>
                    <a:pt x="1841" y="2559"/>
                  </a:lnTo>
                  <a:lnTo>
                    <a:pt x="1844" y="2553"/>
                  </a:lnTo>
                  <a:lnTo>
                    <a:pt x="1841" y="2544"/>
                  </a:lnTo>
                  <a:lnTo>
                    <a:pt x="1844" y="2540"/>
                  </a:lnTo>
                  <a:lnTo>
                    <a:pt x="1845" y="2535"/>
                  </a:lnTo>
                  <a:lnTo>
                    <a:pt x="1851" y="2526"/>
                  </a:lnTo>
                  <a:lnTo>
                    <a:pt x="1849" y="2518"/>
                  </a:lnTo>
                  <a:lnTo>
                    <a:pt x="1851" y="2514"/>
                  </a:lnTo>
                  <a:lnTo>
                    <a:pt x="1849" y="2510"/>
                  </a:lnTo>
                  <a:lnTo>
                    <a:pt x="1854" y="2499"/>
                  </a:lnTo>
                  <a:lnTo>
                    <a:pt x="1851" y="2494"/>
                  </a:lnTo>
                  <a:lnTo>
                    <a:pt x="1852" y="2488"/>
                  </a:lnTo>
                  <a:lnTo>
                    <a:pt x="1860" y="2482"/>
                  </a:lnTo>
                  <a:lnTo>
                    <a:pt x="1863" y="2477"/>
                  </a:lnTo>
                  <a:lnTo>
                    <a:pt x="1867" y="2479"/>
                  </a:lnTo>
                  <a:lnTo>
                    <a:pt x="1869" y="2477"/>
                  </a:lnTo>
                  <a:lnTo>
                    <a:pt x="1873" y="2477"/>
                  </a:lnTo>
                  <a:lnTo>
                    <a:pt x="1876" y="2477"/>
                  </a:lnTo>
                  <a:lnTo>
                    <a:pt x="1884" y="2477"/>
                  </a:lnTo>
                  <a:lnTo>
                    <a:pt x="1885" y="2476"/>
                  </a:lnTo>
                  <a:lnTo>
                    <a:pt x="1885" y="2468"/>
                  </a:lnTo>
                  <a:lnTo>
                    <a:pt x="1880" y="2461"/>
                  </a:lnTo>
                  <a:lnTo>
                    <a:pt x="1877" y="2454"/>
                  </a:lnTo>
                  <a:lnTo>
                    <a:pt x="1870" y="2451"/>
                  </a:lnTo>
                  <a:lnTo>
                    <a:pt x="1869" y="2439"/>
                  </a:lnTo>
                  <a:lnTo>
                    <a:pt x="1873" y="2435"/>
                  </a:lnTo>
                  <a:lnTo>
                    <a:pt x="1873" y="2434"/>
                  </a:lnTo>
                  <a:lnTo>
                    <a:pt x="1881" y="2431"/>
                  </a:lnTo>
                  <a:lnTo>
                    <a:pt x="1885" y="2424"/>
                  </a:lnTo>
                  <a:lnTo>
                    <a:pt x="1884" y="2419"/>
                  </a:lnTo>
                  <a:lnTo>
                    <a:pt x="1887" y="2412"/>
                  </a:lnTo>
                  <a:lnTo>
                    <a:pt x="1885" y="2394"/>
                  </a:lnTo>
                  <a:lnTo>
                    <a:pt x="1884" y="2393"/>
                  </a:lnTo>
                  <a:lnTo>
                    <a:pt x="1876" y="2389"/>
                  </a:lnTo>
                  <a:lnTo>
                    <a:pt x="1874" y="2379"/>
                  </a:lnTo>
                  <a:lnTo>
                    <a:pt x="1863" y="2370"/>
                  </a:lnTo>
                  <a:lnTo>
                    <a:pt x="1863" y="2368"/>
                  </a:lnTo>
                  <a:lnTo>
                    <a:pt x="1866" y="2364"/>
                  </a:lnTo>
                  <a:lnTo>
                    <a:pt x="1866" y="2360"/>
                  </a:lnTo>
                  <a:lnTo>
                    <a:pt x="1865" y="2356"/>
                  </a:lnTo>
                  <a:lnTo>
                    <a:pt x="1860" y="2353"/>
                  </a:lnTo>
                  <a:lnTo>
                    <a:pt x="1860" y="2349"/>
                  </a:lnTo>
                  <a:lnTo>
                    <a:pt x="1855" y="2341"/>
                  </a:lnTo>
                  <a:lnTo>
                    <a:pt x="1855" y="2335"/>
                  </a:lnTo>
                  <a:lnTo>
                    <a:pt x="1854" y="2327"/>
                  </a:lnTo>
                  <a:lnTo>
                    <a:pt x="1859" y="2322"/>
                  </a:lnTo>
                  <a:lnTo>
                    <a:pt x="1857" y="2319"/>
                  </a:lnTo>
                  <a:lnTo>
                    <a:pt x="1856" y="2318"/>
                  </a:lnTo>
                  <a:lnTo>
                    <a:pt x="1845" y="2304"/>
                  </a:lnTo>
                  <a:lnTo>
                    <a:pt x="1846" y="2297"/>
                  </a:lnTo>
                  <a:lnTo>
                    <a:pt x="1846" y="2290"/>
                  </a:lnTo>
                  <a:lnTo>
                    <a:pt x="1838" y="2274"/>
                  </a:lnTo>
                  <a:lnTo>
                    <a:pt x="1837" y="2273"/>
                  </a:lnTo>
                  <a:lnTo>
                    <a:pt x="1831" y="2274"/>
                  </a:lnTo>
                  <a:lnTo>
                    <a:pt x="1820" y="2273"/>
                  </a:lnTo>
                  <a:lnTo>
                    <a:pt x="1807" y="2262"/>
                  </a:lnTo>
                  <a:lnTo>
                    <a:pt x="1807" y="2252"/>
                  </a:lnTo>
                  <a:lnTo>
                    <a:pt x="1801" y="2248"/>
                  </a:lnTo>
                  <a:lnTo>
                    <a:pt x="1799" y="2241"/>
                  </a:lnTo>
                  <a:lnTo>
                    <a:pt x="1799" y="2237"/>
                  </a:lnTo>
                  <a:lnTo>
                    <a:pt x="1796" y="2229"/>
                  </a:lnTo>
                  <a:lnTo>
                    <a:pt x="1788" y="2219"/>
                  </a:lnTo>
                  <a:lnTo>
                    <a:pt x="1788" y="2206"/>
                  </a:lnTo>
                  <a:lnTo>
                    <a:pt x="1785" y="2199"/>
                  </a:lnTo>
                  <a:lnTo>
                    <a:pt x="1785" y="2188"/>
                  </a:lnTo>
                  <a:lnTo>
                    <a:pt x="1788" y="2187"/>
                  </a:lnTo>
                  <a:lnTo>
                    <a:pt x="1792" y="2185"/>
                  </a:lnTo>
                  <a:lnTo>
                    <a:pt x="1794" y="2183"/>
                  </a:lnTo>
                  <a:lnTo>
                    <a:pt x="1787" y="2174"/>
                  </a:lnTo>
                  <a:lnTo>
                    <a:pt x="1785" y="2169"/>
                  </a:lnTo>
                  <a:lnTo>
                    <a:pt x="1787" y="2166"/>
                  </a:lnTo>
                  <a:lnTo>
                    <a:pt x="1791" y="2162"/>
                  </a:lnTo>
                  <a:lnTo>
                    <a:pt x="1798" y="2153"/>
                  </a:lnTo>
                  <a:lnTo>
                    <a:pt x="1805" y="2151"/>
                  </a:lnTo>
                  <a:lnTo>
                    <a:pt x="1806" y="2148"/>
                  </a:lnTo>
                  <a:lnTo>
                    <a:pt x="1805" y="2146"/>
                  </a:lnTo>
                  <a:lnTo>
                    <a:pt x="1799" y="2146"/>
                  </a:lnTo>
                  <a:lnTo>
                    <a:pt x="1798" y="2144"/>
                  </a:lnTo>
                  <a:lnTo>
                    <a:pt x="1795" y="2140"/>
                  </a:lnTo>
                  <a:lnTo>
                    <a:pt x="1794" y="2125"/>
                  </a:lnTo>
                  <a:lnTo>
                    <a:pt x="1791" y="2124"/>
                  </a:lnTo>
                  <a:lnTo>
                    <a:pt x="1788" y="2117"/>
                  </a:lnTo>
                  <a:lnTo>
                    <a:pt x="1784" y="2113"/>
                  </a:lnTo>
                  <a:lnTo>
                    <a:pt x="1781" y="2109"/>
                  </a:lnTo>
                  <a:lnTo>
                    <a:pt x="1781" y="2108"/>
                  </a:lnTo>
                  <a:lnTo>
                    <a:pt x="1787" y="2094"/>
                  </a:lnTo>
                  <a:lnTo>
                    <a:pt x="1787" y="2091"/>
                  </a:lnTo>
                  <a:lnTo>
                    <a:pt x="1785" y="2083"/>
                  </a:lnTo>
                  <a:lnTo>
                    <a:pt x="1777" y="2082"/>
                  </a:lnTo>
                  <a:lnTo>
                    <a:pt x="1776" y="2079"/>
                  </a:lnTo>
                  <a:lnTo>
                    <a:pt x="1769" y="2076"/>
                  </a:lnTo>
                  <a:lnTo>
                    <a:pt x="1771" y="2069"/>
                  </a:lnTo>
                  <a:lnTo>
                    <a:pt x="1770" y="2063"/>
                  </a:lnTo>
                  <a:lnTo>
                    <a:pt x="1769" y="2059"/>
                  </a:lnTo>
                  <a:lnTo>
                    <a:pt x="1749" y="2053"/>
                  </a:lnTo>
                  <a:lnTo>
                    <a:pt x="1749" y="2046"/>
                  </a:lnTo>
                  <a:lnTo>
                    <a:pt x="1751" y="2041"/>
                  </a:lnTo>
                  <a:lnTo>
                    <a:pt x="1748" y="2034"/>
                  </a:lnTo>
                  <a:lnTo>
                    <a:pt x="1749" y="2032"/>
                  </a:lnTo>
                  <a:lnTo>
                    <a:pt x="1752" y="2032"/>
                  </a:lnTo>
                  <a:lnTo>
                    <a:pt x="1753" y="2028"/>
                  </a:lnTo>
                  <a:lnTo>
                    <a:pt x="1751" y="2025"/>
                  </a:lnTo>
                  <a:lnTo>
                    <a:pt x="1752" y="2019"/>
                  </a:lnTo>
                  <a:lnTo>
                    <a:pt x="1751" y="2013"/>
                  </a:lnTo>
                  <a:lnTo>
                    <a:pt x="1752" y="2009"/>
                  </a:lnTo>
                  <a:lnTo>
                    <a:pt x="1752" y="2005"/>
                  </a:lnTo>
                  <a:lnTo>
                    <a:pt x="1746" y="2001"/>
                  </a:lnTo>
                  <a:lnTo>
                    <a:pt x="1742" y="1995"/>
                  </a:lnTo>
                  <a:lnTo>
                    <a:pt x="1737" y="1991"/>
                  </a:lnTo>
                  <a:lnTo>
                    <a:pt x="1730" y="1991"/>
                  </a:lnTo>
                  <a:lnTo>
                    <a:pt x="1728" y="1991"/>
                  </a:lnTo>
                  <a:lnTo>
                    <a:pt x="1727" y="1988"/>
                  </a:lnTo>
                  <a:lnTo>
                    <a:pt x="1730" y="1983"/>
                  </a:lnTo>
                  <a:lnTo>
                    <a:pt x="1730" y="1980"/>
                  </a:lnTo>
                  <a:lnTo>
                    <a:pt x="1732" y="1976"/>
                  </a:lnTo>
                  <a:lnTo>
                    <a:pt x="1732" y="1966"/>
                  </a:lnTo>
                  <a:lnTo>
                    <a:pt x="1730" y="1963"/>
                  </a:lnTo>
                  <a:lnTo>
                    <a:pt x="1723" y="1960"/>
                  </a:lnTo>
                  <a:lnTo>
                    <a:pt x="1713" y="1960"/>
                  </a:lnTo>
                  <a:lnTo>
                    <a:pt x="1710" y="1958"/>
                  </a:lnTo>
                  <a:lnTo>
                    <a:pt x="1709" y="1938"/>
                  </a:lnTo>
                  <a:lnTo>
                    <a:pt x="1709" y="1934"/>
                  </a:lnTo>
                  <a:lnTo>
                    <a:pt x="1707" y="1932"/>
                  </a:lnTo>
                  <a:lnTo>
                    <a:pt x="1710" y="1925"/>
                  </a:lnTo>
                  <a:lnTo>
                    <a:pt x="1710" y="1924"/>
                  </a:lnTo>
                  <a:lnTo>
                    <a:pt x="1702" y="1920"/>
                  </a:lnTo>
                  <a:lnTo>
                    <a:pt x="1696" y="1908"/>
                  </a:lnTo>
                  <a:lnTo>
                    <a:pt x="1697" y="1889"/>
                  </a:lnTo>
                  <a:lnTo>
                    <a:pt x="1691" y="1885"/>
                  </a:lnTo>
                  <a:lnTo>
                    <a:pt x="1685" y="1880"/>
                  </a:lnTo>
                  <a:lnTo>
                    <a:pt x="1685" y="1876"/>
                  </a:lnTo>
                  <a:lnTo>
                    <a:pt x="1681" y="1871"/>
                  </a:lnTo>
                  <a:lnTo>
                    <a:pt x="1681" y="1865"/>
                  </a:lnTo>
                  <a:lnTo>
                    <a:pt x="1680" y="1863"/>
                  </a:lnTo>
                  <a:lnTo>
                    <a:pt x="1675" y="1863"/>
                  </a:lnTo>
                  <a:lnTo>
                    <a:pt x="1667" y="1871"/>
                  </a:lnTo>
                  <a:lnTo>
                    <a:pt x="1659" y="1870"/>
                  </a:lnTo>
                  <a:lnTo>
                    <a:pt x="1653" y="1870"/>
                  </a:lnTo>
                  <a:lnTo>
                    <a:pt x="1649" y="1867"/>
                  </a:lnTo>
                  <a:lnTo>
                    <a:pt x="1644" y="1865"/>
                  </a:lnTo>
                  <a:lnTo>
                    <a:pt x="1644" y="1859"/>
                  </a:lnTo>
                  <a:lnTo>
                    <a:pt x="1641" y="1852"/>
                  </a:lnTo>
                  <a:lnTo>
                    <a:pt x="1634" y="1852"/>
                  </a:lnTo>
                  <a:lnTo>
                    <a:pt x="1631" y="1847"/>
                  </a:lnTo>
                  <a:lnTo>
                    <a:pt x="1622" y="1840"/>
                  </a:lnTo>
                  <a:lnTo>
                    <a:pt x="1616" y="1840"/>
                  </a:lnTo>
                  <a:lnTo>
                    <a:pt x="1610" y="1830"/>
                  </a:lnTo>
                  <a:lnTo>
                    <a:pt x="1610" y="1822"/>
                  </a:lnTo>
                  <a:lnTo>
                    <a:pt x="1607" y="1817"/>
                  </a:lnTo>
                  <a:lnTo>
                    <a:pt x="1609" y="1814"/>
                  </a:lnTo>
                  <a:lnTo>
                    <a:pt x="1606" y="1805"/>
                  </a:lnTo>
                  <a:lnTo>
                    <a:pt x="1603" y="1802"/>
                  </a:lnTo>
                  <a:lnTo>
                    <a:pt x="1599" y="1793"/>
                  </a:lnTo>
                  <a:lnTo>
                    <a:pt x="1588" y="1792"/>
                  </a:lnTo>
                  <a:lnTo>
                    <a:pt x="1582" y="1795"/>
                  </a:lnTo>
                  <a:lnTo>
                    <a:pt x="1570" y="1796"/>
                  </a:lnTo>
                  <a:lnTo>
                    <a:pt x="1559" y="1796"/>
                  </a:lnTo>
                  <a:lnTo>
                    <a:pt x="1549" y="1793"/>
                  </a:lnTo>
                  <a:lnTo>
                    <a:pt x="1546" y="1789"/>
                  </a:lnTo>
                  <a:lnTo>
                    <a:pt x="1535" y="1792"/>
                  </a:lnTo>
                  <a:lnTo>
                    <a:pt x="1531" y="1792"/>
                  </a:lnTo>
                  <a:lnTo>
                    <a:pt x="1528" y="1790"/>
                  </a:lnTo>
                  <a:lnTo>
                    <a:pt x="1525" y="1786"/>
                  </a:lnTo>
                  <a:lnTo>
                    <a:pt x="1524" y="1783"/>
                  </a:lnTo>
                  <a:lnTo>
                    <a:pt x="1520" y="1783"/>
                  </a:lnTo>
                  <a:lnTo>
                    <a:pt x="1520" y="1780"/>
                  </a:lnTo>
                  <a:lnTo>
                    <a:pt x="1517" y="1777"/>
                  </a:lnTo>
                  <a:lnTo>
                    <a:pt x="1511" y="1773"/>
                  </a:lnTo>
                  <a:lnTo>
                    <a:pt x="1507" y="1773"/>
                  </a:lnTo>
                  <a:lnTo>
                    <a:pt x="1505" y="1772"/>
                  </a:lnTo>
                  <a:lnTo>
                    <a:pt x="1499" y="1765"/>
                  </a:lnTo>
                  <a:lnTo>
                    <a:pt x="1495" y="1760"/>
                  </a:lnTo>
                  <a:lnTo>
                    <a:pt x="1485" y="1747"/>
                  </a:lnTo>
                  <a:lnTo>
                    <a:pt x="1479" y="1743"/>
                  </a:lnTo>
                  <a:lnTo>
                    <a:pt x="1478" y="1733"/>
                  </a:lnTo>
                  <a:lnTo>
                    <a:pt x="1472" y="1725"/>
                  </a:lnTo>
                  <a:lnTo>
                    <a:pt x="1471" y="1723"/>
                  </a:lnTo>
                  <a:lnTo>
                    <a:pt x="1470" y="1723"/>
                  </a:lnTo>
                  <a:lnTo>
                    <a:pt x="1463" y="1715"/>
                  </a:lnTo>
                  <a:lnTo>
                    <a:pt x="1450" y="1706"/>
                  </a:lnTo>
                  <a:lnTo>
                    <a:pt x="1445" y="1706"/>
                  </a:lnTo>
                  <a:lnTo>
                    <a:pt x="1439" y="1708"/>
                  </a:lnTo>
                  <a:lnTo>
                    <a:pt x="1432" y="1708"/>
                  </a:lnTo>
                  <a:lnTo>
                    <a:pt x="1428" y="1705"/>
                  </a:lnTo>
                  <a:lnTo>
                    <a:pt x="1426" y="1698"/>
                  </a:lnTo>
                  <a:lnTo>
                    <a:pt x="1424" y="1697"/>
                  </a:lnTo>
                  <a:lnTo>
                    <a:pt x="1412" y="1696"/>
                  </a:lnTo>
                  <a:lnTo>
                    <a:pt x="1406" y="1689"/>
                  </a:lnTo>
                  <a:lnTo>
                    <a:pt x="1403" y="1686"/>
                  </a:lnTo>
                  <a:lnTo>
                    <a:pt x="1403" y="1676"/>
                  </a:lnTo>
                  <a:lnTo>
                    <a:pt x="1399" y="1672"/>
                  </a:lnTo>
                  <a:lnTo>
                    <a:pt x="1399" y="1665"/>
                  </a:lnTo>
                  <a:lnTo>
                    <a:pt x="1397" y="1663"/>
                  </a:lnTo>
                  <a:lnTo>
                    <a:pt x="1395" y="1661"/>
                  </a:lnTo>
                  <a:lnTo>
                    <a:pt x="1393" y="1657"/>
                  </a:lnTo>
                  <a:lnTo>
                    <a:pt x="1392" y="1656"/>
                  </a:lnTo>
                  <a:lnTo>
                    <a:pt x="1389" y="1654"/>
                  </a:lnTo>
                  <a:lnTo>
                    <a:pt x="1381" y="1657"/>
                  </a:lnTo>
                  <a:lnTo>
                    <a:pt x="1375" y="1656"/>
                  </a:lnTo>
                  <a:lnTo>
                    <a:pt x="1371" y="1656"/>
                  </a:lnTo>
                  <a:lnTo>
                    <a:pt x="1370" y="1654"/>
                  </a:lnTo>
                  <a:lnTo>
                    <a:pt x="1362" y="1644"/>
                  </a:lnTo>
                  <a:lnTo>
                    <a:pt x="1358" y="1644"/>
                  </a:lnTo>
                  <a:lnTo>
                    <a:pt x="1354" y="1636"/>
                  </a:lnTo>
                  <a:lnTo>
                    <a:pt x="1348" y="1631"/>
                  </a:lnTo>
                  <a:lnTo>
                    <a:pt x="1346" y="1630"/>
                  </a:lnTo>
                  <a:lnTo>
                    <a:pt x="1346" y="1624"/>
                  </a:lnTo>
                  <a:lnTo>
                    <a:pt x="1342" y="1621"/>
                  </a:lnTo>
                  <a:lnTo>
                    <a:pt x="1326" y="1622"/>
                  </a:lnTo>
                  <a:lnTo>
                    <a:pt x="1311" y="1621"/>
                  </a:lnTo>
                  <a:lnTo>
                    <a:pt x="1308" y="1618"/>
                  </a:lnTo>
                  <a:lnTo>
                    <a:pt x="1308" y="1611"/>
                  </a:lnTo>
                  <a:lnTo>
                    <a:pt x="1303" y="1609"/>
                  </a:lnTo>
                  <a:lnTo>
                    <a:pt x="1290" y="1614"/>
                  </a:lnTo>
                  <a:lnTo>
                    <a:pt x="1276" y="1617"/>
                  </a:lnTo>
                  <a:lnTo>
                    <a:pt x="1261" y="1611"/>
                  </a:lnTo>
                  <a:lnTo>
                    <a:pt x="1256" y="1602"/>
                  </a:lnTo>
                  <a:lnTo>
                    <a:pt x="1251" y="1601"/>
                  </a:lnTo>
                  <a:lnTo>
                    <a:pt x="1243" y="1609"/>
                  </a:lnTo>
                  <a:lnTo>
                    <a:pt x="1231" y="1614"/>
                  </a:lnTo>
                  <a:lnTo>
                    <a:pt x="1225" y="1612"/>
                  </a:lnTo>
                  <a:lnTo>
                    <a:pt x="1217" y="1609"/>
                  </a:lnTo>
                  <a:lnTo>
                    <a:pt x="1214" y="1605"/>
                  </a:lnTo>
                  <a:lnTo>
                    <a:pt x="1204" y="1604"/>
                  </a:lnTo>
                  <a:lnTo>
                    <a:pt x="1196" y="1596"/>
                  </a:lnTo>
                  <a:lnTo>
                    <a:pt x="1192" y="1593"/>
                  </a:lnTo>
                  <a:lnTo>
                    <a:pt x="1190" y="1586"/>
                  </a:lnTo>
                  <a:lnTo>
                    <a:pt x="1183" y="1579"/>
                  </a:lnTo>
                  <a:lnTo>
                    <a:pt x="1183" y="1573"/>
                  </a:lnTo>
                  <a:lnTo>
                    <a:pt x="1186" y="1572"/>
                  </a:lnTo>
                  <a:lnTo>
                    <a:pt x="1186" y="1569"/>
                  </a:lnTo>
                  <a:lnTo>
                    <a:pt x="1180" y="1564"/>
                  </a:lnTo>
                  <a:lnTo>
                    <a:pt x="1176" y="1565"/>
                  </a:lnTo>
                  <a:lnTo>
                    <a:pt x="1172" y="1564"/>
                  </a:lnTo>
                  <a:lnTo>
                    <a:pt x="1162" y="1556"/>
                  </a:lnTo>
                  <a:lnTo>
                    <a:pt x="1158" y="1557"/>
                  </a:lnTo>
                  <a:lnTo>
                    <a:pt x="1154" y="1556"/>
                  </a:lnTo>
                  <a:lnTo>
                    <a:pt x="1154" y="1549"/>
                  </a:lnTo>
                  <a:lnTo>
                    <a:pt x="1154" y="1542"/>
                  </a:lnTo>
                  <a:lnTo>
                    <a:pt x="1160" y="1536"/>
                  </a:lnTo>
                  <a:lnTo>
                    <a:pt x="1164" y="1524"/>
                  </a:lnTo>
                  <a:lnTo>
                    <a:pt x="1162" y="1523"/>
                  </a:lnTo>
                  <a:lnTo>
                    <a:pt x="1154" y="1524"/>
                  </a:lnTo>
                  <a:lnTo>
                    <a:pt x="1143" y="1528"/>
                  </a:lnTo>
                  <a:lnTo>
                    <a:pt x="1138" y="1528"/>
                  </a:lnTo>
                  <a:lnTo>
                    <a:pt x="1135" y="1522"/>
                  </a:lnTo>
                  <a:lnTo>
                    <a:pt x="1127" y="1519"/>
                  </a:lnTo>
                  <a:lnTo>
                    <a:pt x="1127" y="1518"/>
                  </a:lnTo>
                  <a:lnTo>
                    <a:pt x="1132" y="1515"/>
                  </a:lnTo>
                  <a:lnTo>
                    <a:pt x="1132" y="1511"/>
                  </a:lnTo>
                  <a:lnTo>
                    <a:pt x="1126" y="1509"/>
                  </a:lnTo>
                  <a:lnTo>
                    <a:pt x="1126" y="1507"/>
                  </a:lnTo>
                  <a:lnTo>
                    <a:pt x="1119" y="1511"/>
                  </a:lnTo>
                  <a:lnTo>
                    <a:pt x="1115" y="1509"/>
                  </a:lnTo>
                  <a:lnTo>
                    <a:pt x="1110" y="1515"/>
                  </a:lnTo>
                  <a:lnTo>
                    <a:pt x="1105" y="1515"/>
                  </a:lnTo>
                  <a:lnTo>
                    <a:pt x="1100" y="1511"/>
                  </a:lnTo>
                  <a:lnTo>
                    <a:pt x="1096" y="1511"/>
                  </a:lnTo>
                  <a:lnTo>
                    <a:pt x="1090" y="1507"/>
                  </a:lnTo>
                  <a:lnTo>
                    <a:pt x="1091" y="1502"/>
                  </a:lnTo>
                  <a:lnTo>
                    <a:pt x="1090" y="1498"/>
                  </a:lnTo>
                  <a:lnTo>
                    <a:pt x="1086" y="1498"/>
                  </a:lnTo>
                  <a:lnTo>
                    <a:pt x="1083" y="1500"/>
                  </a:lnTo>
                  <a:lnTo>
                    <a:pt x="1083" y="1507"/>
                  </a:lnTo>
                  <a:lnTo>
                    <a:pt x="1082" y="1509"/>
                  </a:lnTo>
                  <a:lnTo>
                    <a:pt x="1073" y="1505"/>
                  </a:lnTo>
                  <a:lnTo>
                    <a:pt x="1065" y="1495"/>
                  </a:lnTo>
                  <a:lnTo>
                    <a:pt x="1058" y="1493"/>
                  </a:lnTo>
                  <a:lnTo>
                    <a:pt x="1054" y="1489"/>
                  </a:lnTo>
                  <a:lnTo>
                    <a:pt x="1050" y="1475"/>
                  </a:lnTo>
                  <a:lnTo>
                    <a:pt x="1054" y="1474"/>
                  </a:lnTo>
                  <a:lnTo>
                    <a:pt x="1051" y="1464"/>
                  </a:lnTo>
                  <a:lnTo>
                    <a:pt x="1054" y="1460"/>
                  </a:lnTo>
                  <a:lnTo>
                    <a:pt x="1052" y="1457"/>
                  </a:lnTo>
                  <a:lnTo>
                    <a:pt x="1041" y="1457"/>
                  </a:lnTo>
                  <a:lnTo>
                    <a:pt x="1029" y="1449"/>
                  </a:lnTo>
                  <a:lnTo>
                    <a:pt x="1027" y="1448"/>
                  </a:lnTo>
                  <a:lnTo>
                    <a:pt x="1029" y="1447"/>
                  </a:lnTo>
                  <a:lnTo>
                    <a:pt x="1026" y="1444"/>
                  </a:lnTo>
                  <a:lnTo>
                    <a:pt x="1018" y="1443"/>
                  </a:lnTo>
                  <a:lnTo>
                    <a:pt x="1016" y="1444"/>
                  </a:lnTo>
                  <a:lnTo>
                    <a:pt x="1005" y="1437"/>
                  </a:lnTo>
                  <a:lnTo>
                    <a:pt x="998" y="1436"/>
                  </a:lnTo>
                  <a:lnTo>
                    <a:pt x="987" y="1433"/>
                  </a:lnTo>
                  <a:lnTo>
                    <a:pt x="975" y="1433"/>
                  </a:lnTo>
                  <a:lnTo>
                    <a:pt x="972" y="1435"/>
                  </a:lnTo>
                  <a:lnTo>
                    <a:pt x="968" y="1430"/>
                  </a:lnTo>
                  <a:lnTo>
                    <a:pt x="963" y="1433"/>
                  </a:lnTo>
                  <a:lnTo>
                    <a:pt x="958" y="1436"/>
                  </a:lnTo>
                  <a:lnTo>
                    <a:pt x="955" y="1440"/>
                  </a:lnTo>
                  <a:lnTo>
                    <a:pt x="951" y="1440"/>
                  </a:lnTo>
                  <a:lnTo>
                    <a:pt x="946" y="1433"/>
                  </a:lnTo>
                  <a:lnTo>
                    <a:pt x="941" y="1433"/>
                  </a:lnTo>
                  <a:lnTo>
                    <a:pt x="937" y="1428"/>
                  </a:lnTo>
                  <a:lnTo>
                    <a:pt x="936" y="1425"/>
                  </a:lnTo>
                  <a:lnTo>
                    <a:pt x="930" y="1427"/>
                  </a:lnTo>
                  <a:lnTo>
                    <a:pt x="929" y="1422"/>
                  </a:lnTo>
                  <a:lnTo>
                    <a:pt x="922" y="1418"/>
                  </a:lnTo>
                  <a:lnTo>
                    <a:pt x="920" y="1413"/>
                  </a:lnTo>
                  <a:lnTo>
                    <a:pt x="915" y="1413"/>
                  </a:lnTo>
                  <a:lnTo>
                    <a:pt x="912" y="1412"/>
                  </a:lnTo>
                  <a:lnTo>
                    <a:pt x="909" y="1415"/>
                  </a:lnTo>
                  <a:lnTo>
                    <a:pt x="905" y="1416"/>
                  </a:lnTo>
                  <a:lnTo>
                    <a:pt x="900" y="1418"/>
                  </a:lnTo>
                  <a:lnTo>
                    <a:pt x="897" y="1418"/>
                  </a:lnTo>
                  <a:lnTo>
                    <a:pt x="892" y="1418"/>
                  </a:lnTo>
                  <a:lnTo>
                    <a:pt x="891" y="1422"/>
                  </a:lnTo>
                  <a:lnTo>
                    <a:pt x="884" y="1422"/>
                  </a:lnTo>
                  <a:lnTo>
                    <a:pt x="880" y="1422"/>
                  </a:lnTo>
                  <a:lnTo>
                    <a:pt x="869" y="1422"/>
                  </a:lnTo>
                  <a:lnTo>
                    <a:pt x="867" y="1422"/>
                  </a:lnTo>
                  <a:lnTo>
                    <a:pt x="856" y="1418"/>
                  </a:lnTo>
                  <a:lnTo>
                    <a:pt x="841" y="1427"/>
                  </a:lnTo>
                  <a:lnTo>
                    <a:pt x="837" y="1427"/>
                  </a:lnTo>
                  <a:lnTo>
                    <a:pt x="830" y="1436"/>
                  </a:lnTo>
                  <a:lnTo>
                    <a:pt x="824" y="1440"/>
                  </a:lnTo>
                  <a:lnTo>
                    <a:pt x="822" y="1440"/>
                  </a:lnTo>
                  <a:lnTo>
                    <a:pt x="819" y="1443"/>
                  </a:lnTo>
                  <a:lnTo>
                    <a:pt x="803" y="1447"/>
                  </a:lnTo>
                  <a:lnTo>
                    <a:pt x="798" y="1444"/>
                  </a:lnTo>
                  <a:lnTo>
                    <a:pt x="797" y="1443"/>
                  </a:lnTo>
                  <a:lnTo>
                    <a:pt x="797" y="1444"/>
                  </a:lnTo>
                  <a:lnTo>
                    <a:pt x="794" y="1447"/>
                  </a:lnTo>
                  <a:lnTo>
                    <a:pt x="788" y="1440"/>
                  </a:lnTo>
                  <a:lnTo>
                    <a:pt x="786" y="1444"/>
                  </a:lnTo>
                  <a:lnTo>
                    <a:pt x="784" y="1444"/>
                  </a:lnTo>
                  <a:lnTo>
                    <a:pt x="783" y="1440"/>
                  </a:lnTo>
                  <a:lnTo>
                    <a:pt x="776" y="1440"/>
                  </a:lnTo>
                  <a:lnTo>
                    <a:pt x="772" y="1440"/>
                  </a:lnTo>
                  <a:lnTo>
                    <a:pt x="766" y="1440"/>
                  </a:lnTo>
                  <a:lnTo>
                    <a:pt x="763" y="1440"/>
                  </a:lnTo>
                  <a:lnTo>
                    <a:pt x="761" y="1438"/>
                  </a:lnTo>
                  <a:lnTo>
                    <a:pt x="758" y="1440"/>
                  </a:lnTo>
                  <a:lnTo>
                    <a:pt x="755" y="1437"/>
                  </a:lnTo>
                  <a:lnTo>
                    <a:pt x="752" y="1438"/>
                  </a:lnTo>
                  <a:lnTo>
                    <a:pt x="749" y="1438"/>
                  </a:lnTo>
                  <a:lnTo>
                    <a:pt x="747" y="1440"/>
                  </a:lnTo>
                  <a:lnTo>
                    <a:pt x="744" y="1437"/>
                  </a:lnTo>
                  <a:lnTo>
                    <a:pt x="742" y="1433"/>
                  </a:lnTo>
                  <a:lnTo>
                    <a:pt x="739" y="1431"/>
                  </a:lnTo>
                  <a:lnTo>
                    <a:pt x="739" y="1430"/>
                  </a:lnTo>
                  <a:lnTo>
                    <a:pt x="741" y="1430"/>
                  </a:lnTo>
                  <a:lnTo>
                    <a:pt x="741" y="1428"/>
                  </a:lnTo>
                  <a:lnTo>
                    <a:pt x="742" y="1427"/>
                  </a:lnTo>
                  <a:lnTo>
                    <a:pt x="742" y="1424"/>
                  </a:lnTo>
                  <a:lnTo>
                    <a:pt x="739" y="1422"/>
                  </a:lnTo>
                  <a:lnTo>
                    <a:pt x="742" y="1418"/>
                  </a:lnTo>
                  <a:lnTo>
                    <a:pt x="741" y="1418"/>
                  </a:lnTo>
                  <a:lnTo>
                    <a:pt x="741" y="1415"/>
                  </a:lnTo>
                  <a:lnTo>
                    <a:pt x="739" y="1411"/>
                  </a:lnTo>
                  <a:lnTo>
                    <a:pt x="736" y="1412"/>
                  </a:lnTo>
                  <a:lnTo>
                    <a:pt x="734" y="1408"/>
                  </a:lnTo>
                  <a:lnTo>
                    <a:pt x="733" y="1411"/>
                  </a:lnTo>
                  <a:lnTo>
                    <a:pt x="730" y="1408"/>
                  </a:lnTo>
                  <a:lnTo>
                    <a:pt x="728" y="1405"/>
                  </a:lnTo>
                  <a:lnTo>
                    <a:pt x="724" y="1402"/>
                  </a:lnTo>
                  <a:lnTo>
                    <a:pt x="720" y="1405"/>
                  </a:lnTo>
                  <a:lnTo>
                    <a:pt x="717" y="1405"/>
                  </a:lnTo>
                  <a:lnTo>
                    <a:pt x="716" y="1399"/>
                  </a:lnTo>
                  <a:lnTo>
                    <a:pt x="713" y="1399"/>
                  </a:lnTo>
                  <a:lnTo>
                    <a:pt x="705" y="1388"/>
                  </a:lnTo>
                  <a:lnTo>
                    <a:pt x="701" y="1386"/>
                  </a:lnTo>
                  <a:lnTo>
                    <a:pt x="698" y="1382"/>
                  </a:lnTo>
                  <a:lnTo>
                    <a:pt x="694" y="1382"/>
                  </a:lnTo>
                  <a:lnTo>
                    <a:pt x="688" y="1378"/>
                  </a:lnTo>
                  <a:lnTo>
                    <a:pt x="688" y="1375"/>
                  </a:lnTo>
                  <a:lnTo>
                    <a:pt x="686" y="1373"/>
                  </a:lnTo>
                  <a:lnTo>
                    <a:pt x="686" y="1371"/>
                  </a:lnTo>
                  <a:lnTo>
                    <a:pt x="677" y="1363"/>
                  </a:lnTo>
                  <a:lnTo>
                    <a:pt x="676" y="1363"/>
                  </a:lnTo>
                  <a:lnTo>
                    <a:pt x="676" y="1362"/>
                  </a:lnTo>
                  <a:lnTo>
                    <a:pt x="674" y="1363"/>
                  </a:lnTo>
                  <a:lnTo>
                    <a:pt x="672" y="1363"/>
                  </a:lnTo>
                  <a:lnTo>
                    <a:pt x="670" y="1366"/>
                  </a:lnTo>
                  <a:lnTo>
                    <a:pt x="667" y="1368"/>
                  </a:lnTo>
                  <a:lnTo>
                    <a:pt x="663" y="1360"/>
                  </a:lnTo>
                  <a:lnTo>
                    <a:pt x="663" y="1358"/>
                  </a:lnTo>
                  <a:lnTo>
                    <a:pt x="660" y="1358"/>
                  </a:lnTo>
                  <a:lnTo>
                    <a:pt x="659" y="1353"/>
                  </a:lnTo>
                  <a:lnTo>
                    <a:pt x="656" y="1350"/>
                  </a:lnTo>
                  <a:lnTo>
                    <a:pt x="652" y="1353"/>
                  </a:lnTo>
                  <a:lnTo>
                    <a:pt x="651" y="1350"/>
                  </a:lnTo>
                  <a:lnTo>
                    <a:pt x="647" y="1356"/>
                  </a:lnTo>
                  <a:lnTo>
                    <a:pt x="647" y="1354"/>
                  </a:lnTo>
                  <a:lnTo>
                    <a:pt x="641" y="1362"/>
                  </a:lnTo>
                  <a:lnTo>
                    <a:pt x="637" y="1366"/>
                  </a:lnTo>
                  <a:lnTo>
                    <a:pt x="634" y="1369"/>
                  </a:lnTo>
                  <a:lnTo>
                    <a:pt x="630" y="1373"/>
                  </a:lnTo>
                  <a:lnTo>
                    <a:pt x="627" y="1379"/>
                  </a:lnTo>
                  <a:lnTo>
                    <a:pt x="621" y="1382"/>
                  </a:lnTo>
                  <a:lnTo>
                    <a:pt x="614" y="1388"/>
                  </a:lnTo>
                  <a:lnTo>
                    <a:pt x="614" y="1391"/>
                  </a:lnTo>
                  <a:lnTo>
                    <a:pt x="610" y="1391"/>
                  </a:lnTo>
                  <a:lnTo>
                    <a:pt x="602" y="1395"/>
                  </a:lnTo>
                  <a:lnTo>
                    <a:pt x="598" y="1395"/>
                  </a:lnTo>
                  <a:lnTo>
                    <a:pt x="595" y="1399"/>
                  </a:lnTo>
                  <a:lnTo>
                    <a:pt x="593" y="1398"/>
                  </a:lnTo>
                  <a:lnTo>
                    <a:pt x="591" y="1399"/>
                  </a:lnTo>
                  <a:lnTo>
                    <a:pt x="588" y="1399"/>
                  </a:lnTo>
                  <a:lnTo>
                    <a:pt x="585" y="1398"/>
                  </a:lnTo>
                  <a:lnTo>
                    <a:pt x="584" y="1399"/>
                  </a:lnTo>
                  <a:lnTo>
                    <a:pt x="581" y="1398"/>
                  </a:lnTo>
                  <a:lnTo>
                    <a:pt x="571" y="1402"/>
                  </a:lnTo>
                  <a:lnTo>
                    <a:pt x="570" y="1399"/>
                  </a:lnTo>
                  <a:lnTo>
                    <a:pt x="570" y="1395"/>
                  </a:lnTo>
                  <a:lnTo>
                    <a:pt x="568" y="1394"/>
                  </a:lnTo>
                  <a:lnTo>
                    <a:pt x="571" y="1385"/>
                  </a:lnTo>
                  <a:lnTo>
                    <a:pt x="571" y="1377"/>
                  </a:lnTo>
                  <a:lnTo>
                    <a:pt x="568" y="1369"/>
                  </a:lnTo>
                  <a:lnTo>
                    <a:pt x="570" y="1360"/>
                  </a:lnTo>
                  <a:lnTo>
                    <a:pt x="567" y="1357"/>
                  </a:lnTo>
                  <a:lnTo>
                    <a:pt x="542" y="1331"/>
                  </a:lnTo>
                  <a:lnTo>
                    <a:pt x="537" y="1333"/>
                  </a:lnTo>
                  <a:lnTo>
                    <a:pt x="531" y="1341"/>
                  </a:lnTo>
                  <a:lnTo>
                    <a:pt x="527" y="1344"/>
                  </a:lnTo>
                  <a:lnTo>
                    <a:pt x="513" y="1358"/>
                  </a:lnTo>
                  <a:lnTo>
                    <a:pt x="509" y="1356"/>
                  </a:lnTo>
                  <a:lnTo>
                    <a:pt x="506" y="1357"/>
                  </a:lnTo>
                  <a:lnTo>
                    <a:pt x="501" y="1356"/>
                  </a:lnTo>
                  <a:lnTo>
                    <a:pt x="498" y="1350"/>
                  </a:lnTo>
                  <a:lnTo>
                    <a:pt x="493" y="1350"/>
                  </a:lnTo>
                  <a:lnTo>
                    <a:pt x="493" y="1346"/>
                  </a:lnTo>
                  <a:lnTo>
                    <a:pt x="491" y="1346"/>
                  </a:lnTo>
                  <a:lnTo>
                    <a:pt x="479" y="1344"/>
                  </a:lnTo>
                  <a:lnTo>
                    <a:pt x="477" y="1337"/>
                  </a:lnTo>
                  <a:lnTo>
                    <a:pt x="477" y="1333"/>
                  </a:lnTo>
                  <a:lnTo>
                    <a:pt x="473" y="1324"/>
                  </a:lnTo>
                  <a:lnTo>
                    <a:pt x="467" y="1324"/>
                  </a:lnTo>
                  <a:lnTo>
                    <a:pt x="463" y="1328"/>
                  </a:lnTo>
                  <a:lnTo>
                    <a:pt x="460" y="1324"/>
                  </a:lnTo>
                  <a:lnTo>
                    <a:pt x="459" y="1323"/>
                  </a:lnTo>
                  <a:lnTo>
                    <a:pt x="446" y="1287"/>
                  </a:lnTo>
                  <a:lnTo>
                    <a:pt x="442" y="1279"/>
                  </a:lnTo>
                  <a:lnTo>
                    <a:pt x="441" y="1278"/>
                  </a:lnTo>
                  <a:lnTo>
                    <a:pt x="441" y="1275"/>
                  </a:lnTo>
                  <a:lnTo>
                    <a:pt x="439" y="1274"/>
                  </a:lnTo>
                  <a:lnTo>
                    <a:pt x="441" y="1273"/>
                  </a:lnTo>
                  <a:lnTo>
                    <a:pt x="439" y="1269"/>
                  </a:lnTo>
                  <a:lnTo>
                    <a:pt x="438" y="1266"/>
                  </a:lnTo>
                  <a:lnTo>
                    <a:pt x="438" y="1265"/>
                  </a:lnTo>
                  <a:lnTo>
                    <a:pt x="434" y="1270"/>
                  </a:lnTo>
                  <a:lnTo>
                    <a:pt x="435" y="1273"/>
                  </a:lnTo>
                  <a:lnTo>
                    <a:pt x="435" y="1275"/>
                  </a:lnTo>
                  <a:lnTo>
                    <a:pt x="432" y="1274"/>
                  </a:lnTo>
                  <a:lnTo>
                    <a:pt x="427" y="1275"/>
                  </a:lnTo>
                  <a:lnTo>
                    <a:pt x="423" y="1273"/>
                  </a:lnTo>
                  <a:lnTo>
                    <a:pt x="414" y="1270"/>
                  </a:lnTo>
                  <a:lnTo>
                    <a:pt x="410" y="1266"/>
                  </a:lnTo>
                  <a:lnTo>
                    <a:pt x="410" y="1262"/>
                  </a:lnTo>
                  <a:lnTo>
                    <a:pt x="404" y="1251"/>
                  </a:lnTo>
                  <a:lnTo>
                    <a:pt x="395" y="1249"/>
                  </a:lnTo>
                  <a:lnTo>
                    <a:pt x="44" y="1249"/>
                  </a:lnTo>
                  <a:lnTo>
                    <a:pt x="0" y="1249"/>
                  </a:lnTo>
                  <a:lnTo>
                    <a:pt x="3" y="1244"/>
                  </a:lnTo>
                  <a:lnTo>
                    <a:pt x="8" y="1244"/>
                  </a:lnTo>
                  <a:lnTo>
                    <a:pt x="9" y="1242"/>
                  </a:lnTo>
                  <a:lnTo>
                    <a:pt x="12" y="1240"/>
                  </a:lnTo>
                  <a:lnTo>
                    <a:pt x="19" y="1234"/>
                  </a:lnTo>
                  <a:lnTo>
                    <a:pt x="22" y="1231"/>
                  </a:lnTo>
                  <a:lnTo>
                    <a:pt x="29" y="1221"/>
                  </a:lnTo>
                  <a:lnTo>
                    <a:pt x="34" y="1220"/>
                  </a:lnTo>
                  <a:lnTo>
                    <a:pt x="37" y="1216"/>
                  </a:lnTo>
                  <a:lnTo>
                    <a:pt x="42" y="1204"/>
                  </a:lnTo>
                  <a:lnTo>
                    <a:pt x="50" y="1199"/>
                  </a:lnTo>
                  <a:lnTo>
                    <a:pt x="57" y="1194"/>
                  </a:lnTo>
                  <a:lnTo>
                    <a:pt x="55" y="1188"/>
                  </a:lnTo>
                  <a:lnTo>
                    <a:pt x="60" y="1180"/>
                  </a:lnTo>
                  <a:lnTo>
                    <a:pt x="57" y="1176"/>
                  </a:lnTo>
                  <a:lnTo>
                    <a:pt x="55" y="1175"/>
                  </a:lnTo>
                  <a:lnTo>
                    <a:pt x="60" y="1172"/>
                  </a:lnTo>
                  <a:lnTo>
                    <a:pt x="69" y="1171"/>
                  </a:lnTo>
                  <a:lnTo>
                    <a:pt x="71" y="1171"/>
                  </a:lnTo>
                  <a:lnTo>
                    <a:pt x="76" y="1163"/>
                  </a:lnTo>
                  <a:lnTo>
                    <a:pt x="76" y="1162"/>
                  </a:lnTo>
                  <a:lnTo>
                    <a:pt x="83" y="1159"/>
                  </a:lnTo>
                  <a:lnTo>
                    <a:pt x="85" y="1154"/>
                  </a:lnTo>
                  <a:lnTo>
                    <a:pt x="92" y="1146"/>
                  </a:lnTo>
                  <a:lnTo>
                    <a:pt x="94" y="1141"/>
                  </a:lnTo>
                  <a:lnTo>
                    <a:pt x="100" y="1141"/>
                  </a:lnTo>
                  <a:lnTo>
                    <a:pt x="105" y="1141"/>
                  </a:lnTo>
                  <a:lnTo>
                    <a:pt x="113" y="1137"/>
                  </a:lnTo>
                  <a:lnTo>
                    <a:pt x="113" y="1134"/>
                  </a:lnTo>
                  <a:lnTo>
                    <a:pt x="107" y="1133"/>
                  </a:lnTo>
                  <a:lnTo>
                    <a:pt x="107" y="1130"/>
                  </a:lnTo>
                  <a:lnTo>
                    <a:pt x="108" y="1118"/>
                  </a:lnTo>
                  <a:lnTo>
                    <a:pt x="111" y="1117"/>
                  </a:lnTo>
                  <a:lnTo>
                    <a:pt x="114" y="1120"/>
                  </a:lnTo>
                  <a:lnTo>
                    <a:pt x="117" y="1120"/>
                  </a:lnTo>
                  <a:lnTo>
                    <a:pt x="119" y="1118"/>
                  </a:lnTo>
                  <a:lnTo>
                    <a:pt x="121" y="1115"/>
                  </a:lnTo>
                  <a:lnTo>
                    <a:pt x="119" y="1113"/>
                  </a:lnTo>
                  <a:lnTo>
                    <a:pt x="117" y="1115"/>
                  </a:lnTo>
                  <a:lnTo>
                    <a:pt x="113" y="1110"/>
                  </a:lnTo>
                  <a:lnTo>
                    <a:pt x="113" y="1105"/>
                  </a:lnTo>
                  <a:lnTo>
                    <a:pt x="115" y="1100"/>
                  </a:lnTo>
                  <a:lnTo>
                    <a:pt x="124" y="1091"/>
                  </a:lnTo>
                  <a:lnTo>
                    <a:pt x="127" y="1085"/>
                  </a:lnTo>
                  <a:lnTo>
                    <a:pt x="130" y="1083"/>
                  </a:lnTo>
                  <a:lnTo>
                    <a:pt x="136" y="1079"/>
                  </a:lnTo>
                  <a:lnTo>
                    <a:pt x="142" y="1078"/>
                  </a:lnTo>
                  <a:lnTo>
                    <a:pt x="149" y="1072"/>
                  </a:lnTo>
                  <a:lnTo>
                    <a:pt x="152" y="1070"/>
                  </a:lnTo>
                  <a:lnTo>
                    <a:pt x="150" y="1066"/>
                  </a:lnTo>
                  <a:lnTo>
                    <a:pt x="152" y="1062"/>
                  </a:lnTo>
                  <a:lnTo>
                    <a:pt x="167" y="1057"/>
                  </a:lnTo>
                  <a:lnTo>
                    <a:pt x="174" y="1050"/>
                  </a:lnTo>
                  <a:lnTo>
                    <a:pt x="182" y="1047"/>
                  </a:lnTo>
                  <a:lnTo>
                    <a:pt x="188" y="1047"/>
                  </a:lnTo>
                  <a:lnTo>
                    <a:pt x="192" y="1043"/>
                  </a:lnTo>
                  <a:lnTo>
                    <a:pt x="196" y="1042"/>
                  </a:lnTo>
                  <a:lnTo>
                    <a:pt x="199" y="1034"/>
                  </a:lnTo>
                  <a:lnTo>
                    <a:pt x="200" y="1033"/>
                  </a:lnTo>
                  <a:lnTo>
                    <a:pt x="199" y="1026"/>
                  </a:lnTo>
                  <a:lnTo>
                    <a:pt x="203" y="1020"/>
                  </a:lnTo>
                  <a:lnTo>
                    <a:pt x="210" y="1016"/>
                  </a:lnTo>
                  <a:lnTo>
                    <a:pt x="214" y="1017"/>
                  </a:lnTo>
                  <a:lnTo>
                    <a:pt x="217" y="1012"/>
                  </a:lnTo>
                  <a:lnTo>
                    <a:pt x="224" y="1010"/>
                  </a:lnTo>
                  <a:lnTo>
                    <a:pt x="233" y="1004"/>
                  </a:lnTo>
                  <a:lnTo>
                    <a:pt x="247" y="989"/>
                  </a:lnTo>
                  <a:lnTo>
                    <a:pt x="256" y="988"/>
                  </a:lnTo>
                  <a:lnTo>
                    <a:pt x="271" y="981"/>
                  </a:lnTo>
                  <a:lnTo>
                    <a:pt x="275" y="981"/>
                  </a:lnTo>
                  <a:lnTo>
                    <a:pt x="282" y="981"/>
                  </a:lnTo>
                  <a:lnTo>
                    <a:pt x="290" y="976"/>
                  </a:lnTo>
                  <a:lnTo>
                    <a:pt x="300" y="971"/>
                  </a:lnTo>
                  <a:lnTo>
                    <a:pt x="306" y="963"/>
                  </a:lnTo>
                  <a:lnTo>
                    <a:pt x="311" y="961"/>
                  </a:lnTo>
                  <a:lnTo>
                    <a:pt x="314" y="961"/>
                  </a:lnTo>
                  <a:lnTo>
                    <a:pt x="317" y="961"/>
                  </a:lnTo>
                  <a:lnTo>
                    <a:pt x="319" y="959"/>
                  </a:lnTo>
                  <a:lnTo>
                    <a:pt x="331" y="950"/>
                  </a:lnTo>
                  <a:lnTo>
                    <a:pt x="335" y="946"/>
                  </a:lnTo>
                  <a:lnTo>
                    <a:pt x="342" y="939"/>
                  </a:lnTo>
                  <a:lnTo>
                    <a:pt x="356" y="933"/>
                  </a:lnTo>
                  <a:lnTo>
                    <a:pt x="363" y="923"/>
                  </a:lnTo>
                  <a:lnTo>
                    <a:pt x="367" y="921"/>
                  </a:lnTo>
                  <a:lnTo>
                    <a:pt x="370" y="921"/>
                  </a:lnTo>
                  <a:lnTo>
                    <a:pt x="375" y="923"/>
                  </a:lnTo>
                  <a:lnTo>
                    <a:pt x="382" y="923"/>
                  </a:lnTo>
                  <a:lnTo>
                    <a:pt x="392" y="918"/>
                  </a:lnTo>
                  <a:lnTo>
                    <a:pt x="401" y="930"/>
                  </a:lnTo>
                  <a:lnTo>
                    <a:pt x="410" y="936"/>
                  </a:lnTo>
                  <a:lnTo>
                    <a:pt x="413" y="936"/>
                  </a:lnTo>
                  <a:lnTo>
                    <a:pt x="416" y="936"/>
                  </a:lnTo>
                  <a:lnTo>
                    <a:pt x="420" y="933"/>
                  </a:lnTo>
                  <a:lnTo>
                    <a:pt x="423" y="931"/>
                  </a:lnTo>
                  <a:lnTo>
                    <a:pt x="431" y="934"/>
                  </a:lnTo>
                  <a:lnTo>
                    <a:pt x="434" y="931"/>
                  </a:lnTo>
                  <a:lnTo>
                    <a:pt x="435" y="923"/>
                  </a:lnTo>
                  <a:lnTo>
                    <a:pt x="442" y="923"/>
                  </a:lnTo>
                  <a:lnTo>
                    <a:pt x="445" y="922"/>
                  </a:lnTo>
                  <a:lnTo>
                    <a:pt x="448" y="922"/>
                  </a:lnTo>
                  <a:lnTo>
                    <a:pt x="452" y="917"/>
                  </a:lnTo>
                  <a:lnTo>
                    <a:pt x="460" y="911"/>
                  </a:lnTo>
                  <a:lnTo>
                    <a:pt x="468" y="910"/>
                  </a:lnTo>
                  <a:lnTo>
                    <a:pt x="479" y="905"/>
                  </a:lnTo>
                  <a:lnTo>
                    <a:pt x="493" y="900"/>
                  </a:lnTo>
                  <a:lnTo>
                    <a:pt x="498" y="897"/>
                  </a:lnTo>
                  <a:lnTo>
                    <a:pt x="503" y="896"/>
                  </a:lnTo>
                  <a:lnTo>
                    <a:pt x="516" y="888"/>
                  </a:lnTo>
                  <a:lnTo>
                    <a:pt x="520" y="883"/>
                  </a:lnTo>
                  <a:lnTo>
                    <a:pt x="518" y="879"/>
                  </a:lnTo>
                  <a:lnTo>
                    <a:pt x="516" y="877"/>
                  </a:lnTo>
                  <a:lnTo>
                    <a:pt x="517" y="874"/>
                  </a:lnTo>
                  <a:lnTo>
                    <a:pt x="523" y="872"/>
                  </a:lnTo>
                  <a:lnTo>
                    <a:pt x="528" y="867"/>
                  </a:lnTo>
                  <a:lnTo>
                    <a:pt x="537" y="864"/>
                  </a:lnTo>
                  <a:lnTo>
                    <a:pt x="539" y="861"/>
                  </a:lnTo>
                  <a:lnTo>
                    <a:pt x="543" y="852"/>
                  </a:lnTo>
                  <a:lnTo>
                    <a:pt x="552" y="847"/>
                  </a:lnTo>
                  <a:lnTo>
                    <a:pt x="556" y="842"/>
                  </a:lnTo>
                  <a:lnTo>
                    <a:pt x="562" y="838"/>
                  </a:lnTo>
                  <a:lnTo>
                    <a:pt x="563" y="834"/>
                  </a:lnTo>
                  <a:lnTo>
                    <a:pt x="570" y="834"/>
                  </a:lnTo>
                  <a:lnTo>
                    <a:pt x="577" y="829"/>
                  </a:lnTo>
                  <a:lnTo>
                    <a:pt x="581" y="829"/>
                  </a:lnTo>
                  <a:lnTo>
                    <a:pt x="581" y="821"/>
                  </a:lnTo>
                  <a:lnTo>
                    <a:pt x="584" y="811"/>
                  </a:lnTo>
                  <a:lnTo>
                    <a:pt x="582" y="807"/>
                  </a:lnTo>
                  <a:lnTo>
                    <a:pt x="582" y="805"/>
                  </a:lnTo>
                  <a:lnTo>
                    <a:pt x="593" y="794"/>
                  </a:lnTo>
                  <a:lnTo>
                    <a:pt x="601" y="789"/>
                  </a:lnTo>
                  <a:lnTo>
                    <a:pt x="613" y="784"/>
                  </a:lnTo>
                  <a:lnTo>
                    <a:pt x="623" y="779"/>
                  </a:lnTo>
                  <a:lnTo>
                    <a:pt x="623" y="772"/>
                  </a:lnTo>
                  <a:lnTo>
                    <a:pt x="626" y="769"/>
                  </a:lnTo>
                  <a:lnTo>
                    <a:pt x="627" y="762"/>
                  </a:lnTo>
                  <a:lnTo>
                    <a:pt x="628" y="759"/>
                  </a:lnTo>
                  <a:lnTo>
                    <a:pt x="633" y="759"/>
                  </a:lnTo>
                  <a:lnTo>
                    <a:pt x="635" y="754"/>
                  </a:lnTo>
                  <a:lnTo>
                    <a:pt x="641" y="752"/>
                  </a:lnTo>
                  <a:lnTo>
                    <a:pt x="645" y="754"/>
                  </a:lnTo>
                  <a:lnTo>
                    <a:pt x="655" y="754"/>
                  </a:lnTo>
                  <a:lnTo>
                    <a:pt x="664" y="757"/>
                  </a:lnTo>
                  <a:lnTo>
                    <a:pt x="670" y="761"/>
                  </a:lnTo>
                  <a:lnTo>
                    <a:pt x="674" y="767"/>
                  </a:lnTo>
                  <a:lnTo>
                    <a:pt x="678" y="768"/>
                  </a:lnTo>
                  <a:lnTo>
                    <a:pt x="687" y="769"/>
                  </a:lnTo>
                  <a:lnTo>
                    <a:pt x="691" y="768"/>
                  </a:lnTo>
                  <a:lnTo>
                    <a:pt x="695" y="762"/>
                  </a:lnTo>
                  <a:lnTo>
                    <a:pt x="701" y="762"/>
                  </a:lnTo>
                  <a:lnTo>
                    <a:pt x="701" y="761"/>
                  </a:lnTo>
                  <a:lnTo>
                    <a:pt x="701" y="757"/>
                  </a:lnTo>
                  <a:lnTo>
                    <a:pt x="708" y="751"/>
                  </a:lnTo>
                  <a:lnTo>
                    <a:pt x="708" y="748"/>
                  </a:lnTo>
                  <a:lnTo>
                    <a:pt x="711" y="745"/>
                  </a:lnTo>
                  <a:lnTo>
                    <a:pt x="714" y="745"/>
                  </a:lnTo>
                  <a:lnTo>
                    <a:pt x="722" y="739"/>
                  </a:lnTo>
                  <a:lnTo>
                    <a:pt x="733" y="730"/>
                  </a:lnTo>
                  <a:lnTo>
                    <a:pt x="739" y="727"/>
                  </a:lnTo>
                  <a:lnTo>
                    <a:pt x="741" y="723"/>
                  </a:lnTo>
                  <a:lnTo>
                    <a:pt x="741" y="720"/>
                  </a:lnTo>
                  <a:lnTo>
                    <a:pt x="736" y="710"/>
                  </a:lnTo>
                  <a:lnTo>
                    <a:pt x="736" y="703"/>
                  </a:lnTo>
                  <a:lnTo>
                    <a:pt x="731" y="695"/>
                  </a:lnTo>
                  <a:lnTo>
                    <a:pt x="730" y="692"/>
                  </a:lnTo>
                  <a:lnTo>
                    <a:pt x="731" y="687"/>
                  </a:lnTo>
                  <a:lnTo>
                    <a:pt x="730" y="682"/>
                  </a:lnTo>
                  <a:lnTo>
                    <a:pt x="733" y="678"/>
                  </a:lnTo>
                  <a:lnTo>
                    <a:pt x="741" y="674"/>
                  </a:lnTo>
                  <a:lnTo>
                    <a:pt x="749" y="677"/>
                  </a:lnTo>
                  <a:lnTo>
                    <a:pt x="755" y="678"/>
                  </a:lnTo>
                  <a:lnTo>
                    <a:pt x="761" y="678"/>
                  </a:lnTo>
                  <a:lnTo>
                    <a:pt x="769" y="673"/>
                  </a:lnTo>
                  <a:lnTo>
                    <a:pt x="770" y="669"/>
                  </a:lnTo>
                  <a:lnTo>
                    <a:pt x="774" y="669"/>
                  </a:lnTo>
                  <a:lnTo>
                    <a:pt x="777" y="669"/>
                  </a:lnTo>
                  <a:lnTo>
                    <a:pt x="787" y="665"/>
                  </a:lnTo>
                  <a:lnTo>
                    <a:pt x="799" y="665"/>
                  </a:lnTo>
                  <a:lnTo>
                    <a:pt x="802" y="665"/>
                  </a:lnTo>
                  <a:lnTo>
                    <a:pt x="806" y="669"/>
                  </a:lnTo>
                  <a:lnTo>
                    <a:pt x="817" y="686"/>
                  </a:lnTo>
                  <a:lnTo>
                    <a:pt x="819" y="687"/>
                  </a:lnTo>
                  <a:lnTo>
                    <a:pt x="824" y="686"/>
                  </a:lnTo>
                  <a:lnTo>
                    <a:pt x="833" y="686"/>
                  </a:lnTo>
                  <a:lnTo>
                    <a:pt x="841" y="678"/>
                  </a:lnTo>
                  <a:lnTo>
                    <a:pt x="842" y="674"/>
                  </a:lnTo>
                  <a:lnTo>
                    <a:pt x="847" y="672"/>
                  </a:lnTo>
                  <a:lnTo>
                    <a:pt x="853" y="672"/>
                  </a:lnTo>
                  <a:lnTo>
                    <a:pt x="858" y="665"/>
                  </a:lnTo>
                  <a:lnTo>
                    <a:pt x="865" y="665"/>
                  </a:lnTo>
                  <a:lnTo>
                    <a:pt x="870" y="660"/>
                  </a:lnTo>
                  <a:lnTo>
                    <a:pt x="870" y="658"/>
                  </a:lnTo>
                  <a:lnTo>
                    <a:pt x="874" y="652"/>
                  </a:lnTo>
                  <a:lnTo>
                    <a:pt x="876" y="647"/>
                  </a:lnTo>
                  <a:lnTo>
                    <a:pt x="880" y="643"/>
                  </a:lnTo>
                  <a:lnTo>
                    <a:pt x="887" y="643"/>
                  </a:lnTo>
                  <a:lnTo>
                    <a:pt x="890" y="645"/>
                  </a:lnTo>
                  <a:lnTo>
                    <a:pt x="897" y="647"/>
                  </a:lnTo>
                  <a:lnTo>
                    <a:pt x="904" y="647"/>
                  </a:lnTo>
                  <a:lnTo>
                    <a:pt x="916" y="651"/>
                  </a:lnTo>
                  <a:lnTo>
                    <a:pt x="926" y="647"/>
                  </a:lnTo>
                  <a:lnTo>
                    <a:pt x="933" y="645"/>
                  </a:lnTo>
                  <a:lnTo>
                    <a:pt x="947" y="658"/>
                  </a:lnTo>
                  <a:lnTo>
                    <a:pt x="951" y="664"/>
                  </a:lnTo>
                  <a:lnTo>
                    <a:pt x="950" y="669"/>
                  </a:lnTo>
                  <a:lnTo>
                    <a:pt x="962" y="674"/>
                  </a:lnTo>
                  <a:lnTo>
                    <a:pt x="969" y="685"/>
                  </a:lnTo>
                  <a:lnTo>
                    <a:pt x="982" y="697"/>
                  </a:lnTo>
                  <a:lnTo>
                    <a:pt x="990" y="701"/>
                  </a:lnTo>
                  <a:lnTo>
                    <a:pt x="994" y="701"/>
                  </a:lnTo>
                  <a:lnTo>
                    <a:pt x="997" y="698"/>
                  </a:lnTo>
                  <a:lnTo>
                    <a:pt x="1004" y="695"/>
                  </a:lnTo>
                  <a:lnTo>
                    <a:pt x="1010" y="690"/>
                  </a:lnTo>
                  <a:lnTo>
                    <a:pt x="1015" y="684"/>
                  </a:lnTo>
                  <a:lnTo>
                    <a:pt x="1022" y="678"/>
                  </a:lnTo>
                  <a:lnTo>
                    <a:pt x="1022" y="674"/>
                  </a:lnTo>
                  <a:lnTo>
                    <a:pt x="1026" y="669"/>
                  </a:lnTo>
                  <a:lnTo>
                    <a:pt x="1043" y="660"/>
                  </a:lnTo>
                  <a:lnTo>
                    <a:pt x="1055" y="652"/>
                  </a:lnTo>
                  <a:lnTo>
                    <a:pt x="1063" y="647"/>
                  </a:lnTo>
                  <a:lnTo>
                    <a:pt x="1066" y="647"/>
                  </a:lnTo>
                  <a:lnTo>
                    <a:pt x="1075" y="647"/>
                  </a:lnTo>
                  <a:lnTo>
                    <a:pt x="1077" y="647"/>
                  </a:lnTo>
                  <a:lnTo>
                    <a:pt x="1082" y="649"/>
                  </a:lnTo>
                  <a:lnTo>
                    <a:pt x="1090" y="651"/>
                  </a:lnTo>
                  <a:lnTo>
                    <a:pt x="1100" y="651"/>
                  </a:lnTo>
                  <a:lnTo>
                    <a:pt x="1104" y="656"/>
                  </a:lnTo>
                  <a:lnTo>
                    <a:pt x="1111" y="658"/>
                  </a:lnTo>
                  <a:lnTo>
                    <a:pt x="1119" y="656"/>
                  </a:lnTo>
                  <a:lnTo>
                    <a:pt x="1127" y="651"/>
                  </a:lnTo>
                  <a:lnTo>
                    <a:pt x="1129" y="647"/>
                  </a:lnTo>
                  <a:lnTo>
                    <a:pt x="1136" y="651"/>
                  </a:lnTo>
                  <a:lnTo>
                    <a:pt x="1140" y="655"/>
                  </a:lnTo>
                  <a:lnTo>
                    <a:pt x="1148" y="656"/>
                  </a:lnTo>
                  <a:lnTo>
                    <a:pt x="1157" y="645"/>
                  </a:lnTo>
                  <a:lnTo>
                    <a:pt x="1168" y="637"/>
                  </a:lnTo>
                  <a:lnTo>
                    <a:pt x="1176" y="633"/>
                  </a:lnTo>
                  <a:lnTo>
                    <a:pt x="1196" y="632"/>
                  </a:lnTo>
                  <a:lnTo>
                    <a:pt x="1200" y="630"/>
                  </a:lnTo>
                  <a:lnTo>
                    <a:pt x="1206" y="627"/>
                  </a:lnTo>
                  <a:lnTo>
                    <a:pt x="1212" y="616"/>
                  </a:lnTo>
                  <a:lnTo>
                    <a:pt x="1222" y="607"/>
                  </a:lnTo>
                  <a:lnTo>
                    <a:pt x="1223" y="603"/>
                  </a:lnTo>
                  <a:lnTo>
                    <a:pt x="1229" y="598"/>
                  </a:lnTo>
                  <a:lnTo>
                    <a:pt x="1231" y="597"/>
                  </a:lnTo>
                  <a:lnTo>
                    <a:pt x="1236" y="597"/>
                  </a:lnTo>
                  <a:lnTo>
                    <a:pt x="1245" y="585"/>
                  </a:lnTo>
                  <a:lnTo>
                    <a:pt x="1251" y="581"/>
                  </a:lnTo>
                  <a:lnTo>
                    <a:pt x="1260" y="580"/>
                  </a:lnTo>
                  <a:lnTo>
                    <a:pt x="1262" y="578"/>
                  </a:lnTo>
                  <a:lnTo>
                    <a:pt x="1268" y="580"/>
                  </a:lnTo>
                  <a:lnTo>
                    <a:pt x="1272" y="576"/>
                  </a:lnTo>
                  <a:lnTo>
                    <a:pt x="1275" y="571"/>
                  </a:lnTo>
                  <a:lnTo>
                    <a:pt x="1278" y="571"/>
                  </a:lnTo>
                  <a:lnTo>
                    <a:pt x="1287" y="571"/>
                  </a:lnTo>
                  <a:lnTo>
                    <a:pt x="1296" y="565"/>
                  </a:lnTo>
                  <a:lnTo>
                    <a:pt x="1300" y="565"/>
                  </a:lnTo>
                  <a:lnTo>
                    <a:pt x="1318" y="576"/>
                  </a:lnTo>
                  <a:lnTo>
                    <a:pt x="1323" y="576"/>
                  </a:lnTo>
                  <a:lnTo>
                    <a:pt x="1328" y="571"/>
                  </a:lnTo>
                  <a:lnTo>
                    <a:pt x="1329" y="566"/>
                  </a:lnTo>
                  <a:lnTo>
                    <a:pt x="1333" y="562"/>
                  </a:lnTo>
                  <a:lnTo>
                    <a:pt x="1339" y="561"/>
                  </a:lnTo>
                  <a:lnTo>
                    <a:pt x="1342" y="558"/>
                  </a:lnTo>
                  <a:lnTo>
                    <a:pt x="1347" y="558"/>
                  </a:lnTo>
                  <a:lnTo>
                    <a:pt x="1356" y="557"/>
                  </a:lnTo>
                  <a:lnTo>
                    <a:pt x="1372" y="548"/>
                  </a:lnTo>
                  <a:lnTo>
                    <a:pt x="1392" y="545"/>
                  </a:lnTo>
                  <a:lnTo>
                    <a:pt x="1397" y="540"/>
                  </a:lnTo>
                  <a:lnTo>
                    <a:pt x="1400" y="540"/>
                  </a:lnTo>
                  <a:lnTo>
                    <a:pt x="1404" y="540"/>
                  </a:lnTo>
                  <a:lnTo>
                    <a:pt x="1411" y="545"/>
                  </a:lnTo>
                  <a:lnTo>
                    <a:pt x="1432" y="549"/>
                  </a:lnTo>
                  <a:lnTo>
                    <a:pt x="1439" y="553"/>
                  </a:lnTo>
                  <a:lnTo>
                    <a:pt x="1443" y="556"/>
                  </a:lnTo>
                  <a:lnTo>
                    <a:pt x="1447" y="562"/>
                  </a:lnTo>
                  <a:lnTo>
                    <a:pt x="1452" y="565"/>
                  </a:lnTo>
                  <a:lnTo>
                    <a:pt x="1460" y="570"/>
                  </a:lnTo>
                  <a:lnTo>
                    <a:pt x="1471" y="574"/>
                  </a:lnTo>
                  <a:lnTo>
                    <a:pt x="1474" y="574"/>
                  </a:lnTo>
                  <a:lnTo>
                    <a:pt x="1479" y="568"/>
                  </a:lnTo>
                  <a:lnTo>
                    <a:pt x="1486" y="568"/>
                  </a:lnTo>
                  <a:lnTo>
                    <a:pt x="1497" y="562"/>
                  </a:lnTo>
                  <a:lnTo>
                    <a:pt x="1509" y="568"/>
                  </a:lnTo>
                  <a:lnTo>
                    <a:pt x="1521" y="569"/>
                  </a:lnTo>
                  <a:lnTo>
                    <a:pt x="1527" y="576"/>
                  </a:lnTo>
                  <a:lnTo>
                    <a:pt x="1528" y="576"/>
                  </a:lnTo>
                  <a:lnTo>
                    <a:pt x="1534" y="576"/>
                  </a:lnTo>
                  <a:lnTo>
                    <a:pt x="1545" y="569"/>
                  </a:lnTo>
                  <a:lnTo>
                    <a:pt x="1547" y="568"/>
                  </a:lnTo>
                  <a:lnTo>
                    <a:pt x="1549" y="569"/>
                  </a:lnTo>
                  <a:lnTo>
                    <a:pt x="1553" y="566"/>
                  </a:lnTo>
                  <a:lnTo>
                    <a:pt x="1563" y="566"/>
                  </a:lnTo>
                  <a:lnTo>
                    <a:pt x="1567" y="562"/>
                  </a:lnTo>
                  <a:lnTo>
                    <a:pt x="1570" y="562"/>
                  </a:lnTo>
                  <a:lnTo>
                    <a:pt x="1575" y="558"/>
                  </a:lnTo>
                  <a:lnTo>
                    <a:pt x="1581" y="557"/>
                  </a:lnTo>
                  <a:lnTo>
                    <a:pt x="1594" y="558"/>
                  </a:lnTo>
                  <a:lnTo>
                    <a:pt x="1605" y="568"/>
                  </a:lnTo>
                  <a:lnTo>
                    <a:pt x="1611" y="566"/>
                  </a:lnTo>
                  <a:lnTo>
                    <a:pt x="1620" y="570"/>
                  </a:lnTo>
                  <a:lnTo>
                    <a:pt x="1625" y="569"/>
                  </a:lnTo>
                  <a:lnTo>
                    <a:pt x="1627" y="568"/>
                  </a:lnTo>
                  <a:lnTo>
                    <a:pt x="1632" y="558"/>
                  </a:lnTo>
                  <a:lnTo>
                    <a:pt x="1638" y="553"/>
                  </a:lnTo>
                  <a:lnTo>
                    <a:pt x="1655" y="545"/>
                  </a:lnTo>
                  <a:lnTo>
                    <a:pt x="1660" y="544"/>
                  </a:lnTo>
                  <a:lnTo>
                    <a:pt x="1667" y="540"/>
                  </a:lnTo>
                  <a:lnTo>
                    <a:pt x="1682" y="529"/>
                  </a:lnTo>
                  <a:lnTo>
                    <a:pt x="1686" y="529"/>
                  </a:lnTo>
                  <a:lnTo>
                    <a:pt x="1691" y="536"/>
                  </a:lnTo>
                  <a:lnTo>
                    <a:pt x="1695" y="540"/>
                  </a:lnTo>
                  <a:lnTo>
                    <a:pt x="1699" y="540"/>
                  </a:lnTo>
                  <a:lnTo>
                    <a:pt x="1709" y="535"/>
                  </a:lnTo>
                  <a:lnTo>
                    <a:pt x="1713" y="533"/>
                  </a:lnTo>
                  <a:lnTo>
                    <a:pt x="1720" y="531"/>
                  </a:lnTo>
                  <a:lnTo>
                    <a:pt x="1727" y="523"/>
                  </a:lnTo>
                  <a:lnTo>
                    <a:pt x="1735" y="520"/>
                  </a:lnTo>
                  <a:lnTo>
                    <a:pt x="1741" y="514"/>
                  </a:lnTo>
                  <a:lnTo>
                    <a:pt x="1748" y="504"/>
                  </a:lnTo>
                  <a:lnTo>
                    <a:pt x="1756" y="501"/>
                  </a:lnTo>
                  <a:lnTo>
                    <a:pt x="1765" y="498"/>
                  </a:lnTo>
                  <a:lnTo>
                    <a:pt x="1773" y="495"/>
                  </a:lnTo>
                  <a:lnTo>
                    <a:pt x="1798" y="482"/>
                  </a:lnTo>
                  <a:lnTo>
                    <a:pt x="1807" y="482"/>
                  </a:lnTo>
                  <a:lnTo>
                    <a:pt x="1813" y="478"/>
                  </a:lnTo>
                  <a:lnTo>
                    <a:pt x="1817" y="473"/>
                  </a:lnTo>
                  <a:lnTo>
                    <a:pt x="1827" y="467"/>
                  </a:lnTo>
                  <a:lnTo>
                    <a:pt x="1830" y="462"/>
                  </a:lnTo>
                  <a:lnTo>
                    <a:pt x="1838" y="459"/>
                  </a:lnTo>
                  <a:lnTo>
                    <a:pt x="1846" y="456"/>
                  </a:lnTo>
                  <a:lnTo>
                    <a:pt x="1851" y="456"/>
                  </a:lnTo>
                  <a:lnTo>
                    <a:pt x="1859" y="454"/>
                  </a:lnTo>
                  <a:lnTo>
                    <a:pt x="1863" y="456"/>
                  </a:lnTo>
                  <a:lnTo>
                    <a:pt x="1871" y="456"/>
                  </a:lnTo>
                  <a:lnTo>
                    <a:pt x="1877" y="458"/>
                  </a:lnTo>
                  <a:lnTo>
                    <a:pt x="1888" y="456"/>
                  </a:lnTo>
                  <a:lnTo>
                    <a:pt x="1904" y="442"/>
                  </a:lnTo>
                  <a:lnTo>
                    <a:pt x="1917" y="433"/>
                  </a:lnTo>
                  <a:lnTo>
                    <a:pt x="1921" y="428"/>
                  </a:lnTo>
                  <a:lnTo>
                    <a:pt x="1921" y="420"/>
                  </a:lnTo>
                  <a:lnTo>
                    <a:pt x="1923" y="416"/>
                  </a:lnTo>
                  <a:lnTo>
                    <a:pt x="1932" y="414"/>
                  </a:lnTo>
                  <a:lnTo>
                    <a:pt x="1937" y="411"/>
                  </a:lnTo>
                  <a:lnTo>
                    <a:pt x="1945" y="406"/>
                  </a:lnTo>
                  <a:lnTo>
                    <a:pt x="1951" y="402"/>
                  </a:lnTo>
                  <a:lnTo>
                    <a:pt x="1959" y="400"/>
                  </a:lnTo>
                  <a:lnTo>
                    <a:pt x="1969" y="394"/>
                  </a:lnTo>
                  <a:lnTo>
                    <a:pt x="1977" y="394"/>
                  </a:lnTo>
                  <a:lnTo>
                    <a:pt x="1983" y="400"/>
                  </a:lnTo>
                  <a:lnTo>
                    <a:pt x="1994" y="404"/>
                  </a:lnTo>
                  <a:lnTo>
                    <a:pt x="1998" y="407"/>
                  </a:lnTo>
                  <a:lnTo>
                    <a:pt x="2001" y="411"/>
                  </a:lnTo>
                  <a:lnTo>
                    <a:pt x="2006" y="415"/>
                  </a:lnTo>
                  <a:lnTo>
                    <a:pt x="2016" y="409"/>
                  </a:lnTo>
                  <a:lnTo>
                    <a:pt x="2020" y="404"/>
                  </a:lnTo>
                  <a:lnTo>
                    <a:pt x="2036" y="400"/>
                  </a:lnTo>
                  <a:lnTo>
                    <a:pt x="2041" y="396"/>
                  </a:lnTo>
                  <a:lnTo>
                    <a:pt x="2045" y="394"/>
                  </a:lnTo>
                  <a:lnTo>
                    <a:pt x="2048" y="392"/>
                  </a:lnTo>
                  <a:lnTo>
                    <a:pt x="2050" y="384"/>
                  </a:lnTo>
                  <a:lnTo>
                    <a:pt x="2054" y="383"/>
                  </a:lnTo>
                  <a:lnTo>
                    <a:pt x="2059" y="383"/>
                  </a:lnTo>
                  <a:lnTo>
                    <a:pt x="2064" y="381"/>
                  </a:lnTo>
                  <a:lnTo>
                    <a:pt x="2070" y="379"/>
                  </a:lnTo>
                  <a:lnTo>
                    <a:pt x="2075" y="374"/>
                  </a:lnTo>
                  <a:lnTo>
                    <a:pt x="2076" y="369"/>
                  </a:lnTo>
                  <a:lnTo>
                    <a:pt x="2083" y="365"/>
                  </a:lnTo>
                  <a:lnTo>
                    <a:pt x="2087" y="362"/>
                  </a:lnTo>
                  <a:lnTo>
                    <a:pt x="2094" y="365"/>
                  </a:lnTo>
                  <a:lnTo>
                    <a:pt x="2104" y="362"/>
                  </a:lnTo>
                  <a:lnTo>
                    <a:pt x="2108" y="358"/>
                  </a:lnTo>
                  <a:lnTo>
                    <a:pt x="2111" y="361"/>
                  </a:lnTo>
                  <a:lnTo>
                    <a:pt x="2112" y="358"/>
                  </a:lnTo>
                  <a:lnTo>
                    <a:pt x="2119" y="358"/>
                  </a:lnTo>
                  <a:lnTo>
                    <a:pt x="2125" y="353"/>
                  </a:lnTo>
                  <a:lnTo>
                    <a:pt x="2131" y="353"/>
                  </a:lnTo>
                  <a:lnTo>
                    <a:pt x="2134" y="349"/>
                  </a:lnTo>
                  <a:lnTo>
                    <a:pt x="2136" y="338"/>
                  </a:lnTo>
                  <a:lnTo>
                    <a:pt x="2140" y="336"/>
                  </a:lnTo>
                  <a:lnTo>
                    <a:pt x="2145" y="336"/>
                  </a:lnTo>
                  <a:lnTo>
                    <a:pt x="2148" y="333"/>
                  </a:lnTo>
                  <a:lnTo>
                    <a:pt x="2155" y="333"/>
                  </a:lnTo>
                  <a:lnTo>
                    <a:pt x="2156" y="327"/>
                  </a:lnTo>
                  <a:lnTo>
                    <a:pt x="2159" y="327"/>
                  </a:lnTo>
                  <a:lnTo>
                    <a:pt x="2165" y="325"/>
                  </a:lnTo>
                  <a:lnTo>
                    <a:pt x="2169" y="327"/>
                  </a:lnTo>
                  <a:lnTo>
                    <a:pt x="2178" y="325"/>
                  </a:lnTo>
                  <a:lnTo>
                    <a:pt x="2180" y="322"/>
                  </a:lnTo>
                  <a:lnTo>
                    <a:pt x="2187" y="321"/>
                  </a:lnTo>
                  <a:lnTo>
                    <a:pt x="2194" y="325"/>
                  </a:lnTo>
                  <a:lnTo>
                    <a:pt x="2203" y="325"/>
                  </a:lnTo>
                  <a:lnTo>
                    <a:pt x="2206" y="321"/>
                  </a:lnTo>
                  <a:lnTo>
                    <a:pt x="2206" y="317"/>
                  </a:lnTo>
                  <a:lnTo>
                    <a:pt x="2208" y="316"/>
                  </a:lnTo>
                  <a:lnTo>
                    <a:pt x="2216" y="312"/>
                  </a:lnTo>
                  <a:lnTo>
                    <a:pt x="2219" y="307"/>
                  </a:lnTo>
                  <a:lnTo>
                    <a:pt x="2226" y="304"/>
                  </a:lnTo>
                  <a:lnTo>
                    <a:pt x="2226" y="300"/>
                  </a:lnTo>
                  <a:lnTo>
                    <a:pt x="2230" y="297"/>
                  </a:lnTo>
                  <a:lnTo>
                    <a:pt x="2233" y="290"/>
                  </a:lnTo>
                  <a:lnTo>
                    <a:pt x="2234" y="278"/>
                  </a:lnTo>
                  <a:lnTo>
                    <a:pt x="2240" y="272"/>
                  </a:lnTo>
                  <a:lnTo>
                    <a:pt x="2251" y="267"/>
                  </a:lnTo>
                  <a:lnTo>
                    <a:pt x="2254" y="267"/>
                  </a:lnTo>
                  <a:lnTo>
                    <a:pt x="2254" y="263"/>
                  </a:lnTo>
                  <a:lnTo>
                    <a:pt x="2264" y="259"/>
                  </a:lnTo>
                  <a:lnTo>
                    <a:pt x="2265" y="255"/>
                  </a:lnTo>
                  <a:lnTo>
                    <a:pt x="2268" y="255"/>
                  </a:lnTo>
                  <a:lnTo>
                    <a:pt x="2268" y="251"/>
                  </a:lnTo>
                  <a:lnTo>
                    <a:pt x="2271" y="251"/>
                  </a:lnTo>
                  <a:lnTo>
                    <a:pt x="2279" y="250"/>
                  </a:lnTo>
                  <a:lnTo>
                    <a:pt x="2282" y="249"/>
                  </a:lnTo>
                  <a:lnTo>
                    <a:pt x="2284" y="249"/>
                  </a:lnTo>
                  <a:lnTo>
                    <a:pt x="2289" y="246"/>
                  </a:lnTo>
                  <a:lnTo>
                    <a:pt x="2296" y="249"/>
                  </a:lnTo>
                  <a:lnTo>
                    <a:pt x="2304" y="249"/>
                  </a:lnTo>
                  <a:lnTo>
                    <a:pt x="2305" y="245"/>
                  </a:lnTo>
                  <a:lnTo>
                    <a:pt x="2307" y="245"/>
                  </a:lnTo>
                  <a:lnTo>
                    <a:pt x="2316" y="245"/>
                  </a:lnTo>
                  <a:lnTo>
                    <a:pt x="2321" y="241"/>
                  </a:lnTo>
                  <a:lnTo>
                    <a:pt x="2322" y="237"/>
                  </a:lnTo>
                  <a:lnTo>
                    <a:pt x="2326" y="233"/>
                  </a:lnTo>
                  <a:lnTo>
                    <a:pt x="2328" y="233"/>
                  </a:lnTo>
                  <a:lnTo>
                    <a:pt x="2332" y="229"/>
                  </a:lnTo>
                  <a:lnTo>
                    <a:pt x="2336" y="229"/>
                  </a:lnTo>
                  <a:lnTo>
                    <a:pt x="2344" y="233"/>
                  </a:lnTo>
                  <a:lnTo>
                    <a:pt x="2350" y="232"/>
                  </a:lnTo>
                  <a:lnTo>
                    <a:pt x="2353" y="229"/>
                  </a:lnTo>
                  <a:lnTo>
                    <a:pt x="2357" y="228"/>
                  </a:lnTo>
                  <a:lnTo>
                    <a:pt x="2365" y="229"/>
                  </a:lnTo>
                  <a:lnTo>
                    <a:pt x="2371" y="226"/>
                  </a:lnTo>
                  <a:lnTo>
                    <a:pt x="2375" y="229"/>
                  </a:lnTo>
                  <a:lnTo>
                    <a:pt x="2380" y="228"/>
                  </a:lnTo>
                  <a:lnTo>
                    <a:pt x="2385" y="223"/>
                  </a:lnTo>
                  <a:lnTo>
                    <a:pt x="2388" y="220"/>
                  </a:lnTo>
                  <a:lnTo>
                    <a:pt x="2393" y="218"/>
                  </a:lnTo>
                  <a:lnTo>
                    <a:pt x="2394" y="213"/>
                  </a:lnTo>
                  <a:lnTo>
                    <a:pt x="2399" y="209"/>
                  </a:lnTo>
                  <a:lnTo>
                    <a:pt x="2418" y="205"/>
                  </a:lnTo>
                  <a:lnTo>
                    <a:pt x="2428" y="197"/>
                  </a:lnTo>
                  <a:lnTo>
                    <a:pt x="2432" y="191"/>
                  </a:lnTo>
                  <a:lnTo>
                    <a:pt x="2441" y="188"/>
                  </a:lnTo>
                  <a:lnTo>
                    <a:pt x="2451" y="183"/>
                  </a:lnTo>
                  <a:lnTo>
                    <a:pt x="2453" y="175"/>
                  </a:lnTo>
                  <a:lnTo>
                    <a:pt x="2458" y="173"/>
                  </a:lnTo>
                  <a:lnTo>
                    <a:pt x="2465" y="175"/>
                  </a:lnTo>
                  <a:lnTo>
                    <a:pt x="2471" y="179"/>
                  </a:lnTo>
                  <a:lnTo>
                    <a:pt x="2475" y="179"/>
                  </a:lnTo>
                  <a:lnTo>
                    <a:pt x="2486" y="187"/>
                  </a:lnTo>
                  <a:lnTo>
                    <a:pt x="2490" y="184"/>
                  </a:lnTo>
                  <a:lnTo>
                    <a:pt x="2497" y="187"/>
                  </a:lnTo>
                  <a:lnTo>
                    <a:pt x="2503" y="184"/>
                  </a:lnTo>
                  <a:lnTo>
                    <a:pt x="2507" y="188"/>
                  </a:lnTo>
                  <a:lnTo>
                    <a:pt x="2510" y="188"/>
                  </a:lnTo>
                  <a:lnTo>
                    <a:pt x="2518" y="184"/>
                  </a:lnTo>
                  <a:lnTo>
                    <a:pt x="2521" y="184"/>
                  </a:lnTo>
                  <a:lnTo>
                    <a:pt x="2526" y="187"/>
                  </a:lnTo>
                  <a:lnTo>
                    <a:pt x="2542" y="187"/>
                  </a:lnTo>
                  <a:lnTo>
                    <a:pt x="2546" y="183"/>
                  </a:lnTo>
                  <a:lnTo>
                    <a:pt x="2547" y="179"/>
                  </a:lnTo>
                  <a:lnTo>
                    <a:pt x="2551" y="175"/>
                  </a:lnTo>
                  <a:lnTo>
                    <a:pt x="2558" y="170"/>
                  </a:lnTo>
                  <a:lnTo>
                    <a:pt x="2561" y="168"/>
                  </a:lnTo>
                  <a:lnTo>
                    <a:pt x="2567" y="166"/>
                  </a:lnTo>
                  <a:lnTo>
                    <a:pt x="2571" y="162"/>
                  </a:lnTo>
                  <a:lnTo>
                    <a:pt x="2575" y="156"/>
                  </a:lnTo>
                  <a:lnTo>
                    <a:pt x="2582" y="153"/>
                  </a:lnTo>
                  <a:lnTo>
                    <a:pt x="2590" y="138"/>
                  </a:lnTo>
                  <a:lnTo>
                    <a:pt x="2593" y="138"/>
                  </a:lnTo>
                  <a:lnTo>
                    <a:pt x="2601" y="129"/>
                  </a:lnTo>
                  <a:lnTo>
                    <a:pt x="2604" y="122"/>
                  </a:lnTo>
                  <a:lnTo>
                    <a:pt x="2600" y="120"/>
                  </a:lnTo>
                  <a:lnTo>
                    <a:pt x="2601" y="112"/>
                  </a:lnTo>
                  <a:lnTo>
                    <a:pt x="2613" y="104"/>
                  </a:lnTo>
                  <a:lnTo>
                    <a:pt x="2615" y="103"/>
                  </a:lnTo>
                  <a:lnTo>
                    <a:pt x="2620" y="103"/>
                  </a:lnTo>
                  <a:lnTo>
                    <a:pt x="2624" y="100"/>
                  </a:lnTo>
                  <a:lnTo>
                    <a:pt x="2640" y="91"/>
                  </a:lnTo>
                  <a:lnTo>
                    <a:pt x="2646" y="77"/>
                  </a:lnTo>
                  <a:lnTo>
                    <a:pt x="2649" y="76"/>
                  </a:lnTo>
                  <a:lnTo>
                    <a:pt x="2656" y="64"/>
                  </a:lnTo>
                  <a:lnTo>
                    <a:pt x="2656" y="55"/>
                  </a:lnTo>
                  <a:lnTo>
                    <a:pt x="2656" y="50"/>
                  </a:lnTo>
                  <a:lnTo>
                    <a:pt x="2673" y="48"/>
                  </a:lnTo>
                  <a:lnTo>
                    <a:pt x="2681" y="46"/>
                  </a:lnTo>
                  <a:lnTo>
                    <a:pt x="2686" y="42"/>
                  </a:lnTo>
                  <a:lnTo>
                    <a:pt x="2696" y="41"/>
                  </a:lnTo>
                  <a:lnTo>
                    <a:pt x="2731" y="27"/>
                  </a:lnTo>
                  <a:lnTo>
                    <a:pt x="2743" y="27"/>
                  </a:lnTo>
                  <a:lnTo>
                    <a:pt x="2748" y="23"/>
                  </a:lnTo>
                  <a:lnTo>
                    <a:pt x="2748" y="19"/>
                  </a:lnTo>
                  <a:lnTo>
                    <a:pt x="2746" y="14"/>
                  </a:lnTo>
                  <a:lnTo>
                    <a:pt x="2742" y="6"/>
                  </a:lnTo>
                  <a:lnTo>
                    <a:pt x="2739" y="1"/>
                  </a:lnTo>
                  <a:lnTo>
                    <a:pt x="2742" y="0"/>
                  </a:lnTo>
                  <a:lnTo>
                    <a:pt x="2753" y="0"/>
                  </a:lnTo>
                  <a:lnTo>
                    <a:pt x="2767" y="1"/>
                  </a:lnTo>
                  <a:lnTo>
                    <a:pt x="2771" y="10"/>
                  </a:lnTo>
                  <a:lnTo>
                    <a:pt x="2774" y="14"/>
                  </a:lnTo>
                  <a:lnTo>
                    <a:pt x="2789" y="13"/>
                  </a:lnTo>
                  <a:lnTo>
                    <a:pt x="2803" y="14"/>
                  </a:lnTo>
                  <a:lnTo>
                    <a:pt x="2806" y="23"/>
                  </a:lnTo>
                  <a:lnTo>
                    <a:pt x="2813" y="23"/>
                  </a:lnTo>
                  <a:lnTo>
                    <a:pt x="2816" y="27"/>
                  </a:lnTo>
                  <a:lnTo>
                    <a:pt x="2820" y="31"/>
                  </a:lnTo>
                  <a:lnTo>
                    <a:pt x="2823" y="37"/>
                  </a:lnTo>
                  <a:lnTo>
                    <a:pt x="2827" y="42"/>
                  </a:lnTo>
                  <a:lnTo>
                    <a:pt x="2835" y="42"/>
                  </a:lnTo>
                  <a:lnTo>
                    <a:pt x="2838" y="37"/>
                  </a:lnTo>
                  <a:lnTo>
                    <a:pt x="2845" y="31"/>
                  </a:lnTo>
                  <a:lnTo>
                    <a:pt x="2857" y="31"/>
                  </a:lnTo>
                  <a:lnTo>
                    <a:pt x="2863" y="27"/>
                  </a:lnTo>
                  <a:lnTo>
                    <a:pt x="2869" y="29"/>
                  </a:lnTo>
                  <a:lnTo>
                    <a:pt x="2881" y="26"/>
                  </a:lnTo>
                  <a:lnTo>
                    <a:pt x="2887" y="19"/>
                  </a:lnTo>
                  <a:lnTo>
                    <a:pt x="2895" y="14"/>
                  </a:lnTo>
                  <a:lnTo>
                    <a:pt x="2910" y="22"/>
                  </a:lnTo>
                  <a:lnTo>
                    <a:pt x="2914" y="19"/>
                  </a:lnTo>
                  <a:lnTo>
                    <a:pt x="2920" y="18"/>
                  </a:lnTo>
                  <a:lnTo>
                    <a:pt x="2923" y="14"/>
                  </a:lnTo>
                  <a:lnTo>
                    <a:pt x="2931" y="10"/>
                  </a:lnTo>
                  <a:lnTo>
                    <a:pt x="2935" y="9"/>
                  </a:lnTo>
                  <a:lnTo>
                    <a:pt x="2939" y="9"/>
                  </a:lnTo>
                  <a:lnTo>
                    <a:pt x="2942" y="6"/>
                  </a:lnTo>
                  <a:lnTo>
                    <a:pt x="2952" y="6"/>
                  </a:lnTo>
                  <a:lnTo>
                    <a:pt x="2960" y="10"/>
                  </a:lnTo>
                  <a:lnTo>
                    <a:pt x="2966" y="10"/>
                  </a:lnTo>
                  <a:lnTo>
                    <a:pt x="2973" y="9"/>
                  </a:lnTo>
                  <a:lnTo>
                    <a:pt x="2981" y="10"/>
                  </a:lnTo>
                  <a:lnTo>
                    <a:pt x="2989" y="6"/>
                  </a:lnTo>
                  <a:lnTo>
                    <a:pt x="2992" y="6"/>
                  </a:lnTo>
                  <a:lnTo>
                    <a:pt x="2997" y="10"/>
                  </a:lnTo>
                  <a:lnTo>
                    <a:pt x="3002" y="14"/>
                  </a:lnTo>
                  <a:lnTo>
                    <a:pt x="3005" y="18"/>
                  </a:lnTo>
                  <a:lnTo>
                    <a:pt x="3013" y="18"/>
                  </a:lnTo>
                  <a:lnTo>
                    <a:pt x="3016" y="19"/>
                  </a:lnTo>
                  <a:lnTo>
                    <a:pt x="3017" y="23"/>
                  </a:lnTo>
                  <a:lnTo>
                    <a:pt x="3019" y="33"/>
                  </a:lnTo>
                  <a:lnTo>
                    <a:pt x="3017" y="41"/>
                  </a:lnTo>
                  <a:lnTo>
                    <a:pt x="3020" y="46"/>
                  </a:lnTo>
                  <a:lnTo>
                    <a:pt x="3023" y="50"/>
                  </a:lnTo>
                  <a:lnTo>
                    <a:pt x="3025" y="55"/>
                  </a:lnTo>
                  <a:lnTo>
                    <a:pt x="3033" y="55"/>
                  </a:lnTo>
                  <a:lnTo>
                    <a:pt x="3039" y="62"/>
                  </a:lnTo>
                  <a:lnTo>
                    <a:pt x="3042" y="62"/>
                  </a:lnTo>
                  <a:lnTo>
                    <a:pt x="3049" y="63"/>
                  </a:lnTo>
                  <a:lnTo>
                    <a:pt x="3056" y="62"/>
                  </a:lnTo>
                  <a:lnTo>
                    <a:pt x="3060" y="59"/>
                  </a:lnTo>
                  <a:lnTo>
                    <a:pt x="3063" y="59"/>
                  </a:lnTo>
                  <a:lnTo>
                    <a:pt x="3066" y="58"/>
                  </a:lnTo>
                  <a:lnTo>
                    <a:pt x="3072" y="62"/>
                  </a:lnTo>
                  <a:lnTo>
                    <a:pt x="3080" y="55"/>
                  </a:lnTo>
                  <a:lnTo>
                    <a:pt x="3083" y="64"/>
                  </a:lnTo>
                  <a:lnTo>
                    <a:pt x="3092" y="75"/>
                  </a:lnTo>
                  <a:lnTo>
                    <a:pt x="3088" y="72"/>
                  </a:lnTo>
                  <a:lnTo>
                    <a:pt x="3081" y="76"/>
                  </a:lnTo>
                  <a:lnTo>
                    <a:pt x="3076" y="75"/>
                  </a:lnTo>
                  <a:lnTo>
                    <a:pt x="3074" y="75"/>
                  </a:lnTo>
                  <a:lnTo>
                    <a:pt x="3087" y="80"/>
                  </a:lnTo>
                  <a:lnTo>
                    <a:pt x="3088" y="87"/>
                  </a:lnTo>
                  <a:lnTo>
                    <a:pt x="3094" y="89"/>
                  </a:lnTo>
                  <a:lnTo>
                    <a:pt x="3092" y="93"/>
                  </a:lnTo>
                  <a:lnTo>
                    <a:pt x="3092" y="94"/>
                  </a:lnTo>
                  <a:lnTo>
                    <a:pt x="3095" y="97"/>
                  </a:lnTo>
                  <a:lnTo>
                    <a:pt x="3094" y="93"/>
                  </a:lnTo>
                  <a:lnTo>
                    <a:pt x="3095" y="91"/>
                  </a:lnTo>
                  <a:lnTo>
                    <a:pt x="3095" y="87"/>
                  </a:lnTo>
                  <a:lnTo>
                    <a:pt x="3091" y="84"/>
                  </a:lnTo>
                  <a:lnTo>
                    <a:pt x="3092" y="80"/>
                  </a:lnTo>
                  <a:lnTo>
                    <a:pt x="3091" y="77"/>
                  </a:lnTo>
                  <a:lnTo>
                    <a:pt x="3094" y="77"/>
                  </a:lnTo>
                  <a:lnTo>
                    <a:pt x="3103" y="91"/>
                  </a:lnTo>
                  <a:lnTo>
                    <a:pt x="3115" y="98"/>
                  </a:lnTo>
                  <a:lnTo>
                    <a:pt x="3122" y="100"/>
                  </a:lnTo>
                  <a:lnTo>
                    <a:pt x="3129" y="97"/>
                  </a:lnTo>
                  <a:lnTo>
                    <a:pt x="3131" y="93"/>
                  </a:lnTo>
                  <a:lnTo>
                    <a:pt x="3130" y="89"/>
                  </a:lnTo>
                  <a:lnTo>
                    <a:pt x="3131" y="84"/>
                  </a:lnTo>
                  <a:lnTo>
                    <a:pt x="3134" y="84"/>
                  </a:lnTo>
                  <a:lnTo>
                    <a:pt x="3138" y="87"/>
                  </a:lnTo>
                  <a:lnTo>
                    <a:pt x="3138" y="94"/>
                  </a:lnTo>
                  <a:lnTo>
                    <a:pt x="3135" y="98"/>
                  </a:lnTo>
                  <a:lnTo>
                    <a:pt x="3134" y="104"/>
                  </a:lnTo>
                  <a:lnTo>
                    <a:pt x="3133" y="106"/>
                  </a:lnTo>
                  <a:lnTo>
                    <a:pt x="3129" y="112"/>
                  </a:lnTo>
                  <a:lnTo>
                    <a:pt x="3115" y="116"/>
                  </a:lnTo>
                  <a:lnTo>
                    <a:pt x="3110" y="117"/>
                  </a:lnTo>
                  <a:lnTo>
                    <a:pt x="3108" y="121"/>
                  </a:lnTo>
                  <a:lnTo>
                    <a:pt x="3103" y="126"/>
                  </a:lnTo>
                  <a:lnTo>
                    <a:pt x="3097" y="133"/>
                  </a:lnTo>
                  <a:lnTo>
                    <a:pt x="3092" y="138"/>
                  </a:lnTo>
                  <a:lnTo>
                    <a:pt x="3092" y="143"/>
                  </a:lnTo>
                  <a:lnTo>
                    <a:pt x="3087" y="153"/>
                  </a:lnTo>
                  <a:lnTo>
                    <a:pt x="3088" y="162"/>
                  </a:lnTo>
                  <a:lnTo>
                    <a:pt x="3088" y="164"/>
                  </a:lnTo>
                  <a:lnTo>
                    <a:pt x="3089" y="173"/>
                  </a:lnTo>
                  <a:lnTo>
                    <a:pt x="3091" y="192"/>
                  </a:lnTo>
                  <a:lnTo>
                    <a:pt x="3092" y="193"/>
                  </a:lnTo>
                  <a:lnTo>
                    <a:pt x="3095" y="200"/>
                  </a:lnTo>
                  <a:lnTo>
                    <a:pt x="3103" y="201"/>
                  </a:lnTo>
                  <a:lnTo>
                    <a:pt x="3106" y="204"/>
                  </a:lnTo>
                  <a:lnTo>
                    <a:pt x="3115" y="210"/>
                  </a:lnTo>
                  <a:lnTo>
                    <a:pt x="3117" y="216"/>
                  </a:lnTo>
                  <a:lnTo>
                    <a:pt x="3117" y="259"/>
                  </a:lnTo>
                  <a:lnTo>
                    <a:pt x="3120" y="271"/>
                  </a:lnTo>
                  <a:lnTo>
                    <a:pt x="3126" y="282"/>
                  </a:lnTo>
                  <a:lnTo>
                    <a:pt x="3124" y="294"/>
                  </a:lnTo>
                  <a:lnTo>
                    <a:pt x="3127" y="299"/>
                  </a:lnTo>
                  <a:lnTo>
                    <a:pt x="3127" y="312"/>
                  </a:lnTo>
                  <a:lnTo>
                    <a:pt x="3130" y="333"/>
                  </a:lnTo>
                  <a:lnTo>
                    <a:pt x="3129" y="353"/>
                  </a:lnTo>
                  <a:lnTo>
                    <a:pt x="3133" y="362"/>
                  </a:lnTo>
                  <a:lnTo>
                    <a:pt x="3140" y="370"/>
                  </a:lnTo>
                  <a:lnTo>
                    <a:pt x="3151" y="384"/>
                  </a:lnTo>
                  <a:lnTo>
                    <a:pt x="3154" y="407"/>
                  </a:lnTo>
                  <a:lnTo>
                    <a:pt x="3152" y="419"/>
                  </a:lnTo>
                  <a:lnTo>
                    <a:pt x="3155" y="420"/>
                  </a:lnTo>
                  <a:lnTo>
                    <a:pt x="3157" y="428"/>
                  </a:lnTo>
                  <a:lnTo>
                    <a:pt x="3157" y="432"/>
                  </a:lnTo>
                  <a:lnTo>
                    <a:pt x="3154" y="433"/>
                  </a:lnTo>
                  <a:lnTo>
                    <a:pt x="3148" y="428"/>
                  </a:lnTo>
                  <a:lnTo>
                    <a:pt x="3137" y="432"/>
                  </a:lnTo>
                  <a:lnTo>
                    <a:pt x="3135" y="432"/>
                  </a:lnTo>
                  <a:lnTo>
                    <a:pt x="3137" y="428"/>
                  </a:lnTo>
                  <a:lnTo>
                    <a:pt x="3135" y="427"/>
                  </a:lnTo>
                  <a:lnTo>
                    <a:pt x="3127" y="424"/>
                  </a:lnTo>
                  <a:lnTo>
                    <a:pt x="3122" y="428"/>
                  </a:lnTo>
                  <a:lnTo>
                    <a:pt x="3120" y="432"/>
                  </a:lnTo>
                  <a:lnTo>
                    <a:pt x="3119" y="437"/>
                  </a:lnTo>
                  <a:lnTo>
                    <a:pt x="3119" y="442"/>
                  </a:lnTo>
                  <a:lnTo>
                    <a:pt x="3131" y="451"/>
                  </a:lnTo>
                  <a:lnTo>
                    <a:pt x="3137" y="451"/>
                  </a:lnTo>
                  <a:lnTo>
                    <a:pt x="3141" y="451"/>
                  </a:lnTo>
                  <a:lnTo>
                    <a:pt x="3145" y="451"/>
                  </a:lnTo>
                  <a:lnTo>
                    <a:pt x="3144" y="446"/>
                  </a:lnTo>
                  <a:lnTo>
                    <a:pt x="3147" y="442"/>
                  </a:lnTo>
                  <a:lnTo>
                    <a:pt x="3149" y="442"/>
                  </a:lnTo>
                  <a:lnTo>
                    <a:pt x="3152" y="442"/>
                  </a:lnTo>
                  <a:lnTo>
                    <a:pt x="3154" y="442"/>
                  </a:lnTo>
                  <a:lnTo>
                    <a:pt x="3157" y="442"/>
                  </a:lnTo>
                  <a:lnTo>
                    <a:pt x="3159" y="456"/>
                  </a:lnTo>
                  <a:lnTo>
                    <a:pt x="3163" y="458"/>
                  </a:lnTo>
                  <a:lnTo>
                    <a:pt x="3168" y="459"/>
                  </a:lnTo>
                  <a:lnTo>
                    <a:pt x="3169" y="465"/>
                  </a:lnTo>
                  <a:lnTo>
                    <a:pt x="3166" y="469"/>
                  </a:lnTo>
                  <a:lnTo>
                    <a:pt x="3165" y="482"/>
                  </a:lnTo>
                  <a:lnTo>
                    <a:pt x="3162" y="486"/>
                  </a:lnTo>
                  <a:lnTo>
                    <a:pt x="3163" y="487"/>
                  </a:lnTo>
                  <a:lnTo>
                    <a:pt x="3163" y="491"/>
                  </a:lnTo>
                  <a:lnTo>
                    <a:pt x="3163" y="495"/>
                  </a:lnTo>
                  <a:lnTo>
                    <a:pt x="3160" y="501"/>
                  </a:lnTo>
                  <a:lnTo>
                    <a:pt x="3159" y="507"/>
                  </a:lnTo>
                  <a:lnTo>
                    <a:pt x="3159" y="510"/>
                  </a:lnTo>
                  <a:lnTo>
                    <a:pt x="3157" y="510"/>
                  </a:lnTo>
                  <a:lnTo>
                    <a:pt x="3155" y="510"/>
                  </a:lnTo>
                  <a:lnTo>
                    <a:pt x="3152" y="512"/>
                  </a:lnTo>
                  <a:lnTo>
                    <a:pt x="3148" y="516"/>
                  </a:lnTo>
                  <a:lnTo>
                    <a:pt x="3143" y="516"/>
                  </a:lnTo>
                  <a:lnTo>
                    <a:pt x="3140" y="518"/>
                  </a:lnTo>
                  <a:lnTo>
                    <a:pt x="3134" y="516"/>
                  </a:lnTo>
                  <a:lnTo>
                    <a:pt x="3130" y="518"/>
                  </a:lnTo>
                  <a:lnTo>
                    <a:pt x="3129" y="523"/>
                  </a:lnTo>
                  <a:lnTo>
                    <a:pt x="3130" y="526"/>
                  </a:lnTo>
                  <a:lnTo>
                    <a:pt x="3133" y="527"/>
                  </a:lnTo>
                  <a:lnTo>
                    <a:pt x="3134" y="526"/>
                  </a:lnTo>
                  <a:lnTo>
                    <a:pt x="3137" y="527"/>
                  </a:lnTo>
                  <a:lnTo>
                    <a:pt x="3138" y="527"/>
                  </a:lnTo>
                  <a:lnTo>
                    <a:pt x="3140" y="531"/>
                  </a:lnTo>
                  <a:lnTo>
                    <a:pt x="3143" y="531"/>
                  </a:lnTo>
                  <a:lnTo>
                    <a:pt x="3144" y="531"/>
                  </a:lnTo>
                  <a:lnTo>
                    <a:pt x="3144" y="533"/>
                  </a:lnTo>
                  <a:lnTo>
                    <a:pt x="3143" y="533"/>
                  </a:lnTo>
                  <a:lnTo>
                    <a:pt x="3144" y="543"/>
                  </a:lnTo>
                  <a:lnTo>
                    <a:pt x="3148" y="543"/>
                  </a:lnTo>
                  <a:lnTo>
                    <a:pt x="3143" y="548"/>
                  </a:lnTo>
                  <a:lnTo>
                    <a:pt x="3141" y="553"/>
                  </a:lnTo>
                  <a:lnTo>
                    <a:pt x="3143" y="556"/>
                  </a:lnTo>
                  <a:lnTo>
                    <a:pt x="3147" y="558"/>
                  </a:lnTo>
                  <a:lnTo>
                    <a:pt x="3143" y="558"/>
                  </a:lnTo>
                  <a:lnTo>
                    <a:pt x="3137" y="562"/>
                  </a:lnTo>
                  <a:lnTo>
                    <a:pt x="3130" y="565"/>
                  </a:lnTo>
                  <a:lnTo>
                    <a:pt x="3127" y="568"/>
                  </a:lnTo>
                  <a:lnTo>
                    <a:pt x="3123" y="566"/>
                  </a:lnTo>
                  <a:lnTo>
                    <a:pt x="3108" y="568"/>
                  </a:lnTo>
                  <a:lnTo>
                    <a:pt x="3106" y="566"/>
                  </a:lnTo>
                  <a:lnTo>
                    <a:pt x="3108" y="558"/>
                  </a:lnTo>
                  <a:lnTo>
                    <a:pt x="3105" y="558"/>
                  </a:lnTo>
                  <a:lnTo>
                    <a:pt x="3105" y="562"/>
                  </a:lnTo>
                  <a:lnTo>
                    <a:pt x="3103" y="569"/>
                  </a:lnTo>
                  <a:lnTo>
                    <a:pt x="3098" y="570"/>
                  </a:lnTo>
                  <a:lnTo>
                    <a:pt x="3089" y="570"/>
                  </a:lnTo>
                  <a:lnTo>
                    <a:pt x="3088" y="571"/>
                  </a:lnTo>
                  <a:lnTo>
                    <a:pt x="3087" y="571"/>
                  </a:lnTo>
                  <a:lnTo>
                    <a:pt x="3084" y="574"/>
                  </a:lnTo>
                  <a:lnTo>
                    <a:pt x="3080" y="580"/>
                  </a:lnTo>
                  <a:lnTo>
                    <a:pt x="3077" y="581"/>
                  </a:lnTo>
                  <a:lnTo>
                    <a:pt x="3077" y="585"/>
                  </a:lnTo>
                  <a:lnTo>
                    <a:pt x="3078" y="581"/>
                  </a:lnTo>
                  <a:lnTo>
                    <a:pt x="3080" y="583"/>
                  </a:lnTo>
                  <a:lnTo>
                    <a:pt x="3080" y="589"/>
                  </a:lnTo>
                  <a:lnTo>
                    <a:pt x="3081" y="593"/>
                  </a:lnTo>
                  <a:lnTo>
                    <a:pt x="3083" y="591"/>
                  </a:lnTo>
                  <a:lnTo>
                    <a:pt x="3087" y="605"/>
                  </a:lnTo>
                  <a:lnTo>
                    <a:pt x="3088" y="606"/>
                  </a:lnTo>
                  <a:lnTo>
                    <a:pt x="3094" y="607"/>
                  </a:lnTo>
                  <a:lnTo>
                    <a:pt x="3095" y="611"/>
                  </a:lnTo>
                  <a:lnTo>
                    <a:pt x="3103" y="620"/>
                  </a:lnTo>
                  <a:lnTo>
                    <a:pt x="3101" y="623"/>
                  </a:lnTo>
                  <a:lnTo>
                    <a:pt x="3101" y="627"/>
                  </a:lnTo>
                  <a:lnTo>
                    <a:pt x="3095" y="627"/>
                  </a:lnTo>
                  <a:lnTo>
                    <a:pt x="3094" y="630"/>
                  </a:lnTo>
                  <a:lnTo>
                    <a:pt x="3098" y="632"/>
                  </a:lnTo>
                  <a:lnTo>
                    <a:pt x="3106" y="633"/>
                  </a:lnTo>
                  <a:lnTo>
                    <a:pt x="3106" y="632"/>
                  </a:lnTo>
                  <a:lnTo>
                    <a:pt x="3105" y="627"/>
                  </a:lnTo>
                  <a:lnTo>
                    <a:pt x="3106" y="624"/>
                  </a:lnTo>
                  <a:lnTo>
                    <a:pt x="3112" y="632"/>
                  </a:lnTo>
                  <a:lnTo>
                    <a:pt x="3115" y="632"/>
                  </a:lnTo>
                  <a:lnTo>
                    <a:pt x="3117" y="628"/>
                  </a:lnTo>
                  <a:lnTo>
                    <a:pt x="3113" y="623"/>
                  </a:lnTo>
                  <a:lnTo>
                    <a:pt x="3112" y="623"/>
                  </a:lnTo>
                  <a:lnTo>
                    <a:pt x="3110" y="619"/>
                  </a:lnTo>
                  <a:lnTo>
                    <a:pt x="3113" y="616"/>
                  </a:lnTo>
                  <a:lnTo>
                    <a:pt x="3113" y="615"/>
                  </a:lnTo>
                  <a:lnTo>
                    <a:pt x="3115" y="616"/>
                  </a:lnTo>
                  <a:lnTo>
                    <a:pt x="3116" y="615"/>
                  </a:lnTo>
                  <a:lnTo>
                    <a:pt x="3117" y="615"/>
                  </a:lnTo>
                  <a:lnTo>
                    <a:pt x="3117" y="616"/>
                  </a:lnTo>
                  <a:lnTo>
                    <a:pt x="3119" y="619"/>
                  </a:lnTo>
                  <a:lnTo>
                    <a:pt x="3122" y="619"/>
                  </a:lnTo>
                  <a:lnTo>
                    <a:pt x="3123" y="616"/>
                  </a:lnTo>
                  <a:lnTo>
                    <a:pt x="3122" y="615"/>
                  </a:lnTo>
                  <a:lnTo>
                    <a:pt x="3123" y="611"/>
                  </a:lnTo>
                  <a:lnTo>
                    <a:pt x="3126" y="610"/>
                  </a:lnTo>
                  <a:lnTo>
                    <a:pt x="3127" y="615"/>
                  </a:lnTo>
                  <a:lnTo>
                    <a:pt x="3127" y="616"/>
                  </a:lnTo>
                  <a:lnTo>
                    <a:pt x="3129" y="616"/>
                  </a:lnTo>
                  <a:lnTo>
                    <a:pt x="3135" y="620"/>
                  </a:lnTo>
                  <a:lnTo>
                    <a:pt x="3133" y="623"/>
                  </a:lnTo>
                  <a:lnTo>
                    <a:pt x="3133" y="627"/>
                  </a:lnTo>
                  <a:lnTo>
                    <a:pt x="3131" y="628"/>
                  </a:lnTo>
                  <a:lnTo>
                    <a:pt x="3131" y="630"/>
                  </a:lnTo>
                  <a:lnTo>
                    <a:pt x="3127" y="633"/>
                  </a:lnTo>
                  <a:lnTo>
                    <a:pt x="3129" y="637"/>
                  </a:lnTo>
                  <a:lnTo>
                    <a:pt x="3131" y="640"/>
                  </a:lnTo>
                  <a:lnTo>
                    <a:pt x="3134" y="641"/>
                  </a:lnTo>
                  <a:lnTo>
                    <a:pt x="3138" y="647"/>
                  </a:lnTo>
                  <a:lnTo>
                    <a:pt x="3137" y="649"/>
                  </a:lnTo>
                  <a:lnTo>
                    <a:pt x="3138" y="649"/>
                  </a:lnTo>
                  <a:lnTo>
                    <a:pt x="3138" y="651"/>
                  </a:lnTo>
                  <a:lnTo>
                    <a:pt x="3133" y="655"/>
                  </a:lnTo>
                  <a:lnTo>
                    <a:pt x="3133" y="658"/>
                  </a:lnTo>
                  <a:lnTo>
                    <a:pt x="3134" y="660"/>
                  </a:lnTo>
                  <a:lnTo>
                    <a:pt x="3135" y="662"/>
                  </a:lnTo>
                  <a:lnTo>
                    <a:pt x="3134" y="665"/>
                  </a:lnTo>
                  <a:lnTo>
                    <a:pt x="3137" y="668"/>
                  </a:lnTo>
                  <a:lnTo>
                    <a:pt x="3147" y="662"/>
                  </a:lnTo>
                  <a:lnTo>
                    <a:pt x="3147" y="664"/>
                  </a:lnTo>
                  <a:lnTo>
                    <a:pt x="3145" y="668"/>
                  </a:lnTo>
                  <a:lnTo>
                    <a:pt x="3145" y="669"/>
                  </a:lnTo>
                  <a:lnTo>
                    <a:pt x="3144" y="672"/>
                  </a:lnTo>
                  <a:lnTo>
                    <a:pt x="3147" y="674"/>
                  </a:lnTo>
                  <a:lnTo>
                    <a:pt x="3145" y="672"/>
                  </a:lnTo>
                  <a:lnTo>
                    <a:pt x="3147" y="669"/>
                  </a:lnTo>
                  <a:lnTo>
                    <a:pt x="3147" y="668"/>
                  </a:lnTo>
                  <a:lnTo>
                    <a:pt x="3151" y="660"/>
                  </a:lnTo>
                  <a:lnTo>
                    <a:pt x="3152" y="649"/>
                  </a:lnTo>
                  <a:lnTo>
                    <a:pt x="3152" y="647"/>
                  </a:lnTo>
                  <a:lnTo>
                    <a:pt x="3148" y="641"/>
                  </a:lnTo>
                  <a:lnTo>
                    <a:pt x="3149" y="640"/>
                  </a:lnTo>
                  <a:lnTo>
                    <a:pt x="3149" y="637"/>
                  </a:lnTo>
                  <a:lnTo>
                    <a:pt x="3152" y="633"/>
                  </a:lnTo>
                  <a:lnTo>
                    <a:pt x="3152" y="628"/>
                  </a:lnTo>
                  <a:lnTo>
                    <a:pt x="3151" y="627"/>
                  </a:lnTo>
                  <a:lnTo>
                    <a:pt x="3155" y="624"/>
                  </a:lnTo>
                  <a:lnTo>
                    <a:pt x="3155" y="619"/>
                  </a:lnTo>
                  <a:lnTo>
                    <a:pt x="3162" y="616"/>
                  </a:lnTo>
                  <a:lnTo>
                    <a:pt x="3165" y="619"/>
                  </a:lnTo>
                  <a:lnTo>
                    <a:pt x="3165" y="620"/>
                  </a:lnTo>
                  <a:lnTo>
                    <a:pt x="3168" y="620"/>
                  </a:lnTo>
                  <a:lnTo>
                    <a:pt x="3170" y="616"/>
                  </a:lnTo>
                  <a:lnTo>
                    <a:pt x="3172" y="616"/>
                  </a:lnTo>
                  <a:lnTo>
                    <a:pt x="3172" y="615"/>
                  </a:lnTo>
                  <a:lnTo>
                    <a:pt x="3170" y="615"/>
                  </a:lnTo>
                  <a:lnTo>
                    <a:pt x="3170" y="611"/>
                  </a:lnTo>
                  <a:lnTo>
                    <a:pt x="3174" y="610"/>
                  </a:lnTo>
                  <a:lnTo>
                    <a:pt x="3179" y="605"/>
                  </a:lnTo>
                  <a:lnTo>
                    <a:pt x="3190" y="602"/>
                  </a:lnTo>
                  <a:lnTo>
                    <a:pt x="3191" y="598"/>
                  </a:lnTo>
                  <a:lnTo>
                    <a:pt x="3194" y="605"/>
                  </a:lnTo>
                  <a:lnTo>
                    <a:pt x="3202" y="607"/>
                  </a:lnTo>
                  <a:lnTo>
                    <a:pt x="3205" y="607"/>
                  </a:lnTo>
                  <a:lnTo>
                    <a:pt x="3209" y="603"/>
                  </a:lnTo>
                  <a:lnTo>
                    <a:pt x="3213" y="594"/>
                  </a:lnTo>
                  <a:lnTo>
                    <a:pt x="3218" y="594"/>
                  </a:lnTo>
                  <a:lnTo>
                    <a:pt x="3223" y="597"/>
                  </a:lnTo>
                  <a:lnTo>
                    <a:pt x="3227" y="607"/>
                  </a:lnTo>
                  <a:lnTo>
                    <a:pt x="3233" y="611"/>
                  </a:lnTo>
                  <a:lnTo>
                    <a:pt x="3229" y="628"/>
                  </a:lnTo>
                  <a:lnTo>
                    <a:pt x="3230" y="633"/>
                  </a:lnTo>
                  <a:lnTo>
                    <a:pt x="3229" y="643"/>
                  </a:lnTo>
                  <a:lnTo>
                    <a:pt x="3230" y="651"/>
                  </a:lnTo>
                  <a:lnTo>
                    <a:pt x="3240" y="658"/>
                  </a:lnTo>
                  <a:lnTo>
                    <a:pt x="3247" y="660"/>
                  </a:lnTo>
                  <a:lnTo>
                    <a:pt x="3249" y="665"/>
                  </a:lnTo>
                  <a:lnTo>
                    <a:pt x="3245" y="684"/>
                  </a:lnTo>
                  <a:lnTo>
                    <a:pt x="3244" y="695"/>
                  </a:lnTo>
                  <a:lnTo>
                    <a:pt x="3244" y="699"/>
                  </a:lnTo>
                  <a:lnTo>
                    <a:pt x="3247" y="701"/>
                  </a:lnTo>
                  <a:lnTo>
                    <a:pt x="3244" y="710"/>
                  </a:lnTo>
                  <a:lnTo>
                    <a:pt x="3245" y="710"/>
                  </a:lnTo>
                  <a:lnTo>
                    <a:pt x="3243" y="712"/>
                  </a:lnTo>
                  <a:lnTo>
                    <a:pt x="3241" y="717"/>
                  </a:lnTo>
                  <a:lnTo>
                    <a:pt x="3238" y="718"/>
                  </a:lnTo>
                  <a:lnTo>
                    <a:pt x="3234" y="722"/>
                  </a:lnTo>
                  <a:lnTo>
                    <a:pt x="3230" y="723"/>
                  </a:lnTo>
                  <a:lnTo>
                    <a:pt x="3223" y="723"/>
                  </a:lnTo>
                  <a:lnTo>
                    <a:pt x="3213" y="739"/>
                  </a:lnTo>
                  <a:lnTo>
                    <a:pt x="3207" y="743"/>
                  </a:lnTo>
                  <a:lnTo>
                    <a:pt x="3201" y="754"/>
                  </a:lnTo>
                  <a:lnTo>
                    <a:pt x="3197" y="754"/>
                  </a:lnTo>
                  <a:lnTo>
                    <a:pt x="3190" y="748"/>
                  </a:lnTo>
                  <a:lnTo>
                    <a:pt x="3183" y="736"/>
                  </a:lnTo>
                  <a:lnTo>
                    <a:pt x="3183" y="731"/>
                  </a:lnTo>
                  <a:lnTo>
                    <a:pt x="3174" y="720"/>
                  </a:lnTo>
                  <a:lnTo>
                    <a:pt x="3169" y="710"/>
                  </a:lnTo>
                  <a:lnTo>
                    <a:pt x="3163" y="710"/>
                  </a:lnTo>
                  <a:lnTo>
                    <a:pt x="3162" y="710"/>
                  </a:lnTo>
                  <a:lnTo>
                    <a:pt x="3160" y="709"/>
                  </a:lnTo>
                  <a:lnTo>
                    <a:pt x="3158" y="707"/>
                  </a:lnTo>
                  <a:lnTo>
                    <a:pt x="3155" y="710"/>
                  </a:lnTo>
                  <a:lnTo>
                    <a:pt x="3158" y="714"/>
                  </a:lnTo>
                  <a:lnTo>
                    <a:pt x="3163" y="714"/>
                  </a:lnTo>
                  <a:lnTo>
                    <a:pt x="3165" y="718"/>
                  </a:lnTo>
                  <a:lnTo>
                    <a:pt x="3165" y="723"/>
                  </a:lnTo>
                  <a:lnTo>
                    <a:pt x="3166" y="723"/>
                  </a:lnTo>
                  <a:lnTo>
                    <a:pt x="3163" y="727"/>
                  </a:lnTo>
                  <a:lnTo>
                    <a:pt x="3165" y="731"/>
                  </a:lnTo>
                  <a:lnTo>
                    <a:pt x="3169" y="735"/>
                  </a:lnTo>
                  <a:lnTo>
                    <a:pt x="3168" y="740"/>
                  </a:lnTo>
                  <a:lnTo>
                    <a:pt x="3168" y="743"/>
                  </a:lnTo>
                  <a:lnTo>
                    <a:pt x="3170" y="745"/>
                  </a:lnTo>
                  <a:lnTo>
                    <a:pt x="3169" y="754"/>
                  </a:lnTo>
                  <a:lnTo>
                    <a:pt x="3173" y="754"/>
                  </a:lnTo>
                  <a:lnTo>
                    <a:pt x="3176" y="754"/>
                  </a:lnTo>
                  <a:lnTo>
                    <a:pt x="3177" y="754"/>
                  </a:lnTo>
                  <a:lnTo>
                    <a:pt x="3177" y="759"/>
                  </a:lnTo>
                  <a:lnTo>
                    <a:pt x="3173" y="762"/>
                  </a:lnTo>
                  <a:lnTo>
                    <a:pt x="3170" y="769"/>
                  </a:lnTo>
                  <a:lnTo>
                    <a:pt x="3169" y="776"/>
                  </a:lnTo>
                  <a:lnTo>
                    <a:pt x="3169" y="785"/>
                  </a:lnTo>
                  <a:lnTo>
                    <a:pt x="3172" y="797"/>
                  </a:lnTo>
                  <a:lnTo>
                    <a:pt x="3179" y="810"/>
                  </a:lnTo>
                  <a:lnTo>
                    <a:pt x="3184" y="815"/>
                  </a:lnTo>
                  <a:lnTo>
                    <a:pt x="3194" y="821"/>
                  </a:lnTo>
                  <a:lnTo>
                    <a:pt x="3193" y="823"/>
                  </a:lnTo>
                  <a:lnTo>
                    <a:pt x="3184" y="823"/>
                  </a:lnTo>
                  <a:lnTo>
                    <a:pt x="3173" y="817"/>
                  </a:lnTo>
                  <a:lnTo>
                    <a:pt x="3162" y="814"/>
                  </a:lnTo>
                  <a:lnTo>
                    <a:pt x="3158" y="817"/>
                  </a:lnTo>
                  <a:lnTo>
                    <a:pt x="3157" y="826"/>
                  </a:lnTo>
                  <a:lnTo>
                    <a:pt x="3159" y="834"/>
                  </a:lnTo>
                  <a:lnTo>
                    <a:pt x="3162" y="838"/>
                  </a:lnTo>
                  <a:lnTo>
                    <a:pt x="3168" y="839"/>
                  </a:lnTo>
                  <a:lnTo>
                    <a:pt x="3170" y="839"/>
                  </a:lnTo>
                  <a:lnTo>
                    <a:pt x="3176" y="838"/>
                  </a:lnTo>
                  <a:lnTo>
                    <a:pt x="3179" y="832"/>
                  </a:lnTo>
                  <a:lnTo>
                    <a:pt x="3183" y="832"/>
                  </a:lnTo>
                  <a:lnTo>
                    <a:pt x="3184" y="829"/>
                  </a:lnTo>
                  <a:lnTo>
                    <a:pt x="3187" y="830"/>
                  </a:lnTo>
                  <a:lnTo>
                    <a:pt x="3182" y="839"/>
                  </a:lnTo>
                  <a:lnTo>
                    <a:pt x="3176" y="839"/>
                  </a:lnTo>
                  <a:lnTo>
                    <a:pt x="3173" y="843"/>
                  </a:lnTo>
                  <a:lnTo>
                    <a:pt x="3163" y="846"/>
                  </a:lnTo>
                  <a:lnTo>
                    <a:pt x="3162" y="847"/>
                  </a:lnTo>
                  <a:lnTo>
                    <a:pt x="3163" y="851"/>
                  </a:lnTo>
                  <a:lnTo>
                    <a:pt x="3163" y="855"/>
                  </a:lnTo>
                  <a:lnTo>
                    <a:pt x="3154" y="863"/>
                  </a:lnTo>
                  <a:lnTo>
                    <a:pt x="3155" y="866"/>
                  </a:lnTo>
                  <a:lnTo>
                    <a:pt x="3158" y="864"/>
                  </a:lnTo>
                  <a:lnTo>
                    <a:pt x="3163" y="866"/>
                  </a:lnTo>
                  <a:lnTo>
                    <a:pt x="3169" y="864"/>
                  </a:lnTo>
                  <a:lnTo>
                    <a:pt x="3177" y="868"/>
                  </a:lnTo>
                  <a:lnTo>
                    <a:pt x="3174" y="869"/>
                  </a:lnTo>
                  <a:lnTo>
                    <a:pt x="3169" y="874"/>
                  </a:lnTo>
                  <a:lnTo>
                    <a:pt x="3165" y="879"/>
                  </a:lnTo>
                  <a:lnTo>
                    <a:pt x="3165" y="885"/>
                  </a:lnTo>
                  <a:lnTo>
                    <a:pt x="3159" y="889"/>
                  </a:lnTo>
                  <a:lnTo>
                    <a:pt x="3159" y="892"/>
                  </a:lnTo>
                  <a:lnTo>
                    <a:pt x="3162" y="901"/>
                  </a:lnTo>
                  <a:lnTo>
                    <a:pt x="3160" y="904"/>
                  </a:lnTo>
                  <a:lnTo>
                    <a:pt x="3160" y="898"/>
                  </a:lnTo>
                  <a:lnTo>
                    <a:pt x="3159" y="900"/>
                  </a:lnTo>
                  <a:lnTo>
                    <a:pt x="3159" y="908"/>
                  </a:lnTo>
                  <a:lnTo>
                    <a:pt x="3158" y="909"/>
                  </a:lnTo>
                  <a:lnTo>
                    <a:pt x="3159" y="913"/>
                  </a:lnTo>
                  <a:lnTo>
                    <a:pt x="3159" y="914"/>
                  </a:lnTo>
                  <a:lnTo>
                    <a:pt x="3158" y="914"/>
                  </a:lnTo>
                  <a:lnTo>
                    <a:pt x="3158" y="917"/>
                  </a:lnTo>
                  <a:lnTo>
                    <a:pt x="3157" y="917"/>
                  </a:lnTo>
                  <a:lnTo>
                    <a:pt x="3157" y="918"/>
                  </a:lnTo>
                  <a:lnTo>
                    <a:pt x="3159" y="921"/>
                  </a:lnTo>
                  <a:lnTo>
                    <a:pt x="3152" y="923"/>
                  </a:lnTo>
                  <a:lnTo>
                    <a:pt x="3151" y="933"/>
                  </a:lnTo>
                  <a:lnTo>
                    <a:pt x="3162" y="934"/>
                  </a:lnTo>
                  <a:lnTo>
                    <a:pt x="3162" y="928"/>
                  </a:lnTo>
                  <a:lnTo>
                    <a:pt x="3160" y="928"/>
                  </a:lnTo>
                  <a:lnTo>
                    <a:pt x="3155" y="928"/>
                  </a:lnTo>
                  <a:lnTo>
                    <a:pt x="3160" y="923"/>
                  </a:lnTo>
                  <a:lnTo>
                    <a:pt x="3163" y="922"/>
                  </a:lnTo>
                  <a:lnTo>
                    <a:pt x="3165" y="917"/>
                  </a:lnTo>
                  <a:lnTo>
                    <a:pt x="3169" y="913"/>
                  </a:lnTo>
                  <a:lnTo>
                    <a:pt x="3169" y="909"/>
                  </a:lnTo>
                  <a:lnTo>
                    <a:pt x="3170" y="908"/>
                  </a:lnTo>
                  <a:lnTo>
                    <a:pt x="3179" y="908"/>
                  </a:lnTo>
                  <a:lnTo>
                    <a:pt x="3180" y="905"/>
                  </a:lnTo>
                  <a:lnTo>
                    <a:pt x="3179" y="905"/>
                  </a:lnTo>
                  <a:lnTo>
                    <a:pt x="3184" y="905"/>
                  </a:lnTo>
                  <a:lnTo>
                    <a:pt x="3187" y="900"/>
                  </a:lnTo>
                  <a:lnTo>
                    <a:pt x="3194" y="892"/>
                  </a:lnTo>
                  <a:lnTo>
                    <a:pt x="3195" y="891"/>
                  </a:lnTo>
                  <a:lnTo>
                    <a:pt x="3194" y="888"/>
                  </a:lnTo>
                  <a:lnTo>
                    <a:pt x="3194" y="885"/>
                  </a:lnTo>
                  <a:lnTo>
                    <a:pt x="3190" y="881"/>
                  </a:lnTo>
                  <a:lnTo>
                    <a:pt x="3194" y="877"/>
                  </a:lnTo>
                  <a:lnTo>
                    <a:pt x="3195" y="877"/>
                  </a:lnTo>
                  <a:lnTo>
                    <a:pt x="3198" y="874"/>
                  </a:lnTo>
                  <a:lnTo>
                    <a:pt x="3199" y="867"/>
                  </a:lnTo>
                  <a:lnTo>
                    <a:pt x="3199" y="860"/>
                  </a:lnTo>
                  <a:lnTo>
                    <a:pt x="3195" y="852"/>
                  </a:lnTo>
                  <a:lnTo>
                    <a:pt x="3197" y="849"/>
                  </a:lnTo>
                  <a:lnTo>
                    <a:pt x="3195" y="847"/>
                  </a:lnTo>
                  <a:lnTo>
                    <a:pt x="3201" y="846"/>
                  </a:lnTo>
                  <a:lnTo>
                    <a:pt x="3204" y="830"/>
                  </a:lnTo>
                  <a:lnTo>
                    <a:pt x="3204" y="821"/>
                  </a:lnTo>
                  <a:lnTo>
                    <a:pt x="3202" y="821"/>
                  </a:lnTo>
                  <a:lnTo>
                    <a:pt x="3204" y="819"/>
                  </a:lnTo>
                  <a:lnTo>
                    <a:pt x="3204" y="817"/>
                  </a:lnTo>
                  <a:lnTo>
                    <a:pt x="3198" y="814"/>
                  </a:lnTo>
                  <a:lnTo>
                    <a:pt x="3204" y="811"/>
                  </a:lnTo>
                  <a:lnTo>
                    <a:pt x="3207" y="807"/>
                  </a:lnTo>
                  <a:lnTo>
                    <a:pt x="3219" y="805"/>
                  </a:lnTo>
                  <a:lnTo>
                    <a:pt x="3224" y="801"/>
                  </a:lnTo>
                  <a:lnTo>
                    <a:pt x="3240" y="798"/>
                  </a:lnTo>
                  <a:lnTo>
                    <a:pt x="3245" y="798"/>
                  </a:lnTo>
                  <a:lnTo>
                    <a:pt x="3249" y="794"/>
                  </a:lnTo>
                  <a:lnTo>
                    <a:pt x="3255" y="792"/>
                  </a:lnTo>
                  <a:lnTo>
                    <a:pt x="3257" y="789"/>
                  </a:lnTo>
                  <a:lnTo>
                    <a:pt x="3258" y="789"/>
                  </a:lnTo>
                  <a:lnTo>
                    <a:pt x="3263" y="785"/>
                  </a:lnTo>
                  <a:lnTo>
                    <a:pt x="3263" y="781"/>
                  </a:lnTo>
                  <a:lnTo>
                    <a:pt x="3274" y="784"/>
                  </a:lnTo>
                  <a:lnTo>
                    <a:pt x="3276" y="781"/>
                  </a:lnTo>
                  <a:lnTo>
                    <a:pt x="3280" y="780"/>
                  </a:lnTo>
                  <a:lnTo>
                    <a:pt x="3287" y="781"/>
                  </a:lnTo>
                  <a:lnTo>
                    <a:pt x="3294" y="780"/>
                  </a:lnTo>
                  <a:lnTo>
                    <a:pt x="3299" y="779"/>
                  </a:lnTo>
                  <a:lnTo>
                    <a:pt x="3301" y="776"/>
                  </a:lnTo>
                  <a:lnTo>
                    <a:pt x="3302" y="774"/>
                  </a:lnTo>
                  <a:lnTo>
                    <a:pt x="3305" y="776"/>
                  </a:lnTo>
                  <a:lnTo>
                    <a:pt x="3307" y="781"/>
                  </a:lnTo>
                  <a:lnTo>
                    <a:pt x="3312" y="789"/>
                  </a:lnTo>
                  <a:lnTo>
                    <a:pt x="3319" y="806"/>
                  </a:lnTo>
                  <a:lnTo>
                    <a:pt x="3321" y="814"/>
                  </a:lnTo>
                  <a:lnTo>
                    <a:pt x="3321" y="834"/>
                  </a:lnTo>
                  <a:lnTo>
                    <a:pt x="3323" y="836"/>
                  </a:lnTo>
                  <a:lnTo>
                    <a:pt x="3324" y="846"/>
                  </a:lnTo>
                  <a:lnTo>
                    <a:pt x="3322" y="852"/>
                  </a:lnTo>
                  <a:lnTo>
                    <a:pt x="3318" y="855"/>
                  </a:lnTo>
                  <a:lnTo>
                    <a:pt x="3319" y="863"/>
                  </a:lnTo>
                  <a:lnTo>
                    <a:pt x="3315" y="864"/>
                  </a:lnTo>
                  <a:lnTo>
                    <a:pt x="3307" y="863"/>
                  </a:lnTo>
                  <a:lnTo>
                    <a:pt x="3305" y="866"/>
                  </a:lnTo>
                  <a:lnTo>
                    <a:pt x="3298" y="863"/>
                  </a:lnTo>
                  <a:lnTo>
                    <a:pt x="3286" y="868"/>
                  </a:lnTo>
                  <a:lnTo>
                    <a:pt x="3283" y="873"/>
                  </a:lnTo>
                  <a:lnTo>
                    <a:pt x="3272" y="879"/>
                  </a:lnTo>
                  <a:lnTo>
                    <a:pt x="3272" y="883"/>
                  </a:lnTo>
                  <a:lnTo>
                    <a:pt x="3269" y="883"/>
                  </a:lnTo>
                  <a:lnTo>
                    <a:pt x="3268" y="888"/>
                  </a:lnTo>
                  <a:lnTo>
                    <a:pt x="3266" y="892"/>
                  </a:lnTo>
                  <a:lnTo>
                    <a:pt x="3270" y="896"/>
                  </a:lnTo>
                  <a:lnTo>
                    <a:pt x="3277" y="897"/>
                  </a:lnTo>
                  <a:lnTo>
                    <a:pt x="3282" y="894"/>
                  </a:lnTo>
                  <a:lnTo>
                    <a:pt x="3286" y="896"/>
                  </a:lnTo>
                  <a:lnTo>
                    <a:pt x="3290" y="896"/>
                  </a:lnTo>
                  <a:lnTo>
                    <a:pt x="3293" y="885"/>
                  </a:lnTo>
                  <a:lnTo>
                    <a:pt x="3290" y="879"/>
                  </a:lnTo>
                  <a:lnTo>
                    <a:pt x="3294" y="879"/>
                  </a:lnTo>
                  <a:lnTo>
                    <a:pt x="3298" y="877"/>
                  </a:lnTo>
                  <a:lnTo>
                    <a:pt x="3299" y="873"/>
                  </a:lnTo>
                  <a:lnTo>
                    <a:pt x="3299" y="869"/>
                  </a:lnTo>
                  <a:lnTo>
                    <a:pt x="3299" y="868"/>
                  </a:lnTo>
                  <a:lnTo>
                    <a:pt x="3304" y="869"/>
                  </a:lnTo>
                  <a:lnTo>
                    <a:pt x="3307" y="868"/>
                  </a:lnTo>
                  <a:lnTo>
                    <a:pt x="3309" y="869"/>
                  </a:lnTo>
                  <a:lnTo>
                    <a:pt x="3312" y="869"/>
                  </a:lnTo>
                  <a:lnTo>
                    <a:pt x="3316" y="869"/>
                  </a:lnTo>
                  <a:lnTo>
                    <a:pt x="3319" y="874"/>
                  </a:lnTo>
                  <a:lnTo>
                    <a:pt x="3321" y="883"/>
                  </a:lnTo>
                  <a:lnTo>
                    <a:pt x="3323" y="881"/>
                  </a:lnTo>
                  <a:lnTo>
                    <a:pt x="3327" y="879"/>
                  </a:lnTo>
                  <a:lnTo>
                    <a:pt x="3330" y="879"/>
                  </a:lnTo>
                  <a:lnTo>
                    <a:pt x="3330" y="881"/>
                  </a:lnTo>
                  <a:lnTo>
                    <a:pt x="3330" y="883"/>
                  </a:lnTo>
                  <a:lnTo>
                    <a:pt x="3323" y="892"/>
                  </a:lnTo>
                  <a:close/>
                  <a:moveTo>
                    <a:pt x="2614" y="2304"/>
                  </a:moveTo>
                  <a:lnTo>
                    <a:pt x="2589" y="2337"/>
                  </a:lnTo>
                  <a:lnTo>
                    <a:pt x="2582" y="2348"/>
                  </a:lnTo>
                  <a:lnTo>
                    <a:pt x="2581" y="2357"/>
                  </a:lnTo>
                  <a:lnTo>
                    <a:pt x="2578" y="2364"/>
                  </a:lnTo>
                  <a:lnTo>
                    <a:pt x="2579" y="2368"/>
                  </a:lnTo>
                  <a:lnTo>
                    <a:pt x="2582" y="2368"/>
                  </a:lnTo>
                  <a:lnTo>
                    <a:pt x="2584" y="2368"/>
                  </a:lnTo>
                  <a:lnTo>
                    <a:pt x="2588" y="2374"/>
                  </a:lnTo>
                  <a:lnTo>
                    <a:pt x="2588" y="2376"/>
                  </a:lnTo>
                  <a:lnTo>
                    <a:pt x="2584" y="2382"/>
                  </a:lnTo>
                  <a:lnTo>
                    <a:pt x="2572" y="2393"/>
                  </a:lnTo>
                  <a:lnTo>
                    <a:pt x="2561" y="2390"/>
                  </a:lnTo>
                  <a:lnTo>
                    <a:pt x="2540" y="2394"/>
                  </a:lnTo>
                  <a:lnTo>
                    <a:pt x="2539" y="2393"/>
                  </a:lnTo>
                  <a:lnTo>
                    <a:pt x="2540" y="2390"/>
                  </a:lnTo>
                  <a:lnTo>
                    <a:pt x="2539" y="2386"/>
                  </a:lnTo>
                  <a:lnTo>
                    <a:pt x="2526" y="2379"/>
                  </a:lnTo>
                  <a:lnTo>
                    <a:pt x="2526" y="2376"/>
                  </a:lnTo>
                  <a:lnTo>
                    <a:pt x="2521" y="2364"/>
                  </a:lnTo>
                  <a:lnTo>
                    <a:pt x="2510" y="2349"/>
                  </a:lnTo>
                  <a:lnTo>
                    <a:pt x="2505" y="2345"/>
                  </a:lnTo>
                  <a:lnTo>
                    <a:pt x="2494" y="2340"/>
                  </a:lnTo>
                  <a:lnTo>
                    <a:pt x="2493" y="2335"/>
                  </a:lnTo>
                  <a:lnTo>
                    <a:pt x="2493" y="2327"/>
                  </a:lnTo>
                  <a:lnTo>
                    <a:pt x="2494" y="2323"/>
                  </a:lnTo>
                  <a:lnTo>
                    <a:pt x="2501" y="2316"/>
                  </a:lnTo>
                  <a:lnTo>
                    <a:pt x="2504" y="2303"/>
                  </a:lnTo>
                  <a:lnTo>
                    <a:pt x="2505" y="2303"/>
                  </a:lnTo>
                  <a:lnTo>
                    <a:pt x="2507" y="2304"/>
                  </a:lnTo>
                  <a:lnTo>
                    <a:pt x="2508" y="2303"/>
                  </a:lnTo>
                  <a:lnTo>
                    <a:pt x="2516" y="2290"/>
                  </a:lnTo>
                  <a:lnTo>
                    <a:pt x="2519" y="2286"/>
                  </a:lnTo>
                  <a:lnTo>
                    <a:pt x="2525" y="2286"/>
                  </a:lnTo>
                  <a:lnTo>
                    <a:pt x="2532" y="2282"/>
                  </a:lnTo>
                  <a:lnTo>
                    <a:pt x="2535" y="2282"/>
                  </a:lnTo>
                  <a:lnTo>
                    <a:pt x="2539" y="2282"/>
                  </a:lnTo>
                  <a:lnTo>
                    <a:pt x="2560" y="2274"/>
                  </a:lnTo>
                  <a:lnTo>
                    <a:pt x="2563" y="2274"/>
                  </a:lnTo>
                  <a:lnTo>
                    <a:pt x="2563" y="2277"/>
                  </a:lnTo>
                  <a:lnTo>
                    <a:pt x="2560" y="2278"/>
                  </a:lnTo>
                  <a:lnTo>
                    <a:pt x="2560" y="2282"/>
                  </a:lnTo>
                  <a:lnTo>
                    <a:pt x="2560" y="2285"/>
                  </a:lnTo>
                  <a:lnTo>
                    <a:pt x="2560" y="2289"/>
                  </a:lnTo>
                  <a:lnTo>
                    <a:pt x="2546" y="2297"/>
                  </a:lnTo>
                  <a:lnTo>
                    <a:pt x="2542" y="2300"/>
                  </a:lnTo>
                  <a:lnTo>
                    <a:pt x="2539" y="2300"/>
                  </a:lnTo>
                  <a:lnTo>
                    <a:pt x="2538" y="2304"/>
                  </a:lnTo>
                  <a:lnTo>
                    <a:pt x="2540" y="2308"/>
                  </a:lnTo>
                  <a:lnTo>
                    <a:pt x="2539" y="2311"/>
                  </a:lnTo>
                  <a:lnTo>
                    <a:pt x="2540" y="2312"/>
                  </a:lnTo>
                  <a:lnTo>
                    <a:pt x="2542" y="2312"/>
                  </a:lnTo>
                  <a:lnTo>
                    <a:pt x="2543" y="2311"/>
                  </a:lnTo>
                  <a:lnTo>
                    <a:pt x="2542" y="2304"/>
                  </a:lnTo>
                  <a:lnTo>
                    <a:pt x="2546" y="2300"/>
                  </a:lnTo>
                  <a:lnTo>
                    <a:pt x="2557" y="2295"/>
                  </a:lnTo>
                  <a:lnTo>
                    <a:pt x="2564" y="2289"/>
                  </a:lnTo>
                  <a:lnTo>
                    <a:pt x="2568" y="2289"/>
                  </a:lnTo>
                  <a:lnTo>
                    <a:pt x="2570" y="2289"/>
                  </a:lnTo>
                  <a:lnTo>
                    <a:pt x="2565" y="2285"/>
                  </a:lnTo>
                  <a:lnTo>
                    <a:pt x="2567" y="2278"/>
                  </a:lnTo>
                  <a:lnTo>
                    <a:pt x="2574" y="2274"/>
                  </a:lnTo>
                  <a:lnTo>
                    <a:pt x="2584" y="2274"/>
                  </a:lnTo>
                  <a:lnTo>
                    <a:pt x="2584" y="2277"/>
                  </a:lnTo>
                  <a:lnTo>
                    <a:pt x="2588" y="2282"/>
                  </a:lnTo>
                  <a:lnTo>
                    <a:pt x="2589" y="2286"/>
                  </a:lnTo>
                  <a:lnTo>
                    <a:pt x="2592" y="2286"/>
                  </a:lnTo>
                  <a:lnTo>
                    <a:pt x="2593" y="2289"/>
                  </a:lnTo>
                  <a:lnTo>
                    <a:pt x="2592" y="2293"/>
                  </a:lnTo>
                  <a:lnTo>
                    <a:pt x="2586" y="2297"/>
                  </a:lnTo>
                  <a:lnTo>
                    <a:pt x="2585" y="2300"/>
                  </a:lnTo>
                  <a:lnTo>
                    <a:pt x="2576" y="2307"/>
                  </a:lnTo>
                  <a:lnTo>
                    <a:pt x="2572" y="2311"/>
                  </a:lnTo>
                  <a:lnTo>
                    <a:pt x="2574" y="2312"/>
                  </a:lnTo>
                  <a:lnTo>
                    <a:pt x="2575" y="2312"/>
                  </a:lnTo>
                  <a:lnTo>
                    <a:pt x="2571" y="2316"/>
                  </a:lnTo>
                  <a:lnTo>
                    <a:pt x="2568" y="2319"/>
                  </a:lnTo>
                  <a:lnTo>
                    <a:pt x="2570" y="2319"/>
                  </a:lnTo>
                  <a:lnTo>
                    <a:pt x="2570" y="2318"/>
                  </a:lnTo>
                  <a:lnTo>
                    <a:pt x="2576" y="2316"/>
                  </a:lnTo>
                  <a:lnTo>
                    <a:pt x="2576" y="2312"/>
                  </a:lnTo>
                  <a:lnTo>
                    <a:pt x="2579" y="2308"/>
                  </a:lnTo>
                  <a:lnTo>
                    <a:pt x="2586" y="2308"/>
                  </a:lnTo>
                  <a:lnTo>
                    <a:pt x="2595" y="2300"/>
                  </a:lnTo>
                  <a:lnTo>
                    <a:pt x="2600" y="2297"/>
                  </a:lnTo>
                  <a:lnTo>
                    <a:pt x="2596" y="2304"/>
                  </a:lnTo>
                  <a:lnTo>
                    <a:pt x="2595" y="2308"/>
                  </a:lnTo>
                  <a:lnTo>
                    <a:pt x="2598" y="2312"/>
                  </a:lnTo>
                  <a:lnTo>
                    <a:pt x="2596" y="2312"/>
                  </a:lnTo>
                  <a:lnTo>
                    <a:pt x="2589" y="2312"/>
                  </a:lnTo>
                  <a:lnTo>
                    <a:pt x="2585" y="2316"/>
                  </a:lnTo>
                  <a:lnTo>
                    <a:pt x="2585" y="2323"/>
                  </a:lnTo>
                  <a:lnTo>
                    <a:pt x="2588" y="2327"/>
                  </a:lnTo>
                  <a:lnTo>
                    <a:pt x="2588" y="2331"/>
                  </a:lnTo>
                  <a:lnTo>
                    <a:pt x="2585" y="2335"/>
                  </a:lnTo>
                  <a:lnTo>
                    <a:pt x="2589" y="2331"/>
                  </a:lnTo>
                  <a:lnTo>
                    <a:pt x="2590" y="2327"/>
                  </a:lnTo>
                  <a:lnTo>
                    <a:pt x="2586" y="2319"/>
                  </a:lnTo>
                  <a:lnTo>
                    <a:pt x="2586" y="2318"/>
                  </a:lnTo>
                  <a:lnTo>
                    <a:pt x="2589" y="2316"/>
                  </a:lnTo>
                  <a:lnTo>
                    <a:pt x="2598" y="2318"/>
                  </a:lnTo>
                  <a:lnTo>
                    <a:pt x="2601" y="2316"/>
                  </a:lnTo>
                  <a:lnTo>
                    <a:pt x="2604" y="2312"/>
                  </a:lnTo>
                  <a:lnTo>
                    <a:pt x="2607" y="2299"/>
                  </a:lnTo>
                  <a:lnTo>
                    <a:pt x="2614" y="2295"/>
                  </a:lnTo>
                  <a:lnTo>
                    <a:pt x="2617" y="2295"/>
                  </a:lnTo>
                  <a:lnTo>
                    <a:pt x="2617" y="2299"/>
                  </a:lnTo>
                  <a:lnTo>
                    <a:pt x="2614" y="2304"/>
                  </a:lnTo>
                  <a:close/>
                  <a:moveTo>
                    <a:pt x="2499" y="2300"/>
                  </a:moveTo>
                  <a:lnTo>
                    <a:pt x="2500" y="2304"/>
                  </a:lnTo>
                  <a:lnTo>
                    <a:pt x="2497" y="2312"/>
                  </a:lnTo>
                  <a:lnTo>
                    <a:pt x="2491" y="2322"/>
                  </a:lnTo>
                  <a:lnTo>
                    <a:pt x="2490" y="2327"/>
                  </a:lnTo>
                  <a:lnTo>
                    <a:pt x="2491" y="2333"/>
                  </a:lnTo>
                  <a:lnTo>
                    <a:pt x="2490" y="2333"/>
                  </a:lnTo>
                  <a:lnTo>
                    <a:pt x="2489" y="2327"/>
                  </a:lnTo>
                  <a:lnTo>
                    <a:pt x="2486" y="2323"/>
                  </a:lnTo>
                  <a:lnTo>
                    <a:pt x="2486" y="2316"/>
                  </a:lnTo>
                  <a:lnTo>
                    <a:pt x="2482" y="2308"/>
                  </a:lnTo>
                  <a:lnTo>
                    <a:pt x="2483" y="2304"/>
                  </a:lnTo>
                  <a:lnTo>
                    <a:pt x="2496" y="2299"/>
                  </a:lnTo>
                  <a:lnTo>
                    <a:pt x="2499" y="2300"/>
                  </a:lnTo>
                  <a:close/>
                  <a:moveTo>
                    <a:pt x="3322" y="1128"/>
                  </a:moveTo>
                  <a:lnTo>
                    <a:pt x="3323" y="1128"/>
                  </a:lnTo>
                  <a:lnTo>
                    <a:pt x="3322" y="1137"/>
                  </a:lnTo>
                  <a:lnTo>
                    <a:pt x="3316" y="1145"/>
                  </a:lnTo>
                  <a:lnTo>
                    <a:pt x="3311" y="1149"/>
                  </a:lnTo>
                  <a:lnTo>
                    <a:pt x="3313" y="1141"/>
                  </a:lnTo>
                  <a:lnTo>
                    <a:pt x="3315" y="1141"/>
                  </a:lnTo>
                  <a:lnTo>
                    <a:pt x="3318" y="1140"/>
                  </a:lnTo>
                  <a:lnTo>
                    <a:pt x="3319" y="1134"/>
                  </a:lnTo>
                  <a:lnTo>
                    <a:pt x="3315" y="1135"/>
                  </a:lnTo>
                  <a:lnTo>
                    <a:pt x="3316" y="1133"/>
                  </a:lnTo>
                  <a:lnTo>
                    <a:pt x="3308" y="1128"/>
                  </a:lnTo>
                  <a:lnTo>
                    <a:pt x="3313" y="1132"/>
                  </a:lnTo>
                  <a:lnTo>
                    <a:pt x="3318" y="1132"/>
                  </a:lnTo>
                  <a:lnTo>
                    <a:pt x="3322" y="1128"/>
                  </a:lnTo>
                  <a:close/>
                  <a:moveTo>
                    <a:pt x="3255" y="1270"/>
                  </a:moveTo>
                  <a:lnTo>
                    <a:pt x="3254" y="1274"/>
                  </a:lnTo>
                  <a:lnTo>
                    <a:pt x="3249" y="1275"/>
                  </a:lnTo>
                  <a:lnTo>
                    <a:pt x="3251" y="1275"/>
                  </a:lnTo>
                  <a:lnTo>
                    <a:pt x="3249" y="1278"/>
                  </a:lnTo>
                  <a:lnTo>
                    <a:pt x="3247" y="1278"/>
                  </a:lnTo>
                  <a:lnTo>
                    <a:pt x="3244" y="1282"/>
                  </a:lnTo>
                  <a:lnTo>
                    <a:pt x="3244" y="1284"/>
                  </a:lnTo>
                  <a:lnTo>
                    <a:pt x="3240" y="1286"/>
                  </a:lnTo>
                  <a:lnTo>
                    <a:pt x="3240" y="1284"/>
                  </a:lnTo>
                  <a:lnTo>
                    <a:pt x="3240" y="1279"/>
                  </a:lnTo>
                  <a:lnTo>
                    <a:pt x="3245" y="1274"/>
                  </a:lnTo>
                  <a:lnTo>
                    <a:pt x="3254" y="1270"/>
                  </a:lnTo>
                  <a:lnTo>
                    <a:pt x="3255" y="1270"/>
                  </a:lnTo>
                  <a:close/>
                  <a:moveTo>
                    <a:pt x="3279" y="1308"/>
                  </a:moveTo>
                  <a:lnTo>
                    <a:pt x="3280" y="1308"/>
                  </a:lnTo>
                  <a:lnTo>
                    <a:pt x="3279" y="1315"/>
                  </a:lnTo>
                  <a:lnTo>
                    <a:pt x="3274" y="1321"/>
                  </a:lnTo>
                  <a:lnTo>
                    <a:pt x="3274" y="1319"/>
                  </a:lnTo>
                  <a:lnTo>
                    <a:pt x="3276" y="1315"/>
                  </a:lnTo>
                  <a:lnTo>
                    <a:pt x="3270" y="1311"/>
                  </a:lnTo>
                  <a:lnTo>
                    <a:pt x="3274" y="1311"/>
                  </a:lnTo>
                  <a:lnTo>
                    <a:pt x="3277" y="1308"/>
                  </a:lnTo>
                  <a:lnTo>
                    <a:pt x="3279" y="1311"/>
                  </a:lnTo>
                  <a:lnTo>
                    <a:pt x="3279" y="1308"/>
                  </a:lnTo>
                  <a:close/>
                  <a:moveTo>
                    <a:pt x="3290" y="1286"/>
                  </a:moveTo>
                  <a:lnTo>
                    <a:pt x="3291" y="1287"/>
                  </a:lnTo>
                  <a:lnTo>
                    <a:pt x="3288" y="1291"/>
                  </a:lnTo>
                  <a:lnTo>
                    <a:pt x="3288" y="1292"/>
                  </a:lnTo>
                  <a:lnTo>
                    <a:pt x="3287" y="1295"/>
                  </a:lnTo>
                  <a:lnTo>
                    <a:pt x="3284" y="1295"/>
                  </a:lnTo>
                  <a:lnTo>
                    <a:pt x="3283" y="1288"/>
                  </a:lnTo>
                  <a:lnTo>
                    <a:pt x="3286" y="1287"/>
                  </a:lnTo>
                  <a:lnTo>
                    <a:pt x="3286" y="1288"/>
                  </a:lnTo>
                  <a:lnTo>
                    <a:pt x="3288" y="1288"/>
                  </a:lnTo>
                  <a:lnTo>
                    <a:pt x="3290" y="1286"/>
                  </a:lnTo>
                  <a:close/>
                  <a:moveTo>
                    <a:pt x="3324" y="1088"/>
                  </a:moveTo>
                  <a:lnTo>
                    <a:pt x="3323" y="1087"/>
                  </a:lnTo>
                  <a:lnTo>
                    <a:pt x="3324" y="1084"/>
                  </a:lnTo>
                  <a:lnTo>
                    <a:pt x="3324" y="1087"/>
                  </a:lnTo>
                  <a:lnTo>
                    <a:pt x="3326" y="1087"/>
                  </a:lnTo>
                  <a:lnTo>
                    <a:pt x="3326" y="1079"/>
                  </a:lnTo>
                  <a:lnTo>
                    <a:pt x="3322" y="1083"/>
                  </a:lnTo>
                  <a:lnTo>
                    <a:pt x="3324" y="1079"/>
                  </a:lnTo>
                  <a:lnTo>
                    <a:pt x="3326" y="1079"/>
                  </a:lnTo>
                  <a:lnTo>
                    <a:pt x="3327" y="1079"/>
                  </a:lnTo>
                  <a:lnTo>
                    <a:pt x="3326" y="1088"/>
                  </a:lnTo>
                  <a:lnTo>
                    <a:pt x="3324" y="1088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95" name="Freeform 194"/>
            <p:cNvSpPr>
              <a:spLocks noEditPoints="1"/>
            </p:cNvSpPr>
            <p:nvPr/>
          </p:nvSpPr>
          <p:spPr bwMode="auto">
            <a:xfrm>
              <a:off x="1398326" y="2556155"/>
              <a:ext cx="639562" cy="846336"/>
            </a:xfrm>
            <a:custGeom>
              <a:avLst/>
              <a:gdLst>
                <a:gd name="T0" fmla="*/ 3171 w 3208"/>
                <a:gd name="T1" fmla="*/ 1568 h 3136"/>
                <a:gd name="T2" fmla="*/ 2844 w 3208"/>
                <a:gd name="T3" fmla="*/ 1629 h 3136"/>
                <a:gd name="T4" fmla="*/ 2772 w 3208"/>
                <a:gd name="T5" fmla="*/ 1694 h 3136"/>
                <a:gd name="T6" fmla="*/ 2698 w 3208"/>
                <a:gd name="T7" fmla="*/ 1688 h 3136"/>
                <a:gd name="T8" fmla="*/ 2492 w 3208"/>
                <a:gd name="T9" fmla="*/ 1796 h 3136"/>
                <a:gd name="T10" fmla="*/ 2389 w 3208"/>
                <a:gd name="T11" fmla="*/ 1747 h 3136"/>
                <a:gd name="T12" fmla="*/ 2349 w 3208"/>
                <a:gd name="T13" fmla="*/ 1834 h 3136"/>
                <a:gd name="T14" fmla="*/ 2331 w 3208"/>
                <a:gd name="T15" fmla="*/ 1871 h 3136"/>
                <a:gd name="T16" fmla="*/ 2040 w 3208"/>
                <a:gd name="T17" fmla="*/ 1998 h 3136"/>
                <a:gd name="T18" fmla="*/ 1829 w 3208"/>
                <a:gd name="T19" fmla="*/ 2111 h 3136"/>
                <a:gd name="T20" fmla="*/ 1626 w 3208"/>
                <a:gd name="T21" fmla="*/ 2170 h 3136"/>
                <a:gd name="T22" fmla="*/ 1460 w 3208"/>
                <a:gd name="T23" fmla="*/ 2413 h 3136"/>
                <a:gd name="T24" fmla="*/ 1412 w 3208"/>
                <a:gd name="T25" fmla="*/ 2395 h 3136"/>
                <a:gd name="T26" fmla="*/ 1337 w 3208"/>
                <a:gd name="T27" fmla="*/ 2560 h 3136"/>
                <a:gd name="T28" fmla="*/ 1271 w 3208"/>
                <a:gd name="T29" fmla="*/ 2668 h 3136"/>
                <a:gd name="T30" fmla="*/ 1084 w 3208"/>
                <a:gd name="T31" fmla="*/ 2836 h 3136"/>
                <a:gd name="T32" fmla="*/ 1021 w 3208"/>
                <a:gd name="T33" fmla="*/ 2945 h 3136"/>
                <a:gd name="T34" fmla="*/ 908 w 3208"/>
                <a:gd name="T35" fmla="*/ 3036 h 3136"/>
                <a:gd name="T36" fmla="*/ 910 w 3208"/>
                <a:gd name="T37" fmla="*/ 3111 h 3136"/>
                <a:gd name="T38" fmla="*/ 807 w 3208"/>
                <a:gd name="T39" fmla="*/ 2998 h 3136"/>
                <a:gd name="T40" fmla="*/ 799 w 3208"/>
                <a:gd name="T41" fmla="*/ 2884 h 3136"/>
                <a:gd name="T42" fmla="*/ 623 w 3208"/>
                <a:gd name="T43" fmla="*/ 2613 h 3136"/>
                <a:gd name="T44" fmla="*/ 340 w 3208"/>
                <a:gd name="T45" fmla="*/ 2413 h 3136"/>
                <a:gd name="T46" fmla="*/ 172 w 3208"/>
                <a:gd name="T47" fmla="*/ 2222 h 3136"/>
                <a:gd name="T48" fmla="*/ 145 w 3208"/>
                <a:gd name="T49" fmla="*/ 2050 h 3136"/>
                <a:gd name="T50" fmla="*/ 156 w 3208"/>
                <a:gd name="T51" fmla="*/ 1879 h 3136"/>
                <a:gd name="T52" fmla="*/ 132 w 3208"/>
                <a:gd name="T53" fmla="*/ 1766 h 3136"/>
                <a:gd name="T54" fmla="*/ 127 w 3208"/>
                <a:gd name="T55" fmla="*/ 1605 h 3136"/>
                <a:gd name="T56" fmla="*/ 71 w 3208"/>
                <a:gd name="T57" fmla="*/ 1332 h 3136"/>
                <a:gd name="T58" fmla="*/ 122 w 3208"/>
                <a:gd name="T59" fmla="*/ 1091 h 3136"/>
                <a:gd name="T60" fmla="*/ 317 w 3208"/>
                <a:gd name="T61" fmla="*/ 932 h 3136"/>
                <a:gd name="T62" fmla="*/ 566 w 3208"/>
                <a:gd name="T63" fmla="*/ 368 h 3136"/>
                <a:gd name="T64" fmla="*/ 797 w 3208"/>
                <a:gd name="T65" fmla="*/ 355 h 3136"/>
                <a:gd name="T66" fmla="*/ 829 w 3208"/>
                <a:gd name="T67" fmla="*/ 366 h 3136"/>
                <a:gd name="T68" fmla="*/ 907 w 3208"/>
                <a:gd name="T69" fmla="*/ 352 h 3136"/>
                <a:gd name="T70" fmla="*/ 905 w 3208"/>
                <a:gd name="T71" fmla="*/ 315 h 3136"/>
                <a:gd name="T72" fmla="*/ 928 w 3208"/>
                <a:gd name="T73" fmla="*/ 295 h 3136"/>
                <a:gd name="T74" fmla="*/ 946 w 3208"/>
                <a:gd name="T75" fmla="*/ 275 h 3136"/>
                <a:gd name="T76" fmla="*/ 963 w 3208"/>
                <a:gd name="T77" fmla="*/ 251 h 3136"/>
                <a:gd name="T78" fmla="*/ 974 w 3208"/>
                <a:gd name="T79" fmla="*/ 233 h 3136"/>
                <a:gd name="T80" fmla="*/ 1010 w 3208"/>
                <a:gd name="T81" fmla="*/ 224 h 3136"/>
                <a:gd name="T82" fmla="*/ 1065 w 3208"/>
                <a:gd name="T83" fmla="*/ 201 h 3136"/>
                <a:gd name="T84" fmla="*/ 1181 w 3208"/>
                <a:gd name="T85" fmla="*/ 124 h 3136"/>
                <a:gd name="T86" fmla="*/ 1248 w 3208"/>
                <a:gd name="T87" fmla="*/ 14 h 3136"/>
                <a:gd name="T88" fmla="*/ 1722 w 3208"/>
                <a:gd name="T89" fmla="*/ 88 h 3136"/>
                <a:gd name="T90" fmla="*/ 1859 w 3208"/>
                <a:gd name="T91" fmla="*/ 142 h 3136"/>
                <a:gd name="T92" fmla="*/ 1961 w 3208"/>
                <a:gd name="T93" fmla="*/ 150 h 3136"/>
                <a:gd name="T94" fmla="*/ 2029 w 3208"/>
                <a:gd name="T95" fmla="*/ 195 h 3136"/>
                <a:gd name="T96" fmla="*/ 2186 w 3208"/>
                <a:gd name="T97" fmla="*/ 184 h 3136"/>
                <a:gd name="T98" fmla="*/ 2336 w 3208"/>
                <a:gd name="T99" fmla="*/ 253 h 3136"/>
                <a:gd name="T100" fmla="*/ 2435 w 3208"/>
                <a:gd name="T101" fmla="*/ 337 h 3136"/>
                <a:gd name="T102" fmla="*/ 2640 w 3208"/>
                <a:gd name="T103" fmla="*/ 412 h 3136"/>
                <a:gd name="T104" fmla="*/ 2776 w 3208"/>
                <a:gd name="T105" fmla="*/ 543 h 3136"/>
                <a:gd name="T106" fmla="*/ 2942 w 3208"/>
                <a:gd name="T107" fmla="*/ 640 h 3136"/>
                <a:gd name="T108" fmla="*/ 2994 w 3208"/>
                <a:gd name="T109" fmla="*/ 804 h 3136"/>
                <a:gd name="T110" fmla="*/ 3033 w 3208"/>
                <a:gd name="T111" fmla="*/ 970 h 3136"/>
                <a:gd name="T112" fmla="*/ 3130 w 3208"/>
                <a:gd name="T113" fmla="*/ 1175 h 3136"/>
                <a:gd name="T114" fmla="*/ 3096 w 3208"/>
                <a:gd name="T115" fmla="*/ 1326 h 3136"/>
                <a:gd name="T116" fmla="*/ 3174 w 3208"/>
                <a:gd name="T117" fmla="*/ 1436 h 3136"/>
                <a:gd name="T118" fmla="*/ 1416 w 3208"/>
                <a:gd name="T119" fmla="*/ 2392 h 3136"/>
                <a:gd name="T120" fmla="*/ 1388 w 3208"/>
                <a:gd name="T121" fmla="*/ 2319 h 3136"/>
                <a:gd name="T122" fmla="*/ 1848 w 3208"/>
                <a:gd name="T123" fmla="*/ 2102 h 31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208"/>
                <a:gd name="T187" fmla="*/ 0 h 3136"/>
                <a:gd name="T188" fmla="*/ 3208 w 3208"/>
                <a:gd name="T189" fmla="*/ 3136 h 31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208" h="3136">
                  <a:moveTo>
                    <a:pt x="3208" y="1522"/>
                  </a:moveTo>
                  <a:lnTo>
                    <a:pt x="3208" y="1526"/>
                  </a:lnTo>
                  <a:lnTo>
                    <a:pt x="3204" y="1531"/>
                  </a:lnTo>
                  <a:lnTo>
                    <a:pt x="3200" y="1535"/>
                  </a:lnTo>
                  <a:lnTo>
                    <a:pt x="3199" y="1534"/>
                  </a:lnTo>
                  <a:lnTo>
                    <a:pt x="3201" y="1527"/>
                  </a:lnTo>
                  <a:lnTo>
                    <a:pt x="3201" y="1526"/>
                  </a:lnTo>
                  <a:lnTo>
                    <a:pt x="3197" y="1527"/>
                  </a:lnTo>
                  <a:lnTo>
                    <a:pt x="3194" y="1534"/>
                  </a:lnTo>
                  <a:lnTo>
                    <a:pt x="3191" y="1534"/>
                  </a:lnTo>
                  <a:lnTo>
                    <a:pt x="3193" y="1535"/>
                  </a:lnTo>
                  <a:lnTo>
                    <a:pt x="3187" y="1538"/>
                  </a:lnTo>
                  <a:lnTo>
                    <a:pt x="3183" y="1538"/>
                  </a:lnTo>
                  <a:lnTo>
                    <a:pt x="3176" y="1542"/>
                  </a:lnTo>
                  <a:lnTo>
                    <a:pt x="3171" y="1542"/>
                  </a:lnTo>
                  <a:lnTo>
                    <a:pt x="3166" y="1548"/>
                  </a:lnTo>
                  <a:lnTo>
                    <a:pt x="3162" y="1550"/>
                  </a:lnTo>
                  <a:lnTo>
                    <a:pt x="3155" y="1548"/>
                  </a:lnTo>
                  <a:lnTo>
                    <a:pt x="3157" y="1552"/>
                  </a:lnTo>
                  <a:lnTo>
                    <a:pt x="3149" y="1553"/>
                  </a:lnTo>
                  <a:lnTo>
                    <a:pt x="3147" y="1558"/>
                  </a:lnTo>
                  <a:lnTo>
                    <a:pt x="3149" y="1561"/>
                  </a:lnTo>
                  <a:lnTo>
                    <a:pt x="3146" y="1564"/>
                  </a:lnTo>
                  <a:lnTo>
                    <a:pt x="3144" y="1567"/>
                  </a:lnTo>
                  <a:lnTo>
                    <a:pt x="3137" y="1568"/>
                  </a:lnTo>
                  <a:lnTo>
                    <a:pt x="3133" y="1568"/>
                  </a:lnTo>
                  <a:lnTo>
                    <a:pt x="3126" y="1571"/>
                  </a:lnTo>
                  <a:lnTo>
                    <a:pt x="3130" y="1572"/>
                  </a:lnTo>
                  <a:lnTo>
                    <a:pt x="3141" y="1571"/>
                  </a:lnTo>
                  <a:lnTo>
                    <a:pt x="3151" y="1572"/>
                  </a:lnTo>
                  <a:lnTo>
                    <a:pt x="3164" y="1575"/>
                  </a:lnTo>
                  <a:lnTo>
                    <a:pt x="3166" y="1572"/>
                  </a:lnTo>
                  <a:lnTo>
                    <a:pt x="3171" y="1568"/>
                  </a:lnTo>
                  <a:lnTo>
                    <a:pt x="3171" y="1556"/>
                  </a:lnTo>
                  <a:lnTo>
                    <a:pt x="3175" y="1550"/>
                  </a:lnTo>
                  <a:lnTo>
                    <a:pt x="3177" y="1550"/>
                  </a:lnTo>
                  <a:lnTo>
                    <a:pt x="3186" y="1550"/>
                  </a:lnTo>
                  <a:lnTo>
                    <a:pt x="3191" y="1553"/>
                  </a:lnTo>
                  <a:lnTo>
                    <a:pt x="3197" y="1553"/>
                  </a:lnTo>
                  <a:lnTo>
                    <a:pt x="3196" y="1563"/>
                  </a:lnTo>
                  <a:lnTo>
                    <a:pt x="3186" y="1575"/>
                  </a:lnTo>
                  <a:lnTo>
                    <a:pt x="3161" y="1612"/>
                  </a:lnTo>
                  <a:lnTo>
                    <a:pt x="3157" y="1615"/>
                  </a:lnTo>
                  <a:lnTo>
                    <a:pt x="3152" y="1617"/>
                  </a:lnTo>
                  <a:lnTo>
                    <a:pt x="3149" y="1617"/>
                  </a:lnTo>
                  <a:lnTo>
                    <a:pt x="3121" y="1613"/>
                  </a:lnTo>
                  <a:lnTo>
                    <a:pt x="3083" y="1617"/>
                  </a:lnTo>
                  <a:lnTo>
                    <a:pt x="3057" y="1623"/>
                  </a:lnTo>
                  <a:lnTo>
                    <a:pt x="3001" y="1646"/>
                  </a:lnTo>
                  <a:lnTo>
                    <a:pt x="2968" y="1655"/>
                  </a:lnTo>
                  <a:lnTo>
                    <a:pt x="2956" y="1656"/>
                  </a:lnTo>
                  <a:lnTo>
                    <a:pt x="2950" y="1658"/>
                  </a:lnTo>
                  <a:lnTo>
                    <a:pt x="2933" y="1662"/>
                  </a:lnTo>
                  <a:lnTo>
                    <a:pt x="2911" y="1664"/>
                  </a:lnTo>
                  <a:lnTo>
                    <a:pt x="2886" y="1665"/>
                  </a:lnTo>
                  <a:lnTo>
                    <a:pt x="2866" y="1674"/>
                  </a:lnTo>
                  <a:lnTo>
                    <a:pt x="2856" y="1672"/>
                  </a:lnTo>
                  <a:lnTo>
                    <a:pt x="2847" y="1665"/>
                  </a:lnTo>
                  <a:lnTo>
                    <a:pt x="2842" y="1656"/>
                  </a:lnTo>
                  <a:lnTo>
                    <a:pt x="2841" y="1646"/>
                  </a:lnTo>
                  <a:lnTo>
                    <a:pt x="2837" y="1646"/>
                  </a:lnTo>
                  <a:lnTo>
                    <a:pt x="2833" y="1642"/>
                  </a:lnTo>
                  <a:lnTo>
                    <a:pt x="2833" y="1638"/>
                  </a:lnTo>
                  <a:lnTo>
                    <a:pt x="2834" y="1635"/>
                  </a:lnTo>
                  <a:lnTo>
                    <a:pt x="2845" y="1631"/>
                  </a:lnTo>
                  <a:lnTo>
                    <a:pt x="2844" y="1629"/>
                  </a:lnTo>
                  <a:lnTo>
                    <a:pt x="2839" y="1625"/>
                  </a:lnTo>
                  <a:lnTo>
                    <a:pt x="2840" y="1629"/>
                  </a:lnTo>
                  <a:lnTo>
                    <a:pt x="2840" y="1631"/>
                  </a:lnTo>
                  <a:lnTo>
                    <a:pt x="2833" y="1631"/>
                  </a:lnTo>
                  <a:lnTo>
                    <a:pt x="2830" y="1634"/>
                  </a:lnTo>
                  <a:lnTo>
                    <a:pt x="2826" y="1643"/>
                  </a:lnTo>
                  <a:lnTo>
                    <a:pt x="2823" y="1639"/>
                  </a:lnTo>
                  <a:lnTo>
                    <a:pt x="2822" y="1643"/>
                  </a:lnTo>
                  <a:lnTo>
                    <a:pt x="2823" y="1647"/>
                  </a:lnTo>
                  <a:lnTo>
                    <a:pt x="2829" y="1647"/>
                  </a:lnTo>
                  <a:lnTo>
                    <a:pt x="2833" y="1651"/>
                  </a:lnTo>
                  <a:lnTo>
                    <a:pt x="2834" y="1656"/>
                  </a:lnTo>
                  <a:lnTo>
                    <a:pt x="2833" y="1660"/>
                  </a:lnTo>
                  <a:lnTo>
                    <a:pt x="2829" y="1665"/>
                  </a:lnTo>
                  <a:lnTo>
                    <a:pt x="2826" y="1665"/>
                  </a:lnTo>
                  <a:lnTo>
                    <a:pt x="2826" y="1664"/>
                  </a:lnTo>
                  <a:lnTo>
                    <a:pt x="2823" y="1665"/>
                  </a:lnTo>
                  <a:lnTo>
                    <a:pt x="2819" y="1669"/>
                  </a:lnTo>
                  <a:lnTo>
                    <a:pt x="2816" y="1676"/>
                  </a:lnTo>
                  <a:lnTo>
                    <a:pt x="2812" y="1680"/>
                  </a:lnTo>
                  <a:lnTo>
                    <a:pt x="2817" y="1680"/>
                  </a:lnTo>
                  <a:lnTo>
                    <a:pt x="2825" y="1674"/>
                  </a:lnTo>
                  <a:lnTo>
                    <a:pt x="2833" y="1674"/>
                  </a:lnTo>
                  <a:lnTo>
                    <a:pt x="2836" y="1669"/>
                  </a:lnTo>
                  <a:lnTo>
                    <a:pt x="2839" y="1669"/>
                  </a:lnTo>
                  <a:lnTo>
                    <a:pt x="2842" y="1669"/>
                  </a:lnTo>
                  <a:lnTo>
                    <a:pt x="2844" y="1672"/>
                  </a:lnTo>
                  <a:lnTo>
                    <a:pt x="2842" y="1676"/>
                  </a:lnTo>
                  <a:lnTo>
                    <a:pt x="2840" y="1677"/>
                  </a:lnTo>
                  <a:lnTo>
                    <a:pt x="2809" y="1688"/>
                  </a:lnTo>
                  <a:lnTo>
                    <a:pt x="2763" y="1699"/>
                  </a:lnTo>
                  <a:lnTo>
                    <a:pt x="2765" y="1696"/>
                  </a:lnTo>
                  <a:lnTo>
                    <a:pt x="2772" y="1694"/>
                  </a:lnTo>
                  <a:lnTo>
                    <a:pt x="2775" y="1692"/>
                  </a:lnTo>
                  <a:lnTo>
                    <a:pt x="2777" y="1688"/>
                  </a:lnTo>
                  <a:lnTo>
                    <a:pt x="2777" y="1684"/>
                  </a:lnTo>
                  <a:lnTo>
                    <a:pt x="2775" y="1684"/>
                  </a:lnTo>
                  <a:lnTo>
                    <a:pt x="2775" y="1688"/>
                  </a:lnTo>
                  <a:lnTo>
                    <a:pt x="2773" y="1691"/>
                  </a:lnTo>
                  <a:lnTo>
                    <a:pt x="2770" y="1691"/>
                  </a:lnTo>
                  <a:lnTo>
                    <a:pt x="2770" y="1676"/>
                  </a:lnTo>
                  <a:lnTo>
                    <a:pt x="2769" y="1674"/>
                  </a:lnTo>
                  <a:lnTo>
                    <a:pt x="2767" y="1680"/>
                  </a:lnTo>
                  <a:lnTo>
                    <a:pt x="2765" y="1680"/>
                  </a:lnTo>
                  <a:lnTo>
                    <a:pt x="2756" y="1662"/>
                  </a:lnTo>
                  <a:lnTo>
                    <a:pt x="2754" y="1665"/>
                  </a:lnTo>
                  <a:lnTo>
                    <a:pt x="2759" y="1679"/>
                  </a:lnTo>
                  <a:lnTo>
                    <a:pt x="2759" y="1684"/>
                  </a:lnTo>
                  <a:lnTo>
                    <a:pt x="2762" y="1688"/>
                  </a:lnTo>
                  <a:lnTo>
                    <a:pt x="2762" y="1691"/>
                  </a:lnTo>
                  <a:lnTo>
                    <a:pt x="2761" y="1692"/>
                  </a:lnTo>
                  <a:lnTo>
                    <a:pt x="2744" y="1699"/>
                  </a:lnTo>
                  <a:lnTo>
                    <a:pt x="2742" y="1702"/>
                  </a:lnTo>
                  <a:lnTo>
                    <a:pt x="2745" y="1702"/>
                  </a:lnTo>
                  <a:lnTo>
                    <a:pt x="2747" y="1706"/>
                  </a:lnTo>
                  <a:lnTo>
                    <a:pt x="2744" y="1709"/>
                  </a:lnTo>
                  <a:lnTo>
                    <a:pt x="2720" y="1714"/>
                  </a:lnTo>
                  <a:lnTo>
                    <a:pt x="2716" y="1714"/>
                  </a:lnTo>
                  <a:lnTo>
                    <a:pt x="2715" y="1710"/>
                  </a:lnTo>
                  <a:lnTo>
                    <a:pt x="2716" y="1706"/>
                  </a:lnTo>
                  <a:lnTo>
                    <a:pt x="2715" y="1702"/>
                  </a:lnTo>
                  <a:lnTo>
                    <a:pt x="2710" y="1705"/>
                  </a:lnTo>
                  <a:lnTo>
                    <a:pt x="2702" y="1701"/>
                  </a:lnTo>
                  <a:lnTo>
                    <a:pt x="2701" y="1694"/>
                  </a:lnTo>
                  <a:lnTo>
                    <a:pt x="2697" y="1691"/>
                  </a:lnTo>
                  <a:lnTo>
                    <a:pt x="2698" y="1688"/>
                  </a:lnTo>
                  <a:lnTo>
                    <a:pt x="2701" y="1688"/>
                  </a:lnTo>
                  <a:lnTo>
                    <a:pt x="2701" y="1684"/>
                  </a:lnTo>
                  <a:lnTo>
                    <a:pt x="2697" y="1688"/>
                  </a:lnTo>
                  <a:lnTo>
                    <a:pt x="2697" y="1694"/>
                  </a:lnTo>
                  <a:lnTo>
                    <a:pt x="2695" y="1696"/>
                  </a:lnTo>
                  <a:lnTo>
                    <a:pt x="2694" y="1699"/>
                  </a:lnTo>
                  <a:lnTo>
                    <a:pt x="2688" y="1694"/>
                  </a:lnTo>
                  <a:lnTo>
                    <a:pt x="2687" y="1694"/>
                  </a:lnTo>
                  <a:lnTo>
                    <a:pt x="2687" y="1701"/>
                  </a:lnTo>
                  <a:lnTo>
                    <a:pt x="2690" y="1702"/>
                  </a:lnTo>
                  <a:lnTo>
                    <a:pt x="2690" y="1705"/>
                  </a:lnTo>
                  <a:lnTo>
                    <a:pt x="2678" y="1714"/>
                  </a:lnTo>
                  <a:lnTo>
                    <a:pt x="2673" y="1718"/>
                  </a:lnTo>
                  <a:lnTo>
                    <a:pt x="2665" y="1721"/>
                  </a:lnTo>
                  <a:lnTo>
                    <a:pt x="2656" y="1721"/>
                  </a:lnTo>
                  <a:lnTo>
                    <a:pt x="2656" y="1722"/>
                  </a:lnTo>
                  <a:lnTo>
                    <a:pt x="2653" y="1725"/>
                  </a:lnTo>
                  <a:lnTo>
                    <a:pt x="2653" y="1726"/>
                  </a:lnTo>
                  <a:lnTo>
                    <a:pt x="2663" y="1727"/>
                  </a:lnTo>
                  <a:lnTo>
                    <a:pt x="2673" y="1726"/>
                  </a:lnTo>
                  <a:lnTo>
                    <a:pt x="2677" y="1725"/>
                  </a:lnTo>
                  <a:lnTo>
                    <a:pt x="2684" y="1717"/>
                  </a:lnTo>
                  <a:lnTo>
                    <a:pt x="2695" y="1713"/>
                  </a:lnTo>
                  <a:lnTo>
                    <a:pt x="2701" y="1714"/>
                  </a:lnTo>
                  <a:lnTo>
                    <a:pt x="2699" y="1718"/>
                  </a:lnTo>
                  <a:lnTo>
                    <a:pt x="2697" y="1721"/>
                  </a:lnTo>
                  <a:lnTo>
                    <a:pt x="2670" y="1729"/>
                  </a:lnTo>
                  <a:lnTo>
                    <a:pt x="2652" y="1733"/>
                  </a:lnTo>
                  <a:lnTo>
                    <a:pt x="2623" y="1747"/>
                  </a:lnTo>
                  <a:lnTo>
                    <a:pt x="2605" y="1751"/>
                  </a:lnTo>
                  <a:lnTo>
                    <a:pt x="2541" y="1778"/>
                  </a:lnTo>
                  <a:lnTo>
                    <a:pt x="2495" y="1794"/>
                  </a:lnTo>
                  <a:lnTo>
                    <a:pt x="2492" y="1796"/>
                  </a:lnTo>
                  <a:lnTo>
                    <a:pt x="2470" y="1804"/>
                  </a:lnTo>
                  <a:lnTo>
                    <a:pt x="2448" y="1816"/>
                  </a:lnTo>
                  <a:lnTo>
                    <a:pt x="2446" y="1818"/>
                  </a:lnTo>
                  <a:lnTo>
                    <a:pt x="2443" y="1825"/>
                  </a:lnTo>
                  <a:lnTo>
                    <a:pt x="2443" y="1830"/>
                  </a:lnTo>
                  <a:lnTo>
                    <a:pt x="2441" y="1833"/>
                  </a:lnTo>
                  <a:lnTo>
                    <a:pt x="2432" y="1834"/>
                  </a:lnTo>
                  <a:lnTo>
                    <a:pt x="2421" y="1843"/>
                  </a:lnTo>
                  <a:lnTo>
                    <a:pt x="2407" y="1845"/>
                  </a:lnTo>
                  <a:lnTo>
                    <a:pt x="2405" y="1845"/>
                  </a:lnTo>
                  <a:lnTo>
                    <a:pt x="2403" y="1843"/>
                  </a:lnTo>
                  <a:lnTo>
                    <a:pt x="2399" y="1838"/>
                  </a:lnTo>
                  <a:lnTo>
                    <a:pt x="2397" y="1829"/>
                  </a:lnTo>
                  <a:lnTo>
                    <a:pt x="2396" y="1812"/>
                  </a:lnTo>
                  <a:lnTo>
                    <a:pt x="2393" y="1792"/>
                  </a:lnTo>
                  <a:lnTo>
                    <a:pt x="2395" y="1789"/>
                  </a:lnTo>
                  <a:lnTo>
                    <a:pt x="2405" y="1781"/>
                  </a:lnTo>
                  <a:lnTo>
                    <a:pt x="2403" y="1781"/>
                  </a:lnTo>
                  <a:lnTo>
                    <a:pt x="2393" y="1786"/>
                  </a:lnTo>
                  <a:lnTo>
                    <a:pt x="2389" y="1778"/>
                  </a:lnTo>
                  <a:lnTo>
                    <a:pt x="2389" y="1776"/>
                  </a:lnTo>
                  <a:lnTo>
                    <a:pt x="2395" y="1763"/>
                  </a:lnTo>
                  <a:lnTo>
                    <a:pt x="2396" y="1754"/>
                  </a:lnTo>
                  <a:lnTo>
                    <a:pt x="2395" y="1751"/>
                  </a:lnTo>
                  <a:lnTo>
                    <a:pt x="2392" y="1754"/>
                  </a:lnTo>
                  <a:lnTo>
                    <a:pt x="2391" y="1751"/>
                  </a:lnTo>
                  <a:lnTo>
                    <a:pt x="2393" y="1744"/>
                  </a:lnTo>
                  <a:lnTo>
                    <a:pt x="2392" y="1741"/>
                  </a:lnTo>
                  <a:lnTo>
                    <a:pt x="2389" y="1741"/>
                  </a:lnTo>
                  <a:lnTo>
                    <a:pt x="2385" y="1741"/>
                  </a:lnTo>
                  <a:lnTo>
                    <a:pt x="2386" y="1743"/>
                  </a:lnTo>
                  <a:lnTo>
                    <a:pt x="2389" y="1744"/>
                  </a:lnTo>
                  <a:lnTo>
                    <a:pt x="2389" y="1747"/>
                  </a:lnTo>
                  <a:lnTo>
                    <a:pt x="2386" y="1749"/>
                  </a:lnTo>
                  <a:lnTo>
                    <a:pt x="2386" y="1750"/>
                  </a:lnTo>
                  <a:lnTo>
                    <a:pt x="2392" y="1759"/>
                  </a:lnTo>
                  <a:lnTo>
                    <a:pt x="2391" y="1767"/>
                  </a:lnTo>
                  <a:lnTo>
                    <a:pt x="2386" y="1769"/>
                  </a:lnTo>
                  <a:lnTo>
                    <a:pt x="2386" y="1776"/>
                  </a:lnTo>
                  <a:lnTo>
                    <a:pt x="2382" y="1778"/>
                  </a:lnTo>
                  <a:lnTo>
                    <a:pt x="2378" y="1780"/>
                  </a:lnTo>
                  <a:lnTo>
                    <a:pt x="2375" y="1778"/>
                  </a:lnTo>
                  <a:lnTo>
                    <a:pt x="2370" y="1772"/>
                  </a:lnTo>
                  <a:lnTo>
                    <a:pt x="2363" y="1767"/>
                  </a:lnTo>
                  <a:lnTo>
                    <a:pt x="2356" y="1766"/>
                  </a:lnTo>
                  <a:lnTo>
                    <a:pt x="2352" y="1767"/>
                  </a:lnTo>
                  <a:lnTo>
                    <a:pt x="2349" y="1767"/>
                  </a:lnTo>
                  <a:lnTo>
                    <a:pt x="2349" y="1771"/>
                  </a:lnTo>
                  <a:lnTo>
                    <a:pt x="2347" y="1772"/>
                  </a:lnTo>
                  <a:lnTo>
                    <a:pt x="2357" y="1784"/>
                  </a:lnTo>
                  <a:lnTo>
                    <a:pt x="2366" y="1792"/>
                  </a:lnTo>
                  <a:lnTo>
                    <a:pt x="2385" y="1803"/>
                  </a:lnTo>
                  <a:lnTo>
                    <a:pt x="2386" y="1808"/>
                  </a:lnTo>
                  <a:lnTo>
                    <a:pt x="2386" y="1820"/>
                  </a:lnTo>
                  <a:lnTo>
                    <a:pt x="2381" y="1822"/>
                  </a:lnTo>
                  <a:lnTo>
                    <a:pt x="2377" y="1834"/>
                  </a:lnTo>
                  <a:lnTo>
                    <a:pt x="2372" y="1834"/>
                  </a:lnTo>
                  <a:lnTo>
                    <a:pt x="2357" y="1826"/>
                  </a:lnTo>
                  <a:lnTo>
                    <a:pt x="2346" y="1826"/>
                  </a:lnTo>
                  <a:lnTo>
                    <a:pt x="2343" y="1826"/>
                  </a:lnTo>
                  <a:lnTo>
                    <a:pt x="2342" y="1816"/>
                  </a:lnTo>
                  <a:lnTo>
                    <a:pt x="2339" y="1816"/>
                  </a:lnTo>
                  <a:lnTo>
                    <a:pt x="2339" y="1822"/>
                  </a:lnTo>
                  <a:lnTo>
                    <a:pt x="2338" y="1825"/>
                  </a:lnTo>
                  <a:lnTo>
                    <a:pt x="2342" y="1830"/>
                  </a:lnTo>
                  <a:lnTo>
                    <a:pt x="2349" y="1834"/>
                  </a:lnTo>
                  <a:lnTo>
                    <a:pt x="2356" y="1833"/>
                  </a:lnTo>
                  <a:lnTo>
                    <a:pt x="2370" y="1838"/>
                  </a:lnTo>
                  <a:lnTo>
                    <a:pt x="2370" y="1842"/>
                  </a:lnTo>
                  <a:lnTo>
                    <a:pt x="2361" y="1841"/>
                  </a:lnTo>
                  <a:lnTo>
                    <a:pt x="2360" y="1841"/>
                  </a:lnTo>
                  <a:lnTo>
                    <a:pt x="2360" y="1842"/>
                  </a:lnTo>
                  <a:lnTo>
                    <a:pt x="2368" y="1845"/>
                  </a:lnTo>
                  <a:lnTo>
                    <a:pt x="2381" y="1843"/>
                  </a:lnTo>
                  <a:lnTo>
                    <a:pt x="2385" y="1845"/>
                  </a:lnTo>
                  <a:lnTo>
                    <a:pt x="2383" y="1848"/>
                  </a:lnTo>
                  <a:lnTo>
                    <a:pt x="2381" y="1849"/>
                  </a:lnTo>
                  <a:lnTo>
                    <a:pt x="2363" y="1856"/>
                  </a:lnTo>
                  <a:lnTo>
                    <a:pt x="2361" y="1865"/>
                  </a:lnTo>
                  <a:lnTo>
                    <a:pt x="2349" y="1866"/>
                  </a:lnTo>
                  <a:lnTo>
                    <a:pt x="2339" y="1867"/>
                  </a:lnTo>
                  <a:lnTo>
                    <a:pt x="2338" y="1867"/>
                  </a:lnTo>
                  <a:lnTo>
                    <a:pt x="2336" y="1866"/>
                  </a:lnTo>
                  <a:lnTo>
                    <a:pt x="2333" y="1867"/>
                  </a:lnTo>
                  <a:lnTo>
                    <a:pt x="2330" y="1856"/>
                  </a:lnTo>
                  <a:lnTo>
                    <a:pt x="2325" y="1853"/>
                  </a:lnTo>
                  <a:lnTo>
                    <a:pt x="2311" y="1845"/>
                  </a:lnTo>
                  <a:lnTo>
                    <a:pt x="2303" y="1830"/>
                  </a:lnTo>
                  <a:lnTo>
                    <a:pt x="2302" y="1830"/>
                  </a:lnTo>
                  <a:lnTo>
                    <a:pt x="2302" y="1833"/>
                  </a:lnTo>
                  <a:lnTo>
                    <a:pt x="2302" y="1838"/>
                  </a:lnTo>
                  <a:lnTo>
                    <a:pt x="2300" y="1838"/>
                  </a:lnTo>
                  <a:lnTo>
                    <a:pt x="2293" y="1834"/>
                  </a:lnTo>
                  <a:lnTo>
                    <a:pt x="2300" y="1842"/>
                  </a:lnTo>
                  <a:lnTo>
                    <a:pt x="2311" y="1851"/>
                  </a:lnTo>
                  <a:lnTo>
                    <a:pt x="2318" y="1853"/>
                  </a:lnTo>
                  <a:lnTo>
                    <a:pt x="2322" y="1856"/>
                  </a:lnTo>
                  <a:lnTo>
                    <a:pt x="2332" y="1871"/>
                  </a:lnTo>
                  <a:lnTo>
                    <a:pt x="2331" y="1871"/>
                  </a:lnTo>
                  <a:lnTo>
                    <a:pt x="2310" y="1878"/>
                  </a:lnTo>
                  <a:lnTo>
                    <a:pt x="2300" y="1881"/>
                  </a:lnTo>
                  <a:lnTo>
                    <a:pt x="2285" y="1883"/>
                  </a:lnTo>
                  <a:lnTo>
                    <a:pt x="2246" y="1898"/>
                  </a:lnTo>
                  <a:lnTo>
                    <a:pt x="2235" y="1904"/>
                  </a:lnTo>
                  <a:lnTo>
                    <a:pt x="2214" y="1913"/>
                  </a:lnTo>
                  <a:lnTo>
                    <a:pt x="2202" y="1920"/>
                  </a:lnTo>
                  <a:lnTo>
                    <a:pt x="2161" y="1937"/>
                  </a:lnTo>
                  <a:lnTo>
                    <a:pt x="2115" y="1961"/>
                  </a:lnTo>
                  <a:lnTo>
                    <a:pt x="2073" y="1986"/>
                  </a:lnTo>
                  <a:lnTo>
                    <a:pt x="2057" y="1991"/>
                  </a:lnTo>
                  <a:lnTo>
                    <a:pt x="2053" y="1991"/>
                  </a:lnTo>
                  <a:lnTo>
                    <a:pt x="2053" y="1987"/>
                  </a:lnTo>
                  <a:lnTo>
                    <a:pt x="2053" y="1986"/>
                  </a:lnTo>
                  <a:lnTo>
                    <a:pt x="2060" y="1983"/>
                  </a:lnTo>
                  <a:lnTo>
                    <a:pt x="2076" y="1968"/>
                  </a:lnTo>
                  <a:lnTo>
                    <a:pt x="2082" y="1968"/>
                  </a:lnTo>
                  <a:lnTo>
                    <a:pt x="2089" y="1968"/>
                  </a:lnTo>
                  <a:lnTo>
                    <a:pt x="2097" y="1968"/>
                  </a:lnTo>
                  <a:lnTo>
                    <a:pt x="2098" y="1968"/>
                  </a:lnTo>
                  <a:lnTo>
                    <a:pt x="2098" y="1965"/>
                  </a:lnTo>
                  <a:lnTo>
                    <a:pt x="2098" y="1968"/>
                  </a:lnTo>
                  <a:lnTo>
                    <a:pt x="2096" y="1968"/>
                  </a:lnTo>
                  <a:lnTo>
                    <a:pt x="2087" y="1967"/>
                  </a:lnTo>
                  <a:lnTo>
                    <a:pt x="2082" y="1965"/>
                  </a:lnTo>
                  <a:lnTo>
                    <a:pt x="2076" y="1965"/>
                  </a:lnTo>
                  <a:lnTo>
                    <a:pt x="2068" y="1968"/>
                  </a:lnTo>
                  <a:lnTo>
                    <a:pt x="2060" y="1977"/>
                  </a:lnTo>
                  <a:lnTo>
                    <a:pt x="2051" y="1980"/>
                  </a:lnTo>
                  <a:lnTo>
                    <a:pt x="2047" y="1983"/>
                  </a:lnTo>
                  <a:lnTo>
                    <a:pt x="2044" y="1983"/>
                  </a:lnTo>
                  <a:lnTo>
                    <a:pt x="2040" y="1987"/>
                  </a:lnTo>
                  <a:lnTo>
                    <a:pt x="2040" y="1998"/>
                  </a:lnTo>
                  <a:lnTo>
                    <a:pt x="2037" y="2003"/>
                  </a:lnTo>
                  <a:lnTo>
                    <a:pt x="2001" y="2022"/>
                  </a:lnTo>
                  <a:lnTo>
                    <a:pt x="1978" y="2036"/>
                  </a:lnTo>
                  <a:lnTo>
                    <a:pt x="1972" y="2036"/>
                  </a:lnTo>
                  <a:lnTo>
                    <a:pt x="1965" y="2032"/>
                  </a:lnTo>
                  <a:lnTo>
                    <a:pt x="1950" y="2032"/>
                  </a:lnTo>
                  <a:lnTo>
                    <a:pt x="1944" y="2028"/>
                  </a:lnTo>
                  <a:lnTo>
                    <a:pt x="1942" y="2028"/>
                  </a:lnTo>
                  <a:lnTo>
                    <a:pt x="1933" y="2030"/>
                  </a:lnTo>
                  <a:lnTo>
                    <a:pt x="1932" y="2036"/>
                  </a:lnTo>
                  <a:lnTo>
                    <a:pt x="1934" y="2042"/>
                  </a:lnTo>
                  <a:lnTo>
                    <a:pt x="1936" y="2036"/>
                  </a:lnTo>
                  <a:lnTo>
                    <a:pt x="1940" y="2032"/>
                  </a:lnTo>
                  <a:lnTo>
                    <a:pt x="1953" y="2036"/>
                  </a:lnTo>
                  <a:lnTo>
                    <a:pt x="1954" y="2039"/>
                  </a:lnTo>
                  <a:lnTo>
                    <a:pt x="1956" y="2042"/>
                  </a:lnTo>
                  <a:lnTo>
                    <a:pt x="1956" y="2044"/>
                  </a:lnTo>
                  <a:lnTo>
                    <a:pt x="1946" y="2052"/>
                  </a:lnTo>
                  <a:lnTo>
                    <a:pt x="1921" y="2065"/>
                  </a:lnTo>
                  <a:lnTo>
                    <a:pt x="1879" y="2083"/>
                  </a:lnTo>
                  <a:lnTo>
                    <a:pt x="1854" y="2097"/>
                  </a:lnTo>
                  <a:lnTo>
                    <a:pt x="1852" y="2097"/>
                  </a:lnTo>
                  <a:lnTo>
                    <a:pt x="1852" y="2091"/>
                  </a:lnTo>
                  <a:lnTo>
                    <a:pt x="1851" y="2089"/>
                  </a:lnTo>
                  <a:lnTo>
                    <a:pt x="1847" y="2085"/>
                  </a:lnTo>
                  <a:lnTo>
                    <a:pt x="1850" y="2091"/>
                  </a:lnTo>
                  <a:lnTo>
                    <a:pt x="1847" y="2097"/>
                  </a:lnTo>
                  <a:lnTo>
                    <a:pt x="1843" y="2097"/>
                  </a:lnTo>
                  <a:lnTo>
                    <a:pt x="1836" y="2097"/>
                  </a:lnTo>
                  <a:lnTo>
                    <a:pt x="1832" y="2097"/>
                  </a:lnTo>
                  <a:lnTo>
                    <a:pt x="1830" y="2100"/>
                  </a:lnTo>
                  <a:lnTo>
                    <a:pt x="1830" y="2107"/>
                  </a:lnTo>
                  <a:lnTo>
                    <a:pt x="1829" y="2111"/>
                  </a:lnTo>
                  <a:lnTo>
                    <a:pt x="1776" y="2141"/>
                  </a:lnTo>
                  <a:lnTo>
                    <a:pt x="1771" y="2145"/>
                  </a:lnTo>
                  <a:lnTo>
                    <a:pt x="1769" y="2145"/>
                  </a:lnTo>
                  <a:lnTo>
                    <a:pt x="1769" y="2144"/>
                  </a:lnTo>
                  <a:lnTo>
                    <a:pt x="1782" y="2137"/>
                  </a:lnTo>
                  <a:lnTo>
                    <a:pt x="1786" y="2133"/>
                  </a:lnTo>
                  <a:lnTo>
                    <a:pt x="1779" y="2136"/>
                  </a:lnTo>
                  <a:lnTo>
                    <a:pt x="1779" y="2128"/>
                  </a:lnTo>
                  <a:lnTo>
                    <a:pt x="1772" y="2136"/>
                  </a:lnTo>
                  <a:lnTo>
                    <a:pt x="1755" y="2145"/>
                  </a:lnTo>
                  <a:lnTo>
                    <a:pt x="1754" y="2154"/>
                  </a:lnTo>
                  <a:lnTo>
                    <a:pt x="1749" y="2160"/>
                  </a:lnTo>
                  <a:lnTo>
                    <a:pt x="1743" y="2160"/>
                  </a:lnTo>
                  <a:lnTo>
                    <a:pt x="1737" y="2160"/>
                  </a:lnTo>
                  <a:lnTo>
                    <a:pt x="1729" y="2158"/>
                  </a:lnTo>
                  <a:lnTo>
                    <a:pt x="1724" y="2160"/>
                  </a:lnTo>
                  <a:lnTo>
                    <a:pt x="1723" y="2162"/>
                  </a:lnTo>
                  <a:lnTo>
                    <a:pt x="1723" y="2166"/>
                  </a:lnTo>
                  <a:lnTo>
                    <a:pt x="1729" y="2164"/>
                  </a:lnTo>
                  <a:lnTo>
                    <a:pt x="1729" y="2166"/>
                  </a:lnTo>
                  <a:lnTo>
                    <a:pt x="1727" y="2168"/>
                  </a:lnTo>
                  <a:lnTo>
                    <a:pt x="1688" y="2195"/>
                  </a:lnTo>
                  <a:lnTo>
                    <a:pt x="1674" y="2208"/>
                  </a:lnTo>
                  <a:lnTo>
                    <a:pt x="1669" y="2215"/>
                  </a:lnTo>
                  <a:lnTo>
                    <a:pt x="1663" y="2219"/>
                  </a:lnTo>
                  <a:lnTo>
                    <a:pt x="1659" y="2219"/>
                  </a:lnTo>
                  <a:lnTo>
                    <a:pt x="1657" y="2216"/>
                  </a:lnTo>
                  <a:lnTo>
                    <a:pt x="1649" y="2201"/>
                  </a:lnTo>
                  <a:lnTo>
                    <a:pt x="1643" y="2189"/>
                  </a:lnTo>
                  <a:lnTo>
                    <a:pt x="1641" y="2181"/>
                  </a:lnTo>
                  <a:lnTo>
                    <a:pt x="1638" y="2174"/>
                  </a:lnTo>
                  <a:lnTo>
                    <a:pt x="1630" y="2170"/>
                  </a:lnTo>
                  <a:lnTo>
                    <a:pt x="1626" y="2170"/>
                  </a:lnTo>
                  <a:lnTo>
                    <a:pt x="1613" y="2177"/>
                  </a:lnTo>
                  <a:lnTo>
                    <a:pt x="1611" y="2177"/>
                  </a:lnTo>
                  <a:lnTo>
                    <a:pt x="1608" y="2174"/>
                  </a:lnTo>
                  <a:lnTo>
                    <a:pt x="1611" y="2178"/>
                  </a:lnTo>
                  <a:lnTo>
                    <a:pt x="1613" y="2181"/>
                  </a:lnTo>
                  <a:lnTo>
                    <a:pt x="1627" y="2174"/>
                  </a:lnTo>
                  <a:lnTo>
                    <a:pt x="1632" y="2178"/>
                  </a:lnTo>
                  <a:lnTo>
                    <a:pt x="1633" y="2182"/>
                  </a:lnTo>
                  <a:lnTo>
                    <a:pt x="1636" y="2194"/>
                  </a:lnTo>
                  <a:lnTo>
                    <a:pt x="1634" y="2201"/>
                  </a:lnTo>
                  <a:lnTo>
                    <a:pt x="1636" y="2204"/>
                  </a:lnTo>
                  <a:lnTo>
                    <a:pt x="1638" y="2201"/>
                  </a:lnTo>
                  <a:lnTo>
                    <a:pt x="1640" y="2201"/>
                  </a:lnTo>
                  <a:lnTo>
                    <a:pt x="1641" y="2208"/>
                  </a:lnTo>
                  <a:lnTo>
                    <a:pt x="1648" y="2216"/>
                  </a:lnTo>
                  <a:lnTo>
                    <a:pt x="1648" y="2219"/>
                  </a:lnTo>
                  <a:lnTo>
                    <a:pt x="1646" y="2226"/>
                  </a:lnTo>
                  <a:lnTo>
                    <a:pt x="1638" y="2235"/>
                  </a:lnTo>
                  <a:lnTo>
                    <a:pt x="1622" y="2245"/>
                  </a:lnTo>
                  <a:lnTo>
                    <a:pt x="1612" y="2257"/>
                  </a:lnTo>
                  <a:lnTo>
                    <a:pt x="1602" y="2265"/>
                  </a:lnTo>
                  <a:lnTo>
                    <a:pt x="1576" y="2294"/>
                  </a:lnTo>
                  <a:lnTo>
                    <a:pt x="1531" y="2355"/>
                  </a:lnTo>
                  <a:lnTo>
                    <a:pt x="1520" y="2365"/>
                  </a:lnTo>
                  <a:lnTo>
                    <a:pt x="1506" y="2388"/>
                  </a:lnTo>
                  <a:lnTo>
                    <a:pt x="1491" y="2407"/>
                  </a:lnTo>
                  <a:lnTo>
                    <a:pt x="1489" y="2410"/>
                  </a:lnTo>
                  <a:lnTo>
                    <a:pt x="1480" y="2425"/>
                  </a:lnTo>
                  <a:lnTo>
                    <a:pt x="1474" y="2429"/>
                  </a:lnTo>
                  <a:lnTo>
                    <a:pt x="1470" y="2429"/>
                  </a:lnTo>
                  <a:lnTo>
                    <a:pt x="1464" y="2420"/>
                  </a:lnTo>
                  <a:lnTo>
                    <a:pt x="1463" y="2417"/>
                  </a:lnTo>
                  <a:lnTo>
                    <a:pt x="1460" y="2413"/>
                  </a:lnTo>
                  <a:lnTo>
                    <a:pt x="1462" y="2410"/>
                  </a:lnTo>
                  <a:lnTo>
                    <a:pt x="1453" y="2395"/>
                  </a:lnTo>
                  <a:lnTo>
                    <a:pt x="1439" y="2385"/>
                  </a:lnTo>
                  <a:lnTo>
                    <a:pt x="1428" y="2380"/>
                  </a:lnTo>
                  <a:lnTo>
                    <a:pt x="1427" y="2377"/>
                  </a:lnTo>
                  <a:lnTo>
                    <a:pt x="1425" y="2373"/>
                  </a:lnTo>
                  <a:lnTo>
                    <a:pt x="1423" y="2368"/>
                  </a:lnTo>
                  <a:lnTo>
                    <a:pt x="1423" y="2369"/>
                  </a:lnTo>
                  <a:lnTo>
                    <a:pt x="1423" y="2372"/>
                  </a:lnTo>
                  <a:lnTo>
                    <a:pt x="1422" y="2372"/>
                  </a:lnTo>
                  <a:lnTo>
                    <a:pt x="1419" y="2361"/>
                  </a:lnTo>
                  <a:lnTo>
                    <a:pt x="1417" y="2357"/>
                  </a:lnTo>
                  <a:lnTo>
                    <a:pt x="1420" y="2350"/>
                  </a:lnTo>
                  <a:lnTo>
                    <a:pt x="1420" y="2339"/>
                  </a:lnTo>
                  <a:lnTo>
                    <a:pt x="1417" y="2328"/>
                  </a:lnTo>
                  <a:lnTo>
                    <a:pt x="1412" y="2320"/>
                  </a:lnTo>
                  <a:lnTo>
                    <a:pt x="1403" y="2320"/>
                  </a:lnTo>
                  <a:lnTo>
                    <a:pt x="1394" y="2314"/>
                  </a:lnTo>
                  <a:lnTo>
                    <a:pt x="1387" y="2313"/>
                  </a:lnTo>
                  <a:lnTo>
                    <a:pt x="1375" y="2315"/>
                  </a:lnTo>
                  <a:lnTo>
                    <a:pt x="1369" y="2323"/>
                  </a:lnTo>
                  <a:lnTo>
                    <a:pt x="1364" y="2325"/>
                  </a:lnTo>
                  <a:lnTo>
                    <a:pt x="1356" y="2327"/>
                  </a:lnTo>
                  <a:lnTo>
                    <a:pt x="1344" y="2332"/>
                  </a:lnTo>
                  <a:lnTo>
                    <a:pt x="1339" y="2338"/>
                  </a:lnTo>
                  <a:lnTo>
                    <a:pt x="1348" y="2338"/>
                  </a:lnTo>
                  <a:lnTo>
                    <a:pt x="1369" y="2331"/>
                  </a:lnTo>
                  <a:lnTo>
                    <a:pt x="1394" y="2325"/>
                  </a:lnTo>
                  <a:lnTo>
                    <a:pt x="1398" y="2325"/>
                  </a:lnTo>
                  <a:lnTo>
                    <a:pt x="1399" y="2336"/>
                  </a:lnTo>
                  <a:lnTo>
                    <a:pt x="1405" y="2360"/>
                  </a:lnTo>
                  <a:lnTo>
                    <a:pt x="1405" y="2373"/>
                  </a:lnTo>
                  <a:lnTo>
                    <a:pt x="1412" y="2395"/>
                  </a:lnTo>
                  <a:lnTo>
                    <a:pt x="1413" y="2410"/>
                  </a:lnTo>
                  <a:lnTo>
                    <a:pt x="1413" y="2417"/>
                  </a:lnTo>
                  <a:lnTo>
                    <a:pt x="1416" y="2426"/>
                  </a:lnTo>
                  <a:lnTo>
                    <a:pt x="1420" y="2431"/>
                  </a:lnTo>
                  <a:lnTo>
                    <a:pt x="1425" y="2435"/>
                  </a:lnTo>
                  <a:lnTo>
                    <a:pt x="1442" y="2435"/>
                  </a:lnTo>
                  <a:lnTo>
                    <a:pt x="1447" y="2440"/>
                  </a:lnTo>
                  <a:lnTo>
                    <a:pt x="1453" y="2440"/>
                  </a:lnTo>
                  <a:lnTo>
                    <a:pt x="1455" y="2444"/>
                  </a:lnTo>
                  <a:lnTo>
                    <a:pt x="1460" y="2440"/>
                  </a:lnTo>
                  <a:lnTo>
                    <a:pt x="1462" y="2443"/>
                  </a:lnTo>
                  <a:lnTo>
                    <a:pt x="1463" y="2444"/>
                  </a:lnTo>
                  <a:lnTo>
                    <a:pt x="1460" y="2452"/>
                  </a:lnTo>
                  <a:lnTo>
                    <a:pt x="1462" y="2459"/>
                  </a:lnTo>
                  <a:lnTo>
                    <a:pt x="1460" y="2463"/>
                  </a:lnTo>
                  <a:lnTo>
                    <a:pt x="1419" y="2506"/>
                  </a:lnTo>
                  <a:lnTo>
                    <a:pt x="1408" y="2519"/>
                  </a:lnTo>
                  <a:lnTo>
                    <a:pt x="1394" y="2538"/>
                  </a:lnTo>
                  <a:lnTo>
                    <a:pt x="1391" y="2549"/>
                  </a:lnTo>
                  <a:lnTo>
                    <a:pt x="1391" y="2560"/>
                  </a:lnTo>
                  <a:lnTo>
                    <a:pt x="1388" y="2563"/>
                  </a:lnTo>
                  <a:lnTo>
                    <a:pt x="1378" y="2559"/>
                  </a:lnTo>
                  <a:lnTo>
                    <a:pt x="1367" y="2556"/>
                  </a:lnTo>
                  <a:lnTo>
                    <a:pt x="1359" y="2552"/>
                  </a:lnTo>
                  <a:lnTo>
                    <a:pt x="1359" y="2551"/>
                  </a:lnTo>
                  <a:lnTo>
                    <a:pt x="1362" y="2550"/>
                  </a:lnTo>
                  <a:lnTo>
                    <a:pt x="1369" y="2550"/>
                  </a:lnTo>
                  <a:lnTo>
                    <a:pt x="1374" y="2547"/>
                  </a:lnTo>
                  <a:lnTo>
                    <a:pt x="1364" y="2544"/>
                  </a:lnTo>
                  <a:lnTo>
                    <a:pt x="1359" y="2546"/>
                  </a:lnTo>
                  <a:lnTo>
                    <a:pt x="1352" y="2552"/>
                  </a:lnTo>
                  <a:lnTo>
                    <a:pt x="1345" y="2552"/>
                  </a:lnTo>
                  <a:lnTo>
                    <a:pt x="1337" y="2560"/>
                  </a:lnTo>
                  <a:lnTo>
                    <a:pt x="1321" y="2568"/>
                  </a:lnTo>
                  <a:lnTo>
                    <a:pt x="1316" y="2577"/>
                  </a:lnTo>
                  <a:lnTo>
                    <a:pt x="1309" y="2579"/>
                  </a:lnTo>
                  <a:lnTo>
                    <a:pt x="1310" y="2581"/>
                  </a:lnTo>
                  <a:lnTo>
                    <a:pt x="1316" y="2581"/>
                  </a:lnTo>
                  <a:lnTo>
                    <a:pt x="1317" y="2583"/>
                  </a:lnTo>
                  <a:lnTo>
                    <a:pt x="1306" y="2591"/>
                  </a:lnTo>
                  <a:lnTo>
                    <a:pt x="1298" y="2605"/>
                  </a:lnTo>
                  <a:lnTo>
                    <a:pt x="1292" y="2609"/>
                  </a:lnTo>
                  <a:lnTo>
                    <a:pt x="1289" y="2605"/>
                  </a:lnTo>
                  <a:lnTo>
                    <a:pt x="1279" y="2591"/>
                  </a:lnTo>
                  <a:lnTo>
                    <a:pt x="1264" y="2575"/>
                  </a:lnTo>
                  <a:lnTo>
                    <a:pt x="1264" y="2559"/>
                  </a:lnTo>
                  <a:lnTo>
                    <a:pt x="1262" y="2552"/>
                  </a:lnTo>
                  <a:lnTo>
                    <a:pt x="1260" y="2549"/>
                  </a:lnTo>
                  <a:lnTo>
                    <a:pt x="1260" y="2567"/>
                  </a:lnTo>
                  <a:lnTo>
                    <a:pt x="1263" y="2579"/>
                  </a:lnTo>
                  <a:lnTo>
                    <a:pt x="1270" y="2587"/>
                  </a:lnTo>
                  <a:lnTo>
                    <a:pt x="1278" y="2605"/>
                  </a:lnTo>
                  <a:lnTo>
                    <a:pt x="1288" y="2612"/>
                  </a:lnTo>
                  <a:lnTo>
                    <a:pt x="1296" y="2612"/>
                  </a:lnTo>
                  <a:lnTo>
                    <a:pt x="1305" y="2605"/>
                  </a:lnTo>
                  <a:lnTo>
                    <a:pt x="1325" y="2597"/>
                  </a:lnTo>
                  <a:lnTo>
                    <a:pt x="1339" y="2583"/>
                  </a:lnTo>
                  <a:lnTo>
                    <a:pt x="1345" y="2579"/>
                  </a:lnTo>
                  <a:lnTo>
                    <a:pt x="1353" y="2579"/>
                  </a:lnTo>
                  <a:lnTo>
                    <a:pt x="1353" y="2583"/>
                  </a:lnTo>
                  <a:lnTo>
                    <a:pt x="1350" y="2587"/>
                  </a:lnTo>
                  <a:lnTo>
                    <a:pt x="1331" y="2609"/>
                  </a:lnTo>
                  <a:lnTo>
                    <a:pt x="1307" y="2634"/>
                  </a:lnTo>
                  <a:lnTo>
                    <a:pt x="1298" y="2642"/>
                  </a:lnTo>
                  <a:lnTo>
                    <a:pt x="1293" y="2649"/>
                  </a:lnTo>
                  <a:lnTo>
                    <a:pt x="1271" y="2668"/>
                  </a:lnTo>
                  <a:lnTo>
                    <a:pt x="1262" y="2680"/>
                  </a:lnTo>
                  <a:lnTo>
                    <a:pt x="1239" y="2703"/>
                  </a:lnTo>
                  <a:lnTo>
                    <a:pt x="1237" y="2703"/>
                  </a:lnTo>
                  <a:lnTo>
                    <a:pt x="1232" y="2703"/>
                  </a:lnTo>
                  <a:lnTo>
                    <a:pt x="1232" y="2705"/>
                  </a:lnTo>
                  <a:lnTo>
                    <a:pt x="1234" y="2706"/>
                  </a:lnTo>
                  <a:lnTo>
                    <a:pt x="1232" y="2711"/>
                  </a:lnTo>
                  <a:lnTo>
                    <a:pt x="1220" y="2720"/>
                  </a:lnTo>
                  <a:lnTo>
                    <a:pt x="1217" y="2717"/>
                  </a:lnTo>
                  <a:lnTo>
                    <a:pt x="1214" y="2720"/>
                  </a:lnTo>
                  <a:lnTo>
                    <a:pt x="1210" y="2721"/>
                  </a:lnTo>
                  <a:lnTo>
                    <a:pt x="1212" y="2725"/>
                  </a:lnTo>
                  <a:lnTo>
                    <a:pt x="1210" y="2729"/>
                  </a:lnTo>
                  <a:lnTo>
                    <a:pt x="1193" y="2743"/>
                  </a:lnTo>
                  <a:lnTo>
                    <a:pt x="1189" y="2743"/>
                  </a:lnTo>
                  <a:lnTo>
                    <a:pt x="1185" y="2742"/>
                  </a:lnTo>
                  <a:lnTo>
                    <a:pt x="1184" y="2751"/>
                  </a:lnTo>
                  <a:lnTo>
                    <a:pt x="1168" y="2766"/>
                  </a:lnTo>
                  <a:lnTo>
                    <a:pt x="1128" y="2807"/>
                  </a:lnTo>
                  <a:lnTo>
                    <a:pt x="1123" y="2811"/>
                  </a:lnTo>
                  <a:lnTo>
                    <a:pt x="1118" y="2807"/>
                  </a:lnTo>
                  <a:lnTo>
                    <a:pt x="1117" y="2807"/>
                  </a:lnTo>
                  <a:lnTo>
                    <a:pt x="1115" y="2811"/>
                  </a:lnTo>
                  <a:lnTo>
                    <a:pt x="1117" y="2819"/>
                  </a:lnTo>
                  <a:lnTo>
                    <a:pt x="1117" y="2822"/>
                  </a:lnTo>
                  <a:lnTo>
                    <a:pt x="1106" y="2837"/>
                  </a:lnTo>
                  <a:lnTo>
                    <a:pt x="1103" y="2837"/>
                  </a:lnTo>
                  <a:lnTo>
                    <a:pt x="1096" y="2837"/>
                  </a:lnTo>
                  <a:lnTo>
                    <a:pt x="1093" y="2837"/>
                  </a:lnTo>
                  <a:lnTo>
                    <a:pt x="1093" y="2832"/>
                  </a:lnTo>
                  <a:lnTo>
                    <a:pt x="1096" y="2825"/>
                  </a:lnTo>
                  <a:lnTo>
                    <a:pt x="1088" y="2830"/>
                  </a:lnTo>
                  <a:lnTo>
                    <a:pt x="1084" y="2836"/>
                  </a:lnTo>
                  <a:lnTo>
                    <a:pt x="1082" y="2841"/>
                  </a:lnTo>
                  <a:lnTo>
                    <a:pt x="1085" y="2844"/>
                  </a:lnTo>
                  <a:lnTo>
                    <a:pt x="1090" y="2845"/>
                  </a:lnTo>
                  <a:lnTo>
                    <a:pt x="1092" y="2847"/>
                  </a:lnTo>
                  <a:lnTo>
                    <a:pt x="1084" y="2866"/>
                  </a:lnTo>
                  <a:lnTo>
                    <a:pt x="1081" y="2867"/>
                  </a:lnTo>
                  <a:lnTo>
                    <a:pt x="1074" y="2867"/>
                  </a:lnTo>
                  <a:lnTo>
                    <a:pt x="1061" y="2862"/>
                  </a:lnTo>
                  <a:lnTo>
                    <a:pt x="1056" y="2859"/>
                  </a:lnTo>
                  <a:lnTo>
                    <a:pt x="1043" y="2863"/>
                  </a:lnTo>
                  <a:lnTo>
                    <a:pt x="1029" y="2863"/>
                  </a:lnTo>
                  <a:lnTo>
                    <a:pt x="1028" y="2858"/>
                  </a:lnTo>
                  <a:lnTo>
                    <a:pt x="1029" y="2841"/>
                  </a:lnTo>
                  <a:lnTo>
                    <a:pt x="1027" y="2845"/>
                  </a:lnTo>
                  <a:lnTo>
                    <a:pt x="1024" y="2854"/>
                  </a:lnTo>
                  <a:lnTo>
                    <a:pt x="1025" y="2863"/>
                  </a:lnTo>
                  <a:lnTo>
                    <a:pt x="1018" y="2871"/>
                  </a:lnTo>
                  <a:lnTo>
                    <a:pt x="1022" y="2874"/>
                  </a:lnTo>
                  <a:lnTo>
                    <a:pt x="1028" y="2870"/>
                  </a:lnTo>
                  <a:lnTo>
                    <a:pt x="1035" y="2870"/>
                  </a:lnTo>
                  <a:lnTo>
                    <a:pt x="1056" y="2874"/>
                  </a:lnTo>
                  <a:lnTo>
                    <a:pt x="1063" y="2878"/>
                  </a:lnTo>
                  <a:lnTo>
                    <a:pt x="1063" y="2886"/>
                  </a:lnTo>
                  <a:lnTo>
                    <a:pt x="1067" y="2890"/>
                  </a:lnTo>
                  <a:lnTo>
                    <a:pt x="1064" y="2896"/>
                  </a:lnTo>
                  <a:lnTo>
                    <a:pt x="1056" y="2900"/>
                  </a:lnTo>
                  <a:lnTo>
                    <a:pt x="1050" y="2904"/>
                  </a:lnTo>
                  <a:lnTo>
                    <a:pt x="1043" y="2908"/>
                  </a:lnTo>
                  <a:lnTo>
                    <a:pt x="1031" y="2919"/>
                  </a:lnTo>
                  <a:lnTo>
                    <a:pt x="1028" y="2925"/>
                  </a:lnTo>
                  <a:lnTo>
                    <a:pt x="1019" y="2933"/>
                  </a:lnTo>
                  <a:lnTo>
                    <a:pt x="1022" y="2941"/>
                  </a:lnTo>
                  <a:lnTo>
                    <a:pt x="1021" y="2945"/>
                  </a:lnTo>
                  <a:lnTo>
                    <a:pt x="1018" y="2957"/>
                  </a:lnTo>
                  <a:lnTo>
                    <a:pt x="1014" y="2961"/>
                  </a:lnTo>
                  <a:lnTo>
                    <a:pt x="1008" y="2965"/>
                  </a:lnTo>
                  <a:lnTo>
                    <a:pt x="1000" y="2967"/>
                  </a:lnTo>
                  <a:lnTo>
                    <a:pt x="992" y="2959"/>
                  </a:lnTo>
                  <a:lnTo>
                    <a:pt x="990" y="2971"/>
                  </a:lnTo>
                  <a:lnTo>
                    <a:pt x="985" y="2979"/>
                  </a:lnTo>
                  <a:lnTo>
                    <a:pt x="982" y="2991"/>
                  </a:lnTo>
                  <a:lnTo>
                    <a:pt x="974" y="3009"/>
                  </a:lnTo>
                  <a:lnTo>
                    <a:pt x="982" y="3002"/>
                  </a:lnTo>
                  <a:lnTo>
                    <a:pt x="983" y="3004"/>
                  </a:lnTo>
                  <a:lnTo>
                    <a:pt x="986" y="3006"/>
                  </a:lnTo>
                  <a:lnTo>
                    <a:pt x="990" y="2998"/>
                  </a:lnTo>
                  <a:lnTo>
                    <a:pt x="993" y="2998"/>
                  </a:lnTo>
                  <a:lnTo>
                    <a:pt x="996" y="2998"/>
                  </a:lnTo>
                  <a:lnTo>
                    <a:pt x="1000" y="2994"/>
                  </a:lnTo>
                  <a:lnTo>
                    <a:pt x="1002" y="2994"/>
                  </a:lnTo>
                  <a:lnTo>
                    <a:pt x="996" y="3018"/>
                  </a:lnTo>
                  <a:lnTo>
                    <a:pt x="996" y="3028"/>
                  </a:lnTo>
                  <a:lnTo>
                    <a:pt x="997" y="3036"/>
                  </a:lnTo>
                  <a:lnTo>
                    <a:pt x="996" y="3043"/>
                  </a:lnTo>
                  <a:lnTo>
                    <a:pt x="992" y="3045"/>
                  </a:lnTo>
                  <a:lnTo>
                    <a:pt x="989" y="3041"/>
                  </a:lnTo>
                  <a:lnTo>
                    <a:pt x="985" y="3043"/>
                  </a:lnTo>
                  <a:lnTo>
                    <a:pt x="980" y="3045"/>
                  </a:lnTo>
                  <a:lnTo>
                    <a:pt x="977" y="3051"/>
                  </a:lnTo>
                  <a:lnTo>
                    <a:pt x="969" y="3054"/>
                  </a:lnTo>
                  <a:lnTo>
                    <a:pt x="963" y="3057"/>
                  </a:lnTo>
                  <a:lnTo>
                    <a:pt x="958" y="3057"/>
                  </a:lnTo>
                  <a:lnTo>
                    <a:pt x="949" y="3054"/>
                  </a:lnTo>
                  <a:lnTo>
                    <a:pt x="940" y="3051"/>
                  </a:lnTo>
                  <a:lnTo>
                    <a:pt x="922" y="3049"/>
                  </a:lnTo>
                  <a:lnTo>
                    <a:pt x="908" y="3036"/>
                  </a:lnTo>
                  <a:lnTo>
                    <a:pt x="899" y="3032"/>
                  </a:lnTo>
                  <a:lnTo>
                    <a:pt x="903" y="3043"/>
                  </a:lnTo>
                  <a:lnTo>
                    <a:pt x="914" y="3049"/>
                  </a:lnTo>
                  <a:lnTo>
                    <a:pt x="933" y="3054"/>
                  </a:lnTo>
                  <a:lnTo>
                    <a:pt x="947" y="3064"/>
                  </a:lnTo>
                  <a:lnTo>
                    <a:pt x="963" y="3068"/>
                  </a:lnTo>
                  <a:lnTo>
                    <a:pt x="972" y="3066"/>
                  </a:lnTo>
                  <a:lnTo>
                    <a:pt x="974" y="3068"/>
                  </a:lnTo>
                  <a:lnTo>
                    <a:pt x="974" y="3069"/>
                  </a:lnTo>
                  <a:lnTo>
                    <a:pt x="971" y="3073"/>
                  </a:lnTo>
                  <a:lnTo>
                    <a:pt x="936" y="3106"/>
                  </a:lnTo>
                  <a:lnTo>
                    <a:pt x="933" y="3107"/>
                  </a:lnTo>
                  <a:lnTo>
                    <a:pt x="930" y="3103"/>
                  </a:lnTo>
                  <a:lnTo>
                    <a:pt x="926" y="3085"/>
                  </a:lnTo>
                  <a:lnTo>
                    <a:pt x="922" y="3081"/>
                  </a:lnTo>
                  <a:lnTo>
                    <a:pt x="900" y="3064"/>
                  </a:lnTo>
                  <a:lnTo>
                    <a:pt x="885" y="3044"/>
                  </a:lnTo>
                  <a:lnTo>
                    <a:pt x="883" y="3041"/>
                  </a:lnTo>
                  <a:lnTo>
                    <a:pt x="883" y="3036"/>
                  </a:lnTo>
                  <a:lnTo>
                    <a:pt x="878" y="3036"/>
                  </a:lnTo>
                  <a:lnTo>
                    <a:pt x="871" y="3045"/>
                  </a:lnTo>
                  <a:lnTo>
                    <a:pt x="871" y="3049"/>
                  </a:lnTo>
                  <a:lnTo>
                    <a:pt x="883" y="3054"/>
                  </a:lnTo>
                  <a:lnTo>
                    <a:pt x="900" y="3083"/>
                  </a:lnTo>
                  <a:lnTo>
                    <a:pt x="907" y="3090"/>
                  </a:lnTo>
                  <a:lnTo>
                    <a:pt x="914" y="3099"/>
                  </a:lnTo>
                  <a:lnTo>
                    <a:pt x="919" y="3099"/>
                  </a:lnTo>
                  <a:lnTo>
                    <a:pt x="919" y="3102"/>
                  </a:lnTo>
                  <a:lnTo>
                    <a:pt x="921" y="3106"/>
                  </a:lnTo>
                  <a:lnTo>
                    <a:pt x="915" y="3113"/>
                  </a:lnTo>
                  <a:lnTo>
                    <a:pt x="914" y="3113"/>
                  </a:lnTo>
                  <a:lnTo>
                    <a:pt x="913" y="3111"/>
                  </a:lnTo>
                  <a:lnTo>
                    <a:pt x="910" y="3111"/>
                  </a:lnTo>
                  <a:lnTo>
                    <a:pt x="904" y="3114"/>
                  </a:lnTo>
                  <a:lnTo>
                    <a:pt x="905" y="3114"/>
                  </a:lnTo>
                  <a:lnTo>
                    <a:pt x="910" y="3118"/>
                  </a:lnTo>
                  <a:lnTo>
                    <a:pt x="911" y="3118"/>
                  </a:lnTo>
                  <a:lnTo>
                    <a:pt x="904" y="3122"/>
                  </a:lnTo>
                  <a:lnTo>
                    <a:pt x="854" y="3128"/>
                  </a:lnTo>
                  <a:lnTo>
                    <a:pt x="816" y="3136"/>
                  </a:lnTo>
                  <a:lnTo>
                    <a:pt x="804" y="3136"/>
                  </a:lnTo>
                  <a:lnTo>
                    <a:pt x="801" y="3132"/>
                  </a:lnTo>
                  <a:lnTo>
                    <a:pt x="810" y="3128"/>
                  </a:lnTo>
                  <a:lnTo>
                    <a:pt x="805" y="3124"/>
                  </a:lnTo>
                  <a:lnTo>
                    <a:pt x="797" y="3111"/>
                  </a:lnTo>
                  <a:lnTo>
                    <a:pt x="793" y="3095"/>
                  </a:lnTo>
                  <a:lnTo>
                    <a:pt x="787" y="3089"/>
                  </a:lnTo>
                  <a:lnTo>
                    <a:pt x="787" y="3085"/>
                  </a:lnTo>
                  <a:lnTo>
                    <a:pt x="790" y="3073"/>
                  </a:lnTo>
                  <a:lnTo>
                    <a:pt x="796" y="3063"/>
                  </a:lnTo>
                  <a:lnTo>
                    <a:pt x="813" y="3051"/>
                  </a:lnTo>
                  <a:lnTo>
                    <a:pt x="814" y="3049"/>
                  </a:lnTo>
                  <a:lnTo>
                    <a:pt x="813" y="3036"/>
                  </a:lnTo>
                  <a:lnTo>
                    <a:pt x="815" y="3032"/>
                  </a:lnTo>
                  <a:lnTo>
                    <a:pt x="818" y="3031"/>
                  </a:lnTo>
                  <a:lnTo>
                    <a:pt x="835" y="3031"/>
                  </a:lnTo>
                  <a:lnTo>
                    <a:pt x="838" y="3028"/>
                  </a:lnTo>
                  <a:lnTo>
                    <a:pt x="839" y="3027"/>
                  </a:lnTo>
                  <a:lnTo>
                    <a:pt x="836" y="3020"/>
                  </a:lnTo>
                  <a:lnTo>
                    <a:pt x="828" y="3014"/>
                  </a:lnTo>
                  <a:lnTo>
                    <a:pt x="824" y="3008"/>
                  </a:lnTo>
                  <a:lnTo>
                    <a:pt x="819" y="2996"/>
                  </a:lnTo>
                  <a:lnTo>
                    <a:pt x="816" y="2996"/>
                  </a:lnTo>
                  <a:lnTo>
                    <a:pt x="813" y="3002"/>
                  </a:lnTo>
                  <a:lnTo>
                    <a:pt x="810" y="3002"/>
                  </a:lnTo>
                  <a:lnTo>
                    <a:pt x="807" y="2998"/>
                  </a:lnTo>
                  <a:lnTo>
                    <a:pt x="805" y="2990"/>
                  </a:lnTo>
                  <a:lnTo>
                    <a:pt x="804" y="2987"/>
                  </a:lnTo>
                  <a:lnTo>
                    <a:pt x="794" y="2986"/>
                  </a:lnTo>
                  <a:lnTo>
                    <a:pt x="787" y="2987"/>
                  </a:lnTo>
                  <a:lnTo>
                    <a:pt x="776" y="2995"/>
                  </a:lnTo>
                  <a:lnTo>
                    <a:pt x="773" y="2995"/>
                  </a:lnTo>
                  <a:lnTo>
                    <a:pt x="769" y="2990"/>
                  </a:lnTo>
                  <a:lnTo>
                    <a:pt x="761" y="2987"/>
                  </a:lnTo>
                  <a:lnTo>
                    <a:pt x="761" y="2983"/>
                  </a:lnTo>
                  <a:lnTo>
                    <a:pt x="762" y="2976"/>
                  </a:lnTo>
                  <a:lnTo>
                    <a:pt x="778" y="2976"/>
                  </a:lnTo>
                  <a:lnTo>
                    <a:pt x="779" y="2976"/>
                  </a:lnTo>
                  <a:lnTo>
                    <a:pt x="780" y="2973"/>
                  </a:lnTo>
                  <a:lnTo>
                    <a:pt x="779" y="2969"/>
                  </a:lnTo>
                  <a:lnTo>
                    <a:pt x="772" y="2964"/>
                  </a:lnTo>
                  <a:lnTo>
                    <a:pt x="769" y="2961"/>
                  </a:lnTo>
                  <a:lnTo>
                    <a:pt x="769" y="2953"/>
                  </a:lnTo>
                  <a:lnTo>
                    <a:pt x="775" y="2945"/>
                  </a:lnTo>
                  <a:lnTo>
                    <a:pt x="776" y="2939"/>
                  </a:lnTo>
                  <a:lnTo>
                    <a:pt x="773" y="2927"/>
                  </a:lnTo>
                  <a:lnTo>
                    <a:pt x="766" y="2920"/>
                  </a:lnTo>
                  <a:lnTo>
                    <a:pt x="766" y="2915"/>
                  </a:lnTo>
                  <a:lnTo>
                    <a:pt x="768" y="2912"/>
                  </a:lnTo>
                  <a:lnTo>
                    <a:pt x="772" y="2908"/>
                  </a:lnTo>
                  <a:lnTo>
                    <a:pt x="789" y="2904"/>
                  </a:lnTo>
                  <a:lnTo>
                    <a:pt x="789" y="2903"/>
                  </a:lnTo>
                  <a:lnTo>
                    <a:pt x="785" y="2897"/>
                  </a:lnTo>
                  <a:lnTo>
                    <a:pt x="787" y="2892"/>
                  </a:lnTo>
                  <a:lnTo>
                    <a:pt x="805" y="2892"/>
                  </a:lnTo>
                  <a:lnTo>
                    <a:pt x="810" y="2890"/>
                  </a:lnTo>
                  <a:lnTo>
                    <a:pt x="813" y="2886"/>
                  </a:lnTo>
                  <a:lnTo>
                    <a:pt x="810" y="2882"/>
                  </a:lnTo>
                  <a:lnTo>
                    <a:pt x="799" y="2884"/>
                  </a:lnTo>
                  <a:lnTo>
                    <a:pt x="796" y="2882"/>
                  </a:lnTo>
                  <a:lnTo>
                    <a:pt x="800" y="2875"/>
                  </a:lnTo>
                  <a:lnTo>
                    <a:pt x="797" y="2866"/>
                  </a:lnTo>
                  <a:lnTo>
                    <a:pt x="800" y="2862"/>
                  </a:lnTo>
                  <a:lnTo>
                    <a:pt x="799" y="2855"/>
                  </a:lnTo>
                  <a:lnTo>
                    <a:pt x="800" y="2849"/>
                  </a:lnTo>
                  <a:lnTo>
                    <a:pt x="799" y="2845"/>
                  </a:lnTo>
                  <a:lnTo>
                    <a:pt x="787" y="2832"/>
                  </a:lnTo>
                  <a:lnTo>
                    <a:pt x="789" y="2825"/>
                  </a:lnTo>
                  <a:lnTo>
                    <a:pt x="791" y="2821"/>
                  </a:lnTo>
                  <a:lnTo>
                    <a:pt x="791" y="2817"/>
                  </a:lnTo>
                  <a:lnTo>
                    <a:pt x="783" y="2799"/>
                  </a:lnTo>
                  <a:lnTo>
                    <a:pt x="780" y="2784"/>
                  </a:lnTo>
                  <a:lnTo>
                    <a:pt x="769" y="2759"/>
                  </a:lnTo>
                  <a:lnTo>
                    <a:pt x="762" y="2747"/>
                  </a:lnTo>
                  <a:lnTo>
                    <a:pt x="759" y="2743"/>
                  </a:lnTo>
                  <a:lnTo>
                    <a:pt x="747" y="2706"/>
                  </a:lnTo>
                  <a:lnTo>
                    <a:pt x="734" y="2703"/>
                  </a:lnTo>
                  <a:lnTo>
                    <a:pt x="723" y="2691"/>
                  </a:lnTo>
                  <a:lnTo>
                    <a:pt x="706" y="2688"/>
                  </a:lnTo>
                  <a:lnTo>
                    <a:pt x="700" y="2675"/>
                  </a:lnTo>
                  <a:lnTo>
                    <a:pt x="695" y="2668"/>
                  </a:lnTo>
                  <a:lnTo>
                    <a:pt x="687" y="2663"/>
                  </a:lnTo>
                  <a:lnTo>
                    <a:pt x="686" y="2658"/>
                  </a:lnTo>
                  <a:lnTo>
                    <a:pt x="680" y="2653"/>
                  </a:lnTo>
                  <a:lnTo>
                    <a:pt x="673" y="2650"/>
                  </a:lnTo>
                  <a:lnTo>
                    <a:pt x="665" y="2645"/>
                  </a:lnTo>
                  <a:lnTo>
                    <a:pt x="655" y="2643"/>
                  </a:lnTo>
                  <a:lnTo>
                    <a:pt x="651" y="2642"/>
                  </a:lnTo>
                  <a:lnTo>
                    <a:pt x="648" y="2631"/>
                  </a:lnTo>
                  <a:lnTo>
                    <a:pt x="643" y="2626"/>
                  </a:lnTo>
                  <a:lnTo>
                    <a:pt x="634" y="2619"/>
                  </a:lnTo>
                  <a:lnTo>
                    <a:pt x="623" y="2613"/>
                  </a:lnTo>
                  <a:lnTo>
                    <a:pt x="606" y="2613"/>
                  </a:lnTo>
                  <a:lnTo>
                    <a:pt x="604" y="2609"/>
                  </a:lnTo>
                  <a:lnTo>
                    <a:pt x="600" y="2605"/>
                  </a:lnTo>
                  <a:lnTo>
                    <a:pt x="597" y="2597"/>
                  </a:lnTo>
                  <a:lnTo>
                    <a:pt x="597" y="2583"/>
                  </a:lnTo>
                  <a:lnTo>
                    <a:pt x="595" y="2579"/>
                  </a:lnTo>
                  <a:lnTo>
                    <a:pt x="586" y="2568"/>
                  </a:lnTo>
                  <a:lnTo>
                    <a:pt x="572" y="2559"/>
                  </a:lnTo>
                  <a:lnTo>
                    <a:pt x="566" y="2551"/>
                  </a:lnTo>
                  <a:lnTo>
                    <a:pt x="562" y="2537"/>
                  </a:lnTo>
                  <a:lnTo>
                    <a:pt x="562" y="2530"/>
                  </a:lnTo>
                  <a:lnTo>
                    <a:pt x="565" y="2519"/>
                  </a:lnTo>
                  <a:lnTo>
                    <a:pt x="565" y="2514"/>
                  </a:lnTo>
                  <a:lnTo>
                    <a:pt x="555" y="2504"/>
                  </a:lnTo>
                  <a:lnTo>
                    <a:pt x="547" y="2497"/>
                  </a:lnTo>
                  <a:lnTo>
                    <a:pt x="541" y="2493"/>
                  </a:lnTo>
                  <a:lnTo>
                    <a:pt x="527" y="2492"/>
                  </a:lnTo>
                  <a:lnTo>
                    <a:pt x="513" y="2479"/>
                  </a:lnTo>
                  <a:lnTo>
                    <a:pt x="508" y="2475"/>
                  </a:lnTo>
                  <a:lnTo>
                    <a:pt x="490" y="2471"/>
                  </a:lnTo>
                  <a:lnTo>
                    <a:pt x="477" y="2462"/>
                  </a:lnTo>
                  <a:lnTo>
                    <a:pt x="468" y="2457"/>
                  </a:lnTo>
                  <a:lnTo>
                    <a:pt x="460" y="2451"/>
                  </a:lnTo>
                  <a:lnTo>
                    <a:pt x="451" y="2444"/>
                  </a:lnTo>
                  <a:lnTo>
                    <a:pt x="431" y="2440"/>
                  </a:lnTo>
                  <a:lnTo>
                    <a:pt x="410" y="2439"/>
                  </a:lnTo>
                  <a:lnTo>
                    <a:pt x="388" y="2431"/>
                  </a:lnTo>
                  <a:lnTo>
                    <a:pt x="369" y="2431"/>
                  </a:lnTo>
                  <a:lnTo>
                    <a:pt x="358" y="2430"/>
                  </a:lnTo>
                  <a:lnTo>
                    <a:pt x="354" y="2426"/>
                  </a:lnTo>
                  <a:lnTo>
                    <a:pt x="349" y="2418"/>
                  </a:lnTo>
                  <a:lnTo>
                    <a:pt x="345" y="2413"/>
                  </a:lnTo>
                  <a:lnTo>
                    <a:pt x="340" y="2413"/>
                  </a:lnTo>
                  <a:lnTo>
                    <a:pt x="331" y="2414"/>
                  </a:lnTo>
                  <a:lnTo>
                    <a:pt x="324" y="2414"/>
                  </a:lnTo>
                  <a:lnTo>
                    <a:pt x="301" y="2406"/>
                  </a:lnTo>
                  <a:lnTo>
                    <a:pt x="277" y="2392"/>
                  </a:lnTo>
                  <a:lnTo>
                    <a:pt x="276" y="2384"/>
                  </a:lnTo>
                  <a:lnTo>
                    <a:pt x="274" y="2382"/>
                  </a:lnTo>
                  <a:lnTo>
                    <a:pt x="263" y="2380"/>
                  </a:lnTo>
                  <a:lnTo>
                    <a:pt x="262" y="2376"/>
                  </a:lnTo>
                  <a:lnTo>
                    <a:pt x="262" y="2369"/>
                  </a:lnTo>
                  <a:lnTo>
                    <a:pt x="259" y="2365"/>
                  </a:lnTo>
                  <a:lnTo>
                    <a:pt x="245" y="2357"/>
                  </a:lnTo>
                  <a:lnTo>
                    <a:pt x="244" y="2355"/>
                  </a:lnTo>
                  <a:lnTo>
                    <a:pt x="244" y="2351"/>
                  </a:lnTo>
                  <a:lnTo>
                    <a:pt x="248" y="2347"/>
                  </a:lnTo>
                  <a:lnTo>
                    <a:pt x="249" y="2343"/>
                  </a:lnTo>
                  <a:lnTo>
                    <a:pt x="251" y="2338"/>
                  </a:lnTo>
                  <a:lnTo>
                    <a:pt x="255" y="2328"/>
                  </a:lnTo>
                  <a:lnTo>
                    <a:pt x="254" y="2327"/>
                  </a:lnTo>
                  <a:lnTo>
                    <a:pt x="252" y="2319"/>
                  </a:lnTo>
                  <a:lnTo>
                    <a:pt x="242" y="2294"/>
                  </a:lnTo>
                  <a:lnTo>
                    <a:pt x="244" y="2288"/>
                  </a:lnTo>
                  <a:lnTo>
                    <a:pt x="242" y="2280"/>
                  </a:lnTo>
                  <a:lnTo>
                    <a:pt x="234" y="2274"/>
                  </a:lnTo>
                  <a:lnTo>
                    <a:pt x="226" y="2265"/>
                  </a:lnTo>
                  <a:lnTo>
                    <a:pt x="221" y="2261"/>
                  </a:lnTo>
                  <a:lnTo>
                    <a:pt x="206" y="2257"/>
                  </a:lnTo>
                  <a:lnTo>
                    <a:pt x="203" y="2257"/>
                  </a:lnTo>
                  <a:lnTo>
                    <a:pt x="199" y="2245"/>
                  </a:lnTo>
                  <a:lnTo>
                    <a:pt x="195" y="2244"/>
                  </a:lnTo>
                  <a:lnTo>
                    <a:pt x="184" y="2243"/>
                  </a:lnTo>
                  <a:lnTo>
                    <a:pt x="177" y="2238"/>
                  </a:lnTo>
                  <a:lnTo>
                    <a:pt x="174" y="2231"/>
                  </a:lnTo>
                  <a:lnTo>
                    <a:pt x="172" y="2222"/>
                  </a:lnTo>
                  <a:lnTo>
                    <a:pt x="180" y="2211"/>
                  </a:lnTo>
                  <a:lnTo>
                    <a:pt x="180" y="2204"/>
                  </a:lnTo>
                  <a:lnTo>
                    <a:pt x="178" y="2197"/>
                  </a:lnTo>
                  <a:lnTo>
                    <a:pt x="169" y="2177"/>
                  </a:lnTo>
                  <a:lnTo>
                    <a:pt x="163" y="2166"/>
                  </a:lnTo>
                  <a:lnTo>
                    <a:pt x="160" y="2164"/>
                  </a:lnTo>
                  <a:lnTo>
                    <a:pt x="156" y="2162"/>
                  </a:lnTo>
                  <a:lnTo>
                    <a:pt x="149" y="2162"/>
                  </a:lnTo>
                  <a:lnTo>
                    <a:pt x="142" y="2166"/>
                  </a:lnTo>
                  <a:lnTo>
                    <a:pt x="138" y="2164"/>
                  </a:lnTo>
                  <a:lnTo>
                    <a:pt x="135" y="2162"/>
                  </a:lnTo>
                  <a:lnTo>
                    <a:pt x="135" y="2156"/>
                  </a:lnTo>
                  <a:lnTo>
                    <a:pt x="138" y="2154"/>
                  </a:lnTo>
                  <a:lnTo>
                    <a:pt x="145" y="2156"/>
                  </a:lnTo>
                  <a:lnTo>
                    <a:pt x="149" y="2156"/>
                  </a:lnTo>
                  <a:lnTo>
                    <a:pt x="153" y="2152"/>
                  </a:lnTo>
                  <a:lnTo>
                    <a:pt x="155" y="2149"/>
                  </a:lnTo>
                  <a:lnTo>
                    <a:pt x="153" y="2140"/>
                  </a:lnTo>
                  <a:lnTo>
                    <a:pt x="149" y="2133"/>
                  </a:lnTo>
                  <a:lnTo>
                    <a:pt x="146" y="2124"/>
                  </a:lnTo>
                  <a:lnTo>
                    <a:pt x="139" y="2107"/>
                  </a:lnTo>
                  <a:lnTo>
                    <a:pt x="139" y="2103"/>
                  </a:lnTo>
                  <a:lnTo>
                    <a:pt x="145" y="2099"/>
                  </a:lnTo>
                  <a:lnTo>
                    <a:pt x="146" y="2095"/>
                  </a:lnTo>
                  <a:lnTo>
                    <a:pt x="146" y="2092"/>
                  </a:lnTo>
                  <a:lnTo>
                    <a:pt x="142" y="2089"/>
                  </a:lnTo>
                  <a:lnTo>
                    <a:pt x="139" y="2085"/>
                  </a:lnTo>
                  <a:lnTo>
                    <a:pt x="139" y="2079"/>
                  </a:lnTo>
                  <a:lnTo>
                    <a:pt x="147" y="2066"/>
                  </a:lnTo>
                  <a:lnTo>
                    <a:pt x="150" y="2062"/>
                  </a:lnTo>
                  <a:lnTo>
                    <a:pt x="147" y="2057"/>
                  </a:lnTo>
                  <a:lnTo>
                    <a:pt x="145" y="2054"/>
                  </a:lnTo>
                  <a:lnTo>
                    <a:pt x="145" y="2050"/>
                  </a:lnTo>
                  <a:lnTo>
                    <a:pt x="147" y="2044"/>
                  </a:lnTo>
                  <a:lnTo>
                    <a:pt x="149" y="2036"/>
                  </a:lnTo>
                  <a:lnTo>
                    <a:pt x="152" y="2030"/>
                  </a:lnTo>
                  <a:lnTo>
                    <a:pt x="153" y="2022"/>
                  </a:lnTo>
                  <a:lnTo>
                    <a:pt x="160" y="2010"/>
                  </a:lnTo>
                  <a:lnTo>
                    <a:pt x="160" y="2003"/>
                  </a:lnTo>
                  <a:lnTo>
                    <a:pt x="153" y="1998"/>
                  </a:lnTo>
                  <a:lnTo>
                    <a:pt x="150" y="1995"/>
                  </a:lnTo>
                  <a:lnTo>
                    <a:pt x="150" y="1987"/>
                  </a:lnTo>
                  <a:lnTo>
                    <a:pt x="155" y="1977"/>
                  </a:lnTo>
                  <a:lnTo>
                    <a:pt x="155" y="1973"/>
                  </a:lnTo>
                  <a:lnTo>
                    <a:pt x="150" y="1968"/>
                  </a:lnTo>
                  <a:lnTo>
                    <a:pt x="156" y="1965"/>
                  </a:lnTo>
                  <a:lnTo>
                    <a:pt x="160" y="1953"/>
                  </a:lnTo>
                  <a:lnTo>
                    <a:pt x="159" y="1950"/>
                  </a:lnTo>
                  <a:lnTo>
                    <a:pt x="156" y="1953"/>
                  </a:lnTo>
                  <a:lnTo>
                    <a:pt x="153" y="1953"/>
                  </a:lnTo>
                  <a:lnTo>
                    <a:pt x="149" y="1945"/>
                  </a:lnTo>
                  <a:lnTo>
                    <a:pt x="142" y="1945"/>
                  </a:lnTo>
                  <a:lnTo>
                    <a:pt x="139" y="1942"/>
                  </a:lnTo>
                  <a:lnTo>
                    <a:pt x="138" y="1938"/>
                  </a:lnTo>
                  <a:lnTo>
                    <a:pt x="141" y="1926"/>
                  </a:lnTo>
                  <a:lnTo>
                    <a:pt x="139" y="1924"/>
                  </a:lnTo>
                  <a:lnTo>
                    <a:pt x="136" y="1924"/>
                  </a:lnTo>
                  <a:lnTo>
                    <a:pt x="135" y="1924"/>
                  </a:lnTo>
                  <a:lnTo>
                    <a:pt x="139" y="1920"/>
                  </a:lnTo>
                  <a:lnTo>
                    <a:pt x="142" y="1909"/>
                  </a:lnTo>
                  <a:lnTo>
                    <a:pt x="149" y="1905"/>
                  </a:lnTo>
                  <a:lnTo>
                    <a:pt x="156" y="1904"/>
                  </a:lnTo>
                  <a:lnTo>
                    <a:pt x="160" y="1898"/>
                  </a:lnTo>
                  <a:lnTo>
                    <a:pt x="160" y="1893"/>
                  </a:lnTo>
                  <a:lnTo>
                    <a:pt x="157" y="1883"/>
                  </a:lnTo>
                  <a:lnTo>
                    <a:pt x="156" y="1879"/>
                  </a:lnTo>
                  <a:lnTo>
                    <a:pt x="155" y="1875"/>
                  </a:lnTo>
                  <a:lnTo>
                    <a:pt x="153" y="1871"/>
                  </a:lnTo>
                  <a:lnTo>
                    <a:pt x="149" y="1871"/>
                  </a:lnTo>
                  <a:lnTo>
                    <a:pt x="145" y="1866"/>
                  </a:lnTo>
                  <a:lnTo>
                    <a:pt x="145" y="1863"/>
                  </a:lnTo>
                  <a:lnTo>
                    <a:pt x="146" y="1856"/>
                  </a:lnTo>
                  <a:lnTo>
                    <a:pt x="142" y="1853"/>
                  </a:lnTo>
                  <a:lnTo>
                    <a:pt x="142" y="1848"/>
                  </a:lnTo>
                  <a:lnTo>
                    <a:pt x="136" y="1841"/>
                  </a:lnTo>
                  <a:lnTo>
                    <a:pt x="136" y="1830"/>
                  </a:lnTo>
                  <a:lnTo>
                    <a:pt x="127" y="1825"/>
                  </a:lnTo>
                  <a:lnTo>
                    <a:pt x="120" y="1826"/>
                  </a:lnTo>
                  <a:lnTo>
                    <a:pt x="120" y="1825"/>
                  </a:lnTo>
                  <a:lnTo>
                    <a:pt x="122" y="1816"/>
                  </a:lnTo>
                  <a:lnTo>
                    <a:pt x="119" y="1811"/>
                  </a:lnTo>
                  <a:lnTo>
                    <a:pt x="125" y="1808"/>
                  </a:lnTo>
                  <a:lnTo>
                    <a:pt x="121" y="1800"/>
                  </a:lnTo>
                  <a:lnTo>
                    <a:pt x="128" y="1800"/>
                  </a:lnTo>
                  <a:lnTo>
                    <a:pt x="128" y="1799"/>
                  </a:lnTo>
                  <a:lnTo>
                    <a:pt x="127" y="1796"/>
                  </a:lnTo>
                  <a:lnTo>
                    <a:pt x="121" y="1796"/>
                  </a:lnTo>
                  <a:lnTo>
                    <a:pt x="120" y="1793"/>
                  </a:lnTo>
                  <a:lnTo>
                    <a:pt x="125" y="1792"/>
                  </a:lnTo>
                  <a:lnTo>
                    <a:pt x="124" y="1788"/>
                  </a:lnTo>
                  <a:lnTo>
                    <a:pt x="128" y="1786"/>
                  </a:lnTo>
                  <a:lnTo>
                    <a:pt x="128" y="1780"/>
                  </a:lnTo>
                  <a:lnTo>
                    <a:pt x="134" y="1776"/>
                  </a:lnTo>
                  <a:lnTo>
                    <a:pt x="135" y="1774"/>
                  </a:lnTo>
                  <a:lnTo>
                    <a:pt x="134" y="1772"/>
                  </a:lnTo>
                  <a:lnTo>
                    <a:pt x="130" y="1772"/>
                  </a:lnTo>
                  <a:lnTo>
                    <a:pt x="128" y="1771"/>
                  </a:lnTo>
                  <a:lnTo>
                    <a:pt x="128" y="1769"/>
                  </a:lnTo>
                  <a:lnTo>
                    <a:pt x="132" y="1766"/>
                  </a:lnTo>
                  <a:lnTo>
                    <a:pt x="132" y="1763"/>
                  </a:lnTo>
                  <a:lnTo>
                    <a:pt x="125" y="1759"/>
                  </a:lnTo>
                  <a:lnTo>
                    <a:pt x="124" y="1749"/>
                  </a:lnTo>
                  <a:lnTo>
                    <a:pt x="122" y="1747"/>
                  </a:lnTo>
                  <a:lnTo>
                    <a:pt x="119" y="1747"/>
                  </a:lnTo>
                  <a:lnTo>
                    <a:pt x="117" y="1744"/>
                  </a:lnTo>
                  <a:lnTo>
                    <a:pt x="117" y="1743"/>
                  </a:lnTo>
                  <a:lnTo>
                    <a:pt x="125" y="1741"/>
                  </a:lnTo>
                  <a:lnTo>
                    <a:pt x="128" y="1737"/>
                  </a:lnTo>
                  <a:lnTo>
                    <a:pt x="125" y="1729"/>
                  </a:lnTo>
                  <a:lnTo>
                    <a:pt x="130" y="1722"/>
                  </a:lnTo>
                  <a:lnTo>
                    <a:pt x="128" y="1718"/>
                  </a:lnTo>
                  <a:lnTo>
                    <a:pt x="127" y="1718"/>
                  </a:lnTo>
                  <a:lnTo>
                    <a:pt x="121" y="1721"/>
                  </a:lnTo>
                  <a:lnTo>
                    <a:pt x="119" y="1721"/>
                  </a:lnTo>
                  <a:lnTo>
                    <a:pt x="116" y="1718"/>
                  </a:lnTo>
                  <a:lnTo>
                    <a:pt x="121" y="1713"/>
                  </a:lnTo>
                  <a:lnTo>
                    <a:pt x="121" y="1710"/>
                  </a:lnTo>
                  <a:lnTo>
                    <a:pt x="132" y="1706"/>
                  </a:lnTo>
                  <a:lnTo>
                    <a:pt x="128" y="1700"/>
                  </a:lnTo>
                  <a:lnTo>
                    <a:pt x="130" y="1692"/>
                  </a:lnTo>
                  <a:lnTo>
                    <a:pt x="125" y="1684"/>
                  </a:lnTo>
                  <a:lnTo>
                    <a:pt x="132" y="1669"/>
                  </a:lnTo>
                  <a:lnTo>
                    <a:pt x="131" y="1662"/>
                  </a:lnTo>
                  <a:lnTo>
                    <a:pt x="136" y="1658"/>
                  </a:lnTo>
                  <a:lnTo>
                    <a:pt x="134" y="1655"/>
                  </a:lnTo>
                  <a:lnTo>
                    <a:pt x="134" y="1654"/>
                  </a:lnTo>
                  <a:lnTo>
                    <a:pt x="122" y="1655"/>
                  </a:lnTo>
                  <a:lnTo>
                    <a:pt x="125" y="1643"/>
                  </a:lnTo>
                  <a:lnTo>
                    <a:pt x="119" y="1634"/>
                  </a:lnTo>
                  <a:lnTo>
                    <a:pt x="122" y="1621"/>
                  </a:lnTo>
                  <a:lnTo>
                    <a:pt x="119" y="1612"/>
                  </a:lnTo>
                  <a:lnTo>
                    <a:pt x="127" y="1605"/>
                  </a:lnTo>
                  <a:lnTo>
                    <a:pt x="128" y="1594"/>
                  </a:lnTo>
                  <a:lnTo>
                    <a:pt x="121" y="1587"/>
                  </a:lnTo>
                  <a:lnTo>
                    <a:pt x="122" y="1584"/>
                  </a:lnTo>
                  <a:lnTo>
                    <a:pt x="120" y="1576"/>
                  </a:lnTo>
                  <a:lnTo>
                    <a:pt x="110" y="1580"/>
                  </a:lnTo>
                  <a:lnTo>
                    <a:pt x="99" y="1575"/>
                  </a:lnTo>
                  <a:lnTo>
                    <a:pt x="102" y="1568"/>
                  </a:lnTo>
                  <a:lnTo>
                    <a:pt x="94" y="1558"/>
                  </a:lnTo>
                  <a:lnTo>
                    <a:pt x="100" y="1558"/>
                  </a:lnTo>
                  <a:lnTo>
                    <a:pt x="99" y="1550"/>
                  </a:lnTo>
                  <a:lnTo>
                    <a:pt x="111" y="1526"/>
                  </a:lnTo>
                  <a:lnTo>
                    <a:pt x="110" y="1523"/>
                  </a:lnTo>
                  <a:lnTo>
                    <a:pt x="103" y="1523"/>
                  </a:lnTo>
                  <a:lnTo>
                    <a:pt x="102" y="1519"/>
                  </a:lnTo>
                  <a:lnTo>
                    <a:pt x="110" y="1515"/>
                  </a:lnTo>
                  <a:lnTo>
                    <a:pt x="109" y="1505"/>
                  </a:lnTo>
                  <a:lnTo>
                    <a:pt x="125" y="1493"/>
                  </a:lnTo>
                  <a:lnTo>
                    <a:pt x="130" y="1481"/>
                  </a:lnTo>
                  <a:lnTo>
                    <a:pt x="135" y="1471"/>
                  </a:lnTo>
                  <a:lnTo>
                    <a:pt x="128" y="1452"/>
                  </a:lnTo>
                  <a:lnTo>
                    <a:pt x="116" y="1441"/>
                  </a:lnTo>
                  <a:lnTo>
                    <a:pt x="116" y="1426"/>
                  </a:lnTo>
                  <a:lnTo>
                    <a:pt x="122" y="1419"/>
                  </a:lnTo>
                  <a:lnTo>
                    <a:pt x="113" y="1403"/>
                  </a:lnTo>
                  <a:lnTo>
                    <a:pt x="119" y="1397"/>
                  </a:lnTo>
                  <a:lnTo>
                    <a:pt x="109" y="1391"/>
                  </a:lnTo>
                  <a:lnTo>
                    <a:pt x="116" y="1376"/>
                  </a:lnTo>
                  <a:lnTo>
                    <a:pt x="97" y="1361"/>
                  </a:lnTo>
                  <a:lnTo>
                    <a:pt x="92" y="1349"/>
                  </a:lnTo>
                  <a:lnTo>
                    <a:pt x="82" y="1349"/>
                  </a:lnTo>
                  <a:lnTo>
                    <a:pt x="74" y="1343"/>
                  </a:lnTo>
                  <a:lnTo>
                    <a:pt x="70" y="1336"/>
                  </a:lnTo>
                  <a:lnTo>
                    <a:pt x="71" y="1332"/>
                  </a:lnTo>
                  <a:lnTo>
                    <a:pt x="67" y="1322"/>
                  </a:lnTo>
                  <a:lnTo>
                    <a:pt x="57" y="1328"/>
                  </a:lnTo>
                  <a:lnTo>
                    <a:pt x="50" y="1316"/>
                  </a:lnTo>
                  <a:lnTo>
                    <a:pt x="44" y="1314"/>
                  </a:lnTo>
                  <a:lnTo>
                    <a:pt x="35" y="1309"/>
                  </a:lnTo>
                  <a:lnTo>
                    <a:pt x="20" y="1302"/>
                  </a:lnTo>
                  <a:lnTo>
                    <a:pt x="19" y="1299"/>
                  </a:lnTo>
                  <a:lnTo>
                    <a:pt x="22" y="1291"/>
                  </a:lnTo>
                  <a:lnTo>
                    <a:pt x="13" y="1291"/>
                  </a:lnTo>
                  <a:lnTo>
                    <a:pt x="9" y="1284"/>
                  </a:lnTo>
                  <a:lnTo>
                    <a:pt x="10" y="1277"/>
                  </a:lnTo>
                  <a:lnTo>
                    <a:pt x="2" y="1265"/>
                  </a:lnTo>
                  <a:lnTo>
                    <a:pt x="6" y="1261"/>
                  </a:lnTo>
                  <a:lnTo>
                    <a:pt x="0" y="1254"/>
                  </a:lnTo>
                  <a:lnTo>
                    <a:pt x="21" y="1239"/>
                  </a:lnTo>
                  <a:lnTo>
                    <a:pt x="30" y="1223"/>
                  </a:lnTo>
                  <a:lnTo>
                    <a:pt x="36" y="1219"/>
                  </a:lnTo>
                  <a:lnTo>
                    <a:pt x="52" y="1216"/>
                  </a:lnTo>
                  <a:lnTo>
                    <a:pt x="52" y="1212"/>
                  </a:lnTo>
                  <a:lnTo>
                    <a:pt x="49" y="1208"/>
                  </a:lnTo>
                  <a:lnTo>
                    <a:pt x="57" y="1200"/>
                  </a:lnTo>
                  <a:lnTo>
                    <a:pt x="78" y="1198"/>
                  </a:lnTo>
                  <a:lnTo>
                    <a:pt x="91" y="1190"/>
                  </a:lnTo>
                  <a:lnTo>
                    <a:pt x="96" y="1167"/>
                  </a:lnTo>
                  <a:lnTo>
                    <a:pt x="94" y="1162"/>
                  </a:lnTo>
                  <a:lnTo>
                    <a:pt x="99" y="1153"/>
                  </a:lnTo>
                  <a:lnTo>
                    <a:pt x="92" y="1144"/>
                  </a:lnTo>
                  <a:lnTo>
                    <a:pt x="91" y="1137"/>
                  </a:lnTo>
                  <a:lnTo>
                    <a:pt x="95" y="1130"/>
                  </a:lnTo>
                  <a:lnTo>
                    <a:pt x="94" y="1127"/>
                  </a:lnTo>
                  <a:lnTo>
                    <a:pt x="102" y="1108"/>
                  </a:lnTo>
                  <a:lnTo>
                    <a:pt x="119" y="1095"/>
                  </a:lnTo>
                  <a:lnTo>
                    <a:pt x="122" y="1091"/>
                  </a:lnTo>
                  <a:lnTo>
                    <a:pt x="125" y="1078"/>
                  </a:lnTo>
                  <a:lnTo>
                    <a:pt x="106" y="1063"/>
                  </a:lnTo>
                  <a:lnTo>
                    <a:pt x="114" y="1037"/>
                  </a:lnTo>
                  <a:lnTo>
                    <a:pt x="119" y="1033"/>
                  </a:lnTo>
                  <a:lnTo>
                    <a:pt x="119" y="1024"/>
                  </a:lnTo>
                  <a:lnTo>
                    <a:pt x="122" y="1017"/>
                  </a:lnTo>
                  <a:lnTo>
                    <a:pt x="119" y="1001"/>
                  </a:lnTo>
                  <a:lnTo>
                    <a:pt x="120" y="988"/>
                  </a:lnTo>
                  <a:lnTo>
                    <a:pt x="130" y="984"/>
                  </a:lnTo>
                  <a:lnTo>
                    <a:pt x="130" y="979"/>
                  </a:lnTo>
                  <a:lnTo>
                    <a:pt x="131" y="972"/>
                  </a:lnTo>
                  <a:lnTo>
                    <a:pt x="160" y="954"/>
                  </a:lnTo>
                  <a:lnTo>
                    <a:pt x="164" y="944"/>
                  </a:lnTo>
                  <a:lnTo>
                    <a:pt x="175" y="936"/>
                  </a:lnTo>
                  <a:lnTo>
                    <a:pt x="185" y="927"/>
                  </a:lnTo>
                  <a:lnTo>
                    <a:pt x="192" y="926"/>
                  </a:lnTo>
                  <a:lnTo>
                    <a:pt x="200" y="921"/>
                  </a:lnTo>
                  <a:lnTo>
                    <a:pt x="209" y="902"/>
                  </a:lnTo>
                  <a:lnTo>
                    <a:pt x="234" y="895"/>
                  </a:lnTo>
                  <a:lnTo>
                    <a:pt x="244" y="895"/>
                  </a:lnTo>
                  <a:lnTo>
                    <a:pt x="256" y="901"/>
                  </a:lnTo>
                  <a:lnTo>
                    <a:pt x="269" y="899"/>
                  </a:lnTo>
                  <a:lnTo>
                    <a:pt x="270" y="902"/>
                  </a:lnTo>
                  <a:lnTo>
                    <a:pt x="274" y="901"/>
                  </a:lnTo>
                  <a:lnTo>
                    <a:pt x="274" y="916"/>
                  </a:lnTo>
                  <a:lnTo>
                    <a:pt x="285" y="924"/>
                  </a:lnTo>
                  <a:lnTo>
                    <a:pt x="283" y="927"/>
                  </a:lnTo>
                  <a:lnTo>
                    <a:pt x="301" y="932"/>
                  </a:lnTo>
                  <a:lnTo>
                    <a:pt x="302" y="938"/>
                  </a:lnTo>
                  <a:lnTo>
                    <a:pt x="310" y="934"/>
                  </a:lnTo>
                  <a:lnTo>
                    <a:pt x="312" y="927"/>
                  </a:lnTo>
                  <a:lnTo>
                    <a:pt x="315" y="932"/>
                  </a:lnTo>
                  <a:lnTo>
                    <a:pt x="317" y="932"/>
                  </a:lnTo>
                  <a:lnTo>
                    <a:pt x="319" y="921"/>
                  </a:lnTo>
                  <a:lnTo>
                    <a:pt x="321" y="913"/>
                  </a:lnTo>
                  <a:lnTo>
                    <a:pt x="330" y="909"/>
                  </a:lnTo>
                  <a:lnTo>
                    <a:pt x="330" y="901"/>
                  </a:lnTo>
                  <a:lnTo>
                    <a:pt x="341" y="909"/>
                  </a:lnTo>
                  <a:lnTo>
                    <a:pt x="344" y="909"/>
                  </a:lnTo>
                  <a:lnTo>
                    <a:pt x="341" y="905"/>
                  </a:lnTo>
                  <a:lnTo>
                    <a:pt x="349" y="904"/>
                  </a:lnTo>
                  <a:lnTo>
                    <a:pt x="360" y="909"/>
                  </a:lnTo>
                  <a:lnTo>
                    <a:pt x="362" y="905"/>
                  </a:lnTo>
                  <a:lnTo>
                    <a:pt x="387" y="902"/>
                  </a:lnTo>
                  <a:lnTo>
                    <a:pt x="387" y="895"/>
                  </a:lnTo>
                  <a:lnTo>
                    <a:pt x="419" y="882"/>
                  </a:lnTo>
                  <a:lnTo>
                    <a:pt x="429" y="882"/>
                  </a:lnTo>
                  <a:lnTo>
                    <a:pt x="430" y="887"/>
                  </a:lnTo>
                  <a:lnTo>
                    <a:pt x="441" y="883"/>
                  </a:lnTo>
                  <a:lnTo>
                    <a:pt x="451" y="885"/>
                  </a:lnTo>
                  <a:lnTo>
                    <a:pt x="454" y="879"/>
                  </a:lnTo>
                  <a:lnTo>
                    <a:pt x="472" y="868"/>
                  </a:lnTo>
                  <a:lnTo>
                    <a:pt x="474" y="864"/>
                  </a:lnTo>
                  <a:lnTo>
                    <a:pt x="495" y="859"/>
                  </a:lnTo>
                  <a:lnTo>
                    <a:pt x="500" y="846"/>
                  </a:lnTo>
                  <a:lnTo>
                    <a:pt x="509" y="846"/>
                  </a:lnTo>
                  <a:lnTo>
                    <a:pt x="537" y="830"/>
                  </a:lnTo>
                  <a:lnTo>
                    <a:pt x="541" y="815"/>
                  </a:lnTo>
                  <a:lnTo>
                    <a:pt x="541" y="804"/>
                  </a:lnTo>
                  <a:lnTo>
                    <a:pt x="531" y="797"/>
                  </a:lnTo>
                  <a:lnTo>
                    <a:pt x="531" y="773"/>
                  </a:lnTo>
                  <a:lnTo>
                    <a:pt x="536" y="750"/>
                  </a:lnTo>
                  <a:lnTo>
                    <a:pt x="537" y="742"/>
                  </a:lnTo>
                  <a:lnTo>
                    <a:pt x="543" y="676"/>
                  </a:lnTo>
                  <a:lnTo>
                    <a:pt x="544" y="663"/>
                  </a:lnTo>
                  <a:lnTo>
                    <a:pt x="566" y="368"/>
                  </a:lnTo>
                  <a:lnTo>
                    <a:pt x="566" y="360"/>
                  </a:lnTo>
                  <a:lnTo>
                    <a:pt x="568" y="355"/>
                  </a:lnTo>
                  <a:lnTo>
                    <a:pt x="686" y="358"/>
                  </a:lnTo>
                  <a:lnTo>
                    <a:pt x="712" y="360"/>
                  </a:lnTo>
                  <a:lnTo>
                    <a:pt x="726" y="360"/>
                  </a:lnTo>
                  <a:lnTo>
                    <a:pt x="757" y="360"/>
                  </a:lnTo>
                  <a:lnTo>
                    <a:pt x="773" y="347"/>
                  </a:lnTo>
                  <a:lnTo>
                    <a:pt x="775" y="347"/>
                  </a:lnTo>
                  <a:lnTo>
                    <a:pt x="776" y="347"/>
                  </a:lnTo>
                  <a:lnTo>
                    <a:pt x="778" y="347"/>
                  </a:lnTo>
                  <a:lnTo>
                    <a:pt x="779" y="345"/>
                  </a:lnTo>
                  <a:lnTo>
                    <a:pt x="780" y="345"/>
                  </a:lnTo>
                  <a:lnTo>
                    <a:pt x="782" y="345"/>
                  </a:lnTo>
                  <a:lnTo>
                    <a:pt x="783" y="345"/>
                  </a:lnTo>
                  <a:lnTo>
                    <a:pt x="785" y="345"/>
                  </a:lnTo>
                  <a:lnTo>
                    <a:pt x="786" y="345"/>
                  </a:lnTo>
                  <a:lnTo>
                    <a:pt x="786" y="347"/>
                  </a:lnTo>
                  <a:lnTo>
                    <a:pt x="787" y="347"/>
                  </a:lnTo>
                  <a:lnTo>
                    <a:pt x="786" y="347"/>
                  </a:lnTo>
                  <a:lnTo>
                    <a:pt x="786" y="349"/>
                  </a:lnTo>
                  <a:lnTo>
                    <a:pt x="787" y="349"/>
                  </a:lnTo>
                  <a:lnTo>
                    <a:pt x="789" y="347"/>
                  </a:lnTo>
                  <a:lnTo>
                    <a:pt x="789" y="349"/>
                  </a:lnTo>
                  <a:lnTo>
                    <a:pt x="790" y="349"/>
                  </a:lnTo>
                  <a:lnTo>
                    <a:pt x="791" y="349"/>
                  </a:lnTo>
                  <a:lnTo>
                    <a:pt x="791" y="350"/>
                  </a:lnTo>
                  <a:lnTo>
                    <a:pt x="791" y="352"/>
                  </a:lnTo>
                  <a:lnTo>
                    <a:pt x="793" y="352"/>
                  </a:lnTo>
                  <a:lnTo>
                    <a:pt x="794" y="352"/>
                  </a:lnTo>
                  <a:lnTo>
                    <a:pt x="796" y="352"/>
                  </a:lnTo>
                  <a:lnTo>
                    <a:pt x="796" y="353"/>
                  </a:lnTo>
                  <a:lnTo>
                    <a:pt x="797" y="353"/>
                  </a:lnTo>
                  <a:lnTo>
                    <a:pt x="797" y="355"/>
                  </a:lnTo>
                  <a:lnTo>
                    <a:pt x="799" y="355"/>
                  </a:lnTo>
                  <a:lnTo>
                    <a:pt x="799" y="356"/>
                  </a:lnTo>
                  <a:lnTo>
                    <a:pt x="800" y="356"/>
                  </a:lnTo>
                  <a:lnTo>
                    <a:pt x="801" y="356"/>
                  </a:lnTo>
                  <a:lnTo>
                    <a:pt x="801" y="355"/>
                  </a:lnTo>
                  <a:lnTo>
                    <a:pt x="803" y="355"/>
                  </a:lnTo>
                  <a:lnTo>
                    <a:pt x="804" y="355"/>
                  </a:lnTo>
                  <a:lnTo>
                    <a:pt x="805" y="355"/>
                  </a:lnTo>
                  <a:lnTo>
                    <a:pt x="807" y="355"/>
                  </a:lnTo>
                  <a:lnTo>
                    <a:pt x="808" y="355"/>
                  </a:lnTo>
                  <a:lnTo>
                    <a:pt x="810" y="355"/>
                  </a:lnTo>
                  <a:lnTo>
                    <a:pt x="811" y="355"/>
                  </a:lnTo>
                  <a:lnTo>
                    <a:pt x="813" y="355"/>
                  </a:lnTo>
                  <a:lnTo>
                    <a:pt x="814" y="355"/>
                  </a:lnTo>
                  <a:lnTo>
                    <a:pt x="814" y="356"/>
                  </a:lnTo>
                  <a:lnTo>
                    <a:pt x="815" y="356"/>
                  </a:lnTo>
                  <a:lnTo>
                    <a:pt x="816" y="356"/>
                  </a:lnTo>
                  <a:lnTo>
                    <a:pt x="816" y="358"/>
                  </a:lnTo>
                  <a:lnTo>
                    <a:pt x="818" y="358"/>
                  </a:lnTo>
                  <a:lnTo>
                    <a:pt x="819" y="358"/>
                  </a:lnTo>
                  <a:lnTo>
                    <a:pt x="818" y="360"/>
                  </a:lnTo>
                  <a:lnTo>
                    <a:pt x="819" y="360"/>
                  </a:lnTo>
                  <a:lnTo>
                    <a:pt x="821" y="360"/>
                  </a:lnTo>
                  <a:lnTo>
                    <a:pt x="822" y="360"/>
                  </a:lnTo>
                  <a:lnTo>
                    <a:pt x="822" y="362"/>
                  </a:lnTo>
                  <a:lnTo>
                    <a:pt x="824" y="362"/>
                  </a:lnTo>
                  <a:lnTo>
                    <a:pt x="824" y="363"/>
                  </a:lnTo>
                  <a:lnTo>
                    <a:pt x="825" y="363"/>
                  </a:lnTo>
                  <a:lnTo>
                    <a:pt x="825" y="365"/>
                  </a:lnTo>
                  <a:lnTo>
                    <a:pt x="826" y="365"/>
                  </a:lnTo>
                  <a:lnTo>
                    <a:pt x="828" y="365"/>
                  </a:lnTo>
                  <a:lnTo>
                    <a:pt x="829" y="365"/>
                  </a:lnTo>
                  <a:lnTo>
                    <a:pt x="829" y="366"/>
                  </a:lnTo>
                  <a:lnTo>
                    <a:pt x="830" y="366"/>
                  </a:lnTo>
                  <a:lnTo>
                    <a:pt x="832" y="366"/>
                  </a:lnTo>
                  <a:lnTo>
                    <a:pt x="832" y="365"/>
                  </a:lnTo>
                  <a:lnTo>
                    <a:pt x="833" y="365"/>
                  </a:lnTo>
                  <a:lnTo>
                    <a:pt x="835" y="365"/>
                  </a:lnTo>
                  <a:lnTo>
                    <a:pt x="836" y="363"/>
                  </a:lnTo>
                  <a:lnTo>
                    <a:pt x="838" y="363"/>
                  </a:lnTo>
                  <a:lnTo>
                    <a:pt x="886" y="381"/>
                  </a:lnTo>
                  <a:lnTo>
                    <a:pt x="908" y="385"/>
                  </a:lnTo>
                  <a:lnTo>
                    <a:pt x="911" y="381"/>
                  </a:lnTo>
                  <a:lnTo>
                    <a:pt x="915" y="373"/>
                  </a:lnTo>
                  <a:lnTo>
                    <a:pt x="915" y="372"/>
                  </a:lnTo>
                  <a:lnTo>
                    <a:pt x="915" y="369"/>
                  </a:lnTo>
                  <a:lnTo>
                    <a:pt x="917" y="369"/>
                  </a:lnTo>
                  <a:lnTo>
                    <a:pt x="918" y="369"/>
                  </a:lnTo>
                  <a:lnTo>
                    <a:pt x="918" y="368"/>
                  </a:lnTo>
                  <a:lnTo>
                    <a:pt x="919" y="366"/>
                  </a:lnTo>
                  <a:lnTo>
                    <a:pt x="919" y="365"/>
                  </a:lnTo>
                  <a:lnTo>
                    <a:pt x="918" y="365"/>
                  </a:lnTo>
                  <a:lnTo>
                    <a:pt x="918" y="363"/>
                  </a:lnTo>
                  <a:lnTo>
                    <a:pt x="919" y="362"/>
                  </a:lnTo>
                  <a:lnTo>
                    <a:pt x="918" y="360"/>
                  </a:lnTo>
                  <a:lnTo>
                    <a:pt x="917" y="360"/>
                  </a:lnTo>
                  <a:lnTo>
                    <a:pt x="915" y="360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3" y="358"/>
                  </a:lnTo>
                  <a:lnTo>
                    <a:pt x="913" y="356"/>
                  </a:lnTo>
                  <a:lnTo>
                    <a:pt x="911" y="356"/>
                  </a:lnTo>
                  <a:lnTo>
                    <a:pt x="910" y="356"/>
                  </a:lnTo>
                  <a:lnTo>
                    <a:pt x="910" y="353"/>
                  </a:lnTo>
                  <a:lnTo>
                    <a:pt x="908" y="353"/>
                  </a:lnTo>
                  <a:lnTo>
                    <a:pt x="907" y="352"/>
                  </a:lnTo>
                  <a:lnTo>
                    <a:pt x="905" y="352"/>
                  </a:lnTo>
                  <a:lnTo>
                    <a:pt x="904" y="350"/>
                  </a:lnTo>
                  <a:lnTo>
                    <a:pt x="903" y="347"/>
                  </a:lnTo>
                  <a:lnTo>
                    <a:pt x="901" y="345"/>
                  </a:lnTo>
                  <a:lnTo>
                    <a:pt x="903" y="345"/>
                  </a:lnTo>
                  <a:lnTo>
                    <a:pt x="903" y="344"/>
                  </a:lnTo>
                  <a:lnTo>
                    <a:pt x="903" y="343"/>
                  </a:lnTo>
                  <a:lnTo>
                    <a:pt x="904" y="343"/>
                  </a:lnTo>
                  <a:lnTo>
                    <a:pt x="904" y="341"/>
                  </a:lnTo>
                  <a:lnTo>
                    <a:pt x="904" y="340"/>
                  </a:lnTo>
                  <a:lnTo>
                    <a:pt x="903" y="340"/>
                  </a:lnTo>
                  <a:lnTo>
                    <a:pt x="903" y="337"/>
                  </a:lnTo>
                  <a:lnTo>
                    <a:pt x="901" y="337"/>
                  </a:lnTo>
                  <a:lnTo>
                    <a:pt x="901" y="336"/>
                  </a:lnTo>
                  <a:lnTo>
                    <a:pt x="901" y="333"/>
                  </a:lnTo>
                  <a:lnTo>
                    <a:pt x="903" y="333"/>
                  </a:lnTo>
                  <a:lnTo>
                    <a:pt x="903" y="332"/>
                  </a:lnTo>
                  <a:lnTo>
                    <a:pt x="901" y="332"/>
                  </a:lnTo>
                  <a:lnTo>
                    <a:pt x="901" y="331"/>
                  </a:lnTo>
                  <a:lnTo>
                    <a:pt x="901" y="330"/>
                  </a:lnTo>
                  <a:lnTo>
                    <a:pt x="901" y="328"/>
                  </a:lnTo>
                  <a:lnTo>
                    <a:pt x="901" y="327"/>
                  </a:lnTo>
                  <a:lnTo>
                    <a:pt x="901" y="324"/>
                  </a:lnTo>
                  <a:lnTo>
                    <a:pt x="901" y="323"/>
                  </a:lnTo>
                  <a:lnTo>
                    <a:pt x="901" y="320"/>
                  </a:lnTo>
                  <a:lnTo>
                    <a:pt x="901" y="319"/>
                  </a:lnTo>
                  <a:lnTo>
                    <a:pt x="901" y="316"/>
                  </a:lnTo>
                  <a:lnTo>
                    <a:pt x="901" y="315"/>
                  </a:lnTo>
                  <a:lnTo>
                    <a:pt x="901" y="316"/>
                  </a:lnTo>
                  <a:lnTo>
                    <a:pt x="903" y="316"/>
                  </a:lnTo>
                  <a:lnTo>
                    <a:pt x="903" y="315"/>
                  </a:lnTo>
                  <a:lnTo>
                    <a:pt x="904" y="315"/>
                  </a:lnTo>
                  <a:lnTo>
                    <a:pt x="905" y="315"/>
                  </a:lnTo>
                  <a:lnTo>
                    <a:pt x="907" y="315"/>
                  </a:lnTo>
                  <a:lnTo>
                    <a:pt x="907" y="316"/>
                  </a:lnTo>
                  <a:lnTo>
                    <a:pt x="908" y="316"/>
                  </a:lnTo>
                  <a:lnTo>
                    <a:pt x="910" y="316"/>
                  </a:lnTo>
                  <a:lnTo>
                    <a:pt x="910" y="315"/>
                  </a:lnTo>
                  <a:lnTo>
                    <a:pt x="911" y="315"/>
                  </a:lnTo>
                  <a:lnTo>
                    <a:pt x="913" y="315"/>
                  </a:lnTo>
                  <a:lnTo>
                    <a:pt x="914" y="315"/>
                  </a:lnTo>
                  <a:lnTo>
                    <a:pt x="915" y="315"/>
                  </a:lnTo>
                  <a:lnTo>
                    <a:pt x="915" y="313"/>
                  </a:lnTo>
                  <a:lnTo>
                    <a:pt x="917" y="313"/>
                  </a:lnTo>
                  <a:lnTo>
                    <a:pt x="917" y="311"/>
                  </a:lnTo>
                  <a:lnTo>
                    <a:pt x="917" y="310"/>
                  </a:lnTo>
                  <a:lnTo>
                    <a:pt x="918" y="310"/>
                  </a:lnTo>
                  <a:lnTo>
                    <a:pt x="918" y="308"/>
                  </a:lnTo>
                  <a:lnTo>
                    <a:pt x="919" y="307"/>
                  </a:lnTo>
                  <a:lnTo>
                    <a:pt x="919" y="306"/>
                  </a:lnTo>
                  <a:lnTo>
                    <a:pt x="921" y="304"/>
                  </a:lnTo>
                  <a:lnTo>
                    <a:pt x="922" y="302"/>
                  </a:lnTo>
                  <a:lnTo>
                    <a:pt x="924" y="302"/>
                  </a:lnTo>
                  <a:lnTo>
                    <a:pt x="925" y="302"/>
                  </a:lnTo>
                  <a:lnTo>
                    <a:pt x="925" y="300"/>
                  </a:lnTo>
                  <a:lnTo>
                    <a:pt x="925" y="298"/>
                  </a:lnTo>
                  <a:lnTo>
                    <a:pt x="926" y="298"/>
                  </a:lnTo>
                  <a:lnTo>
                    <a:pt x="928" y="298"/>
                  </a:lnTo>
                  <a:lnTo>
                    <a:pt x="928" y="296"/>
                  </a:lnTo>
                  <a:lnTo>
                    <a:pt x="928" y="295"/>
                  </a:lnTo>
                  <a:lnTo>
                    <a:pt x="928" y="296"/>
                  </a:lnTo>
                  <a:lnTo>
                    <a:pt x="929" y="296"/>
                  </a:lnTo>
                  <a:lnTo>
                    <a:pt x="929" y="295"/>
                  </a:lnTo>
                  <a:lnTo>
                    <a:pt x="928" y="295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9" y="295"/>
                  </a:lnTo>
                  <a:lnTo>
                    <a:pt x="929" y="294"/>
                  </a:lnTo>
                  <a:lnTo>
                    <a:pt x="929" y="293"/>
                  </a:lnTo>
                  <a:lnTo>
                    <a:pt x="930" y="293"/>
                  </a:lnTo>
                  <a:lnTo>
                    <a:pt x="932" y="293"/>
                  </a:lnTo>
                  <a:lnTo>
                    <a:pt x="933" y="293"/>
                  </a:lnTo>
                  <a:lnTo>
                    <a:pt x="935" y="293"/>
                  </a:lnTo>
                  <a:lnTo>
                    <a:pt x="935" y="291"/>
                  </a:lnTo>
                  <a:lnTo>
                    <a:pt x="936" y="291"/>
                  </a:lnTo>
                  <a:lnTo>
                    <a:pt x="936" y="288"/>
                  </a:lnTo>
                  <a:lnTo>
                    <a:pt x="935" y="288"/>
                  </a:lnTo>
                  <a:lnTo>
                    <a:pt x="936" y="288"/>
                  </a:lnTo>
                  <a:lnTo>
                    <a:pt x="938" y="288"/>
                  </a:lnTo>
                  <a:lnTo>
                    <a:pt x="938" y="287"/>
                  </a:lnTo>
                  <a:lnTo>
                    <a:pt x="936" y="287"/>
                  </a:lnTo>
                  <a:lnTo>
                    <a:pt x="938" y="287"/>
                  </a:lnTo>
                  <a:lnTo>
                    <a:pt x="938" y="285"/>
                  </a:lnTo>
                  <a:lnTo>
                    <a:pt x="939" y="285"/>
                  </a:lnTo>
                  <a:lnTo>
                    <a:pt x="940" y="285"/>
                  </a:lnTo>
                  <a:lnTo>
                    <a:pt x="940" y="283"/>
                  </a:lnTo>
                  <a:lnTo>
                    <a:pt x="942" y="283"/>
                  </a:lnTo>
                  <a:lnTo>
                    <a:pt x="942" y="282"/>
                  </a:lnTo>
                  <a:lnTo>
                    <a:pt x="940" y="282"/>
                  </a:lnTo>
                  <a:lnTo>
                    <a:pt x="940" y="279"/>
                  </a:lnTo>
                  <a:lnTo>
                    <a:pt x="942" y="279"/>
                  </a:lnTo>
                  <a:lnTo>
                    <a:pt x="943" y="279"/>
                  </a:lnTo>
                  <a:lnTo>
                    <a:pt x="942" y="279"/>
                  </a:lnTo>
                  <a:lnTo>
                    <a:pt x="940" y="278"/>
                  </a:lnTo>
                  <a:lnTo>
                    <a:pt x="942" y="278"/>
                  </a:lnTo>
                  <a:lnTo>
                    <a:pt x="942" y="275"/>
                  </a:lnTo>
                  <a:lnTo>
                    <a:pt x="943" y="275"/>
                  </a:lnTo>
                  <a:lnTo>
                    <a:pt x="944" y="275"/>
                  </a:lnTo>
                  <a:lnTo>
                    <a:pt x="946" y="275"/>
                  </a:lnTo>
                  <a:lnTo>
                    <a:pt x="947" y="275"/>
                  </a:lnTo>
                  <a:lnTo>
                    <a:pt x="949" y="275"/>
                  </a:lnTo>
                  <a:lnTo>
                    <a:pt x="949" y="274"/>
                  </a:lnTo>
                  <a:lnTo>
                    <a:pt x="950" y="274"/>
                  </a:lnTo>
                  <a:lnTo>
                    <a:pt x="949" y="274"/>
                  </a:lnTo>
                  <a:lnTo>
                    <a:pt x="949" y="273"/>
                  </a:lnTo>
                  <a:lnTo>
                    <a:pt x="950" y="271"/>
                  </a:lnTo>
                  <a:lnTo>
                    <a:pt x="949" y="271"/>
                  </a:lnTo>
                  <a:lnTo>
                    <a:pt x="949" y="270"/>
                  </a:lnTo>
                  <a:lnTo>
                    <a:pt x="950" y="270"/>
                  </a:lnTo>
                  <a:lnTo>
                    <a:pt x="949" y="269"/>
                  </a:lnTo>
                  <a:lnTo>
                    <a:pt x="950" y="269"/>
                  </a:lnTo>
                  <a:lnTo>
                    <a:pt x="951" y="269"/>
                  </a:lnTo>
                  <a:lnTo>
                    <a:pt x="951" y="266"/>
                  </a:lnTo>
                  <a:lnTo>
                    <a:pt x="953" y="266"/>
                  </a:lnTo>
                  <a:lnTo>
                    <a:pt x="953" y="265"/>
                  </a:lnTo>
                  <a:lnTo>
                    <a:pt x="954" y="265"/>
                  </a:lnTo>
                  <a:lnTo>
                    <a:pt x="953" y="265"/>
                  </a:lnTo>
                  <a:lnTo>
                    <a:pt x="953" y="262"/>
                  </a:lnTo>
                  <a:lnTo>
                    <a:pt x="954" y="262"/>
                  </a:lnTo>
                  <a:lnTo>
                    <a:pt x="955" y="262"/>
                  </a:lnTo>
                  <a:lnTo>
                    <a:pt x="955" y="260"/>
                  </a:lnTo>
                  <a:lnTo>
                    <a:pt x="954" y="260"/>
                  </a:lnTo>
                  <a:lnTo>
                    <a:pt x="955" y="260"/>
                  </a:lnTo>
                  <a:lnTo>
                    <a:pt x="957" y="258"/>
                  </a:lnTo>
                  <a:lnTo>
                    <a:pt x="958" y="257"/>
                  </a:lnTo>
                  <a:lnTo>
                    <a:pt x="958" y="256"/>
                  </a:lnTo>
                  <a:lnTo>
                    <a:pt x="960" y="256"/>
                  </a:lnTo>
                  <a:lnTo>
                    <a:pt x="960" y="253"/>
                  </a:lnTo>
                  <a:lnTo>
                    <a:pt x="963" y="253"/>
                  </a:lnTo>
                  <a:lnTo>
                    <a:pt x="961" y="253"/>
                  </a:lnTo>
                  <a:lnTo>
                    <a:pt x="961" y="251"/>
                  </a:lnTo>
                  <a:lnTo>
                    <a:pt x="963" y="251"/>
                  </a:lnTo>
                  <a:lnTo>
                    <a:pt x="964" y="253"/>
                  </a:lnTo>
                  <a:lnTo>
                    <a:pt x="964" y="251"/>
                  </a:lnTo>
                  <a:lnTo>
                    <a:pt x="964" y="249"/>
                  </a:lnTo>
                  <a:lnTo>
                    <a:pt x="965" y="249"/>
                  </a:lnTo>
                  <a:lnTo>
                    <a:pt x="965" y="251"/>
                  </a:lnTo>
                  <a:lnTo>
                    <a:pt x="965" y="249"/>
                  </a:lnTo>
                  <a:lnTo>
                    <a:pt x="967" y="249"/>
                  </a:lnTo>
                  <a:lnTo>
                    <a:pt x="968" y="249"/>
                  </a:lnTo>
                  <a:lnTo>
                    <a:pt x="968" y="248"/>
                  </a:lnTo>
                  <a:lnTo>
                    <a:pt x="968" y="246"/>
                  </a:lnTo>
                  <a:lnTo>
                    <a:pt x="967" y="246"/>
                  </a:lnTo>
                  <a:lnTo>
                    <a:pt x="968" y="246"/>
                  </a:lnTo>
                  <a:lnTo>
                    <a:pt x="968" y="244"/>
                  </a:lnTo>
                  <a:lnTo>
                    <a:pt x="968" y="243"/>
                  </a:lnTo>
                  <a:lnTo>
                    <a:pt x="968" y="240"/>
                  </a:lnTo>
                  <a:lnTo>
                    <a:pt x="968" y="237"/>
                  </a:lnTo>
                  <a:lnTo>
                    <a:pt x="969" y="237"/>
                  </a:lnTo>
                  <a:lnTo>
                    <a:pt x="971" y="237"/>
                  </a:lnTo>
                  <a:lnTo>
                    <a:pt x="969" y="237"/>
                  </a:lnTo>
                  <a:lnTo>
                    <a:pt x="968" y="237"/>
                  </a:lnTo>
                  <a:lnTo>
                    <a:pt x="969" y="237"/>
                  </a:lnTo>
                  <a:lnTo>
                    <a:pt x="969" y="236"/>
                  </a:lnTo>
                  <a:lnTo>
                    <a:pt x="969" y="237"/>
                  </a:lnTo>
                  <a:lnTo>
                    <a:pt x="971" y="237"/>
                  </a:lnTo>
                  <a:lnTo>
                    <a:pt x="971" y="236"/>
                  </a:lnTo>
                  <a:lnTo>
                    <a:pt x="971" y="234"/>
                  </a:lnTo>
                  <a:lnTo>
                    <a:pt x="972" y="234"/>
                  </a:lnTo>
                  <a:lnTo>
                    <a:pt x="972" y="236"/>
                  </a:lnTo>
                  <a:lnTo>
                    <a:pt x="974" y="236"/>
                  </a:lnTo>
                  <a:lnTo>
                    <a:pt x="974" y="234"/>
                  </a:lnTo>
                  <a:lnTo>
                    <a:pt x="972" y="234"/>
                  </a:lnTo>
                  <a:lnTo>
                    <a:pt x="974" y="234"/>
                  </a:lnTo>
                  <a:lnTo>
                    <a:pt x="974" y="233"/>
                  </a:lnTo>
                  <a:lnTo>
                    <a:pt x="972" y="233"/>
                  </a:lnTo>
                  <a:lnTo>
                    <a:pt x="972" y="231"/>
                  </a:lnTo>
                  <a:lnTo>
                    <a:pt x="974" y="231"/>
                  </a:lnTo>
                  <a:lnTo>
                    <a:pt x="975" y="231"/>
                  </a:lnTo>
                  <a:lnTo>
                    <a:pt x="977" y="231"/>
                  </a:lnTo>
                  <a:lnTo>
                    <a:pt x="978" y="231"/>
                  </a:lnTo>
                  <a:lnTo>
                    <a:pt x="980" y="231"/>
                  </a:lnTo>
                  <a:lnTo>
                    <a:pt x="982" y="231"/>
                  </a:lnTo>
                  <a:lnTo>
                    <a:pt x="983" y="231"/>
                  </a:lnTo>
                  <a:lnTo>
                    <a:pt x="985" y="231"/>
                  </a:lnTo>
                  <a:lnTo>
                    <a:pt x="985" y="229"/>
                  </a:lnTo>
                  <a:lnTo>
                    <a:pt x="986" y="229"/>
                  </a:lnTo>
                  <a:lnTo>
                    <a:pt x="988" y="229"/>
                  </a:lnTo>
                  <a:lnTo>
                    <a:pt x="989" y="229"/>
                  </a:lnTo>
                  <a:lnTo>
                    <a:pt x="990" y="229"/>
                  </a:lnTo>
                  <a:lnTo>
                    <a:pt x="990" y="226"/>
                  </a:lnTo>
                  <a:lnTo>
                    <a:pt x="992" y="229"/>
                  </a:lnTo>
                  <a:lnTo>
                    <a:pt x="992" y="226"/>
                  </a:lnTo>
                  <a:lnTo>
                    <a:pt x="993" y="226"/>
                  </a:lnTo>
                  <a:lnTo>
                    <a:pt x="994" y="226"/>
                  </a:lnTo>
                  <a:lnTo>
                    <a:pt x="996" y="226"/>
                  </a:lnTo>
                  <a:lnTo>
                    <a:pt x="997" y="226"/>
                  </a:lnTo>
                  <a:lnTo>
                    <a:pt x="999" y="226"/>
                  </a:lnTo>
                  <a:lnTo>
                    <a:pt x="999" y="225"/>
                  </a:lnTo>
                  <a:lnTo>
                    <a:pt x="1000" y="225"/>
                  </a:lnTo>
                  <a:lnTo>
                    <a:pt x="1002" y="225"/>
                  </a:lnTo>
                  <a:lnTo>
                    <a:pt x="1003" y="225"/>
                  </a:lnTo>
                  <a:lnTo>
                    <a:pt x="1004" y="224"/>
                  </a:lnTo>
                  <a:lnTo>
                    <a:pt x="1005" y="224"/>
                  </a:lnTo>
                  <a:lnTo>
                    <a:pt x="1008" y="224"/>
                  </a:lnTo>
                  <a:lnTo>
                    <a:pt x="1008" y="225"/>
                  </a:lnTo>
                  <a:lnTo>
                    <a:pt x="1010" y="225"/>
                  </a:lnTo>
                  <a:lnTo>
                    <a:pt x="1010" y="224"/>
                  </a:lnTo>
                  <a:lnTo>
                    <a:pt x="1010" y="223"/>
                  </a:lnTo>
                  <a:lnTo>
                    <a:pt x="1011" y="223"/>
                  </a:lnTo>
                  <a:lnTo>
                    <a:pt x="1013" y="223"/>
                  </a:lnTo>
                  <a:lnTo>
                    <a:pt x="1014" y="223"/>
                  </a:lnTo>
                  <a:lnTo>
                    <a:pt x="1015" y="223"/>
                  </a:lnTo>
                  <a:lnTo>
                    <a:pt x="1017" y="223"/>
                  </a:lnTo>
                  <a:lnTo>
                    <a:pt x="1018" y="223"/>
                  </a:lnTo>
                  <a:lnTo>
                    <a:pt x="1018" y="221"/>
                  </a:lnTo>
                  <a:lnTo>
                    <a:pt x="1019" y="221"/>
                  </a:lnTo>
                  <a:lnTo>
                    <a:pt x="1021" y="221"/>
                  </a:lnTo>
                  <a:lnTo>
                    <a:pt x="1022" y="221"/>
                  </a:lnTo>
                  <a:lnTo>
                    <a:pt x="1024" y="223"/>
                  </a:lnTo>
                  <a:lnTo>
                    <a:pt x="1025" y="223"/>
                  </a:lnTo>
                  <a:lnTo>
                    <a:pt x="1027" y="221"/>
                  </a:lnTo>
                  <a:lnTo>
                    <a:pt x="1027" y="220"/>
                  </a:lnTo>
                  <a:lnTo>
                    <a:pt x="1028" y="220"/>
                  </a:lnTo>
                  <a:lnTo>
                    <a:pt x="1029" y="220"/>
                  </a:lnTo>
                  <a:lnTo>
                    <a:pt x="1031" y="220"/>
                  </a:lnTo>
                  <a:lnTo>
                    <a:pt x="1031" y="217"/>
                  </a:lnTo>
                  <a:lnTo>
                    <a:pt x="1032" y="217"/>
                  </a:lnTo>
                  <a:lnTo>
                    <a:pt x="1033" y="217"/>
                  </a:lnTo>
                  <a:lnTo>
                    <a:pt x="1035" y="217"/>
                  </a:lnTo>
                  <a:lnTo>
                    <a:pt x="1033" y="217"/>
                  </a:lnTo>
                  <a:lnTo>
                    <a:pt x="1035" y="217"/>
                  </a:lnTo>
                  <a:lnTo>
                    <a:pt x="1035" y="215"/>
                  </a:lnTo>
                  <a:lnTo>
                    <a:pt x="1036" y="217"/>
                  </a:lnTo>
                  <a:lnTo>
                    <a:pt x="1042" y="215"/>
                  </a:lnTo>
                  <a:lnTo>
                    <a:pt x="1049" y="217"/>
                  </a:lnTo>
                  <a:lnTo>
                    <a:pt x="1054" y="215"/>
                  </a:lnTo>
                  <a:lnTo>
                    <a:pt x="1060" y="213"/>
                  </a:lnTo>
                  <a:lnTo>
                    <a:pt x="1061" y="208"/>
                  </a:lnTo>
                  <a:lnTo>
                    <a:pt x="1063" y="203"/>
                  </a:lnTo>
                  <a:lnTo>
                    <a:pt x="1065" y="201"/>
                  </a:lnTo>
                  <a:lnTo>
                    <a:pt x="1071" y="200"/>
                  </a:lnTo>
                  <a:lnTo>
                    <a:pt x="1078" y="203"/>
                  </a:lnTo>
                  <a:lnTo>
                    <a:pt x="1086" y="198"/>
                  </a:lnTo>
                  <a:lnTo>
                    <a:pt x="1088" y="199"/>
                  </a:lnTo>
                  <a:lnTo>
                    <a:pt x="1096" y="198"/>
                  </a:lnTo>
                  <a:lnTo>
                    <a:pt x="1098" y="195"/>
                  </a:lnTo>
                  <a:lnTo>
                    <a:pt x="1096" y="191"/>
                  </a:lnTo>
                  <a:lnTo>
                    <a:pt x="1100" y="189"/>
                  </a:lnTo>
                  <a:lnTo>
                    <a:pt x="1100" y="184"/>
                  </a:lnTo>
                  <a:lnTo>
                    <a:pt x="1107" y="182"/>
                  </a:lnTo>
                  <a:lnTo>
                    <a:pt x="1112" y="182"/>
                  </a:lnTo>
                  <a:lnTo>
                    <a:pt x="1117" y="182"/>
                  </a:lnTo>
                  <a:lnTo>
                    <a:pt x="1120" y="179"/>
                  </a:lnTo>
                  <a:lnTo>
                    <a:pt x="1120" y="173"/>
                  </a:lnTo>
                  <a:lnTo>
                    <a:pt x="1124" y="169"/>
                  </a:lnTo>
                  <a:lnTo>
                    <a:pt x="1124" y="173"/>
                  </a:lnTo>
                  <a:lnTo>
                    <a:pt x="1127" y="171"/>
                  </a:lnTo>
                  <a:lnTo>
                    <a:pt x="1128" y="171"/>
                  </a:lnTo>
                  <a:lnTo>
                    <a:pt x="1132" y="171"/>
                  </a:lnTo>
                  <a:lnTo>
                    <a:pt x="1135" y="166"/>
                  </a:lnTo>
                  <a:lnTo>
                    <a:pt x="1143" y="162"/>
                  </a:lnTo>
                  <a:lnTo>
                    <a:pt x="1145" y="153"/>
                  </a:lnTo>
                  <a:lnTo>
                    <a:pt x="1148" y="150"/>
                  </a:lnTo>
                  <a:lnTo>
                    <a:pt x="1152" y="142"/>
                  </a:lnTo>
                  <a:lnTo>
                    <a:pt x="1157" y="141"/>
                  </a:lnTo>
                  <a:lnTo>
                    <a:pt x="1156" y="137"/>
                  </a:lnTo>
                  <a:lnTo>
                    <a:pt x="1163" y="137"/>
                  </a:lnTo>
                  <a:lnTo>
                    <a:pt x="1167" y="137"/>
                  </a:lnTo>
                  <a:lnTo>
                    <a:pt x="1168" y="137"/>
                  </a:lnTo>
                  <a:lnTo>
                    <a:pt x="1173" y="129"/>
                  </a:lnTo>
                  <a:lnTo>
                    <a:pt x="1179" y="128"/>
                  </a:lnTo>
                  <a:lnTo>
                    <a:pt x="1182" y="126"/>
                  </a:lnTo>
                  <a:lnTo>
                    <a:pt x="1181" y="124"/>
                  </a:lnTo>
                  <a:lnTo>
                    <a:pt x="1182" y="122"/>
                  </a:lnTo>
                  <a:lnTo>
                    <a:pt x="1185" y="122"/>
                  </a:lnTo>
                  <a:lnTo>
                    <a:pt x="1184" y="119"/>
                  </a:lnTo>
                  <a:lnTo>
                    <a:pt x="1187" y="117"/>
                  </a:lnTo>
                  <a:lnTo>
                    <a:pt x="1188" y="113"/>
                  </a:lnTo>
                  <a:lnTo>
                    <a:pt x="1188" y="105"/>
                  </a:lnTo>
                  <a:lnTo>
                    <a:pt x="1190" y="96"/>
                  </a:lnTo>
                  <a:lnTo>
                    <a:pt x="1193" y="94"/>
                  </a:lnTo>
                  <a:lnTo>
                    <a:pt x="1199" y="84"/>
                  </a:lnTo>
                  <a:lnTo>
                    <a:pt x="1200" y="84"/>
                  </a:lnTo>
                  <a:lnTo>
                    <a:pt x="1202" y="84"/>
                  </a:lnTo>
                  <a:lnTo>
                    <a:pt x="1206" y="84"/>
                  </a:lnTo>
                  <a:lnTo>
                    <a:pt x="1212" y="88"/>
                  </a:lnTo>
                  <a:lnTo>
                    <a:pt x="1217" y="87"/>
                  </a:lnTo>
                  <a:lnTo>
                    <a:pt x="1218" y="75"/>
                  </a:lnTo>
                  <a:lnTo>
                    <a:pt x="1221" y="75"/>
                  </a:lnTo>
                  <a:lnTo>
                    <a:pt x="1220" y="74"/>
                  </a:lnTo>
                  <a:lnTo>
                    <a:pt x="1221" y="74"/>
                  </a:lnTo>
                  <a:lnTo>
                    <a:pt x="1221" y="71"/>
                  </a:lnTo>
                  <a:lnTo>
                    <a:pt x="1220" y="70"/>
                  </a:lnTo>
                  <a:lnTo>
                    <a:pt x="1221" y="62"/>
                  </a:lnTo>
                  <a:lnTo>
                    <a:pt x="1225" y="60"/>
                  </a:lnTo>
                  <a:lnTo>
                    <a:pt x="1227" y="62"/>
                  </a:lnTo>
                  <a:lnTo>
                    <a:pt x="1232" y="59"/>
                  </a:lnTo>
                  <a:lnTo>
                    <a:pt x="1232" y="52"/>
                  </a:lnTo>
                  <a:lnTo>
                    <a:pt x="1240" y="49"/>
                  </a:lnTo>
                  <a:lnTo>
                    <a:pt x="1239" y="46"/>
                  </a:lnTo>
                  <a:lnTo>
                    <a:pt x="1240" y="39"/>
                  </a:lnTo>
                  <a:lnTo>
                    <a:pt x="1248" y="37"/>
                  </a:lnTo>
                  <a:lnTo>
                    <a:pt x="1249" y="34"/>
                  </a:lnTo>
                  <a:lnTo>
                    <a:pt x="1246" y="20"/>
                  </a:lnTo>
                  <a:lnTo>
                    <a:pt x="1250" y="17"/>
                  </a:lnTo>
                  <a:lnTo>
                    <a:pt x="1248" y="14"/>
                  </a:lnTo>
                  <a:lnTo>
                    <a:pt x="1252" y="8"/>
                  </a:lnTo>
                  <a:lnTo>
                    <a:pt x="1252" y="4"/>
                  </a:lnTo>
                  <a:lnTo>
                    <a:pt x="1250" y="4"/>
                  </a:lnTo>
                  <a:lnTo>
                    <a:pt x="1248" y="2"/>
                  </a:lnTo>
                  <a:lnTo>
                    <a:pt x="1245" y="0"/>
                  </a:lnTo>
                  <a:lnTo>
                    <a:pt x="1289" y="0"/>
                  </a:lnTo>
                  <a:lnTo>
                    <a:pt x="1640" y="0"/>
                  </a:lnTo>
                  <a:lnTo>
                    <a:pt x="1649" y="2"/>
                  </a:lnTo>
                  <a:lnTo>
                    <a:pt x="1655" y="13"/>
                  </a:lnTo>
                  <a:lnTo>
                    <a:pt x="1655" y="17"/>
                  </a:lnTo>
                  <a:lnTo>
                    <a:pt x="1659" y="21"/>
                  </a:lnTo>
                  <a:lnTo>
                    <a:pt x="1668" y="24"/>
                  </a:lnTo>
                  <a:lnTo>
                    <a:pt x="1672" y="26"/>
                  </a:lnTo>
                  <a:lnTo>
                    <a:pt x="1677" y="25"/>
                  </a:lnTo>
                  <a:lnTo>
                    <a:pt x="1680" y="26"/>
                  </a:lnTo>
                  <a:lnTo>
                    <a:pt x="1680" y="24"/>
                  </a:lnTo>
                  <a:lnTo>
                    <a:pt x="1679" y="21"/>
                  </a:lnTo>
                  <a:lnTo>
                    <a:pt x="1683" y="16"/>
                  </a:lnTo>
                  <a:lnTo>
                    <a:pt x="1683" y="17"/>
                  </a:lnTo>
                  <a:lnTo>
                    <a:pt x="1684" y="20"/>
                  </a:lnTo>
                  <a:lnTo>
                    <a:pt x="1686" y="24"/>
                  </a:lnTo>
                  <a:lnTo>
                    <a:pt x="1684" y="25"/>
                  </a:lnTo>
                  <a:lnTo>
                    <a:pt x="1686" y="26"/>
                  </a:lnTo>
                  <a:lnTo>
                    <a:pt x="1686" y="29"/>
                  </a:lnTo>
                  <a:lnTo>
                    <a:pt x="1687" y="30"/>
                  </a:lnTo>
                  <a:lnTo>
                    <a:pt x="1691" y="38"/>
                  </a:lnTo>
                  <a:lnTo>
                    <a:pt x="1704" y="74"/>
                  </a:lnTo>
                  <a:lnTo>
                    <a:pt x="1705" y="75"/>
                  </a:lnTo>
                  <a:lnTo>
                    <a:pt x="1708" y="79"/>
                  </a:lnTo>
                  <a:lnTo>
                    <a:pt x="1712" y="75"/>
                  </a:lnTo>
                  <a:lnTo>
                    <a:pt x="1718" y="75"/>
                  </a:lnTo>
                  <a:lnTo>
                    <a:pt x="1722" y="84"/>
                  </a:lnTo>
                  <a:lnTo>
                    <a:pt x="1722" y="88"/>
                  </a:lnTo>
                  <a:lnTo>
                    <a:pt x="1724" y="95"/>
                  </a:lnTo>
                  <a:lnTo>
                    <a:pt x="1736" y="97"/>
                  </a:lnTo>
                  <a:lnTo>
                    <a:pt x="1738" y="97"/>
                  </a:lnTo>
                  <a:lnTo>
                    <a:pt x="1738" y="101"/>
                  </a:lnTo>
                  <a:lnTo>
                    <a:pt x="1743" y="101"/>
                  </a:lnTo>
                  <a:lnTo>
                    <a:pt x="1746" y="107"/>
                  </a:lnTo>
                  <a:lnTo>
                    <a:pt x="1751" y="108"/>
                  </a:lnTo>
                  <a:lnTo>
                    <a:pt x="1754" y="107"/>
                  </a:lnTo>
                  <a:lnTo>
                    <a:pt x="1758" y="109"/>
                  </a:lnTo>
                  <a:lnTo>
                    <a:pt x="1772" y="95"/>
                  </a:lnTo>
                  <a:lnTo>
                    <a:pt x="1776" y="92"/>
                  </a:lnTo>
                  <a:lnTo>
                    <a:pt x="1782" y="84"/>
                  </a:lnTo>
                  <a:lnTo>
                    <a:pt x="1787" y="82"/>
                  </a:lnTo>
                  <a:lnTo>
                    <a:pt x="1812" y="108"/>
                  </a:lnTo>
                  <a:lnTo>
                    <a:pt x="1815" y="111"/>
                  </a:lnTo>
                  <a:lnTo>
                    <a:pt x="1813" y="120"/>
                  </a:lnTo>
                  <a:lnTo>
                    <a:pt x="1816" y="128"/>
                  </a:lnTo>
                  <a:lnTo>
                    <a:pt x="1816" y="136"/>
                  </a:lnTo>
                  <a:lnTo>
                    <a:pt x="1813" y="145"/>
                  </a:lnTo>
                  <a:lnTo>
                    <a:pt x="1815" y="146"/>
                  </a:lnTo>
                  <a:lnTo>
                    <a:pt x="1815" y="150"/>
                  </a:lnTo>
                  <a:lnTo>
                    <a:pt x="1816" y="153"/>
                  </a:lnTo>
                  <a:lnTo>
                    <a:pt x="1826" y="149"/>
                  </a:lnTo>
                  <a:lnTo>
                    <a:pt x="1829" y="150"/>
                  </a:lnTo>
                  <a:lnTo>
                    <a:pt x="1830" y="149"/>
                  </a:lnTo>
                  <a:lnTo>
                    <a:pt x="1833" y="150"/>
                  </a:lnTo>
                  <a:lnTo>
                    <a:pt x="1836" y="150"/>
                  </a:lnTo>
                  <a:lnTo>
                    <a:pt x="1838" y="149"/>
                  </a:lnTo>
                  <a:lnTo>
                    <a:pt x="1840" y="150"/>
                  </a:lnTo>
                  <a:lnTo>
                    <a:pt x="1843" y="146"/>
                  </a:lnTo>
                  <a:lnTo>
                    <a:pt x="1847" y="146"/>
                  </a:lnTo>
                  <a:lnTo>
                    <a:pt x="1855" y="142"/>
                  </a:lnTo>
                  <a:lnTo>
                    <a:pt x="1859" y="142"/>
                  </a:lnTo>
                  <a:lnTo>
                    <a:pt x="1859" y="139"/>
                  </a:lnTo>
                  <a:lnTo>
                    <a:pt x="1866" y="133"/>
                  </a:lnTo>
                  <a:lnTo>
                    <a:pt x="1872" y="130"/>
                  </a:lnTo>
                  <a:lnTo>
                    <a:pt x="1875" y="124"/>
                  </a:lnTo>
                  <a:lnTo>
                    <a:pt x="1879" y="120"/>
                  </a:lnTo>
                  <a:lnTo>
                    <a:pt x="1882" y="117"/>
                  </a:lnTo>
                  <a:lnTo>
                    <a:pt x="1886" y="113"/>
                  </a:lnTo>
                  <a:lnTo>
                    <a:pt x="1892" y="105"/>
                  </a:lnTo>
                  <a:lnTo>
                    <a:pt x="1892" y="107"/>
                  </a:lnTo>
                  <a:lnTo>
                    <a:pt x="1896" y="101"/>
                  </a:lnTo>
                  <a:lnTo>
                    <a:pt x="1897" y="104"/>
                  </a:lnTo>
                  <a:lnTo>
                    <a:pt x="1901" y="101"/>
                  </a:lnTo>
                  <a:lnTo>
                    <a:pt x="1904" y="104"/>
                  </a:lnTo>
                  <a:lnTo>
                    <a:pt x="1905" y="109"/>
                  </a:lnTo>
                  <a:lnTo>
                    <a:pt x="1908" y="109"/>
                  </a:lnTo>
                  <a:lnTo>
                    <a:pt x="1908" y="111"/>
                  </a:lnTo>
                  <a:lnTo>
                    <a:pt x="1912" y="119"/>
                  </a:lnTo>
                  <a:lnTo>
                    <a:pt x="1915" y="117"/>
                  </a:lnTo>
                  <a:lnTo>
                    <a:pt x="1917" y="114"/>
                  </a:lnTo>
                  <a:lnTo>
                    <a:pt x="1919" y="114"/>
                  </a:lnTo>
                  <a:lnTo>
                    <a:pt x="1921" y="113"/>
                  </a:lnTo>
                  <a:lnTo>
                    <a:pt x="1921" y="114"/>
                  </a:lnTo>
                  <a:lnTo>
                    <a:pt x="1922" y="114"/>
                  </a:lnTo>
                  <a:lnTo>
                    <a:pt x="1931" y="122"/>
                  </a:lnTo>
                  <a:lnTo>
                    <a:pt x="1931" y="124"/>
                  </a:lnTo>
                  <a:lnTo>
                    <a:pt x="1933" y="126"/>
                  </a:lnTo>
                  <a:lnTo>
                    <a:pt x="1933" y="129"/>
                  </a:lnTo>
                  <a:lnTo>
                    <a:pt x="1939" y="133"/>
                  </a:lnTo>
                  <a:lnTo>
                    <a:pt x="1943" y="133"/>
                  </a:lnTo>
                  <a:lnTo>
                    <a:pt x="1946" y="137"/>
                  </a:lnTo>
                  <a:lnTo>
                    <a:pt x="1950" y="139"/>
                  </a:lnTo>
                  <a:lnTo>
                    <a:pt x="1958" y="150"/>
                  </a:lnTo>
                  <a:lnTo>
                    <a:pt x="1961" y="150"/>
                  </a:lnTo>
                  <a:lnTo>
                    <a:pt x="1962" y="156"/>
                  </a:lnTo>
                  <a:lnTo>
                    <a:pt x="1965" y="156"/>
                  </a:lnTo>
                  <a:lnTo>
                    <a:pt x="1969" y="153"/>
                  </a:lnTo>
                  <a:lnTo>
                    <a:pt x="1973" y="156"/>
                  </a:lnTo>
                  <a:lnTo>
                    <a:pt x="1975" y="159"/>
                  </a:lnTo>
                  <a:lnTo>
                    <a:pt x="1978" y="162"/>
                  </a:lnTo>
                  <a:lnTo>
                    <a:pt x="1979" y="159"/>
                  </a:lnTo>
                  <a:lnTo>
                    <a:pt x="1981" y="163"/>
                  </a:lnTo>
                  <a:lnTo>
                    <a:pt x="1984" y="162"/>
                  </a:lnTo>
                  <a:lnTo>
                    <a:pt x="1986" y="166"/>
                  </a:lnTo>
                  <a:lnTo>
                    <a:pt x="1986" y="169"/>
                  </a:lnTo>
                  <a:lnTo>
                    <a:pt x="1987" y="169"/>
                  </a:lnTo>
                  <a:lnTo>
                    <a:pt x="1984" y="173"/>
                  </a:lnTo>
                  <a:lnTo>
                    <a:pt x="1987" y="175"/>
                  </a:lnTo>
                  <a:lnTo>
                    <a:pt x="1987" y="178"/>
                  </a:lnTo>
                  <a:lnTo>
                    <a:pt x="1986" y="179"/>
                  </a:lnTo>
                  <a:lnTo>
                    <a:pt x="1986" y="181"/>
                  </a:lnTo>
                  <a:lnTo>
                    <a:pt x="1984" y="181"/>
                  </a:lnTo>
                  <a:lnTo>
                    <a:pt x="1984" y="182"/>
                  </a:lnTo>
                  <a:lnTo>
                    <a:pt x="1987" y="184"/>
                  </a:lnTo>
                  <a:lnTo>
                    <a:pt x="1989" y="188"/>
                  </a:lnTo>
                  <a:lnTo>
                    <a:pt x="1992" y="191"/>
                  </a:lnTo>
                  <a:lnTo>
                    <a:pt x="1994" y="189"/>
                  </a:lnTo>
                  <a:lnTo>
                    <a:pt x="1997" y="189"/>
                  </a:lnTo>
                  <a:lnTo>
                    <a:pt x="2000" y="188"/>
                  </a:lnTo>
                  <a:lnTo>
                    <a:pt x="2003" y="191"/>
                  </a:lnTo>
                  <a:lnTo>
                    <a:pt x="2006" y="189"/>
                  </a:lnTo>
                  <a:lnTo>
                    <a:pt x="2008" y="191"/>
                  </a:lnTo>
                  <a:lnTo>
                    <a:pt x="2011" y="191"/>
                  </a:lnTo>
                  <a:lnTo>
                    <a:pt x="2017" y="191"/>
                  </a:lnTo>
                  <a:lnTo>
                    <a:pt x="2021" y="191"/>
                  </a:lnTo>
                  <a:lnTo>
                    <a:pt x="2028" y="191"/>
                  </a:lnTo>
                  <a:lnTo>
                    <a:pt x="2029" y="195"/>
                  </a:lnTo>
                  <a:lnTo>
                    <a:pt x="2031" y="195"/>
                  </a:lnTo>
                  <a:lnTo>
                    <a:pt x="2033" y="191"/>
                  </a:lnTo>
                  <a:lnTo>
                    <a:pt x="2039" y="198"/>
                  </a:lnTo>
                  <a:lnTo>
                    <a:pt x="2042" y="195"/>
                  </a:lnTo>
                  <a:lnTo>
                    <a:pt x="2042" y="194"/>
                  </a:lnTo>
                  <a:lnTo>
                    <a:pt x="2043" y="195"/>
                  </a:lnTo>
                  <a:lnTo>
                    <a:pt x="2048" y="198"/>
                  </a:lnTo>
                  <a:lnTo>
                    <a:pt x="2064" y="194"/>
                  </a:lnTo>
                  <a:lnTo>
                    <a:pt x="2067" y="191"/>
                  </a:lnTo>
                  <a:lnTo>
                    <a:pt x="2069" y="191"/>
                  </a:lnTo>
                  <a:lnTo>
                    <a:pt x="2075" y="187"/>
                  </a:lnTo>
                  <a:lnTo>
                    <a:pt x="2082" y="178"/>
                  </a:lnTo>
                  <a:lnTo>
                    <a:pt x="2086" y="178"/>
                  </a:lnTo>
                  <a:lnTo>
                    <a:pt x="2101" y="169"/>
                  </a:lnTo>
                  <a:lnTo>
                    <a:pt x="2112" y="173"/>
                  </a:lnTo>
                  <a:lnTo>
                    <a:pt x="2114" y="173"/>
                  </a:lnTo>
                  <a:lnTo>
                    <a:pt x="2125" y="173"/>
                  </a:lnTo>
                  <a:lnTo>
                    <a:pt x="2129" y="173"/>
                  </a:lnTo>
                  <a:lnTo>
                    <a:pt x="2136" y="173"/>
                  </a:lnTo>
                  <a:lnTo>
                    <a:pt x="2137" y="169"/>
                  </a:lnTo>
                  <a:lnTo>
                    <a:pt x="2142" y="169"/>
                  </a:lnTo>
                  <a:lnTo>
                    <a:pt x="2145" y="169"/>
                  </a:lnTo>
                  <a:lnTo>
                    <a:pt x="2150" y="167"/>
                  </a:lnTo>
                  <a:lnTo>
                    <a:pt x="2154" y="166"/>
                  </a:lnTo>
                  <a:lnTo>
                    <a:pt x="2157" y="163"/>
                  </a:lnTo>
                  <a:lnTo>
                    <a:pt x="2160" y="164"/>
                  </a:lnTo>
                  <a:lnTo>
                    <a:pt x="2165" y="164"/>
                  </a:lnTo>
                  <a:lnTo>
                    <a:pt x="2167" y="169"/>
                  </a:lnTo>
                  <a:lnTo>
                    <a:pt x="2174" y="173"/>
                  </a:lnTo>
                  <a:lnTo>
                    <a:pt x="2175" y="178"/>
                  </a:lnTo>
                  <a:lnTo>
                    <a:pt x="2181" y="176"/>
                  </a:lnTo>
                  <a:lnTo>
                    <a:pt x="2182" y="179"/>
                  </a:lnTo>
                  <a:lnTo>
                    <a:pt x="2186" y="184"/>
                  </a:lnTo>
                  <a:lnTo>
                    <a:pt x="2191" y="184"/>
                  </a:lnTo>
                  <a:lnTo>
                    <a:pt x="2196" y="191"/>
                  </a:lnTo>
                  <a:lnTo>
                    <a:pt x="2200" y="191"/>
                  </a:lnTo>
                  <a:lnTo>
                    <a:pt x="2203" y="187"/>
                  </a:lnTo>
                  <a:lnTo>
                    <a:pt x="2208" y="184"/>
                  </a:lnTo>
                  <a:lnTo>
                    <a:pt x="2213" y="181"/>
                  </a:lnTo>
                  <a:lnTo>
                    <a:pt x="2217" y="186"/>
                  </a:lnTo>
                  <a:lnTo>
                    <a:pt x="2220" y="184"/>
                  </a:lnTo>
                  <a:lnTo>
                    <a:pt x="2232" y="184"/>
                  </a:lnTo>
                  <a:lnTo>
                    <a:pt x="2243" y="187"/>
                  </a:lnTo>
                  <a:lnTo>
                    <a:pt x="2250" y="188"/>
                  </a:lnTo>
                  <a:lnTo>
                    <a:pt x="2261" y="195"/>
                  </a:lnTo>
                  <a:lnTo>
                    <a:pt x="2263" y="194"/>
                  </a:lnTo>
                  <a:lnTo>
                    <a:pt x="2271" y="195"/>
                  </a:lnTo>
                  <a:lnTo>
                    <a:pt x="2274" y="198"/>
                  </a:lnTo>
                  <a:lnTo>
                    <a:pt x="2272" y="199"/>
                  </a:lnTo>
                  <a:lnTo>
                    <a:pt x="2274" y="200"/>
                  </a:lnTo>
                  <a:lnTo>
                    <a:pt x="2286" y="208"/>
                  </a:lnTo>
                  <a:lnTo>
                    <a:pt x="2297" y="208"/>
                  </a:lnTo>
                  <a:lnTo>
                    <a:pt x="2299" y="211"/>
                  </a:lnTo>
                  <a:lnTo>
                    <a:pt x="2296" y="215"/>
                  </a:lnTo>
                  <a:lnTo>
                    <a:pt x="2299" y="225"/>
                  </a:lnTo>
                  <a:lnTo>
                    <a:pt x="2295" y="226"/>
                  </a:lnTo>
                  <a:lnTo>
                    <a:pt x="2299" y="240"/>
                  </a:lnTo>
                  <a:lnTo>
                    <a:pt x="2303" y="244"/>
                  </a:lnTo>
                  <a:lnTo>
                    <a:pt x="2310" y="246"/>
                  </a:lnTo>
                  <a:lnTo>
                    <a:pt x="2318" y="256"/>
                  </a:lnTo>
                  <a:lnTo>
                    <a:pt x="2327" y="260"/>
                  </a:lnTo>
                  <a:lnTo>
                    <a:pt x="2328" y="258"/>
                  </a:lnTo>
                  <a:lnTo>
                    <a:pt x="2328" y="251"/>
                  </a:lnTo>
                  <a:lnTo>
                    <a:pt x="2331" y="249"/>
                  </a:lnTo>
                  <a:lnTo>
                    <a:pt x="2335" y="249"/>
                  </a:lnTo>
                  <a:lnTo>
                    <a:pt x="2336" y="253"/>
                  </a:lnTo>
                  <a:lnTo>
                    <a:pt x="2335" y="258"/>
                  </a:lnTo>
                  <a:lnTo>
                    <a:pt x="2341" y="262"/>
                  </a:lnTo>
                  <a:lnTo>
                    <a:pt x="2345" y="262"/>
                  </a:lnTo>
                  <a:lnTo>
                    <a:pt x="2350" y="266"/>
                  </a:lnTo>
                  <a:lnTo>
                    <a:pt x="2355" y="266"/>
                  </a:lnTo>
                  <a:lnTo>
                    <a:pt x="2360" y="260"/>
                  </a:lnTo>
                  <a:lnTo>
                    <a:pt x="2364" y="262"/>
                  </a:lnTo>
                  <a:lnTo>
                    <a:pt x="2371" y="258"/>
                  </a:lnTo>
                  <a:lnTo>
                    <a:pt x="2371" y="260"/>
                  </a:lnTo>
                  <a:lnTo>
                    <a:pt x="2377" y="262"/>
                  </a:lnTo>
                  <a:lnTo>
                    <a:pt x="2377" y="266"/>
                  </a:lnTo>
                  <a:lnTo>
                    <a:pt x="2372" y="269"/>
                  </a:lnTo>
                  <a:lnTo>
                    <a:pt x="2372" y="270"/>
                  </a:lnTo>
                  <a:lnTo>
                    <a:pt x="2380" y="273"/>
                  </a:lnTo>
                  <a:lnTo>
                    <a:pt x="2383" y="279"/>
                  </a:lnTo>
                  <a:lnTo>
                    <a:pt x="2388" y="279"/>
                  </a:lnTo>
                  <a:lnTo>
                    <a:pt x="2399" y="275"/>
                  </a:lnTo>
                  <a:lnTo>
                    <a:pt x="2407" y="274"/>
                  </a:lnTo>
                  <a:lnTo>
                    <a:pt x="2409" y="275"/>
                  </a:lnTo>
                  <a:lnTo>
                    <a:pt x="2405" y="287"/>
                  </a:lnTo>
                  <a:lnTo>
                    <a:pt x="2399" y="293"/>
                  </a:lnTo>
                  <a:lnTo>
                    <a:pt x="2399" y="300"/>
                  </a:lnTo>
                  <a:lnTo>
                    <a:pt x="2399" y="307"/>
                  </a:lnTo>
                  <a:lnTo>
                    <a:pt x="2403" y="308"/>
                  </a:lnTo>
                  <a:lnTo>
                    <a:pt x="2407" y="307"/>
                  </a:lnTo>
                  <a:lnTo>
                    <a:pt x="2417" y="315"/>
                  </a:lnTo>
                  <a:lnTo>
                    <a:pt x="2421" y="316"/>
                  </a:lnTo>
                  <a:lnTo>
                    <a:pt x="2425" y="315"/>
                  </a:lnTo>
                  <a:lnTo>
                    <a:pt x="2431" y="320"/>
                  </a:lnTo>
                  <a:lnTo>
                    <a:pt x="2431" y="323"/>
                  </a:lnTo>
                  <a:lnTo>
                    <a:pt x="2428" y="324"/>
                  </a:lnTo>
                  <a:lnTo>
                    <a:pt x="2428" y="330"/>
                  </a:lnTo>
                  <a:lnTo>
                    <a:pt x="2435" y="337"/>
                  </a:lnTo>
                  <a:lnTo>
                    <a:pt x="2437" y="344"/>
                  </a:lnTo>
                  <a:lnTo>
                    <a:pt x="2441" y="347"/>
                  </a:lnTo>
                  <a:lnTo>
                    <a:pt x="2449" y="355"/>
                  </a:lnTo>
                  <a:lnTo>
                    <a:pt x="2459" y="356"/>
                  </a:lnTo>
                  <a:lnTo>
                    <a:pt x="2462" y="360"/>
                  </a:lnTo>
                  <a:lnTo>
                    <a:pt x="2470" y="363"/>
                  </a:lnTo>
                  <a:lnTo>
                    <a:pt x="2476" y="365"/>
                  </a:lnTo>
                  <a:lnTo>
                    <a:pt x="2488" y="360"/>
                  </a:lnTo>
                  <a:lnTo>
                    <a:pt x="2496" y="352"/>
                  </a:lnTo>
                  <a:lnTo>
                    <a:pt x="2501" y="353"/>
                  </a:lnTo>
                  <a:lnTo>
                    <a:pt x="2506" y="362"/>
                  </a:lnTo>
                  <a:lnTo>
                    <a:pt x="2521" y="368"/>
                  </a:lnTo>
                  <a:lnTo>
                    <a:pt x="2535" y="365"/>
                  </a:lnTo>
                  <a:lnTo>
                    <a:pt x="2548" y="360"/>
                  </a:lnTo>
                  <a:lnTo>
                    <a:pt x="2553" y="362"/>
                  </a:lnTo>
                  <a:lnTo>
                    <a:pt x="2553" y="369"/>
                  </a:lnTo>
                  <a:lnTo>
                    <a:pt x="2556" y="372"/>
                  </a:lnTo>
                  <a:lnTo>
                    <a:pt x="2571" y="373"/>
                  </a:lnTo>
                  <a:lnTo>
                    <a:pt x="2587" y="372"/>
                  </a:lnTo>
                  <a:lnTo>
                    <a:pt x="2591" y="375"/>
                  </a:lnTo>
                  <a:lnTo>
                    <a:pt x="2591" y="381"/>
                  </a:lnTo>
                  <a:lnTo>
                    <a:pt x="2593" y="382"/>
                  </a:lnTo>
                  <a:lnTo>
                    <a:pt x="2599" y="387"/>
                  </a:lnTo>
                  <a:lnTo>
                    <a:pt x="2603" y="395"/>
                  </a:lnTo>
                  <a:lnTo>
                    <a:pt x="2607" y="395"/>
                  </a:lnTo>
                  <a:lnTo>
                    <a:pt x="2615" y="405"/>
                  </a:lnTo>
                  <a:lnTo>
                    <a:pt x="2616" y="407"/>
                  </a:lnTo>
                  <a:lnTo>
                    <a:pt x="2620" y="407"/>
                  </a:lnTo>
                  <a:lnTo>
                    <a:pt x="2626" y="408"/>
                  </a:lnTo>
                  <a:lnTo>
                    <a:pt x="2634" y="405"/>
                  </a:lnTo>
                  <a:lnTo>
                    <a:pt x="2637" y="407"/>
                  </a:lnTo>
                  <a:lnTo>
                    <a:pt x="2638" y="408"/>
                  </a:lnTo>
                  <a:lnTo>
                    <a:pt x="2640" y="412"/>
                  </a:lnTo>
                  <a:lnTo>
                    <a:pt x="2642" y="414"/>
                  </a:lnTo>
                  <a:lnTo>
                    <a:pt x="2644" y="416"/>
                  </a:lnTo>
                  <a:lnTo>
                    <a:pt x="2644" y="423"/>
                  </a:lnTo>
                  <a:lnTo>
                    <a:pt x="2648" y="427"/>
                  </a:lnTo>
                  <a:lnTo>
                    <a:pt x="2648" y="437"/>
                  </a:lnTo>
                  <a:lnTo>
                    <a:pt x="2651" y="440"/>
                  </a:lnTo>
                  <a:lnTo>
                    <a:pt x="2657" y="447"/>
                  </a:lnTo>
                  <a:lnTo>
                    <a:pt x="2669" y="448"/>
                  </a:lnTo>
                  <a:lnTo>
                    <a:pt x="2671" y="449"/>
                  </a:lnTo>
                  <a:lnTo>
                    <a:pt x="2673" y="456"/>
                  </a:lnTo>
                  <a:lnTo>
                    <a:pt x="2677" y="459"/>
                  </a:lnTo>
                  <a:lnTo>
                    <a:pt x="2684" y="459"/>
                  </a:lnTo>
                  <a:lnTo>
                    <a:pt x="2690" y="457"/>
                  </a:lnTo>
                  <a:lnTo>
                    <a:pt x="2695" y="457"/>
                  </a:lnTo>
                  <a:lnTo>
                    <a:pt x="2708" y="466"/>
                  </a:lnTo>
                  <a:lnTo>
                    <a:pt x="2715" y="474"/>
                  </a:lnTo>
                  <a:lnTo>
                    <a:pt x="2716" y="474"/>
                  </a:lnTo>
                  <a:lnTo>
                    <a:pt x="2717" y="476"/>
                  </a:lnTo>
                  <a:lnTo>
                    <a:pt x="2723" y="484"/>
                  </a:lnTo>
                  <a:lnTo>
                    <a:pt x="2724" y="494"/>
                  </a:lnTo>
                  <a:lnTo>
                    <a:pt x="2730" y="498"/>
                  </a:lnTo>
                  <a:lnTo>
                    <a:pt x="2740" y="511"/>
                  </a:lnTo>
                  <a:lnTo>
                    <a:pt x="2744" y="516"/>
                  </a:lnTo>
                  <a:lnTo>
                    <a:pt x="2750" y="523"/>
                  </a:lnTo>
                  <a:lnTo>
                    <a:pt x="2752" y="524"/>
                  </a:lnTo>
                  <a:lnTo>
                    <a:pt x="2756" y="524"/>
                  </a:lnTo>
                  <a:lnTo>
                    <a:pt x="2762" y="528"/>
                  </a:lnTo>
                  <a:lnTo>
                    <a:pt x="2765" y="531"/>
                  </a:lnTo>
                  <a:lnTo>
                    <a:pt x="2765" y="534"/>
                  </a:lnTo>
                  <a:lnTo>
                    <a:pt x="2769" y="534"/>
                  </a:lnTo>
                  <a:lnTo>
                    <a:pt x="2770" y="537"/>
                  </a:lnTo>
                  <a:lnTo>
                    <a:pt x="2773" y="541"/>
                  </a:lnTo>
                  <a:lnTo>
                    <a:pt x="2776" y="543"/>
                  </a:lnTo>
                  <a:lnTo>
                    <a:pt x="2780" y="543"/>
                  </a:lnTo>
                  <a:lnTo>
                    <a:pt x="2791" y="540"/>
                  </a:lnTo>
                  <a:lnTo>
                    <a:pt x="2794" y="544"/>
                  </a:lnTo>
                  <a:lnTo>
                    <a:pt x="2804" y="547"/>
                  </a:lnTo>
                  <a:lnTo>
                    <a:pt x="2815" y="547"/>
                  </a:lnTo>
                  <a:lnTo>
                    <a:pt x="2827" y="546"/>
                  </a:lnTo>
                  <a:lnTo>
                    <a:pt x="2833" y="543"/>
                  </a:lnTo>
                  <a:lnTo>
                    <a:pt x="2844" y="544"/>
                  </a:lnTo>
                  <a:lnTo>
                    <a:pt x="2848" y="553"/>
                  </a:lnTo>
                  <a:lnTo>
                    <a:pt x="2851" y="556"/>
                  </a:lnTo>
                  <a:lnTo>
                    <a:pt x="2854" y="565"/>
                  </a:lnTo>
                  <a:lnTo>
                    <a:pt x="2852" y="568"/>
                  </a:lnTo>
                  <a:lnTo>
                    <a:pt x="2855" y="573"/>
                  </a:lnTo>
                  <a:lnTo>
                    <a:pt x="2855" y="581"/>
                  </a:lnTo>
                  <a:lnTo>
                    <a:pt x="2861" y="591"/>
                  </a:lnTo>
                  <a:lnTo>
                    <a:pt x="2867" y="591"/>
                  </a:lnTo>
                  <a:lnTo>
                    <a:pt x="2876" y="598"/>
                  </a:lnTo>
                  <a:lnTo>
                    <a:pt x="2879" y="603"/>
                  </a:lnTo>
                  <a:lnTo>
                    <a:pt x="2886" y="603"/>
                  </a:lnTo>
                  <a:lnTo>
                    <a:pt x="2889" y="610"/>
                  </a:lnTo>
                  <a:lnTo>
                    <a:pt x="2889" y="616"/>
                  </a:lnTo>
                  <a:lnTo>
                    <a:pt x="2894" y="618"/>
                  </a:lnTo>
                  <a:lnTo>
                    <a:pt x="2898" y="621"/>
                  </a:lnTo>
                  <a:lnTo>
                    <a:pt x="2904" y="621"/>
                  </a:lnTo>
                  <a:lnTo>
                    <a:pt x="2912" y="622"/>
                  </a:lnTo>
                  <a:lnTo>
                    <a:pt x="2920" y="614"/>
                  </a:lnTo>
                  <a:lnTo>
                    <a:pt x="2925" y="614"/>
                  </a:lnTo>
                  <a:lnTo>
                    <a:pt x="2926" y="616"/>
                  </a:lnTo>
                  <a:lnTo>
                    <a:pt x="2926" y="622"/>
                  </a:lnTo>
                  <a:lnTo>
                    <a:pt x="2930" y="627"/>
                  </a:lnTo>
                  <a:lnTo>
                    <a:pt x="2930" y="631"/>
                  </a:lnTo>
                  <a:lnTo>
                    <a:pt x="2936" y="636"/>
                  </a:lnTo>
                  <a:lnTo>
                    <a:pt x="2942" y="640"/>
                  </a:lnTo>
                  <a:lnTo>
                    <a:pt x="2941" y="659"/>
                  </a:lnTo>
                  <a:lnTo>
                    <a:pt x="2947" y="671"/>
                  </a:lnTo>
                  <a:lnTo>
                    <a:pt x="2955" y="675"/>
                  </a:lnTo>
                  <a:lnTo>
                    <a:pt x="2955" y="676"/>
                  </a:lnTo>
                  <a:lnTo>
                    <a:pt x="2952" y="683"/>
                  </a:lnTo>
                  <a:lnTo>
                    <a:pt x="2954" y="685"/>
                  </a:lnTo>
                  <a:lnTo>
                    <a:pt x="2954" y="689"/>
                  </a:lnTo>
                  <a:lnTo>
                    <a:pt x="2955" y="709"/>
                  </a:lnTo>
                  <a:lnTo>
                    <a:pt x="2958" y="711"/>
                  </a:lnTo>
                  <a:lnTo>
                    <a:pt x="2968" y="711"/>
                  </a:lnTo>
                  <a:lnTo>
                    <a:pt x="2975" y="714"/>
                  </a:lnTo>
                  <a:lnTo>
                    <a:pt x="2977" y="717"/>
                  </a:lnTo>
                  <a:lnTo>
                    <a:pt x="2977" y="727"/>
                  </a:lnTo>
                  <a:lnTo>
                    <a:pt x="2975" y="731"/>
                  </a:lnTo>
                  <a:lnTo>
                    <a:pt x="2975" y="734"/>
                  </a:lnTo>
                  <a:lnTo>
                    <a:pt x="2972" y="739"/>
                  </a:lnTo>
                  <a:lnTo>
                    <a:pt x="2973" y="742"/>
                  </a:lnTo>
                  <a:lnTo>
                    <a:pt x="2975" y="742"/>
                  </a:lnTo>
                  <a:lnTo>
                    <a:pt x="2982" y="742"/>
                  </a:lnTo>
                  <a:lnTo>
                    <a:pt x="2987" y="746"/>
                  </a:lnTo>
                  <a:lnTo>
                    <a:pt x="2991" y="752"/>
                  </a:lnTo>
                  <a:lnTo>
                    <a:pt x="2997" y="756"/>
                  </a:lnTo>
                  <a:lnTo>
                    <a:pt x="2997" y="760"/>
                  </a:lnTo>
                  <a:lnTo>
                    <a:pt x="2996" y="764"/>
                  </a:lnTo>
                  <a:lnTo>
                    <a:pt x="2997" y="770"/>
                  </a:lnTo>
                  <a:lnTo>
                    <a:pt x="2996" y="776"/>
                  </a:lnTo>
                  <a:lnTo>
                    <a:pt x="2998" y="779"/>
                  </a:lnTo>
                  <a:lnTo>
                    <a:pt x="2997" y="783"/>
                  </a:lnTo>
                  <a:lnTo>
                    <a:pt x="2994" y="783"/>
                  </a:lnTo>
                  <a:lnTo>
                    <a:pt x="2993" y="785"/>
                  </a:lnTo>
                  <a:lnTo>
                    <a:pt x="2996" y="792"/>
                  </a:lnTo>
                  <a:lnTo>
                    <a:pt x="2994" y="797"/>
                  </a:lnTo>
                  <a:lnTo>
                    <a:pt x="2994" y="804"/>
                  </a:lnTo>
                  <a:lnTo>
                    <a:pt x="3014" y="810"/>
                  </a:lnTo>
                  <a:lnTo>
                    <a:pt x="3015" y="814"/>
                  </a:lnTo>
                  <a:lnTo>
                    <a:pt x="3016" y="820"/>
                  </a:lnTo>
                  <a:lnTo>
                    <a:pt x="3014" y="827"/>
                  </a:lnTo>
                  <a:lnTo>
                    <a:pt x="3021" y="830"/>
                  </a:lnTo>
                  <a:lnTo>
                    <a:pt x="3022" y="833"/>
                  </a:lnTo>
                  <a:lnTo>
                    <a:pt x="3030" y="834"/>
                  </a:lnTo>
                  <a:lnTo>
                    <a:pt x="3032" y="842"/>
                  </a:lnTo>
                  <a:lnTo>
                    <a:pt x="3032" y="845"/>
                  </a:lnTo>
                  <a:lnTo>
                    <a:pt x="3026" y="859"/>
                  </a:lnTo>
                  <a:lnTo>
                    <a:pt x="3026" y="860"/>
                  </a:lnTo>
                  <a:lnTo>
                    <a:pt x="3029" y="864"/>
                  </a:lnTo>
                  <a:lnTo>
                    <a:pt x="3033" y="868"/>
                  </a:lnTo>
                  <a:lnTo>
                    <a:pt x="3036" y="875"/>
                  </a:lnTo>
                  <a:lnTo>
                    <a:pt x="3039" y="876"/>
                  </a:lnTo>
                  <a:lnTo>
                    <a:pt x="3040" y="891"/>
                  </a:lnTo>
                  <a:lnTo>
                    <a:pt x="3043" y="895"/>
                  </a:lnTo>
                  <a:lnTo>
                    <a:pt x="3044" y="897"/>
                  </a:lnTo>
                  <a:lnTo>
                    <a:pt x="3050" y="897"/>
                  </a:lnTo>
                  <a:lnTo>
                    <a:pt x="3051" y="899"/>
                  </a:lnTo>
                  <a:lnTo>
                    <a:pt x="3050" y="902"/>
                  </a:lnTo>
                  <a:lnTo>
                    <a:pt x="3043" y="904"/>
                  </a:lnTo>
                  <a:lnTo>
                    <a:pt x="3036" y="913"/>
                  </a:lnTo>
                  <a:lnTo>
                    <a:pt x="3032" y="917"/>
                  </a:lnTo>
                  <a:lnTo>
                    <a:pt x="3030" y="920"/>
                  </a:lnTo>
                  <a:lnTo>
                    <a:pt x="3032" y="925"/>
                  </a:lnTo>
                  <a:lnTo>
                    <a:pt x="3039" y="934"/>
                  </a:lnTo>
                  <a:lnTo>
                    <a:pt x="3037" y="936"/>
                  </a:lnTo>
                  <a:lnTo>
                    <a:pt x="3033" y="938"/>
                  </a:lnTo>
                  <a:lnTo>
                    <a:pt x="3030" y="939"/>
                  </a:lnTo>
                  <a:lnTo>
                    <a:pt x="3030" y="950"/>
                  </a:lnTo>
                  <a:lnTo>
                    <a:pt x="3033" y="957"/>
                  </a:lnTo>
                  <a:lnTo>
                    <a:pt x="3033" y="970"/>
                  </a:lnTo>
                  <a:lnTo>
                    <a:pt x="3041" y="980"/>
                  </a:lnTo>
                  <a:lnTo>
                    <a:pt x="3044" y="988"/>
                  </a:lnTo>
                  <a:lnTo>
                    <a:pt x="3044" y="992"/>
                  </a:lnTo>
                  <a:lnTo>
                    <a:pt x="3046" y="999"/>
                  </a:lnTo>
                  <a:lnTo>
                    <a:pt x="3052" y="1003"/>
                  </a:lnTo>
                  <a:lnTo>
                    <a:pt x="3052" y="1013"/>
                  </a:lnTo>
                  <a:lnTo>
                    <a:pt x="3065" y="1024"/>
                  </a:lnTo>
                  <a:lnTo>
                    <a:pt x="3076" y="1025"/>
                  </a:lnTo>
                  <a:lnTo>
                    <a:pt x="3082" y="1024"/>
                  </a:lnTo>
                  <a:lnTo>
                    <a:pt x="3083" y="1025"/>
                  </a:lnTo>
                  <a:lnTo>
                    <a:pt x="3091" y="1041"/>
                  </a:lnTo>
                  <a:lnTo>
                    <a:pt x="3091" y="1048"/>
                  </a:lnTo>
                  <a:lnTo>
                    <a:pt x="3090" y="1055"/>
                  </a:lnTo>
                  <a:lnTo>
                    <a:pt x="3101" y="1069"/>
                  </a:lnTo>
                  <a:lnTo>
                    <a:pt x="3102" y="1070"/>
                  </a:lnTo>
                  <a:lnTo>
                    <a:pt x="3104" y="1073"/>
                  </a:lnTo>
                  <a:lnTo>
                    <a:pt x="3099" y="1078"/>
                  </a:lnTo>
                  <a:lnTo>
                    <a:pt x="3100" y="1086"/>
                  </a:lnTo>
                  <a:lnTo>
                    <a:pt x="3100" y="1092"/>
                  </a:lnTo>
                  <a:lnTo>
                    <a:pt x="3105" y="1100"/>
                  </a:lnTo>
                  <a:lnTo>
                    <a:pt x="3105" y="1104"/>
                  </a:lnTo>
                  <a:lnTo>
                    <a:pt x="3110" y="1107"/>
                  </a:lnTo>
                  <a:lnTo>
                    <a:pt x="3111" y="1111"/>
                  </a:lnTo>
                  <a:lnTo>
                    <a:pt x="3111" y="1115"/>
                  </a:lnTo>
                  <a:lnTo>
                    <a:pt x="3108" y="1119"/>
                  </a:lnTo>
                  <a:lnTo>
                    <a:pt x="3108" y="1121"/>
                  </a:lnTo>
                  <a:lnTo>
                    <a:pt x="3119" y="1130"/>
                  </a:lnTo>
                  <a:lnTo>
                    <a:pt x="3121" y="1140"/>
                  </a:lnTo>
                  <a:lnTo>
                    <a:pt x="3129" y="1144"/>
                  </a:lnTo>
                  <a:lnTo>
                    <a:pt x="3130" y="1145"/>
                  </a:lnTo>
                  <a:lnTo>
                    <a:pt x="3132" y="1163"/>
                  </a:lnTo>
                  <a:lnTo>
                    <a:pt x="3129" y="1170"/>
                  </a:lnTo>
                  <a:lnTo>
                    <a:pt x="3130" y="1175"/>
                  </a:lnTo>
                  <a:lnTo>
                    <a:pt x="3126" y="1182"/>
                  </a:lnTo>
                  <a:lnTo>
                    <a:pt x="3118" y="1185"/>
                  </a:lnTo>
                  <a:lnTo>
                    <a:pt x="3118" y="1186"/>
                  </a:lnTo>
                  <a:lnTo>
                    <a:pt x="3114" y="1190"/>
                  </a:lnTo>
                  <a:lnTo>
                    <a:pt x="3115" y="1202"/>
                  </a:lnTo>
                  <a:lnTo>
                    <a:pt x="3122" y="1205"/>
                  </a:lnTo>
                  <a:lnTo>
                    <a:pt x="3125" y="1212"/>
                  </a:lnTo>
                  <a:lnTo>
                    <a:pt x="3130" y="1219"/>
                  </a:lnTo>
                  <a:lnTo>
                    <a:pt x="3130" y="1227"/>
                  </a:lnTo>
                  <a:lnTo>
                    <a:pt x="3129" y="1228"/>
                  </a:lnTo>
                  <a:lnTo>
                    <a:pt x="3121" y="1228"/>
                  </a:lnTo>
                  <a:lnTo>
                    <a:pt x="3118" y="1228"/>
                  </a:lnTo>
                  <a:lnTo>
                    <a:pt x="3114" y="1228"/>
                  </a:lnTo>
                  <a:lnTo>
                    <a:pt x="3112" y="1230"/>
                  </a:lnTo>
                  <a:lnTo>
                    <a:pt x="3108" y="1228"/>
                  </a:lnTo>
                  <a:lnTo>
                    <a:pt x="3105" y="1233"/>
                  </a:lnTo>
                  <a:lnTo>
                    <a:pt x="3097" y="1239"/>
                  </a:lnTo>
                  <a:lnTo>
                    <a:pt x="3096" y="1245"/>
                  </a:lnTo>
                  <a:lnTo>
                    <a:pt x="3099" y="1250"/>
                  </a:lnTo>
                  <a:lnTo>
                    <a:pt x="3094" y="1261"/>
                  </a:lnTo>
                  <a:lnTo>
                    <a:pt x="3096" y="1265"/>
                  </a:lnTo>
                  <a:lnTo>
                    <a:pt x="3094" y="1269"/>
                  </a:lnTo>
                  <a:lnTo>
                    <a:pt x="3096" y="1277"/>
                  </a:lnTo>
                  <a:lnTo>
                    <a:pt x="3090" y="1286"/>
                  </a:lnTo>
                  <a:lnTo>
                    <a:pt x="3089" y="1291"/>
                  </a:lnTo>
                  <a:lnTo>
                    <a:pt x="3086" y="1295"/>
                  </a:lnTo>
                  <a:lnTo>
                    <a:pt x="3089" y="1304"/>
                  </a:lnTo>
                  <a:lnTo>
                    <a:pt x="3086" y="1310"/>
                  </a:lnTo>
                  <a:lnTo>
                    <a:pt x="3087" y="1312"/>
                  </a:lnTo>
                  <a:lnTo>
                    <a:pt x="3090" y="1314"/>
                  </a:lnTo>
                  <a:lnTo>
                    <a:pt x="3090" y="1320"/>
                  </a:lnTo>
                  <a:lnTo>
                    <a:pt x="3096" y="1322"/>
                  </a:lnTo>
                  <a:lnTo>
                    <a:pt x="3096" y="1326"/>
                  </a:lnTo>
                  <a:lnTo>
                    <a:pt x="3100" y="1328"/>
                  </a:lnTo>
                  <a:lnTo>
                    <a:pt x="3101" y="1328"/>
                  </a:lnTo>
                  <a:lnTo>
                    <a:pt x="3104" y="1331"/>
                  </a:lnTo>
                  <a:lnTo>
                    <a:pt x="3107" y="1328"/>
                  </a:lnTo>
                  <a:lnTo>
                    <a:pt x="3108" y="1332"/>
                  </a:lnTo>
                  <a:lnTo>
                    <a:pt x="3112" y="1332"/>
                  </a:lnTo>
                  <a:lnTo>
                    <a:pt x="3115" y="1331"/>
                  </a:lnTo>
                  <a:lnTo>
                    <a:pt x="3119" y="1335"/>
                  </a:lnTo>
                  <a:lnTo>
                    <a:pt x="3125" y="1336"/>
                  </a:lnTo>
                  <a:lnTo>
                    <a:pt x="3127" y="1336"/>
                  </a:lnTo>
                  <a:lnTo>
                    <a:pt x="3129" y="1339"/>
                  </a:lnTo>
                  <a:lnTo>
                    <a:pt x="3130" y="1343"/>
                  </a:lnTo>
                  <a:lnTo>
                    <a:pt x="3135" y="1344"/>
                  </a:lnTo>
                  <a:lnTo>
                    <a:pt x="3135" y="1351"/>
                  </a:lnTo>
                  <a:lnTo>
                    <a:pt x="3137" y="1361"/>
                  </a:lnTo>
                  <a:lnTo>
                    <a:pt x="3135" y="1369"/>
                  </a:lnTo>
                  <a:lnTo>
                    <a:pt x="3136" y="1373"/>
                  </a:lnTo>
                  <a:lnTo>
                    <a:pt x="3135" y="1379"/>
                  </a:lnTo>
                  <a:lnTo>
                    <a:pt x="3139" y="1381"/>
                  </a:lnTo>
                  <a:lnTo>
                    <a:pt x="3144" y="1389"/>
                  </a:lnTo>
                  <a:lnTo>
                    <a:pt x="3149" y="1389"/>
                  </a:lnTo>
                  <a:lnTo>
                    <a:pt x="3155" y="1396"/>
                  </a:lnTo>
                  <a:lnTo>
                    <a:pt x="3155" y="1397"/>
                  </a:lnTo>
                  <a:lnTo>
                    <a:pt x="3157" y="1399"/>
                  </a:lnTo>
                  <a:lnTo>
                    <a:pt x="3157" y="1403"/>
                  </a:lnTo>
                  <a:lnTo>
                    <a:pt x="3158" y="1407"/>
                  </a:lnTo>
                  <a:lnTo>
                    <a:pt x="3157" y="1414"/>
                  </a:lnTo>
                  <a:lnTo>
                    <a:pt x="3160" y="1419"/>
                  </a:lnTo>
                  <a:lnTo>
                    <a:pt x="3161" y="1424"/>
                  </a:lnTo>
                  <a:lnTo>
                    <a:pt x="3164" y="1426"/>
                  </a:lnTo>
                  <a:lnTo>
                    <a:pt x="3166" y="1432"/>
                  </a:lnTo>
                  <a:lnTo>
                    <a:pt x="3171" y="1432"/>
                  </a:lnTo>
                  <a:lnTo>
                    <a:pt x="3174" y="1436"/>
                  </a:lnTo>
                  <a:lnTo>
                    <a:pt x="3179" y="1434"/>
                  </a:lnTo>
                  <a:lnTo>
                    <a:pt x="3180" y="1440"/>
                  </a:lnTo>
                  <a:lnTo>
                    <a:pt x="3187" y="1441"/>
                  </a:lnTo>
                  <a:lnTo>
                    <a:pt x="3191" y="1452"/>
                  </a:lnTo>
                  <a:lnTo>
                    <a:pt x="3191" y="1459"/>
                  </a:lnTo>
                  <a:lnTo>
                    <a:pt x="3193" y="1464"/>
                  </a:lnTo>
                  <a:lnTo>
                    <a:pt x="3196" y="1466"/>
                  </a:lnTo>
                  <a:lnTo>
                    <a:pt x="3207" y="1475"/>
                  </a:lnTo>
                  <a:lnTo>
                    <a:pt x="3208" y="1477"/>
                  </a:lnTo>
                  <a:lnTo>
                    <a:pt x="3207" y="1483"/>
                  </a:lnTo>
                  <a:lnTo>
                    <a:pt x="3205" y="1486"/>
                  </a:lnTo>
                  <a:lnTo>
                    <a:pt x="3201" y="1489"/>
                  </a:lnTo>
                  <a:lnTo>
                    <a:pt x="3201" y="1493"/>
                  </a:lnTo>
                  <a:lnTo>
                    <a:pt x="3197" y="1493"/>
                  </a:lnTo>
                  <a:lnTo>
                    <a:pt x="3196" y="1501"/>
                  </a:lnTo>
                  <a:lnTo>
                    <a:pt x="3197" y="1505"/>
                  </a:lnTo>
                  <a:lnTo>
                    <a:pt x="3200" y="1508"/>
                  </a:lnTo>
                  <a:lnTo>
                    <a:pt x="3201" y="1513"/>
                  </a:lnTo>
                  <a:lnTo>
                    <a:pt x="3208" y="1522"/>
                  </a:lnTo>
                  <a:close/>
                  <a:moveTo>
                    <a:pt x="1444" y="2400"/>
                  </a:moveTo>
                  <a:lnTo>
                    <a:pt x="1447" y="2406"/>
                  </a:lnTo>
                  <a:lnTo>
                    <a:pt x="1438" y="2418"/>
                  </a:lnTo>
                  <a:lnTo>
                    <a:pt x="1437" y="2418"/>
                  </a:lnTo>
                  <a:lnTo>
                    <a:pt x="1435" y="2425"/>
                  </a:lnTo>
                  <a:lnTo>
                    <a:pt x="1428" y="2432"/>
                  </a:lnTo>
                  <a:lnTo>
                    <a:pt x="1424" y="2431"/>
                  </a:lnTo>
                  <a:lnTo>
                    <a:pt x="1422" y="2426"/>
                  </a:lnTo>
                  <a:lnTo>
                    <a:pt x="1417" y="2414"/>
                  </a:lnTo>
                  <a:lnTo>
                    <a:pt x="1417" y="2413"/>
                  </a:lnTo>
                  <a:lnTo>
                    <a:pt x="1417" y="2410"/>
                  </a:lnTo>
                  <a:lnTo>
                    <a:pt x="1417" y="2403"/>
                  </a:lnTo>
                  <a:lnTo>
                    <a:pt x="1414" y="2395"/>
                  </a:lnTo>
                  <a:lnTo>
                    <a:pt x="1416" y="2392"/>
                  </a:lnTo>
                  <a:lnTo>
                    <a:pt x="1430" y="2392"/>
                  </a:lnTo>
                  <a:lnTo>
                    <a:pt x="1437" y="2392"/>
                  </a:lnTo>
                  <a:lnTo>
                    <a:pt x="1444" y="2400"/>
                  </a:lnTo>
                  <a:close/>
                  <a:moveTo>
                    <a:pt x="1416" y="2339"/>
                  </a:moveTo>
                  <a:lnTo>
                    <a:pt x="1414" y="2351"/>
                  </a:lnTo>
                  <a:lnTo>
                    <a:pt x="1412" y="2355"/>
                  </a:lnTo>
                  <a:lnTo>
                    <a:pt x="1409" y="2355"/>
                  </a:lnTo>
                  <a:lnTo>
                    <a:pt x="1403" y="2343"/>
                  </a:lnTo>
                  <a:lnTo>
                    <a:pt x="1400" y="2332"/>
                  </a:lnTo>
                  <a:lnTo>
                    <a:pt x="1400" y="2325"/>
                  </a:lnTo>
                  <a:lnTo>
                    <a:pt x="1408" y="2325"/>
                  </a:lnTo>
                  <a:lnTo>
                    <a:pt x="1413" y="2328"/>
                  </a:lnTo>
                  <a:lnTo>
                    <a:pt x="1414" y="2331"/>
                  </a:lnTo>
                  <a:lnTo>
                    <a:pt x="1416" y="2339"/>
                  </a:lnTo>
                  <a:close/>
                  <a:moveTo>
                    <a:pt x="1348" y="2564"/>
                  </a:moveTo>
                  <a:lnTo>
                    <a:pt x="1348" y="2567"/>
                  </a:lnTo>
                  <a:lnTo>
                    <a:pt x="1345" y="2571"/>
                  </a:lnTo>
                  <a:lnTo>
                    <a:pt x="1325" y="2579"/>
                  </a:lnTo>
                  <a:lnTo>
                    <a:pt x="1323" y="2577"/>
                  </a:lnTo>
                  <a:lnTo>
                    <a:pt x="1323" y="2572"/>
                  </a:lnTo>
                  <a:lnTo>
                    <a:pt x="1335" y="2569"/>
                  </a:lnTo>
                  <a:lnTo>
                    <a:pt x="1346" y="2564"/>
                  </a:lnTo>
                  <a:lnTo>
                    <a:pt x="1348" y="2564"/>
                  </a:lnTo>
                  <a:close/>
                  <a:moveTo>
                    <a:pt x="1420" y="2381"/>
                  </a:moveTo>
                  <a:lnTo>
                    <a:pt x="1420" y="2382"/>
                  </a:lnTo>
                  <a:lnTo>
                    <a:pt x="1412" y="2377"/>
                  </a:lnTo>
                  <a:lnTo>
                    <a:pt x="1410" y="2368"/>
                  </a:lnTo>
                  <a:lnTo>
                    <a:pt x="1410" y="2364"/>
                  </a:lnTo>
                  <a:lnTo>
                    <a:pt x="1412" y="2360"/>
                  </a:lnTo>
                  <a:lnTo>
                    <a:pt x="1414" y="2358"/>
                  </a:lnTo>
                  <a:lnTo>
                    <a:pt x="1419" y="2368"/>
                  </a:lnTo>
                  <a:lnTo>
                    <a:pt x="1420" y="2381"/>
                  </a:lnTo>
                  <a:close/>
                  <a:moveTo>
                    <a:pt x="1388" y="2319"/>
                  </a:moveTo>
                  <a:lnTo>
                    <a:pt x="1381" y="2325"/>
                  </a:lnTo>
                  <a:lnTo>
                    <a:pt x="1370" y="2325"/>
                  </a:lnTo>
                  <a:lnTo>
                    <a:pt x="1375" y="2316"/>
                  </a:lnTo>
                  <a:lnTo>
                    <a:pt x="1377" y="2316"/>
                  </a:lnTo>
                  <a:lnTo>
                    <a:pt x="1380" y="2316"/>
                  </a:lnTo>
                  <a:lnTo>
                    <a:pt x="1388" y="2319"/>
                  </a:lnTo>
                  <a:close/>
                  <a:moveTo>
                    <a:pt x="2367" y="1778"/>
                  </a:moveTo>
                  <a:lnTo>
                    <a:pt x="2367" y="1780"/>
                  </a:lnTo>
                  <a:lnTo>
                    <a:pt x="2363" y="1781"/>
                  </a:lnTo>
                  <a:lnTo>
                    <a:pt x="2361" y="1781"/>
                  </a:lnTo>
                  <a:lnTo>
                    <a:pt x="2360" y="1778"/>
                  </a:lnTo>
                  <a:lnTo>
                    <a:pt x="2360" y="1776"/>
                  </a:lnTo>
                  <a:lnTo>
                    <a:pt x="2357" y="1769"/>
                  </a:lnTo>
                  <a:lnTo>
                    <a:pt x="2357" y="1767"/>
                  </a:lnTo>
                  <a:lnTo>
                    <a:pt x="2364" y="1771"/>
                  </a:lnTo>
                  <a:lnTo>
                    <a:pt x="2367" y="1778"/>
                  </a:lnTo>
                  <a:close/>
                  <a:moveTo>
                    <a:pt x="1330" y="2587"/>
                  </a:moveTo>
                  <a:lnTo>
                    <a:pt x="1331" y="2587"/>
                  </a:lnTo>
                  <a:lnTo>
                    <a:pt x="1324" y="2594"/>
                  </a:lnTo>
                  <a:lnTo>
                    <a:pt x="1317" y="2597"/>
                  </a:lnTo>
                  <a:lnTo>
                    <a:pt x="1313" y="2597"/>
                  </a:lnTo>
                  <a:lnTo>
                    <a:pt x="1317" y="2593"/>
                  </a:lnTo>
                  <a:lnTo>
                    <a:pt x="1330" y="2587"/>
                  </a:lnTo>
                  <a:close/>
                  <a:moveTo>
                    <a:pt x="961" y="3058"/>
                  </a:moveTo>
                  <a:lnTo>
                    <a:pt x="963" y="3058"/>
                  </a:lnTo>
                  <a:lnTo>
                    <a:pt x="949" y="3058"/>
                  </a:lnTo>
                  <a:lnTo>
                    <a:pt x="938" y="3053"/>
                  </a:lnTo>
                  <a:lnTo>
                    <a:pt x="936" y="3051"/>
                  </a:lnTo>
                  <a:lnTo>
                    <a:pt x="942" y="3053"/>
                  </a:lnTo>
                  <a:lnTo>
                    <a:pt x="947" y="3057"/>
                  </a:lnTo>
                  <a:lnTo>
                    <a:pt x="961" y="3058"/>
                  </a:lnTo>
                  <a:close/>
                  <a:moveTo>
                    <a:pt x="1847" y="2102"/>
                  </a:moveTo>
                  <a:lnTo>
                    <a:pt x="1848" y="2102"/>
                  </a:lnTo>
                  <a:lnTo>
                    <a:pt x="1840" y="2103"/>
                  </a:lnTo>
                  <a:lnTo>
                    <a:pt x="1836" y="2102"/>
                  </a:lnTo>
                  <a:lnTo>
                    <a:pt x="1843" y="2100"/>
                  </a:lnTo>
                  <a:lnTo>
                    <a:pt x="1846" y="2100"/>
                  </a:lnTo>
                  <a:lnTo>
                    <a:pt x="1847" y="2102"/>
                  </a:lnTo>
                  <a:close/>
                  <a:moveTo>
                    <a:pt x="1424" y="2388"/>
                  </a:moveTo>
                  <a:lnTo>
                    <a:pt x="1423" y="2388"/>
                  </a:lnTo>
                  <a:lnTo>
                    <a:pt x="1419" y="2388"/>
                  </a:lnTo>
                  <a:lnTo>
                    <a:pt x="1417" y="2388"/>
                  </a:lnTo>
                  <a:lnTo>
                    <a:pt x="1414" y="2385"/>
                  </a:lnTo>
                  <a:lnTo>
                    <a:pt x="1417" y="2384"/>
                  </a:lnTo>
                  <a:lnTo>
                    <a:pt x="1424" y="2388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96" name="Freeform 195"/>
            <p:cNvSpPr>
              <a:spLocks noEditPoints="1"/>
            </p:cNvSpPr>
            <p:nvPr/>
          </p:nvSpPr>
          <p:spPr bwMode="auto">
            <a:xfrm>
              <a:off x="1080339" y="3847787"/>
              <a:ext cx="391552" cy="847416"/>
            </a:xfrm>
            <a:custGeom>
              <a:avLst/>
              <a:gdLst>
                <a:gd name="T0" fmla="*/ 1825 w 1964"/>
                <a:gd name="T1" fmla="*/ 2031 h 3140"/>
                <a:gd name="T2" fmla="*/ 1791 w 1964"/>
                <a:gd name="T3" fmla="*/ 2178 h 3140"/>
                <a:gd name="T4" fmla="*/ 1745 w 1964"/>
                <a:gd name="T5" fmla="*/ 2218 h 3140"/>
                <a:gd name="T6" fmla="*/ 1752 w 1964"/>
                <a:gd name="T7" fmla="*/ 2379 h 3140"/>
                <a:gd name="T8" fmla="*/ 1795 w 1964"/>
                <a:gd name="T9" fmla="*/ 2379 h 3140"/>
                <a:gd name="T10" fmla="*/ 1836 w 1964"/>
                <a:gd name="T11" fmla="*/ 2334 h 3140"/>
                <a:gd name="T12" fmla="*/ 1869 w 1964"/>
                <a:gd name="T13" fmla="*/ 2327 h 3140"/>
                <a:gd name="T14" fmla="*/ 1911 w 1964"/>
                <a:gd name="T15" fmla="*/ 2280 h 3140"/>
                <a:gd name="T16" fmla="*/ 1821 w 1964"/>
                <a:gd name="T17" fmla="*/ 2630 h 3140"/>
                <a:gd name="T18" fmla="*/ 1086 w 1964"/>
                <a:gd name="T19" fmla="*/ 3131 h 3140"/>
                <a:gd name="T20" fmla="*/ 921 w 1964"/>
                <a:gd name="T21" fmla="*/ 2834 h 3140"/>
                <a:gd name="T22" fmla="*/ 708 w 1964"/>
                <a:gd name="T23" fmla="*/ 2775 h 3140"/>
                <a:gd name="T24" fmla="*/ 619 w 1964"/>
                <a:gd name="T25" fmla="*/ 2444 h 3140"/>
                <a:gd name="T26" fmla="*/ 607 w 1964"/>
                <a:gd name="T27" fmla="*/ 2351 h 3140"/>
                <a:gd name="T28" fmla="*/ 619 w 1964"/>
                <a:gd name="T29" fmla="*/ 2289 h 3140"/>
                <a:gd name="T30" fmla="*/ 630 w 1964"/>
                <a:gd name="T31" fmla="*/ 2205 h 3140"/>
                <a:gd name="T32" fmla="*/ 608 w 1964"/>
                <a:gd name="T33" fmla="*/ 2149 h 3140"/>
                <a:gd name="T34" fmla="*/ 622 w 1964"/>
                <a:gd name="T35" fmla="*/ 2074 h 3140"/>
                <a:gd name="T36" fmla="*/ 586 w 1964"/>
                <a:gd name="T37" fmla="*/ 2026 h 3140"/>
                <a:gd name="T38" fmla="*/ 552 w 1964"/>
                <a:gd name="T39" fmla="*/ 1946 h 3140"/>
                <a:gd name="T40" fmla="*/ 574 w 1964"/>
                <a:gd name="T41" fmla="*/ 1900 h 3140"/>
                <a:gd name="T42" fmla="*/ 549 w 1964"/>
                <a:gd name="T43" fmla="*/ 1795 h 3140"/>
                <a:gd name="T44" fmla="*/ 474 w 1964"/>
                <a:gd name="T45" fmla="*/ 1712 h 3140"/>
                <a:gd name="T46" fmla="*/ 423 w 1964"/>
                <a:gd name="T47" fmla="*/ 1616 h 3140"/>
                <a:gd name="T48" fmla="*/ 274 w 1964"/>
                <a:gd name="T49" fmla="*/ 1478 h 3140"/>
                <a:gd name="T50" fmla="*/ 134 w 1964"/>
                <a:gd name="T51" fmla="*/ 1375 h 3140"/>
                <a:gd name="T52" fmla="*/ 93 w 1964"/>
                <a:gd name="T53" fmla="*/ 1269 h 3140"/>
                <a:gd name="T54" fmla="*/ 129 w 1964"/>
                <a:gd name="T55" fmla="*/ 1145 h 3140"/>
                <a:gd name="T56" fmla="*/ 170 w 1964"/>
                <a:gd name="T57" fmla="*/ 1055 h 3140"/>
                <a:gd name="T58" fmla="*/ 157 w 1964"/>
                <a:gd name="T59" fmla="*/ 921 h 3140"/>
                <a:gd name="T60" fmla="*/ 39 w 1964"/>
                <a:gd name="T61" fmla="*/ 507 h 3140"/>
                <a:gd name="T62" fmla="*/ 219 w 1964"/>
                <a:gd name="T63" fmla="*/ 397 h 3140"/>
                <a:gd name="T64" fmla="*/ 364 w 1964"/>
                <a:gd name="T65" fmla="*/ 348 h 3140"/>
                <a:gd name="T66" fmla="*/ 507 w 1964"/>
                <a:gd name="T67" fmla="*/ 344 h 3140"/>
                <a:gd name="T68" fmla="*/ 613 w 1964"/>
                <a:gd name="T69" fmla="*/ 335 h 3140"/>
                <a:gd name="T70" fmla="*/ 746 w 1964"/>
                <a:gd name="T71" fmla="*/ 272 h 3140"/>
                <a:gd name="T72" fmla="*/ 854 w 1964"/>
                <a:gd name="T73" fmla="*/ 250 h 3140"/>
                <a:gd name="T74" fmla="*/ 964 w 1964"/>
                <a:gd name="T75" fmla="*/ 263 h 3140"/>
                <a:gd name="T76" fmla="*/ 1066 w 1964"/>
                <a:gd name="T77" fmla="*/ 166 h 3140"/>
                <a:gd name="T78" fmla="*/ 1193 w 1964"/>
                <a:gd name="T79" fmla="*/ 115 h 3140"/>
                <a:gd name="T80" fmla="*/ 1331 w 1964"/>
                <a:gd name="T81" fmla="*/ 98 h 3140"/>
                <a:gd name="T82" fmla="*/ 1451 w 1964"/>
                <a:gd name="T83" fmla="*/ 28 h 3140"/>
                <a:gd name="T84" fmla="*/ 1558 w 1964"/>
                <a:gd name="T85" fmla="*/ 66 h 3140"/>
                <a:gd name="T86" fmla="*/ 1534 w 1964"/>
                <a:gd name="T87" fmla="*/ 101 h 3140"/>
                <a:gd name="T88" fmla="*/ 1494 w 1964"/>
                <a:gd name="T89" fmla="*/ 121 h 3140"/>
                <a:gd name="T90" fmla="*/ 1531 w 1964"/>
                <a:gd name="T91" fmla="*/ 144 h 3140"/>
                <a:gd name="T92" fmla="*/ 1547 w 1964"/>
                <a:gd name="T93" fmla="*/ 202 h 3140"/>
                <a:gd name="T94" fmla="*/ 1527 w 1964"/>
                <a:gd name="T95" fmla="*/ 227 h 3140"/>
                <a:gd name="T96" fmla="*/ 1541 w 1964"/>
                <a:gd name="T97" fmla="*/ 290 h 3140"/>
                <a:gd name="T98" fmla="*/ 1701 w 1964"/>
                <a:gd name="T99" fmla="*/ 551 h 3140"/>
                <a:gd name="T100" fmla="*/ 1736 w 1964"/>
                <a:gd name="T101" fmla="*/ 767 h 3140"/>
                <a:gd name="T102" fmla="*/ 1750 w 1964"/>
                <a:gd name="T103" fmla="*/ 993 h 3140"/>
                <a:gd name="T104" fmla="*/ 1767 w 1964"/>
                <a:gd name="T105" fmla="*/ 1005 h 3140"/>
                <a:gd name="T106" fmla="*/ 1814 w 1964"/>
                <a:gd name="T107" fmla="*/ 979 h 3140"/>
                <a:gd name="T108" fmla="*/ 1904 w 1964"/>
                <a:gd name="T109" fmla="*/ 1000 h 3140"/>
                <a:gd name="T110" fmla="*/ 1904 w 1964"/>
                <a:gd name="T111" fmla="*/ 1048 h 3140"/>
                <a:gd name="T112" fmla="*/ 1900 w 1964"/>
                <a:gd name="T113" fmla="*/ 1523 h 3140"/>
                <a:gd name="T114" fmla="*/ 1955 w 1964"/>
                <a:gd name="T115" fmla="*/ 1580 h 3140"/>
                <a:gd name="T116" fmla="*/ 1825 w 1964"/>
                <a:gd name="T117" fmla="*/ 625 h 3140"/>
                <a:gd name="T118" fmla="*/ 1837 w 1964"/>
                <a:gd name="T119" fmla="*/ 440 h 3140"/>
                <a:gd name="T120" fmla="*/ 1832 w 1964"/>
                <a:gd name="T121" fmla="*/ 713 h 3140"/>
                <a:gd name="T122" fmla="*/ 1823 w 1964"/>
                <a:gd name="T123" fmla="*/ 818 h 3140"/>
                <a:gd name="T124" fmla="*/ 1752 w 1964"/>
                <a:gd name="T125" fmla="*/ 539 h 31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964"/>
                <a:gd name="T190" fmla="*/ 0 h 3140"/>
                <a:gd name="T191" fmla="*/ 1964 w 1964"/>
                <a:gd name="T192" fmla="*/ 3140 h 31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964" h="3140">
                  <a:moveTo>
                    <a:pt x="1962" y="1581"/>
                  </a:moveTo>
                  <a:lnTo>
                    <a:pt x="1964" y="1581"/>
                  </a:lnTo>
                  <a:lnTo>
                    <a:pt x="1961" y="1599"/>
                  </a:lnTo>
                  <a:lnTo>
                    <a:pt x="1957" y="1614"/>
                  </a:lnTo>
                  <a:lnTo>
                    <a:pt x="1940" y="1643"/>
                  </a:lnTo>
                  <a:lnTo>
                    <a:pt x="1914" y="1680"/>
                  </a:lnTo>
                  <a:lnTo>
                    <a:pt x="1907" y="1693"/>
                  </a:lnTo>
                  <a:lnTo>
                    <a:pt x="1899" y="1705"/>
                  </a:lnTo>
                  <a:lnTo>
                    <a:pt x="1889" y="1722"/>
                  </a:lnTo>
                  <a:lnTo>
                    <a:pt x="1885" y="1733"/>
                  </a:lnTo>
                  <a:lnTo>
                    <a:pt x="1878" y="1763"/>
                  </a:lnTo>
                  <a:lnTo>
                    <a:pt x="1869" y="1781"/>
                  </a:lnTo>
                  <a:lnTo>
                    <a:pt x="1869" y="1790"/>
                  </a:lnTo>
                  <a:lnTo>
                    <a:pt x="1872" y="1811"/>
                  </a:lnTo>
                  <a:lnTo>
                    <a:pt x="1872" y="1823"/>
                  </a:lnTo>
                  <a:lnTo>
                    <a:pt x="1874" y="1826"/>
                  </a:lnTo>
                  <a:lnTo>
                    <a:pt x="1876" y="1832"/>
                  </a:lnTo>
                  <a:lnTo>
                    <a:pt x="1878" y="1842"/>
                  </a:lnTo>
                  <a:lnTo>
                    <a:pt x="1875" y="1858"/>
                  </a:lnTo>
                  <a:lnTo>
                    <a:pt x="1876" y="1878"/>
                  </a:lnTo>
                  <a:lnTo>
                    <a:pt x="1875" y="1887"/>
                  </a:lnTo>
                  <a:lnTo>
                    <a:pt x="1871" y="1902"/>
                  </a:lnTo>
                  <a:lnTo>
                    <a:pt x="1871" y="1907"/>
                  </a:lnTo>
                  <a:lnTo>
                    <a:pt x="1858" y="1936"/>
                  </a:lnTo>
                  <a:lnTo>
                    <a:pt x="1841" y="1978"/>
                  </a:lnTo>
                  <a:lnTo>
                    <a:pt x="1839" y="1989"/>
                  </a:lnTo>
                  <a:lnTo>
                    <a:pt x="1839" y="1995"/>
                  </a:lnTo>
                  <a:lnTo>
                    <a:pt x="1836" y="2008"/>
                  </a:lnTo>
                  <a:lnTo>
                    <a:pt x="1829" y="2023"/>
                  </a:lnTo>
                  <a:lnTo>
                    <a:pt x="1825" y="2031"/>
                  </a:lnTo>
                  <a:lnTo>
                    <a:pt x="1821" y="2042"/>
                  </a:lnTo>
                  <a:lnTo>
                    <a:pt x="1819" y="2049"/>
                  </a:lnTo>
                  <a:lnTo>
                    <a:pt x="1821" y="2061"/>
                  </a:lnTo>
                  <a:lnTo>
                    <a:pt x="1818" y="2098"/>
                  </a:lnTo>
                  <a:lnTo>
                    <a:pt x="1818" y="2114"/>
                  </a:lnTo>
                  <a:lnTo>
                    <a:pt x="1816" y="2123"/>
                  </a:lnTo>
                  <a:lnTo>
                    <a:pt x="1818" y="2139"/>
                  </a:lnTo>
                  <a:lnTo>
                    <a:pt x="1821" y="2145"/>
                  </a:lnTo>
                  <a:lnTo>
                    <a:pt x="1825" y="2152"/>
                  </a:lnTo>
                  <a:lnTo>
                    <a:pt x="1827" y="2163"/>
                  </a:lnTo>
                  <a:lnTo>
                    <a:pt x="1825" y="2177"/>
                  </a:lnTo>
                  <a:lnTo>
                    <a:pt x="1825" y="2181"/>
                  </a:lnTo>
                  <a:lnTo>
                    <a:pt x="1818" y="2188"/>
                  </a:lnTo>
                  <a:lnTo>
                    <a:pt x="1814" y="2199"/>
                  </a:lnTo>
                  <a:lnTo>
                    <a:pt x="1811" y="2219"/>
                  </a:lnTo>
                  <a:lnTo>
                    <a:pt x="1807" y="2230"/>
                  </a:lnTo>
                  <a:lnTo>
                    <a:pt x="1802" y="2235"/>
                  </a:lnTo>
                  <a:lnTo>
                    <a:pt x="1800" y="2236"/>
                  </a:lnTo>
                  <a:lnTo>
                    <a:pt x="1797" y="2235"/>
                  </a:lnTo>
                  <a:lnTo>
                    <a:pt x="1795" y="2232"/>
                  </a:lnTo>
                  <a:lnTo>
                    <a:pt x="1797" y="2231"/>
                  </a:lnTo>
                  <a:lnTo>
                    <a:pt x="1801" y="2231"/>
                  </a:lnTo>
                  <a:lnTo>
                    <a:pt x="1797" y="2228"/>
                  </a:lnTo>
                  <a:lnTo>
                    <a:pt x="1795" y="2223"/>
                  </a:lnTo>
                  <a:lnTo>
                    <a:pt x="1797" y="2197"/>
                  </a:lnTo>
                  <a:lnTo>
                    <a:pt x="1793" y="2188"/>
                  </a:lnTo>
                  <a:lnTo>
                    <a:pt x="1797" y="2185"/>
                  </a:lnTo>
                  <a:lnTo>
                    <a:pt x="1797" y="2182"/>
                  </a:lnTo>
                  <a:lnTo>
                    <a:pt x="1791" y="2177"/>
                  </a:lnTo>
                  <a:lnTo>
                    <a:pt x="1791" y="2178"/>
                  </a:lnTo>
                  <a:lnTo>
                    <a:pt x="1795" y="2182"/>
                  </a:lnTo>
                  <a:lnTo>
                    <a:pt x="1795" y="2183"/>
                  </a:lnTo>
                  <a:lnTo>
                    <a:pt x="1787" y="2185"/>
                  </a:lnTo>
                  <a:lnTo>
                    <a:pt x="1783" y="2183"/>
                  </a:lnTo>
                  <a:lnTo>
                    <a:pt x="1781" y="2183"/>
                  </a:lnTo>
                  <a:lnTo>
                    <a:pt x="1780" y="2182"/>
                  </a:lnTo>
                  <a:lnTo>
                    <a:pt x="1775" y="2183"/>
                  </a:lnTo>
                  <a:lnTo>
                    <a:pt x="1772" y="2182"/>
                  </a:lnTo>
                  <a:lnTo>
                    <a:pt x="1769" y="2180"/>
                  </a:lnTo>
                  <a:lnTo>
                    <a:pt x="1770" y="2183"/>
                  </a:lnTo>
                  <a:lnTo>
                    <a:pt x="1769" y="2185"/>
                  </a:lnTo>
                  <a:lnTo>
                    <a:pt x="1766" y="2185"/>
                  </a:lnTo>
                  <a:lnTo>
                    <a:pt x="1762" y="2183"/>
                  </a:lnTo>
                  <a:lnTo>
                    <a:pt x="1761" y="2183"/>
                  </a:lnTo>
                  <a:lnTo>
                    <a:pt x="1761" y="2185"/>
                  </a:lnTo>
                  <a:lnTo>
                    <a:pt x="1759" y="2185"/>
                  </a:lnTo>
                  <a:lnTo>
                    <a:pt x="1759" y="2188"/>
                  </a:lnTo>
                  <a:lnTo>
                    <a:pt x="1761" y="2191"/>
                  </a:lnTo>
                  <a:lnTo>
                    <a:pt x="1759" y="2194"/>
                  </a:lnTo>
                  <a:lnTo>
                    <a:pt x="1754" y="2194"/>
                  </a:lnTo>
                  <a:lnTo>
                    <a:pt x="1751" y="2191"/>
                  </a:lnTo>
                  <a:lnTo>
                    <a:pt x="1750" y="2191"/>
                  </a:lnTo>
                  <a:lnTo>
                    <a:pt x="1747" y="2191"/>
                  </a:lnTo>
                  <a:lnTo>
                    <a:pt x="1747" y="2194"/>
                  </a:lnTo>
                  <a:lnTo>
                    <a:pt x="1750" y="2195"/>
                  </a:lnTo>
                  <a:lnTo>
                    <a:pt x="1750" y="2202"/>
                  </a:lnTo>
                  <a:lnTo>
                    <a:pt x="1752" y="2206"/>
                  </a:lnTo>
                  <a:lnTo>
                    <a:pt x="1752" y="2208"/>
                  </a:lnTo>
                  <a:lnTo>
                    <a:pt x="1750" y="2211"/>
                  </a:lnTo>
                  <a:lnTo>
                    <a:pt x="1745" y="2218"/>
                  </a:lnTo>
                  <a:lnTo>
                    <a:pt x="1748" y="2216"/>
                  </a:lnTo>
                  <a:lnTo>
                    <a:pt x="1755" y="2207"/>
                  </a:lnTo>
                  <a:lnTo>
                    <a:pt x="1755" y="2199"/>
                  </a:lnTo>
                  <a:lnTo>
                    <a:pt x="1762" y="2201"/>
                  </a:lnTo>
                  <a:lnTo>
                    <a:pt x="1767" y="2197"/>
                  </a:lnTo>
                  <a:lnTo>
                    <a:pt x="1776" y="2195"/>
                  </a:lnTo>
                  <a:lnTo>
                    <a:pt x="1777" y="2197"/>
                  </a:lnTo>
                  <a:lnTo>
                    <a:pt x="1781" y="2203"/>
                  </a:lnTo>
                  <a:lnTo>
                    <a:pt x="1773" y="2226"/>
                  </a:lnTo>
                  <a:lnTo>
                    <a:pt x="1773" y="2236"/>
                  </a:lnTo>
                  <a:lnTo>
                    <a:pt x="1769" y="2245"/>
                  </a:lnTo>
                  <a:lnTo>
                    <a:pt x="1772" y="2261"/>
                  </a:lnTo>
                  <a:lnTo>
                    <a:pt x="1770" y="2269"/>
                  </a:lnTo>
                  <a:lnTo>
                    <a:pt x="1767" y="2276"/>
                  </a:lnTo>
                  <a:lnTo>
                    <a:pt x="1767" y="2280"/>
                  </a:lnTo>
                  <a:lnTo>
                    <a:pt x="1762" y="2285"/>
                  </a:lnTo>
                  <a:lnTo>
                    <a:pt x="1759" y="2293"/>
                  </a:lnTo>
                  <a:lnTo>
                    <a:pt x="1759" y="2303"/>
                  </a:lnTo>
                  <a:lnTo>
                    <a:pt x="1762" y="2313"/>
                  </a:lnTo>
                  <a:lnTo>
                    <a:pt x="1759" y="2315"/>
                  </a:lnTo>
                  <a:lnTo>
                    <a:pt x="1761" y="2319"/>
                  </a:lnTo>
                  <a:lnTo>
                    <a:pt x="1759" y="2325"/>
                  </a:lnTo>
                  <a:lnTo>
                    <a:pt x="1761" y="2338"/>
                  </a:lnTo>
                  <a:lnTo>
                    <a:pt x="1751" y="2350"/>
                  </a:lnTo>
                  <a:lnTo>
                    <a:pt x="1750" y="2356"/>
                  </a:lnTo>
                  <a:lnTo>
                    <a:pt x="1752" y="2368"/>
                  </a:lnTo>
                  <a:lnTo>
                    <a:pt x="1756" y="2373"/>
                  </a:lnTo>
                  <a:lnTo>
                    <a:pt x="1754" y="2375"/>
                  </a:lnTo>
                  <a:lnTo>
                    <a:pt x="1754" y="2379"/>
                  </a:lnTo>
                  <a:lnTo>
                    <a:pt x="1752" y="2379"/>
                  </a:lnTo>
                  <a:lnTo>
                    <a:pt x="1752" y="2381"/>
                  </a:lnTo>
                  <a:lnTo>
                    <a:pt x="1751" y="2387"/>
                  </a:lnTo>
                  <a:lnTo>
                    <a:pt x="1747" y="2390"/>
                  </a:lnTo>
                  <a:lnTo>
                    <a:pt x="1748" y="2400"/>
                  </a:lnTo>
                  <a:lnTo>
                    <a:pt x="1742" y="2401"/>
                  </a:lnTo>
                  <a:lnTo>
                    <a:pt x="1739" y="2409"/>
                  </a:lnTo>
                  <a:lnTo>
                    <a:pt x="1739" y="2413"/>
                  </a:lnTo>
                  <a:lnTo>
                    <a:pt x="1745" y="2427"/>
                  </a:lnTo>
                  <a:lnTo>
                    <a:pt x="1747" y="2432"/>
                  </a:lnTo>
                  <a:lnTo>
                    <a:pt x="1745" y="2435"/>
                  </a:lnTo>
                  <a:lnTo>
                    <a:pt x="1747" y="2438"/>
                  </a:lnTo>
                  <a:lnTo>
                    <a:pt x="1744" y="2441"/>
                  </a:lnTo>
                  <a:lnTo>
                    <a:pt x="1742" y="2450"/>
                  </a:lnTo>
                  <a:lnTo>
                    <a:pt x="1747" y="2446"/>
                  </a:lnTo>
                  <a:lnTo>
                    <a:pt x="1754" y="2442"/>
                  </a:lnTo>
                  <a:lnTo>
                    <a:pt x="1755" y="2439"/>
                  </a:lnTo>
                  <a:lnTo>
                    <a:pt x="1754" y="2437"/>
                  </a:lnTo>
                  <a:lnTo>
                    <a:pt x="1761" y="2435"/>
                  </a:lnTo>
                  <a:lnTo>
                    <a:pt x="1764" y="2432"/>
                  </a:lnTo>
                  <a:lnTo>
                    <a:pt x="1765" y="2426"/>
                  </a:lnTo>
                  <a:lnTo>
                    <a:pt x="1759" y="2421"/>
                  </a:lnTo>
                  <a:lnTo>
                    <a:pt x="1764" y="2419"/>
                  </a:lnTo>
                  <a:lnTo>
                    <a:pt x="1767" y="2412"/>
                  </a:lnTo>
                  <a:lnTo>
                    <a:pt x="1780" y="2405"/>
                  </a:lnTo>
                  <a:lnTo>
                    <a:pt x="1780" y="2401"/>
                  </a:lnTo>
                  <a:lnTo>
                    <a:pt x="1776" y="2396"/>
                  </a:lnTo>
                  <a:lnTo>
                    <a:pt x="1786" y="2392"/>
                  </a:lnTo>
                  <a:lnTo>
                    <a:pt x="1790" y="2388"/>
                  </a:lnTo>
                  <a:lnTo>
                    <a:pt x="1791" y="2382"/>
                  </a:lnTo>
                  <a:lnTo>
                    <a:pt x="1795" y="2379"/>
                  </a:lnTo>
                  <a:lnTo>
                    <a:pt x="1795" y="2371"/>
                  </a:lnTo>
                  <a:lnTo>
                    <a:pt x="1790" y="2359"/>
                  </a:lnTo>
                  <a:lnTo>
                    <a:pt x="1784" y="2352"/>
                  </a:lnTo>
                  <a:lnTo>
                    <a:pt x="1784" y="2344"/>
                  </a:lnTo>
                  <a:lnTo>
                    <a:pt x="1781" y="2337"/>
                  </a:lnTo>
                  <a:lnTo>
                    <a:pt x="1791" y="2337"/>
                  </a:lnTo>
                  <a:lnTo>
                    <a:pt x="1793" y="2340"/>
                  </a:lnTo>
                  <a:lnTo>
                    <a:pt x="1795" y="2340"/>
                  </a:lnTo>
                  <a:lnTo>
                    <a:pt x="1795" y="2338"/>
                  </a:lnTo>
                  <a:lnTo>
                    <a:pt x="1795" y="2327"/>
                  </a:lnTo>
                  <a:lnTo>
                    <a:pt x="1794" y="2326"/>
                  </a:lnTo>
                  <a:lnTo>
                    <a:pt x="1794" y="2330"/>
                  </a:lnTo>
                  <a:lnTo>
                    <a:pt x="1790" y="2329"/>
                  </a:lnTo>
                  <a:lnTo>
                    <a:pt x="1787" y="2319"/>
                  </a:lnTo>
                  <a:lnTo>
                    <a:pt x="1789" y="2318"/>
                  </a:lnTo>
                  <a:lnTo>
                    <a:pt x="1791" y="2318"/>
                  </a:lnTo>
                  <a:lnTo>
                    <a:pt x="1791" y="2315"/>
                  </a:lnTo>
                  <a:lnTo>
                    <a:pt x="1798" y="2314"/>
                  </a:lnTo>
                  <a:lnTo>
                    <a:pt x="1801" y="2315"/>
                  </a:lnTo>
                  <a:lnTo>
                    <a:pt x="1805" y="2320"/>
                  </a:lnTo>
                  <a:lnTo>
                    <a:pt x="1808" y="2320"/>
                  </a:lnTo>
                  <a:lnTo>
                    <a:pt x="1812" y="2326"/>
                  </a:lnTo>
                  <a:lnTo>
                    <a:pt x="1821" y="2330"/>
                  </a:lnTo>
                  <a:lnTo>
                    <a:pt x="1826" y="2338"/>
                  </a:lnTo>
                  <a:lnTo>
                    <a:pt x="1833" y="2340"/>
                  </a:lnTo>
                  <a:lnTo>
                    <a:pt x="1837" y="2340"/>
                  </a:lnTo>
                  <a:lnTo>
                    <a:pt x="1839" y="2337"/>
                  </a:lnTo>
                  <a:lnTo>
                    <a:pt x="1837" y="2334"/>
                  </a:lnTo>
                  <a:lnTo>
                    <a:pt x="1835" y="2334"/>
                  </a:lnTo>
                  <a:lnTo>
                    <a:pt x="1836" y="2334"/>
                  </a:lnTo>
                  <a:lnTo>
                    <a:pt x="1835" y="2332"/>
                  </a:lnTo>
                  <a:lnTo>
                    <a:pt x="1832" y="2334"/>
                  </a:lnTo>
                  <a:lnTo>
                    <a:pt x="1830" y="2334"/>
                  </a:lnTo>
                  <a:lnTo>
                    <a:pt x="1832" y="2330"/>
                  </a:lnTo>
                  <a:lnTo>
                    <a:pt x="1830" y="2330"/>
                  </a:lnTo>
                  <a:lnTo>
                    <a:pt x="1830" y="2327"/>
                  </a:lnTo>
                  <a:lnTo>
                    <a:pt x="1826" y="2326"/>
                  </a:lnTo>
                  <a:lnTo>
                    <a:pt x="1827" y="2325"/>
                  </a:lnTo>
                  <a:lnTo>
                    <a:pt x="1827" y="2322"/>
                  </a:lnTo>
                  <a:lnTo>
                    <a:pt x="1835" y="2327"/>
                  </a:lnTo>
                  <a:lnTo>
                    <a:pt x="1836" y="2330"/>
                  </a:lnTo>
                  <a:lnTo>
                    <a:pt x="1837" y="2330"/>
                  </a:lnTo>
                  <a:lnTo>
                    <a:pt x="1837" y="2334"/>
                  </a:lnTo>
                  <a:lnTo>
                    <a:pt x="1840" y="2337"/>
                  </a:lnTo>
                  <a:lnTo>
                    <a:pt x="1840" y="2344"/>
                  </a:lnTo>
                  <a:lnTo>
                    <a:pt x="1847" y="2348"/>
                  </a:lnTo>
                  <a:lnTo>
                    <a:pt x="1847" y="2351"/>
                  </a:lnTo>
                  <a:lnTo>
                    <a:pt x="1849" y="2351"/>
                  </a:lnTo>
                  <a:lnTo>
                    <a:pt x="1860" y="2352"/>
                  </a:lnTo>
                  <a:lnTo>
                    <a:pt x="1864" y="2351"/>
                  </a:lnTo>
                  <a:lnTo>
                    <a:pt x="1860" y="2339"/>
                  </a:lnTo>
                  <a:lnTo>
                    <a:pt x="1860" y="2334"/>
                  </a:lnTo>
                  <a:lnTo>
                    <a:pt x="1857" y="2332"/>
                  </a:lnTo>
                  <a:lnTo>
                    <a:pt x="1854" y="2334"/>
                  </a:lnTo>
                  <a:lnTo>
                    <a:pt x="1854" y="2330"/>
                  </a:lnTo>
                  <a:lnTo>
                    <a:pt x="1858" y="2327"/>
                  </a:lnTo>
                  <a:lnTo>
                    <a:pt x="1860" y="2326"/>
                  </a:lnTo>
                  <a:lnTo>
                    <a:pt x="1866" y="2327"/>
                  </a:lnTo>
                  <a:lnTo>
                    <a:pt x="1869" y="2326"/>
                  </a:lnTo>
                  <a:lnTo>
                    <a:pt x="1869" y="2327"/>
                  </a:lnTo>
                  <a:lnTo>
                    <a:pt x="1871" y="2327"/>
                  </a:lnTo>
                  <a:lnTo>
                    <a:pt x="1878" y="2326"/>
                  </a:lnTo>
                  <a:lnTo>
                    <a:pt x="1878" y="2325"/>
                  </a:lnTo>
                  <a:lnTo>
                    <a:pt x="1876" y="2323"/>
                  </a:lnTo>
                  <a:lnTo>
                    <a:pt x="1876" y="2315"/>
                  </a:lnTo>
                  <a:lnTo>
                    <a:pt x="1875" y="2310"/>
                  </a:lnTo>
                  <a:lnTo>
                    <a:pt x="1875" y="2305"/>
                  </a:lnTo>
                  <a:lnTo>
                    <a:pt x="1874" y="2301"/>
                  </a:lnTo>
                  <a:lnTo>
                    <a:pt x="1872" y="2301"/>
                  </a:lnTo>
                  <a:lnTo>
                    <a:pt x="1871" y="2302"/>
                  </a:lnTo>
                  <a:lnTo>
                    <a:pt x="1868" y="2293"/>
                  </a:lnTo>
                  <a:lnTo>
                    <a:pt x="1876" y="2284"/>
                  </a:lnTo>
                  <a:lnTo>
                    <a:pt x="1880" y="2284"/>
                  </a:lnTo>
                  <a:lnTo>
                    <a:pt x="1887" y="2281"/>
                  </a:lnTo>
                  <a:lnTo>
                    <a:pt x="1883" y="2281"/>
                  </a:lnTo>
                  <a:lnTo>
                    <a:pt x="1882" y="2280"/>
                  </a:lnTo>
                  <a:lnTo>
                    <a:pt x="1875" y="2277"/>
                  </a:lnTo>
                  <a:lnTo>
                    <a:pt x="1876" y="2275"/>
                  </a:lnTo>
                  <a:lnTo>
                    <a:pt x="1876" y="2273"/>
                  </a:lnTo>
                  <a:lnTo>
                    <a:pt x="1874" y="2272"/>
                  </a:lnTo>
                  <a:lnTo>
                    <a:pt x="1872" y="2275"/>
                  </a:lnTo>
                  <a:lnTo>
                    <a:pt x="1866" y="2272"/>
                  </a:lnTo>
                  <a:lnTo>
                    <a:pt x="1865" y="2273"/>
                  </a:lnTo>
                  <a:lnTo>
                    <a:pt x="1864" y="2269"/>
                  </a:lnTo>
                  <a:lnTo>
                    <a:pt x="1865" y="2269"/>
                  </a:lnTo>
                  <a:lnTo>
                    <a:pt x="1868" y="2270"/>
                  </a:lnTo>
                  <a:lnTo>
                    <a:pt x="1879" y="2270"/>
                  </a:lnTo>
                  <a:lnTo>
                    <a:pt x="1893" y="2278"/>
                  </a:lnTo>
                  <a:lnTo>
                    <a:pt x="1901" y="2278"/>
                  </a:lnTo>
                  <a:lnTo>
                    <a:pt x="1911" y="2280"/>
                  </a:lnTo>
                  <a:lnTo>
                    <a:pt x="1910" y="2307"/>
                  </a:lnTo>
                  <a:lnTo>
                    <a:pt x="1912" y="2322"/>
                  </a:lnTo>
                  <a:lnTo>
                    <a:pt x="1919" y="2329"/>
                  </a:lnTo>
                  <a:lnTo>
                    <a:pt x="1922" y="2329"/>
                  </a:lnTo>
                  <a:lnTo>
                    <a:pt x="1922" y="2338"/>
                  </a:lnTo>
                  <a:lnTo>
                    <a:pt x="1925" y="2340"/>
                  </a:lnTo>
                  <a:lnTo>
                    <a:pt x="1921" y="2348"/>
                  </a:lnTo>
                  <a:lnTo>
                    <a:pt x="1907" y="2369"/>
                  </a:lnTo>
                  <a:lnTo>
                    <a:pt x="1901" y="2384"/>
                  </a:lnTo>
                  <a:lnTo>
                    <a:pt x="1901" y="2387"/>
                  </a:lnTo>
                  <a:lnTo>
                    <a:pt x="1904" y="2387"/>
                  </a:lnTo>
                  <a:lnTo>
                    <a:pt x="1905" y="2388"/>
                  </a:lnTo>
                  <a:lnTo>
                    <a:pt x="1897" y="2400"/>
                  </a:lnTo>
                  <a:lnTo>
                    <a:pt x="1885" y="2427"/>
                  </a:lnTo>
                  <a:lnTo>
                    <a:pt x="1879" y="2446"/>
                  </a:lnTo>
                  <a:lnTo>
                    <a:pt x="1880" y="2455"/>
                  </a:lnTo>
                  <a:lnTo>
                    <a:pt x="1883" y="2462"/>
                  </a:lnTo>
                  <a:lnTo>
                    <a:pt x="1879" y="2472"/>
                  </a:lnTo>
                  <a:lnTo>
                    <a:pt x="1875" y="2493"/>
                  </a:lnTo>
                  <a:lnTo>
                    <a:pt x="1876" y="2503"/>
                  </a:lnTo>
                  <a:lnTo>
                    <a:pt x="1880" y="2505"/>
                  </a:lnTo>
                  <a:lnTo>
                    <a:pt x="1879" y="2521"/>
                  </a:lnTo>
                  <a:lnTo>
                    <a:pt x="1880" y="2528"/>
                  </a:lnTo>
                  <a:lnTo>
                    <a:pt x="1880" y="2534"/>
                  </a:lnTo>
                  <a:lnTo>
                    <a:pt x="1871" y="2550"/>
                  </a:lnTo>
                  <a:lnTo>
                    <a:pt x="1862" y="2571"/>
                  </a:lnTo>
                  <a:lnTo>
                    <a:pt x="1854" y="2584"/>
                  </a:lnTo>
                  <a:lnTo>
                    <a:pt x="1826" y="2613"/>
                  </a:lnTo>
                  <a:lnTo>
                    <a:pt x="1822" y="2621"/>
                  </a:lnTo>
                  <a:lnTo>
                    <a:pt x="1821" y="2630"/>
                  </a:lnTo>
                  <a:lnTo>
                    <a:pt x="1818" y="2634"/>
                  </a:lnTo>
                  <a:lnTo>
                    <a:pt x="1808" y="2648"/>
                  </a:lnTo>
                  <a:lnTo>
                    <a:pt x="1790" y="2671"/>
                  </a:lnTo>
                  <a:lnTo>
                    <a:pt x="1754" y="2712"/>
                  </a:lnTo>
                  <a:lnTo>
                    <a:pt x="1744" y="2724"/>
                  </a:lnTo>
                  <a:lnTo>
                    <a:pt x="1705" y="2770"/>
                  </a:lnTo>
                  <a:lnTo>
                    <a:pt x="1692" y="2787"/>
                  </a:lnTo>
                  <a:lnTo>
                    <a:pt x="1661" y="2816"/>
                  </a:lnTo>
                  <a:lnTo>
                    <a:pt x="1654" y="2827"/>
                  </a:lnTo>
                  <a:lnTo>
                    <a:pt x="1644" y="2840"/>
                  </a:lnTo>
                  <a:lnTo>
                    <a:pt x="1641" y="2846"/>
                  </a:lnTo>
                  <a:lnTo>
                    <a:pt x="1640" y="2857"/>
                  </a:lnTo>
                  <a:lnTo>
                    <a:pt x="1641" y="2865"/>
                  </a:lnTo>
                  <a:lnTo>
                    <a:pt x="1640" y="2869"/>
                  </a:lnTo>
                  <a:lnTo>
                    <a:pt x="1614" y="2891"/>
                  </a:lnTo>
                  <a:lnTo>
                    <a:pt x="1605" y="2903"/>
                  </a:lnTo>
                  <a:lnTo>
                    <a:pt x="1598" y="2914"/>
                  </a:lnTo>
                  <a:lnTo>
                    <a:pt x="1580" y="2928"/>
                  </a:lnTo>
                  <a:lnTo>
                    <a:pt x="1563" y="2937"/>
                  </a:lnTo>
                  <a:lnTo>
                    <a:pt x="1533" y="2956"/>
                  </a:lnTo>
                  <a:lnTo>
                    <a:pt x="1479" y="2983"/>
                  </a:lnTo>
                  <a:lnTo>
                    <a:pt x="1406" y="3011"/>
                  </a:lnTo>
                  <a:lnTo>
                    <a:pt x="1341" y="3043"/>
                  </a:lnTo>
                  <a:lnTo>
                    <a:pt x="1287" y="3062"/>
                  </a:lnTo>
                  <a:lnTo>
                    <a:pt x="1209" y="3087"/>
                  </a:lnTo>
                  <a:lnTo>
                    <a:pt x="1118" y="3117"/>
                  </a:lnTo>
                  <a:lnTo>
                    <a:pt x="1108" y="3119"/>
                  </a:lnTo>
                  <a:lnTo>
                    <a:pt x="1105" y="3123"/>
                  </a:lnTo>
                  <a:lnTo>
                    <a:pt x="1089" y="3128"/>
                  </a:lnTo>
                  <a:lnTo>
                    <a:pt x="1086" y="3131"/>
                  </a:lnTo>
                  <a:lnTo>
                    <a:pt x="1081" y="3134"/>
                  </a:lnTo>
                  <a:lnTo>
                    <a:pt x="1055" y="3140"/>
                  </a:lnTo>
                  <a:lnTo>
                    <a:pt x="1024" y="3095"/>
                  </a:lnTo>
                  <a:lnTo>
                    <a:pt x="915" y="3086"/>
                  </a:lnTo>
                  <a:lnTo>
                    <a:pt x="915" y="3043"/>
                  </a:lnTo>
                  <a:lnTo>
                    <a:pt x="914" y="3018"/>
                  </a:lnTo>
                  <a:lnTo>
                    <a:pt x="1035" y="2957"/>
                  </a:lnTo>
                  <a:lnTo>
                    <a:pt x="1006" y="2923"/>
                  </a:lnTo>
                  <a:lnTo>
                    <a:pt x="996" y="2915"/>
                  </a:lnTo>
                  <a:lnTo>
                    <a:pt x="985" y="2902"/>
                  </a:lnTo>
                  <a:lnTo>
                    <a:pt x="981" y="2895"/>
                  </a:lnTo>
                  <a:lnTo>
                    <a:pt x="976" y="2886"/>
                  </a:lnTo>
                  <a:lnTo>
                    <a:pt x="972" y="2882"/>
                  </a:lnTo>
                  <a:lnTo>
                    <a:pt x="957" y="2881"/>
                  </a:lnTo>
                  <a:lnTo>
                    <a:pt x="957" y="2879"/>
                  </a:lnTo>
                  <a:lnTo>
                    <a:pt x="1018" y="2817"/>
                  </a:lnTo>
                  <a:lnTo>
                    <a:pt x="1018" y="2815"/>
                  </a:lnTo>
                  <a:lnTo>
                    <a:pt x="1016" y="2812"/>
                  </a:lnTo>
                  <a:lnTo>
                    <a:pt x="1007" y="2811"/>
                  </a:lnTo>
                  <a:lnTo>
                    <a:pt x="993" y="2817"/>
                  </a:lnTo>
                  <a:lnTo>
                    <a:pt x="982" y="2817"/>
                  </a:lnTo>
                  <a:lnTo>
                    <a:pt x="972" y="2821"/>
                  </a:lnTo>
                  <a:lnTo>
                    <a:pt x="965" y="2821"/>
                  </a:lnTo>
                  <a:lnTo>
                    <a:pt x="953" y="2822"/>
                  </a:lnTo>
                  <a:lnTo>
                    <a:pt x="942" y="2828"/>
                  </a:lnTo>
                  <a:lnTo>
                    <a:pt x="939" y="2832"/>
                  </a:lnTo>
                  <a:lnTo>
                    <a:pt x="937" y="2834"/>
                  </a:lnTo>
                  <a:lnTo>
                    <a:pt x="926" y="2837"/>
                  </a:lnTo>
                  <a:lnTo>
                    <a:pt x="925" y="2837"/>
                  </a:lnTo>
                  <a:lnTo>
                    <a:pt x="921" y="2834"/>
                  </a:lnTo>
                  <a:lnTo>
                    <a:pt x="917" y="2834"/>
                  </a:lnTo>
                  <a:lnTo>
                    <a:pt x="910" y="2836"/>
                  </a:lnTo>
                  <a:lnTo>
                    <a:pt x="901" y="2841"/>
                  </a:lnTo>
                  <a:lnTo>
                    <a:pt x="898" y="2841"/>
                  </a:lnTo>
                  <a:lnTo>
                    <a:pt x="893" y="2839"/>
                  </a:lnTo>
                  <a:lnTo>
                    <a:pt x="889" y="2839"/>
                  </a:lnTo>
                  <a:lnTo>
                    <a:pt x="879" y="2845"/>
                  </a:lnTo>
                  <a:lnTo>
                    <a:pt x="872" y="2846"/>
                  </a:lnTo>
                  <a:lnTo>
                    <a:pt x="851" y="2853"/>
                  </a:lnTo>
                  <a:lnTo>
                    <a:pt x="848" y="2856"/>
                  </a:lnTo>
                  <a:lnTo>
                    <a:pt x="847" y="2861"/>
                  </a:lnTo>
                  <a:lnTo>
                    <a:pt x="839" y="2862"/>
                  </a:lnTo>
                  <a:lnTo>
                    <a:pt x="837" y="2865"/>
                  </a:lnTo>
                  <a:lnTo>
                    <a:pt x="833" y="2865"/>
                  </a:lnTo>
                  <a:lnTo>
                    <a:pt x="831" y="2862"/>
                  </a:lnTo>
                  <a:lnTo>
                    <a:pt x="825" y="2864"/>
                  </a:lnTo>
                  <a:lnTo>
                    <a:pt x="823" y="2865"/>
                  </a:lnTo>
                  <a:lnTo>
                    <a:pt x="815" y="2865"/>
                  </a:lnTo>
                  <a:lnTo>
                    <a:pt x="812" y="2869"/>
                  </a:lnTo>
                  <a:lnTo>
                    <a:pt x="806" y="2873"/>
                  </a:lnTo>
                  <a:lnTo>
                    <a:pt x="798" y="2873"/>
                  </a:lnTo>
                  <a:lnTo>
                    <a:pt x="794" y="2876"/>
                  </a:lnTo>
                  <a:lnTo>
                    <a:pt x="790" y="2879"/>
                  </a:lnTo>
                  <a:lnTo>
                    <a:pt x="789" y="2878"/>
                  </a:lnTo>
                  <a:lnTo>
                    <a:pt x="751" y="2824"/>
                  </a:lnTo>
                  <a:lnTo>
                    <a:pt x="735" y="2809"/>
                  </a:lnTo>
                  <a:lnTo>
                    <a:pt x="722" y="2794"/>
                  </a:lnTo>
                  <a:lnTo>
                    <a:pt x="716" y="2787"/>
                  </a:lnTo>
                  <a:lnTo>
                    <a:pt x="715" y="2782"/>
                  </a:lnTo>
                  <a:lnTo>
                    <a:pt x="708" y="2775"/>
                  </a:lnTo>
                  <a:lnTo>
                    <a:pt x="690" y="2749"/>
                  </a:lnTo>
                  <a:lnTo>
                    <a:pt x="673" y="2730"/>
                  </a:lnTo>
                  <a:lnTo>
                    <a:pt x="675" y="2647"/>
                  </a:lnTo>
                  <a:lnTo>
                    <a:pt x="673" y="2605"/>
                  </a:lnTo>
                  <a:lnTo>
                    <a:pt x="671" y="2519"/>
                  </a:lnTo>
                  <a:lnTo>
                    <a:pt x="663" y="2517"/>
                  </a:lnTo>
                  <a:lnTo>
                    <a:pt x="661" y="2509"/>
                  </a:lnTo>
                  <a:lnTo>
                    <a:pt x="652" y="2504"/>
                  </a:lnTo>
                  <a:lnTo>
                    <a:pt x="644" y="2508"/>
                  </a:lnTo>
                  <a:lnTo>
                    <a:pt x="637" y="2505"/>
                  </a:lnTo>
                  <a:lnTo>
                    <a:pt x="632" y="2509"/>
                  </a:lnTo>
                  <a:lnTo>
                    <a:pt x="626" y="2509"/>
                  </a:lnTo>
                  <a:lnTo>
                    <a:pt x="625" y="2506"/>
                  </a:lnTo>
                  <a:lnTo>
                    <a:pt x="625" y="2498"/>
                  </a:lnTo>
                  <a:lnTo>
                    <a:pt x="623" y="2498"/>
                  </a:lnTo>
                  <a:lnTo>
                    <a:pt x="623" y="2494"/>
                  </a:lnTo>
                  <a:lnTo>
                    <a:pt x="621" y="2493"/>
                  </a:lnTo>
                  <a:lnTo>
                    <a:pt x="622" y="2491"/>
                  </a:lnTo>
                  <a:lnTo>
                    <a:pt x="616" y="2480"/>
                  </a:lnTo>
                  <a:lnTo>
                    <a:pt x="615" y="2472"/>
                  </a:lnTo>
                  <a:lnTo>
                    <a:pt x="612" y="2468"/>
                  </a:lnTo>
                  <a:lnTo>
                    <a:pt x="612" y="2464"/>
                  </a:lnTo>
                  <a:lnTo>
                    <a:pt x="618" y="2464"/>
                  </a:lnTo>
                  <a:lnTo>
                    <a:pt x="621" y="2459"/>
                  </a:lnTo>
                  <a:lnTo>
                    <a:pt x="619" y="2455"/>
                  </a:lnTo>
                  <a:lnTo>
                    <a:pt x="615" y="2454"/>
                  </a:lnTo>
                  <a:lnTo>
                    <a:pt x="613" y="2450"/>
                  </a:lnTo>
                  <a:lnTo>
                    <a:pt x="612" y="2448"/>
                  </a:lnTo>
                  <a:lnTo>
                    <a:pt x="615" y="2446"/>
                  </a:lnTo>
                  <a:lnTo>
                    <a:pt x="619" y="2444"/>
                  </a:lnTo>
                  <a:lnTo>
                    <a:pt x="621" y="2443"/>
                  </a:lnTo>
                  <a:lnTo>
                    <a:pt x="625" y="2437"/>
                  </a:lnTo>
                  <a:lnTo>
                    <a:pt x="622" y="2434"/>
                  </a:lnTo>
                  <a:lnTo>
                    <a:pt x="619" y="2435"/>
                  </a:lnTo>
                  <a:lnTo>
                    <a:pt x="616" y="2435"/>
                  </a:lnTo>
                  <a:lnTo>
                    <a:pt x="613" y="2434"/>
                  </a:lnTo>
                  <a:lnTo>
                    <a:pt x="612" y="2430"/>
                  </a:lnTo>
                  <a:lnTo>
                    <a:pt x="613" y="2427"/>
                  </a:lnTo>
                  <a:lnTo>
                    <a:pt x="618" y="2423"/>
                  </a:lnTo>
                  <a:lnTo>
                    <a:pt x="621" y="2417"/>
                  </a:lnTo>
                  <a:lnTo>
                    <a:pt x="618" y="2409"/>
                  </a:lnTo>
                  <a:lnTo>
                    <a:pt x="618" y="2401"/>
                  </a:lnTo>
                  <a:lnTo>
                    <a:pt x="615" y="2400"/>
                  </a:lnTo>
                  <a:lnTo>
                    <a:pt x="611" y="2397"/>
                  </a:lnTo>
                  <a:lnTo>
                    <a:pt x="613" y="2394"/>
                  </a:lnTo>
                  <a:lnTo>
                    <a:pt x="612" y="2392"/>
                  </a:lnTo>
                  <a:lnTo>
                    <a:pt x="615" y="2389"/>
                  </a:lnTo>
                  <a:lnTo>
                    <a:pt x="616" y="2388"/>
                  </a:lnTo>
                  <a:lnTo>
                    <a:pt x="619" y="2384"/>
                  </a:lnTo>
                  <a:lnTo>
                    <a:pt x="611" y="2377"/>
                  </a:lnTo>
                  <a:lnTo>
                    <a:pt x="608" y="2372"/>
                  </a:lnTo>
                  <a:lnTo>
                    <a:pt x="611" y="2368"/>
                  </a:lnTo>
                  <a:lnTo>
                    <a:pt x="612" y="2364"/>
                  </a:lnTo>
                  <a:lnTo>
                    <a:pt x="609" y="2364"/>
                  </a:lnTo>
                  <a:lnTo>
                    <a:pt x="605" y="2362"/>
                  </a:lnTo>
                  <a:lnTo>
                    <a:pt x="605" y="2356"/>
                  </a:lnTo>
                  <a:lnTo>
                    <a:pt x="602" y="2352"/>
                  </a:lnTo>
                  <a:lnTo>
                    <a:pt x="604" y="2352"/>
                  </a:lnTo>
                  <a:lnTo>
                    <a:pt x="605" y="2352"/>
                  </a:lnTo>
                  <a:lnTo>
                    <a:pt x="607" y="2351"/>
                  </a:lnTo>
                  <a:lnTo>
                    <a:pt x="605" y="2350"/>
                  </a:lnTo>
                  <a:lnTo>
                    <a:pt x="607" y="2348"/>
                  </a:lnTo>
                  <a:lnTo>
                    <a:pt x="611" y="2350"/>
                  </a:lnTo>
                  <a:lnTo>
                    <a:pt x="611" y="2347"/>
                  </a:lnTo>
                  <a:lnTo>
                    <a:pt x="621" y="2344"/>
                  </a:lnTo>
                  <a:lnTo>
                    <a:pt x="626" y="2342"/>
                  </a:lnTo>
                  <a:lnTo>
                    <a:pt x="629" y="2339"/>
                  </a:lnTo>
                  <a:lnTo>
                    <a:pt x="627" y="2334"/>
                  </a:lnTo>
                  <a:lnTo>
                    <a:pt x="622" y="2334"/>
                  </a:lnTo>
                  <a:lnTo>
                    <a:pt x="622" y="2332"/>
                  </a:lnTo>
                  <a:lnTo>
                    <a:pt x="618" y="2330"/>
                  </a:lnTo>
                  <a:lnTo>
                    <a:pt x="616" y="2329"/>
                  </a:lnTo>
                  <a:lnTo>
                    <a:pt x="612" y="2329"/>
                  </a:lnTo>
                  <a:lnTo>
                    <a:pt x="612" y="2325"/>
                  </a:lnTo>
                  <a:lnTo>
                    <a:pt x="615" y="2322"/>
                  </a:lnTo>
                  <a:lnTo>
                    <a:pt x="612" y="2319"/>
                  </a:lnTo>
                  <a:lnTo>
                    <a:pt x="611" y="2319"/>
                  </a:lnTo>
                  <a:lnTo>
                    <a:pt x="607" y="2314"/>
                  </a:lnTo>
                  <a:lnTo>
                    <a:pt x="609" y="2310"/>
                  </a:lnTo>
                  <a:lnTo>
                    <a:pt x="611" y="2312"/>
                  </a:lnTo>
                  <a:lnTo>
                    <a:pt x="613" y="2310"/>
                  </a:lnTo>
                  <a:lnTo>
                    <a:pt x="615" y="2305"/>
                  </a:lnTo>
                  <a:lnTo>
                    <a:pt x="619" y="2303"/>
                  </a:lnTo>
                  <a:lnTo>
                    <a:pt x="618" y="2302"/>
                  </a:lnTo>
                  <a:lnTo>
                    <a:pt x="618" y="2300"/>
                  </a:lnTo>
                  <a:lnTo>
                    <a:pt x="616" y="2301"/>
                  </a:lnTo>
                  <a:lnTo>
                    <a:pt x="613" y="2298"/>
                  </a:lnTo>
                  <a:lnTo>
                    <a:pt x="616" y="2295"/>
                  </a:lnTo>
                  <a:lnTo>
                    <a:pt x="616" y="2293"/>
                  </a:lnTo>
                  <a:lnTo>
                    <a:pt x="619" y="2289"/>
                  </a:lnTo>
                  <a:lnTo>
                    <a:pt x="616" y="2285"/>
                  </a:lnTo>
                  <a:lnTo>
                    <a:pt x="618" y="2281"/>
                  </a:lnTo>
                  <a:lnTo>
                    <a:pt x="615" y="2278"/>
                  </a:lnTo>
                  <a:lnTo>
                    <a:pt x="615" y="2276"/>
                  </a:lnTo>
                  <a:lnTo>
                    <a:pt x="613" y="2275"/>
                  </a:lnTo>
                  <a:lnTo>
                    <a:pt x="612" y="2270"/>
                  </a:lnTo>
                  <a:lnTo>
                    <a:pt x="608" y="2269"/>
                  </a:lnTo>
                  <a:lnTo>
                    <a:pt x="608" y="2267"/>
                  </a:lnTo>
                  <a:lnTo>
                    <a:pt x="608" y="2265"/>
                  </a:lnTo>
                  <a:lnTo>
                    <a:pt x="615" y="2258"/>
                  </a:lnTo>
                  <a:lnTo>
                    <a:pt x="615" y="2253"/>
                  </a:lnTo>
                  <a:lnTo>
                    <a:pt x="618" y="2251"/>
                  </a:lnTo>
                  <a:lnTo>
                    <a:pt x="618" y="2248"/>
                  </a:lnTo>
                  <a:lnTo>
                    <a:pt x="616" y="2245"/>
                  </a:lnTo>
                  <a:lnTo>
                    <a:pt x="618" y="2240"/>
                  </a:lnTo>
                  <a:lnTo>
                    <a:pt x="623" y="2235"/>
                  </a:lnTo>
                  <a:lnTo>
                    <a:pt x="621" y="2231"/>
                  </a:lnTo>
                  <a:lnTo>
                    <a:pt x="622" y="2225"/>
                  </a:lnTo>
                  <a:lnTo>
                    <a:pt x="618" y="2222"/>
                  </a:lnTo>
                  <a:lnTo>
                    <a:pt x="621" y="2219"/>
                  </a:lnTo>
                  <a:lnTo>
                    <a:pt x="626" y="2218"/>
                  </a:lnTo>
                  <a:lnTo>
                    <a:pt x="626" y="2214"/>
                  </a:lnTo>
                  <a:lnTo>
                    <a:pt x="629" y="2213"/>
                  </a:lnTo>
                  <a:lnTo>
                    <a:pt x="636" y="2213"/>
                  </a:lnTo>
                  <a:lnTo>
                    <a:pt x="638" y="2211"/>
                  </a:lnTo>
                  <a:lnTo>
                    <a:pt x="638" y="2208"/>
                  </a:lnTo>
                  <a:lnTo>
                    <a:pt x="637" y="2207"/>
                  </a:lnTo>
                  <a:lnTo>
                    <a:pt x="633" y="2206"/>
                  </a:lnTo>
                  <a:lnTo>
                    <a:pt x="632" y="2205"/>
                  </a:lnTo>
                  <a:lnTo>
                    <a:pt x="630" y="2205"/>
                  </a:lnTo>
                  <a:lnTo>
                    <a:pt x="632" y="2202"/>
                  </a:lnTo>
                  <a:lnTo>
                    <a:pt x="633" y="2202"/>
                  </a:lnTo>
                  <a:lnTo>
                    <a:pt x="634" y="2199"/>
                  </a:lnTo>
                  <a:lnTo>
                    <a:pt x="634" y="2194"/>
                  </a:lnTo>
                  <a:lnTo>
                    <a:pt x="629" y="2195"/>
                  </a:lnTo>
                  <a:lnTo>
                    <a:pt x="625" y="2194"/>
                  </a:lnTo>
                  <a:lnTo>
                    <a:pt x="626" y="2188"/>
                  </a:lnTo>
                  <a:lnTo>
                    <a:pt x="627" y="2186"/>
                  </a:lnTo>
                  <a:lnTo>
                    <a:pt x="622" y="2180"/>
                  </a:lnTo>
                  <a:lnTo>
                    <a:pt x="621" y="2169"/>
                  </a:lnTo>
                  <a:lnTo>
                    <a:pt x="615" y="2169"/>
                  </a:lnTo>
                  <a:lnTo>
                    <a:pt x="609" y="2177"/>
                  </a:lnTo>
                  <a:lnTo>
                    <a:pt x="599" y="2181"/>
                  </a:lnTo>
                  <a:lnTo>
                    <a:pt x="596" y="2181"/>
                  </a:lnTo>
                  <a:lnTo>
                    <a:pt x="594" y="2178"/>
                  </a:lnTo>
                  <a:lnTo>
                    <a:pt x="587" y="2177"/>
                  </a:lnTo>
                  <a:lnTo>
                    <a:pt x="587" y="2174"/>
                  </a:lnTo>
                  <a:lnTo>
                    <a:pt x="593" y="2173"/>
                  </a:lnTo>
                  <a:lnTo>
                    <a:pt x="594" y="2171"/>
                  </a:lnTo>
                  <a:lnTo>
                    <a:pt x="597" y="2169"/>
                  </a:lnTo>
                  <a:lnTo>
                    <a:pt x="597" y="2165"/>
                  </a:lnTo>
                  <a:lnTo>
                    <a:pt x="598" y="2165"/>
                  </a:lnTo>
                  <a:lnTo>
                    <a:pt x="601" y="2165"/>
                  </a:lnTo>
                  <a:lnTo>
                    <a:pt x="604" y="2165"/>
                  </a:lnTo>
                  <a:lnTo>
                    <a:pt x="604" y="2161"/>
                  </a:lnTo>
                  <a:lnTo>
                    <a:pt x="601" y="2161"/>
                  </a:lnTo>
                  <a:lnTo>
                    <a:pt x="604" y="2157"/>
                  </a:lnTo>
                  <a:lnTo>
                    <a:pt x="602" y="2155"/>
                  </a:lnTo>
                  <a:lnTo>
                    <a:pt x="607" y="2152"/>
                  </a:lnTo>
                  <a:lnTo>
                    <a:pt x="608" y="2149"/>
                  </a:lnTo>
                  <a:lnTo>
                    <a:pt x="609" y="2151"/>
                  </a:lnTo>
                  <a:lnTo>
                    <a:pt x="611" y="2149"/>
                  </a:lnTo>
                  <a:lnTo>
                    <a:pt x="613" y="2146"/>
                  </a:lnTo>
                  <a:lnTo>
                    <a:pt x="618" y="2145"/>
                  </a:lnTo>
                  <a:lnTo>
                    <a:pt x="618" y="2141"/>
                  </a:lnTo>
                  <a:lnTo>
                    <a:pt x="621" y="2140"/>
                  </a:lnTo>
                  <a:lnTo>
                    <a:pt x="616" y="2136"/>
                  </a:lnTo>
                  <a:lnTo>
                    <a:pt x="616" y="2129"/>
                  </a:lnTo>
                  <a:lnTo>
                    <a:pt x="618" y="2126"/>
                  </a:lnTo>
                  <a:lnTo>
                    <a:pt x="625" y="2123"/>
                  </a:lnTo>
                  <a:lnTo>
                    <a:pt x="630" y="2116"/>
                  </a:lnTo>
                  <a:lnTo>
                    <a:pt x="632" y="2112"/>
                  </a:lnTo>
                  <a:lnTo>
                    <a:pt x="629" y="2112"/>
                  </a:lnTo>
                  <a:lnTo>
                    <a:pt x="622" y="2112"/>
                  </a:lnTo>
                  <a:lnTo>
                    <a:pt x="619" y="2108"/>
                  </a:lnTo>
                  <a:lnTo>
                    <a:pt x="615" y="2108"/>
                  </a:lnTo>
                  <a:lnTo>
                    <a:pt x="616" y="2103"/>
                  </a:lnTo>
                  <a:lnTo>
                    <a:pt x="622" y="2098"/>
                  </a:lnTo>
                  <a:lnTo>
                    <a:pt x="622" y="2096"/>
                  </a:lnTo>
                  <a:lnTo>
                    <a:pt x="623" y="2096"/>
                  </a:lnTo>
                  <a:lnTo>
                    <a:pt x="627" y="2094"/>
                  </a:lnTo>
                  <a:lnTo>
                    <a:pt x="630" y="2093"/>
                  </a:lnTo>
                  <a:lnTo>
                    <a:pt x="630" y="2089"/>
                  </a:lnTo>
                  <a:lnTo>
                    <a:pt x="634" y="2086"/>
                  </a:lnTo>
                  <a:lnTo>
                    <a:pt x="634" y="2084"/>
                  </a:lnTo>
                  <a:lnTo>
                    <a:pt x="633" y="2082"/>
                  </a:lnTo>
                  <a:lnTo>
                    <a:pt x="629" y="2082"/>
                  </a:lnTo>
                  <a:lnTo>
                    <a:pt x="625" y="2076"/>
                  </a:lnTo>
                  <a:lnTo>
                    <a:pt x="622" y="2076"/>
                  </a:lnTo>
                  <a:lnTo>
                    <a:pt x="622" y="2074"/>
                  </a:lnTo>
                  <a:lnTo>
                    <a:pt x="621" y="2071"/>
                  </a:lnTo>
                  <a:lnTo>
                    <a:pt x="619" y="2071"/>
                  </a:lnTo>
                  <a:lnTo>
                    <a:pt x="618" y="2070"/>
                  </a:lnTo>
                  <a:lnTo>
                    <a:pt x="619" y="2068"/>
                  </a:lnTo>
                  <a:lnTo>
                    <a:pt x="621" y="2069"/>
                  </a:lnTo>
                  <a:lnTo>
                    <a:pt x="622" y="2069"/>
                  </a:lnTo>
                  <a:lnTo>
                    <a:pt x="623" y="2069"/>
                  </a:lnTo>
                  <a:lnTo>
                    <a:pt x="625" y="2065"/>
                  </a:lnTo>
                  <a:lnTo>
                    <a:pt x="623" y="2064"/>
                  </a:lnTo>
                  <a:lnTo>
                    <a:pt x="623" y="2061"/>
                  </a:lnTo>
                  <a:lnTo>
                    <a:pt x="621" y="2062"/>
                  </a:lnTo>
                  <a:lnTo>
                    <a:pt x="619" y="2062"/>
                  </a:lnTo>
                  <a:lnTo>
                    <a:pt x="621" y="2059"/>
                  </a:lnTo>
                  <a:lnTo>
                    <a:pt x="619" y="2053"/>
                  </a:lnTo>
                  <a:lnTo>
                    <a:pt x="615" y="2052"/>
                  </a:lnTo>
                  <a:lnTo>
                    <a:pt x="613" y="2049"/>
                  </a:lnTo>
                  <a:lnTo>
                    <a:pt x="613" y="2045"/>
                  </a:lnTo>
                  <a:lnTo>
                    <a:pt x="616" y="2044"/>
                  </a:lnTo>
                  <a:lnTo>
                    <a:pt x="618" y="2042"/>
                  </a:lnTo>
                  <a:lnTo>
                    <a:pt x="615" y="2033"/>
                  </a:lnTo>
                  <a:lnTo>
                    <a:pt x="609" y="2031"/>
                  </a:lnTo>
                  <a:lnTo>
                    <a:pt x="605" y="2032"/>
                  </a:lnTo>
                  <a:lnTo>
                    <a:pt x="601" y="2029"/>
                  </a:lnTo>
                  <a:lnTo>
                    <a:pt x="598" y="2031"/>
                  </a:lnTo>
                  <a:lnTo>
                    <a:pt x="598" y="2032"/>
                  </a:lnTo>
                  <a:lnTo>
                    <a:pt x="598" y="2033"/>
                  </a:lnTo>
                  <a:lnTo>
                    <a:pt x="591" y="2034"/>
                  </a:lnTo>
                  <a:lnTo>
                    <a:pt x="586" y="2033"/>
                  </a:lnTo>
                  <a:lnTo>
                    <a:pt x="584" y="2027"/>
                  </a:lnTo>
                  <a:lnTo>
                    <a:pt x="586" y="2026"/>
                  </a:lnTo>
                  <a:lnTo>
                    <a:pt x="584" y="2023"/>
                  </a:lnTo>
                  <a:lnTo>
                    <a:pt x="583" y="2016"/>
                  </a:lnTo>
                  <a:lnTo>
                    <a:pt x="586" y="2014"/>
                  </a:lnTo>
                  <a:lnTo>
                    <a:pt x="586" y="2011"/>
                  </a:lnTo>
                  <a:lnTo>
                    <a:pt x="582" y="2004"/>
                  </a:lnTo>
                  <a:lnTo>
                    <a:pt x="583" y="2000"/>
                  </a:lnTo>
                  <a:lnTo>
                    <a:pt x="580" y="2000"/>
                  </a:lnTo>
                  <a:lnTo>
                    <a:pt x="580" y="1996"/>
                  </a:lnTo>
                  <a:lnTo>
                    <a:pt x="577" y="1994"/>
                  </a:lnTo>
                  <a:lnTo>
                    <a:pt x="574" y="1996"/>
                  </a:lnTo>
                  <a:lnTo>
                    <a:pt x="573" y="1996"/>
                  </a:lnTo>
                  <a:lnTo>
                    <a:pt x="572" y="1994"/>
                  </a:lnTo>
                  <a:lnTo>
                    <a:pt x="568" y="1994"/>
                  </a:lnTo>
                  <a:lnTo>
                    <a:pt x="565" y="1990"/>
                  </a:lnTo>
                  <a:lnTo>
                    <a:pt x="565" y="1989"/>
                  </a:lnTo>
                  <a:lnTo>
                    <a:pt x="566" y="1984"/>
                  </a:lnTo>
                  <a:lnTo>
                    <a:pt x="563" y="1982"/>
                  </a:lnTo>
                  <a:lnTo>
                    <a:pt x="563" y="1978"/>
                  </a:lnTo>
                  <a:lnTo>
                    <a:pt x="568" y="1975"/>
                  </a:lnTo>
                  <a:lnTo>
                    <a:pt x="566" y="1973"/>
                  </a:lnTo>
                  <a:lnTo>
                    <a:pt x="566" y="1971"/>
                  </a:lnTo>
                  <a:lnTo>
                    <a:pt x="569" y="1970"/>
                  </a:lnTo>
                  <a:lnTo>
                    <a:pt x="569" y="1969"/>
                  </a:lnTo>
                  <a:lnTo>
                    <a:pt x="569" y="1967"/>
                  </a:lnTo>
                  <a:lnTo>
                    <a:pt x="562" y="1965"/>
                  </a:lnTo>
                  <a:lnTo>
                    <a:pt x="559" y="1962"/>
                  </a:lnTo>
                  <a:lnTo>
                    <a:pt x="549" y="1962"/>
                  </a:lnTo>
                  <a:lnTo>
                    <a:pt x="547" y="1959"/>
                  </a:lnTo>
                  <a:lnTo>
                    <a:pt x="548" y="1955"/>
                  </a:lnTo>
                  <a:lnTo>
                    <a:pt x="552" y="1946"/>
                  </a:lnTo>
                  <a:lnTo>
                    <a:pt x="551" y="1944"/>
                  </a:lnTo>
                  <a:lnTo>
                    <a:pt x="552" y="1941"/>
                  </a:lnTo>
                  <a:lnTo>
                    <a:pt x="549" y="1939"/>
                  </a:lnTo>
                  <a:lnTo>
                    <a:pt x="548" y="1933"/>
                  </a:lnTo>
                  <a:lnTo>
                    <a:pt x="548" y="1929"/>
                  </a:lnTo>
                  <a:lnTo>
                    <a:pt x="549" y="1928"/>
                  </a:lnTo>
                  <a:lnTo>
                    <a:pt x="552" y="1925"/>
                  </a:lnTo>
                  <a:lnTo>
                    <a:pt x="558" y="1925"/>
                  </a:lnTo>
                  <a:lnTo>
                    <a:pt x="561" y="1928"/>
                  </a:lnTo>
                  <a:lnTo>
                    <a:pt x="562" y="1933"/>
                  </a:lnTo>
                  <a:lnTo>
                    <a:pt x="569" y="1933"/>
                  </a:lnTo>
                  <a:lnTo>
                    <a:pt x="571" y="1932"/>
                  </a:lnTo>
                  <a:lnTo>
                    <a:pt x="572" y="1928"/>
                  </a:lnTo>
                  <a:lnTo>
                    <a:pt x="574" y="1927"/>
                  </a:lnTo>
                  <a:lnTo>
                    <a:pt x="574" y="1925"/>
                  </a:lnTo>
                  <a:lnTo>
                    <a:pt x="569" y="1923"/>
                  </a:lnTo>
                  <a:lnTo>
                    <a:pt x="572" y="1917"/>
                  </a:lnTo>
                  <a:lnTo>
                    <a:pt x="573" y="1917"/>
                  </a:lnTo>
                  <a:lnTo>
                    <a:pt x="576" y="1919"/>
                  </a:lnTo>
                  <a:lnTo>
                    <a:pt x="583" y="1921"/>
                  </a:lnTo>
                  <a:lnTo>
                    <a:pt x="587" y="1920"/>
                  </a:lnTo>
                  <a:lnTo>
                    <a:pt x="594" y="1915"/>
                  </a:lnTo>
                  <a:lnTo>
                    <a:pt x="596" y="1905"/>
                  </a:lnTo>
                  <a:lnTo>
                    <a:pt x="594" y="1904"/>
                  </a:lnTo>
                  <a:lnTo>
                    <a:pt x="591" y="1904"/>
                  </a:lnTo>
                  <a:lnTo>
                    <a:pt x="584" y="1905"/>
                  </a:lnTo>
                  <a:lnTo>
                    <a:pt x="577" y="1907"/>
                  </a:lnTo>
                  <a:lnTo>
                    <a:pt x="572" y="1903"/>
                  </a:lnTo>
                  <a:lnTo>
                    <a:pt x="572" y="1900"/>
                  </a:lnTo>
                  <a:lnTo>
                    <a:pt x="574" y="1900"/>
                  </a:lnTo>
                  <a:lnTo>
                    <a:pt x="574" y="1899"/>
                  </a:lnTo>
                  <a:lnTo>
                    <a:pt x="571" y="1896"/>
                  </a:lnTo>
                  <a:lnTo>
                    <a:pt x="572" y="1888"/>
                  </a:lnTo>
                  <a:lnTo>
                    <a:pt x="568" y="1884"/>
                  </a:lnTo>
                  <a:lnTo>
                    <a:pt x="566" y="1879"/>
                  </a:lnTo>
                  <a:lnTo>
                    <a:pt x="568" y="1874"/>
                  </a:lnTo>
                  <a:lnTo>
                    <a:pt x="572" y="1870"/>
                  </a:lnTo>
                  <a:lnTo>
                    <a:pt x="571" y="1866"/>
                  </a:lnTo>
                  <a:lnTo>
                    <a:pt x="571" y="1862"/>
                  </a:lnTo>
                  <a:lnTo>
                    <a:pt x="574" y="1862"/>
                  </a:lnTo>
                  <a:lnTo>
                    <a:pt x="576" y="1858"/>
                  </a:lnTo>
                  <a:lnTo>
                    <a:pt x="571" y="1853"/>
                  </a:lnTo>
                  <a:lnTo>
                    <a:pt x="568" y="1846"/>
                  </a:lnTo>
                  <a:lnTo>
                    <a:pt x="565" y="1843"/>
                  </a:lnTo>
                  <a:lnTo>
                    <a:pt x="563" y="1840"/>
                  </a:lnTo>
                  <a:lnTo>
                    <a:pt x="561" y="1840"/>
                  </a:lnTo>
                  <a:lnTo>
                    <a:pt x="557" y="1840"/>
                  </a:lnTo>
                  <a:lnTo>
                    <a:pt x="552" y="1840"/>
                  </a:lnTo>
                  <a:lnTo>
                    <a:pt x="549" y="1836"/>
                  </a:lnTo>
                  <a:lnTo>
                    <a:pt x="548" y="1833"/>
                  </a:lnTo>
                  <a:lnTo>
                    <a:pt x="551" y="1830"/>
                  </a:lnTo>
                  <a:lnTo>
                    <a:pt x="554" y="1824"/>
                  </a:lnTo>
                  <a:lnTo>
                    <a:pt x="551" y="1820"/>
                  </a:lnTo>
                  <a:lnTo>
                    <a:pt x="551" y="1812"/>
                  </a:lnTo>
                  <a:lnTo>
                    <a:pt x="555" y="1808"/>
                  </a:lnTo>
                  <a:lnTo>
                    <a:pt x="555" y="1807"/>
                  </a:lnTo>
                  <a:lnTo>
                    <a:pt x="551" y="1807"/>
                  </a:lnTo>
                  <a:lnTo>
                    <a:pt x="551" y="1804"/>
                  </a:lnTo>
                  <a:lnTo>
                    <a:pt x="554" y="1801"/>
                  </a:lnTo>
                  <a:lnTo>
                    <a:pt x="549" y="1795"/>
                  </a:lnTo>
                  <a:lnTo>
                    <a:pt x="554" y="1791"/>
                  </a:lnTo>
                  <a:lnTo>
                    <a:pt x="552" y="1790"/>
                  </a:lnTo>
                  <a:lnTo>
                    <a:pt x="548" y="1790"/>
                  </a:lnTo>
                  <a:lnTo>
                    <a:pt x="546" y="1791"/>
                  </a:lnTo>
                  <a:lnTo>
                    <a:pt x="543" y="1791"/>
                  </a:lnTo>
                  <a:lnTo>
                    <a:pt x="540" y="1790"/>
                  </a:lnTo>
                  <a:lnTo>
                    <a:pt x="533" y="1787"/>
                  </a:lnTo>
                  <a:lnTo>
                    <a:pt x="533" y="1783"/>
                  </a:lnTo>
                  <a:lnTo>
                    <a:pt x="533" y="1780"/>
                  </a:lnTo>
                  <a:lnTo>
                    <a:pt x="536" y="1776"/>
                  </a:lnTo>
                  <a:lnTo>
                    <a:pt x="540" y="1774"/>
                  </a:lnTo>
                  <a:lnTo>
                    <a:pt x="540" y="1771"/>
                  </a:lnTo>
                  <a:lnTo>
                    <a:pt x="537" y="1768"/>
                  </a:lnTo>
                  <a:lnTo>
                    <a:pt x="536" y="1765"/>
                  </a:lnTo>
                  <a:lnTo>
                    <a:pt x="524" y="1762"/>
                  </a:lnTo>
                  <a:lnTo>
                    <a:pt x="521" y="1761"/>
                  </a:lnTo>
                  <a:lnTo>
                    <a:pt x="515" y="1754"/>
                  </a:lnTo>
                  <a:lnTo>
                    <a:pt x="516" y="1749"/>
                  </a:lnTo>
                  <a:lnTo>
                    <a:pt x="515" y="1745"/>
                  </a:lnTo>
                  <a:lnTo>
                    <a:pt x="515" y="1741"/>
                  </a:lnTo>
                  <a:lnTo>
                    <a:pt x="496" y="1733"/>
                  </a:lnTo>
                  <a:lnTo>
                    <a:pt x="493" y="1731"/>
                  </a:lnTo>
                  <a:lnTo>
                    <a:pt x="491" y="1728"/>
                  </a:lnTo>
                  <a:lnTo>
                    <a:pt x="497" y="1722"/>
                  </a:lnTo>
                  <a:lnTo>
                    <a:pt x="498" y="1718"/>
                  </a:lnTo>
                  <a:lnTo>
                    <a:pt x="493" y="1709"/>
                  </a:lnTo>
                  <a:lnTo>
                    <a:pt x="490" y="1708"/>
                  </a:lnTo>
                  <a:lnTo>
                    <a:pt x="484" y="1711"/>
                  </a:lnTo>
                  <a:lnTo>
                    <a:pt x="480" y="1709"/>
                  </a:lnTo>
                  <a:lnTo>
                    <a:pt x="474" y="1712"/>
                  </a:lnTo>
                  <a:lnTo>
                    <a:pt x="469" y="1716"/>
                  </a:lnTo>
                  <a:lnTo>
                    <a:pt x="465" y="1713"/>
                  </a:lnTo>
                  <a:lnTo>
                    <a:pt x="463" y="1709"/>
                  </a:lnTo>
                  <a:lnTo>
                    <a:pt x="465" y="1704"/>
                  </a:lnTo>
                  <a:lnTo>
                    <a:pt x="462" y="1701"/>
                  </a:lnTo>
                  <a:lnTo>
                    <a:pt x="462" y="1697"/>
                  </a:lnTo>
                  <a:lnTo>
                    <a:pt x="463" y="1693"/>
                  </a:lnTo>
                  <a:lnTo>
                    <a:pt x="452" y="1688"/>
                  </a:lnTo>
                  <a:lnTo>
                    <a:pt x="451" y="1684"/>
                  </a:lnTo>
                  <a:lnTo>
                    <a:pt x="449" y="1683"/>
                  </a:lnTo>
                  <a:lnTo>
                    <a:pt x="449" y="1678"/>
                  </a:lnTo>
                  <a:lnTo>
                    <a:pt x="447" y="1674"/>
                  </a:lnTo>
                  <a:lnTo>
                    <a:pt x="444" y="1671"/>
                  </a:lnTo>
                  <a:lnTo>
                    <a:pt x="438" y="1669"/>
                  </a:lnTo>
                  <a:lnTo>
                    <a:pt x="431" y="1664"/>
                  </a:lnTo>
                  <a:lnTo>
                    <a:pt x="427" y="1664"/>
                  </a:lnTo>
                  <a:lnTo>
                    <a:pt x="424" y="1661"/>
                  </a:lnTo>
                  <a:lnTo>
                    <a:pt x="424" y="1658"/>
                  </a:lnTo>
                  <a:lnTo>
                    <a:pt x="427" y="1655"/>
                  </a:lnTo>
                  <a:lnTo>
                    <a:pt x="426" y="1652"/>
                  </a:lnTo>
                  <a:lnTo>
                    <a:pt x="427" y="1646"/>
                  </a:lnTo>
                  <a:lnTo>
                    <a:pt x="429" y="1644"/>
                  </a:lnTo>
                  <a:lnTo>
                    <a:pt x="431" y="1643"/>
                  </a:lnTo>
                  <a:lnTo>
                    <a:pt x="429" y="1639"/>
                  </a:lnTo>
                  <a:lnTo>
                    <a:pt x="427" y="1633"/>
                  </a:lnTo>
                  <a:lnTo>
                    <a:pt x="424" y="1630"/>
                  </a:lnTo>
                  <a:lnTo>
                    <a:pt x="422" y="1626"/>
                  </a:lnTo>
                  <a:lnTo>
                    <a:pt x="420" y="1625"/>
                  </a:lnTo>
                  <a:lnTo>
                    <a:pt x="423" y="1618"/>
                  </a:lnTo>
                  <a:lnTo>
                    <a:pt x="423" y="1616"/>
                  </a:lnTo>
                  <a:lnTo>
                    <a:pt x="419" y="1614"/>
                  </a:lnTo>
                  <a:lnTo>
                    <a:pt x="417" y="1613"/>
                  </a:lnTo>
                  <a:lnTo>
                    <a:pt x="416" y="1607"/>
                  </a:lnTo>
                  <a:lnTo>
                    <a:pt x="419" y="1604"/>
                  </a:lnTo>
                  <a:lnTo>
                    <a:pt x="419" y="1602"/>
                  </a:lnTo>
                  <a:lnTo>
                    <a:pt x="417" y="1600"/>
                  </a:lnTo>
                  <a:lnTo>
                    <a:pt x="412" y="1599"/>
                  </a:lnTo>
                  <a:lnTo>
                    <a:pt x="406" y="1592"/>
                  </a:lnTo>
                  <a:lnTo>
                    <a:pt x="402" y="1581"/>
                  </a:lnTo>
                  <a:lnTo>
                    <a:pt x="392" y="1576"/>
                  </a:lnTo>
                  <a:lnTo>
                    <a:pt x="389" y="1571"/>
                  </a:lnTo>
                  <a:lnTo>
                    <a:pt x="391" y="1567"/>
                  </a:lnTo>
                  <a:lnTo>
                    <a:pt x="394" y="1563"/>
                  </a:lnTo>
                  <a:lnTo>
                    <a:pt x="391" y="1555"/>
                  </a:lnTo>
                  <a:lnTo>
                    <a:pt x="388" y="1555"/>
                  </a:lnTo>
                  <a:lnTo>
                    <a:pt x="387" y="1555"/>
                  </a:lnTo>
                  <a:lnTo>
                    <a:pt x="377" y="1562"/>
                  </a:lnTo>
                  <a:lnTo>
                    <a:pt x="373" y="1563"/>
                  </a:lnTo>
                  <a:lnTo>
                    <a:pt x="356" y="1559"/>
                  </a:lnTo>
                  <a:lnTo>
                    <a:pt x="351" y="1548"/>
                  </a:lnTo>
                  <a:lnTo>
                    <a:pt x="338" y="1540"/>
                  </a:lnTo>
                  <a:lnTo>
                    <a:pt x="337" y="1537"/>
                  </a:lnTo>
                  <a:lnTo>
                    <a:pt x="338" y="1531"/>
                  </a:lnTo>
                  <a:lnTo>
                    <a:pt x="330" y="1518"/>
                  </a:lnTo>
                  <a:lnTo>
                    <a:pt x="312" y="1510"/>
                  </a:lnTo>
                  <a:lnTo>
                    <a:pt x="302" y="1500"/>
                  </a:lnTo>
                  <a:lnTo>
                    <a:pt x="294" y="1500"/>
                  </a:lnTo>
                  <a:lnTo>
                    <a:pt x="277" y="1487"/>
                  </a:lnTo>
                  <a:lnTo>
                    <a:pt x="274" y="1481"/>
                  </a:lnTo>
                  <a:lnTo>
                    <a:pt x="274" y="1478"/>
                  </a:lnTo>
                  <a:lnTo>
                    <a:pt x="277" y="1473"/>
                  </a:lnTo>
                  <a:lnTo>
                    <a:pt x="274" y="1469"/>
                  </a:lnTo>
                  <a:lnTo>
                    <a:pt x="272" y="1465"/>
                  </a:lnTo>
                  <a:lnTo>
                    <a:pt x="263" y="1468"/>
                  </a:lnTo>
                  <a:lnTo>
                    <a:pt x="261" y="1464"/>
                  </a:lnTo>
                  <a:lnTo>
                    <a:pt x="261" y="1456"/>
                  </a:lnTo>
                  <a:lnTo>
                    <a:pt x="266" y="1451"/>
                  </a:lnTo>
                  <a:lnTo>
                    <a:pt x="269" y="1447"/>
                  </a:lnTo>
                  <a:lnTo>
                    <a:pt x="264" y="1443"/>
                  </a:lnTo>
                  <a:lnTo>
                    <a:pt x="252" y="1439"/>
                  </a:lnTo>
                  <a:lnTo>
                    <a:pt x="248" y="1438"/>
                  </a:lnTo>
                  <a:lnTo>
                    <a:pt x="247" y="1435"/>
                  </a:lnTo>
                  <a:lnTo>
                    <a:pt x="241" y="1428"/>
                  </a:lnTo>
                  <a:lnTo>
                    <a:pt x="241" y="1426"/>
                  </a:lnTo>
                  <a:lnTo>
                    <a:pt x="237" y="1417"/>
                  </a:lnTo>
                  <a:lnTo>
                    <a:pt x="238" y="1413"/>
                  </a:lnTo>
                  <a:lnTo>
                    <a:pt x="237" y="1409"/>
                  </a:lnTo>
                  <a:lnTo>
                    <a:pt x="231" y="1406"/>
                  </a:lnTo>
                  <a:lnTo>
                    <a:pt x="219" y="1406"/>
                  </a:lnTo>
                  <a:lnTo>
                    <a:pt x="209" y="1405"/>
                  </a:lnTo>
                  <a:lnTo>
                    <a:pt x="203" y="1398"/>
                  </a:lnTo>
                  <a:lnTo>
                    <a:pt x="197" y="1393"/>
                  </a:lnTo>
                  <a:lnTo>
                    <a:pt x="189" y="1390"/>
                  </a:lnTo>
                  <a:lnTo>
                    <a:pt x="183" y="1385"/>
                  </a:lnTo>
                  <a:lnTo>
                    <a:pt x="174" y="1381"/>
                  </a:lnTo>
                  <a:lnTo>
                    <a:pt x="163" y="1378"/>
                  </a:lnTo>
                  <a:lnTo>
                    <a:pt x="159" y="1368"/>
                  </a:lnTo>
                  <a:lnTo>
                    <a:pt x="142" y="1370"/>
                  </a:lnTo>
                  <a:lnTo>
                    <a:pt x="137" y="1375"/>
                  </a:lnTo>
                  <a:lnTo>
                    <a:pt x="134" y="1375"/>
                  </a:lnTo>
                  <a:lnTo>
                    <a:pt x="131" y="1368"/>
                  </a:lnTo>
                  <a:lnTo>
                    <a:pt x="129" y="1357"/>
                  </a:lnTo>
                  <a:lnTo>
                    <a:pt x="125" y="1351"/>
                  </a:lnTo>
                  <a:lnTo>
                    <a:pt x="125" y="1348"/>
                  </a:lnTo>
                  <a:lnTo>
                    <a:pt x="123" y="1344"/>
                  </a:lnTo>
                  <a:lnTo>
                    <a:pt x="120" y="1341"/>
                  </a:lnTo>
                  <a:lnTo>
                    <a:pt x="118" y="1339"/>
                  </a:lnTo>
                  <a:lnTo>
                    <a:pt x="117" y="1339"/>
                  </a:lnTo>
                  <a:lnTo>
                    <a:pt x="117" y="1340"/>
                  </a:lnTo>
                  <a:lnTo>
                    <a:pt x="114" y="1339"/>
                  </a:lnTo>
                  <a:lnTo>
                    <a:pt x="114" y="1332"/>
                  </a:lnTo>
                  <a:lnTo>
                    <a:pt x="112" y="1331"/>
                  </a:lnTo>
                  <a:lnTo>
                    <a:pt x="110" y="1327"/>
                  </a:lnTo>
                  <a:lnTo>
                    <a:pt x="107" y="1323"/>
                  </a:lnTo>
                  <a:lnTo>
                    <a:pt x="107" y="1318"/>
                  </a:lnTo>
                  <a:lnTo>
                    <a:pt x="104" y="1316"/>
                  </a:lnTo>
                  <a:lnTo>
                    <a:pt x="104" y="1313"/>
                  </a:lnTo>
                  <a:lnTo>
                    <a:pt x="100" y="1313"/>
                  </a:lnTo>
                  <a:lnTo>
                    <a:pt x="102" y="1310"/>
                  </a:lnTo>
                  <a:lnTo>
                    <a:pt x="100" y="1310"/>
                  </a:lnTo>
                  <a:lnTo>
                    <a:pt x="98" y="1310"/>
                  </a:lnTo>
                  <a:lnTo>
                    <a:pt x="96" y="1304"/>
                  </a:lnTo>
                  <a:lnTo>
                    <a:pt x="98" y="1297"/>
                  </a:lnTo>
                  <a:lnTo>
                    <a:pt x="92" y="1293"/>
                  </a:lnTo>
                  <a:lnTo>
                    <a:pt x="85" y="1288"/>
                  </a:lnTo>
                  <a:lnTo>
                    <a:pt x="89" y="1285"/>
                  </a:lnTo>
                  <a:lnTo>
                    <a:pt x="88" y="1281"/>
                  </a:lnTo>
                  <a:lnTo>
                    <a:pt x="91" y="1274"/>
                  </a:lnTo>
                  <a:lnTo>
                    <a:pt x="96" y="1274"/>
                  </a:lnTo>
                  <a:lnTo>
                    <a:pt x="93" y="1269"/>
                  </a:lnTo>
                  <a:lnTo>
                    <a:pt x="99" y="1265"/>
                  </a:lnTo>
                  <a:lnTo>
                    <a:pt x="98" y="1260"/>
                  </a:lnTo>
                  <a:lnTo>
                    <a:pt x="102" y="1256"/>
                  </a:lnTo>
                  <a:lnTo>
                    <a:pt x="100" y="1248"/>
                  </a:lnTo>
                  <a:lnTo>
                    <a:pt x="104" y="1245"/>
                  </a:lnTo>
                  <a:lnTo>
                    <a:pt x="106" y="1241"/>
                  </a:lnTo>
                  <a:lnTo>
                    <a:pt x="104" y="1237"/>
                  </a:lnTo>
                  <a:lnTo>
                    <a:pt x="109" y="1229"/>
                  </a:lnTo>
                  <a:lnTo>
                    <a:pt x="110" y="1224"/>
                  </a:lnTo>
                  <a:lnTo>
                    <a:pt x="113" y="1222"/>
                  </a:lnTo>
                  <a:lnTo>
                    <a:pt x="114" y="1212"/>
                  </a:lnTo>
                  <a:lnTo>
                    <a:pt x="117" y="1207"/>
                  </a:lnTo>
                  <a:lnTo>
                    <a:pt x="116" y="1203"/>
                  </a:lnTo>
                  <a:lnTo>
                    <a:pt x="118" y="1202"/>
                  </a:lnTo>
                  <a:lnTo>
                    <a:pt x="117" y="1199"/>
                  </a:lnTo>
                  <a:lnTo>
                    <a:pt x="121" y="1197"/>
                  </a:lnTo>
                  <a:lnTo>
                    <a:pt x="117" y="1192"/>
                  </a:lnTo>
                  <a:lnTo>
                    <a:pt x="117" y="1189"/>
                  </a:lnTo>
                  <a:lnTo>
                    <a:pt x="117" y="1187"/>
                  </a:lnTo>
                  <a:lnTo>
                    <a:pt x="123" y="1179"/>
                  </a:lnTo>
                  <a:lnTo>
                    <a:pt x="121" y="1177"/>
                  </a:lnTo>
                  <a:lnTo>
                    <a:pt x="116" y="1170"/>
                  </a:lnTo>
                  <a:lnTo>
                    <a:pt x="120" y="1166"/>
                  </a:lnTo>
                  <a:lnTo>
                    <a:pt x="120" y="1162"/>
                  </a:lnTo>
                  <a:lnTo>
                    <a:pt x="125" y="1154"/>
                  </a:lnTo>
                  <a:lnTo>
                    <a:pt x="124" y="1153"/>
                  </a:lnTo>
                  <a:lnTo>
                    <a:pt x="127" y="1150"/>
                  </a:lnTo>
                  <a:lnTo>
                    <a:pt x="125" y="1148"/>
                  </a:lnTo>
                  <a:lnTo>
                    <a:pt x="125" y="1147"/>
                  </a:lnTo>
                  <a:lnTo>
                    <a:pt x="129" y="1145"/>
                  </a:lnTo>
                  <a:lnTo>
                    <a:pt x="134" y="1149"/>
                  </a:lnTo>
                  <a:lnTo>
                    <a:pt x="137" y="1149"/>
                  </a:lnTo>
                  <a:lnTo>
                    <a:pt x="148" y="1141"/>
                  </a:lnTo>
                  <a:lnTo>
                    <a:pt x="152" y="1140"/>
                  </a:lnTo>
                  <a:lnTo>
                    <a:pt x="155" y="1140"/>
                  </a:lnTo>
                  <a:lnTo>
                    <a:pt x="163" y="1145"/>
                  </a:lnTo>
                  <a:lnTo>
                    <a:pt x="170" y="1145"/>
                  </a:lnTo>
                  <a:lnTo>
                    <a:pt x="174" y="1149"/>
                  </a:lnTo>
                  <a:lnTo>
                    <a:pt x="178" y="1148"/>
                  </a:lnTo>
                  <a:lnTo>
                    <a:pt x="180" y="1145"/>
                  </a:lnTo>
                  <a:lnTo>
                    <a:pt x="180" y="1144"/>
                  </a:lnTo>
                  <a:lnTo>
                    <a:pt x="173" y="1140"/>
                  </a:lnTo>
                  <a:lnTo>
                    <a:pt x="171" y="1132"/>
                  </a:lnTo>
                  <a:lnTo>
                    <a:pt x="164" y="1127"/>
                  </a:lnTo>
                  <a:lnTo>
                    <a:pt x="166" y="1123"/>
                  </a:lnTo>
                  <a:lnTo>
                    <a:pt x="162" y="1117"/>
                  </a:lnTo>
                  <a:lnTo>
                    <a:pt x="160" y="1110"/>
                  </a:lnTo>
                  <a:lnTo>
                    <a:pt x="160" y="1103"/>
                  </a:lnTo>
                  <a:lnTo>
                    <a:pt x="160" y="1098"/>
                  </a:lnTo>
                  <a:lnTo>
                    <a:pt x="157" y="1097"/>
                  </a:lnTo>
                  <a:lnTo>
                    <a:pt x="156" y="1094"/>
                  </a:lnTo>
                  <a:lnTo>
                    <a:pt x="156" y="1087"/>
                  </a:lnTo>
                  <a:lnTo>
                    <a:pt x="164" y="1073"/>
                  </a:lnTo>
                  <a:lnTo>
                    <a:pt x="164" y="1070"/>
                  </a:lnTo>
                  <a:lnTo>
                    <a:pt x="167" y="1067"/>
                  </a:lnTo>
                  <a:lnTo>
                    <a:pt x="170" y="1065"/>
                  </a:lnTo>
                  <a:lnTo>
                    <a:pt x="170" y="1063"/>
                  </a:lnTo>
                  <a:lnTo>
                    <a:pt x="167" y="1061"/>
                  </a:lnTo>
                  <a:lnTo>
                    <a:pt x="170" y="1060"/>
                  </a:lnTo>
                  <a:lnTo>
                    <a:pt x="170" y="1055"/>
                  </a:lnTo>
                  <a:lnTo>
                    <a:pt x="166" y="1049"/>
                  </a:lnTo>
                  <a:lnTo>
                    <a:pt x="156" y="1048"/>
                  </a:lnTo>
                  <a:lnTo>
                    <a:pt x="145" y="1038"/>
                  </a:lnTo>
                  <a:lnTo>
                    <a:pt x="137" y="1035"/>
                  </a:lnTo>
                  <a:lnTo>
                    <a:pt x="135" y="1032"/>
                  </a:lnTo>
                  <a:lnTo>
                    <a:pt x="137" y="1029"/>
                  </a:lnTo>
                  <a:lnTo>
                    <a:pt x="135" y="1028"/>
                  </a:lnTo>
                  <a:lnTo>
                    <a:pt x="135" y="1020"/>
                  </a:lnTo>
                  <a:lnTo>
                    <a:pt x="134" y="1018"/>
                  </a:lnTo>
                  <a:lnTo>
                    <a:pt x="134" y="1012"/>
                  </a:lnTo>
                  <a:lnTo>
                    <a:pt x="139" y="1007"/>
                  </a:lnTo>
                  <a:lnTo>
                    <a:pt x="141" y="998"/>
                  </a:lnTo>
                  <a:lnTo>
                    <a:pt x="143" y="993"/>
                  </a:lnTo>
                  <a:lnTo>
                    <a:pt x="142" y="990"/>
                  </a:lnTo>
                  <a:lnTo>
                    <a:pt x="143" y="984"/>
                  </a:lnTo>
                  <a:lnTo>
                    <a:pt x="146" y="979"/>
                  </a:lnTo>
                  <a:lnTo>
                    <a:pt x="143" y="970"/>
                  </a:lnTo>
                  <a:lnTo>
                    <a:pt x="143" y="962"/>
                  </a:lnTo>
                  <a:lnTo>
                    <a:pt x="145" y="961"/>
                  </a:lnTo>
                  <a:lnTo>
                    <a:pt x="157" y="961"/>
                  </a:lnTo>
                  <a:lnTo>
                    <a:pt x="160" y="958"/>
                  </a:lnTo>
                  <a:lnTo>
                    <a:pt x="162" y="954"/>
                  </a:lnTo>
                  <a:lnTo>
                    <a:pt x="163" y="949"/>
                  </a:lnTo>
                  <a:lnTo>
                    <a:pt x="162" y="945"/>
                  </a:lnTo>
                  <a:lnTo>
                    <a:pt x="163" y="941"/>
                  </a:lnTo>
                  <a:lnTo>
                    <a:pt x="162" y="938"/>
                  </a:lnTo>
                  <a:lnTo>
                    <a:pt x="159" y="933"/>
                  </a:lnTo>
                  <a:lnTo>
                    <a:pt x="160" y="926"/>
                  </a:lnTo>
                  <a:lnTo>
                    <a:pt x="157" y="923"/>
                  </a:lnTo>
                  <a:lnTo>
                    <a:pt x="157" y="921"/>
                  </a:lnTo>
                  <a:lnTo>
                    <a:pt x="155" y="918"/>
                  </a:lnTo>
                  <a:lnTo>
                    <a:pt x="153" y="914"/>
                  </a:lnTo>
                  <a:lnTo>
                    <a:pt x="151" y="911"/>
                  </a:lnTo>
                  <a:lnTo>
                    <a:pt x="141" y="909"/>
                  </a:lnTo>
                  <a:lnTo>
                    <a:pt x="137" y="905"/>
                  </a:lnTo>
                  <a:lnTo>
                    <a:pt x="135" y="900"/>
                  </a:lnTo>
                  <a:lnTo>
                    <a:pt x="137" y="896"/>
                  </a:lnTo>
                  <a:lnTo>
                    <a:pt x="138" y="892"/>
                  </a:lnTo>
                  <a:lnTo>
                    <a:pt x="132" y="887"/>
                  </a:lnTo>
                  <a:lnTo>
                    <a:pt x="134" y="883"/>
                  </a:lnTo>
                  <a:lnTo>
                    <a:pt x="132" y="872"/>
                  </a:lnTo>
                  <a:lnTo>
                    <a:pt x="134" y="868"/>
                  </a:lnTo>
                  <a:lnTo>
                    <a:pt x="139" y="862"/>
                  </a:lnTo>
                  <a:lnTo>
                    <a:pt x="146" y="841"/>
                  </a:lnTo>
                  <a:lnTo>
                    <a:pt x="104" y="824"/>
                  </a:lnTo>
                  <a:lnTo>
                    <a:pt x="75" y="799"/>
                  </a:lnTo>
                  <a:lnTo>
                    <a:pt x="70" y="789"/>
                  </a:lnTo>
                  <a:lnTo>
                    <a:pt x="28" y="726"/>
                  </a:lnTo>
                  <a:lnTo>
                    <a:pt x="6" y="671"/>
                  </a:lnTo>
                  <a:lnTo>
                    <a:pt x="7" y="663"/>
                  </a:lnTo>
                  <a:lnTo>
                    <a:pt x="24" y="631"/>
                  </a:lnTo>
                  <a:lnTo>
                    <a:pt x="7" y="597"/>
                  </a:lnTo>
                  <a:lnTo>
                    <a:pt x="0" y="586"/>
                  </a:lnTo>
                  <a:lnTo>
                    <a:pt x="21" y="533"/>
                  </a:lnTo>
                  <a:lnTo>
                    <a:pt x="27" y="531"/>
                  </a:lnTo>
                  <a:lnTo>
                    <a:pt x="32" y="535"/>
                  </a:lnTo>
                  <a:lnTo>
                    <a:pt x="35" y="534"/>
                  </a:lnTo>
                  <a:lnTo>
                    <a:pt x="38" y="530"/>
                  </a:lnTo>
                  <a:lnTo>
                    <a:pt x="35" y="516"/>
                  </a:lnTo>
                  <a:lnTo>
                    <a:pt x="39" y="507"/>
                  </a:lnTo>
                  <a:lnTo>
                    <a:pt x="43" y="503"/>
                  </a:lnTo>
                  <a:lnTo>
                    <a:pt x="60" y="499"/>
                  </a:lnTo>
                  <a:lnTo>
                    <a:pt x="66" y="491"/>
                  </a:lnTo>
                  <a:lnTo>
                    <a:pt x="64" y="485"/>
                  </a:lnTo>
                  <a:lnTo>
                    <a:pt x="59" y="472"/>
                  </a:lnTo>
                  <a:lnTo>
                    <a:pt x="60" y="465"/>
                  </a:lnTo>
                  <a:lnTo>
                    <a:pt x="63" y="461"/>
                  </a:lnTo>
                  <a:lnTo>
                    <a:pt x="77" y="461"/>
                  </a:lnTo>
                  <a:lnTo>
                    <a:pt x="84" y="457"/>
                  </a:lnTo>
                  <a:lnTo>
                    <a:pt x="85" y="463"/>
                  </a:lnTo>
                  <a:lnTo>
                    <a:pt x="91" y="463"/>
                  </a:lnTo>
                  <a:lnTo>
                    <a:pt x="109" y="440"/>
                  </a:lnTo>
                  <a:lnTo>
                    <a:pt x="121" y="437"/>
                  </a:lnTo>
                  <a:lnTo>
                    <a:pt x="129" y="432"/>
                  </a:lnTo>
                  <a:lnTo>
                    <a:pt x="132" y="431"/>
                  </a:lnTo>
                  <a:lnTo>
                    <a:pt x="137" y="419"/>
                  </a:lnTo>
                  <a:lnTo>
                    <a:pt x="148" y="414"/>
                  </a:lnTo>
                  <a:lnTo>
                    <a:pt x="152" y="412"/>
                  </a:lnTo>
                  <a:lnTo>
                    <a:pt x="156" y="412"/>
                  </a:lnTo>
                  <a:lnTo>
                    <a:pt x="159" y="414"/>
                  </a:lnTo>
                  <a:lnTo>
                    <a:pt x="162" y="416"/>
                  </a:lnTo>
                  <a:lnTo>
                    <a:pt x="164" y="416"/>
                  </a:lnTo>
                  <a:lnTo>
                    <a:pt x="170" y="415"/>
                  </a:lnTo>
                  <a:lnTo>
                    <a:pt x="174" y="412"/>
                  </a:lnTo>
                  <a:lnTo>
                    <a:pt x="180" y="416"/>
                  </a:lnTo>
                  <a:lnTo>
                    <a:pt x="184" y="416"/>
                  </a:lnTo>
                  <a:lnTo>
                    <a:pt x="194" y="409"/>
                  </a:lnTo>
                  <a:lnTo>
                    <a:pt x="203" y="404"/>
                  </a:lnTo>
                  <a:lnTo>
                    <a:pt x="209" y="402"/>
                  </a:lnTo>
                  <a:lnTo>
                    <a:pt x="219" y="397"/>
                  </a:lnTo>
                  <a:lnTo>
                    <a:pt x="220" y="395"/>
                  </a:lnTo>
                  <a:lnTo>
                    <a:pt x="223" y="398"/>
                  </a:lnTo>
                  <a:lnTo>
                    <a:pt x="224" y="398"/>
                  </a:lnTo>
                  <a:lnTo>
                    <a:pt x="234" y="390"/>
                  </a:lnTo>
                  <a:lnTo>
                    <a:pt x="237" y="391"/>
                  </a:lnTo>
                  <a:lnTo>
                    <a:pt x="239" y="391"/>
                  </a:lnTo>
                  <a:lnTo>
                    <a:pt x="244" y="379"/>
                  </a:lnTo>
                  <a:lnTo>
                    <a:pt x="242" y="376"/>
                  </a:lnTo>
                  <a:lnTo>
                    <a:pt x="244" y="373"/>
                  </a:lnTo>
                  <a:lnTo>
                    <a:pt x="249" y="367"/>
                  </a:lnTo>
                  <a:lnTo>
                    <a:pt x="255" y="367"/>
                  </a:lnTo>
                  <a:lnTo>
                    <a:pt x="261" y="364"/>
                  </a:lnTo>
                  <a:lnTo>
                    <a:pt x="266" y="353"/>
                  </a:lnTo>
                  <a:lnTo>
                    <a:pt x="270" y="352"/>
                  </a:lnTo>
                  <a:lnTo>
                    <a:pt x="272" y="348"/>
                  </a:lnTo>
                  <a:lnTo>
                    <a:pt x="283" y="342"/>
                  </a:lnTo>
                  <a:lnTo>
                    <a:pt x="289" y="341"/>
                  </a:lnTo>
                  <a:lnTo>
                    <a:pt x="291" y="339"/>
                  </a:lnTo>
                  <a:lnTo>
                    <a:pt x="302" y="337"/>
                  </a:lnTo>
                  <a:lnTo>
                    <a:pt x="303" y="337"/>
                  </a:lnTo>
                  <a:lnTo>
                    <a:pt x="306" y="339"/>
                  </a:lnTo>
                  <a:lnTo>
                    <a:pt x="313" y="339"/>
                  </a:lnTo>
                  <a:lnTo>
                    <a:pt x="316" y="342"/>
                  </a:lnTo>
                  <a:lnTo>
                    <a:pt x="319" y="344"/>
                  </a:lnTo>
                  <a:lnTo>
                    <a:pt x="331" y="342"/>
                  </a:lnTo>
                  <a:lnTo>
                    <a:pt x="337" y="348"/>
                  </a:lnTo>
                  <a:lnTo>
                    <a:pt x="345" y="349"/>
                  </a:lnTo>
                  <a:lnTo>
                    <a:pt x="349" y="350"/>
                  </a:lnTo>
                  <a:lnTo>
                    <a:pt x="361" y="350"/>
                  </a:lnTo>
                  <a:lnTo>
                    <a:pt x="364" y="348"/>
                  </a:lnTo>
                  <a:lnTo>
                    <a:pt x="367" y="347"/>
                  </a:lnTo>
                  <a:lnTo>
                    <a:pt x="370" y="348"/>
                  </a:lnTo>
                  <a:lnTo>
                    <a:pt x="374" y="350"/>
                  </a:lnTo>
                  <a:lnTo>
                    <a:pt x="376" y="350"/>
                  </a:lnTo>
                  <a:lnTo>
                    <a:pt x="386" y="348"/>
                  </a:lnTo>
                  <a:lnTo>
                    <a:pt x="391" y="341"/>
                  </a:lnTo>
                  <a:lnTo>
                    <a:pt x="401" y="341"/>
                  </a:lnTo>
                  <a:lnTo>
                    <a:pt x="406" y="344"/>
                  </a:lnTo>
                  <a:lnTo>
                    <a:pt x="405" y="349"/>
                  </a:lnTo>
                  <a:lnTo>
                    <a:pt x="406" y="350"/>
                  </a:lnTo>
                  <a:lnTo>
                    <a:pt x="415" y="353"/>
                  </a:lnTo>
                  <a:lnTo>
                    <a:pt x="422" y="356"/>
                  </a:lnTo>
                  <a:lnTo>
                    <a:pt x="427" y="364"/>
                  </a:lnTo>
                  <a:lnTo>
                    <a:pt x="431" y="361"/>
                  </a:lnTo>
                  <a:lnTo>
                    <a:pt x="437" y="361"/>
                  </a:lnTo>
                  <a:lnTo>
                    <a:pt x="440" y="366"/>
                  </a:lnTo>
                  <a:lnTo>
                    <a:pt x="445" y="365"/>
                  </a:lnTo>
                  <a:lnTo>
                    <a:pt x="452" y="370"/>
                  </a:lnTo>
                  <a:lnTo>
                    <a:pt x="458" y="372"/>
                  </a:lnTo>
                  <a:lnTo>
                    <a:pt x="463" y="376"/>
                  </a:lnTo>
                  <a:lnTo>
                    <a:pt x="466" y="374"/>
                  </a:lnTo>
                  <a:lnTo>
                    <a:pt x="474" y="367"/>
                  </a:lnTo>
                  <a:lnTo>
                    <a:pt x="479" y="369"/>
                  </a:lnTo>
                  <a:lnTo>
                    <a:pt x="486" y="365"/>
                  </a:lnTo>
                  <a:lnTo>
                    <a:pt x="490" y="361"/>
                  </a:lnTo>
                  <a:lnTo>
                    <a:pt x="490" y="356"/>
                  </a:lnTo>
                  <a:lnTo>
                    <a:pt x="490" y="353"/>
                  </a:lnTo>
                  <a:lnTo>
                    <a:pt x="499" y="350"/>
                  </a:lnTo>
                  <a:lnTo>
                    <a:pt x="501" y="345"/>
                  </a:lnTo>
                  <a:lnTo>
                    <a:pt x="507" y="344"/>
                  </a:lnTo>
                  <a:lnTo>
                    <a:pt x="508" y="347"/>
                  </a:lnTo>
                  <a:lnTo>
                    <a:pt x="516" y="348"/>
                  </a:lnTo>
                  <a:lnTo>
                    <a:pt x="523" y="347"/>
                  </a:lnTo>
                  <a:lnTo>
                    <a:pt x="529" y="350"/>
                  </a:lnTo>
                  <a:lnTo>
                    <a:pt x="530" y="350"/>
                  </a:lnTo>
                  <a:lnTo>
                    <a:pt x="532" y="349"/>
                  </a:lnTo>
                  <a:lnTo>
                    <a:pt x="537" y="349"/>
                  </a:lnTo>
                  <a:lnTo>
                    <a:pt x="538" y="353"/>
                  </a:lnTo>
                  <a:lnTo>
                    <a:pt x="544" y="353"/>
                  </a:lnTo>
                  <a:lnTo>
                    <a:pt x="552" y="361"/>
                  </a:lnTo>
                  <a:lnTo>
                    <a:pt x="561" y="364"/>
                  </a:lnTo>
                  <a:lnTo>
                    <a:pt x="561" y="366"/>
                  </a:lnTo>
                  <a:lnTo>
                    <a:pt x="566" y="369"/>
                  </a:lnTo>
                  <a:lnTo>
                    <a:pt x="571" y="366"/>
                  </a:lnTo>
                  <a:lnTo>
                    <a:pt x="580" y="364"/>
                  </a:lnTo>
                  <a:lnTo>
                    <a:pt x="584" y="361"/>
                  </a:lnTo>
                  <a:lnTo>
                    <a:pt x="591" y="361"/>
                  </a:lnTo>
                  <a:lnTo>
                    <a:pt x="596" y="356"/>
                  </a:lnTo>
                  <a:lnTo>
                    <a:pt x="599" y="356"/>
                  </a:lnTo>
                  <a:lnTo>
                    <a:pt x="602" y="357"/>
                  </a:lnTo>
                  <a:lnTo>
                    <a:pt x="605" y="357"/>
                  </a:lnTo>
                  <a:lnTo>
                    <a:pt x="608" y="353"/>
                  </a:lnTo>
                  <a:lnTo>
                    <a:pt x="612" y="352"/>
                  </a:lnTo>
                  <a:lnTo>
                    <a:pt x="612" y="348"/>
                  </a:lnTo>
                  <a:lnTo>
                    <a:pt x="615" y="345"/>
                  </a:lnTo>
                  <a:lnTo>
                    <a:pt x="616" y="344"/>
                  </a:lnTo>
                  <a:lnTo>
                    <a:pt x="615" y="342"/>
                  </a:lnTo>
                  <a:lnTo>
                    <a:pt x="612" y="341"/>
                  </a:lnTo>
                  <a:lnTo>
                    <a:pt x="612" y="337"/>
                  </a:lnTo>
                  <a:lnTo>
                    <a:pt x="613" y="335"/>
                  </a:lnTo>
                  <a:lnTo>
                    <a:pt x="618" y="335"/>
                  </a:lnTo>
                  <a:lnTo>
                    <a:pt x="621" y="333"/>
                  </a:lnTo>
                  <a:lnTo>
                    <a:pt x="622" y="327"/>
                  </a:lnTo>
                  <a:lnTo>
                    <a:pt x="625" y="324"/>
                  </a:lnTo>
                  <a:lnTo>
                    <a:pt x="626" y="316"/>
                  </a:lnTo>
                  <a:lnTo>
                    <a:pt x="625" y="312"/>
                  </a:lnTo>
                  <a:lnTo>
                    <a:pt x="625" y="308"/>
                  </a:lnTo>
                  <a:lnTo>
                    <a:pt x="623" y="304"/>
                  </a:lnTo>
                  <a:lnTo>
                    <a:pt x="623" y="298"/>
                  </a:lnTo>
                  <a:lnTo>
                    <a:pt x="625" y="295"/>
                  </a:lnTo>
                  <a:lnTo>
                    <a:pt x="630" y="294"/>
                  </a:lnTo>
                  <a:lnTo>
                    <a:pt x="632" y="289"/>
                  </a:lnTo>
                  <a:lnTo>
                    <a:pt x="638" y="286"/>
                  </a:lnTo>
                  <a:lnTo>
                    <a:pt x="643" y="282"/>
                  </a:lnTo>
                  <a:lnTo>
                    <a:pt x="646" y="282"/>
                  </a:lnTo>
                  <a:lnTo>
                    <a:pt x="648" y="282"/>
                  </a:lnTo>
                  <a:lnTo>
                    <a:pt x="652" y="286"/>
                  </a:lnTo>
                  <a:lnTo>
                    <a:pt x="676" y="286"/>
                  </a:lnTo>
                  <a:lnTo>
                    <a:pt x="683" y="285"/>
                  </a:lnTo>
                  <a:lnTo>
                    <a:pt x="686" y="282"/>
                  </a:lnTo>
                  <a:lnTo>
                    <a:pt x="687" y="281"/>
                  </a:lnTo>
                  <a:lnTo>
                    <a:pt x="697" y="278"/>
                  </a:lnTo>
                  <a:lnTo>
                    <a:pt x="703" y="278"/>
                  </a:lnTo>
                  <a:lnTo>
                    <a:pt x="707" y="275"/>
                  </a:lnTo>
                  <a:lnTo>
                    <a:pt x="712" y="274"/>
                  </a:lnTo>
                  <a:lnTo>
                    <a:pt x="719" y="275"/>
                  </a:lnTo>
                  <a:lnTo>
                    <a:pt x="725" y="274"/>
                  </a:lnTo>
                  <a:lnTo>
                    <a:pt x="730" y="277"/>
                  </a:lnTo>
                  <a:lnTo>
                    <a:pt x="736" y="277"/>
                  </a:lnTo>
                  <a:lnTo>
                    <a:pt x="746" y="272"/>
                  </a:lnTo>
                  <a:lnTo>
                    <a:pt x="748" y="272"/>
                  </a:lnTo>
                  <a:lnTo>
                    <a:pt x="751" y="267"/>
                  </a:lnTo>
                  <a:lnTo>
                    <a:pt x="754" y="267"/>
                  </a:lnTo>
                  <a:lnTo>
                    <a:pt x="758" y="270"/>
                  </a:lnTo>
                  <a:lnTo>
                    <a:pt x="769" y="267"/>
                  </a:lnTo>
                  <a:lnTo>
                    <a:pt x="772" y="267"/>
                  </a:lnTo>
                  <a:lnTo>
                    <a:pt x="772" y="273"/>
                  </a:lnTo>
                  <a:lnTo>
                    <a:pt x="778" y="274"/>
                  </a:lnTo>
                  <a:lnTo>
                    <a:pt x="782" y="277"/>
                  </a:lnTo>
                  <a:lnTo>
                    <a:pt x="782" y="282"/>
                  </a:lnTo>
                  <a:lnTo>
                    <a:pt x="786" y="290"/>
                  </a:lnTo>
                  <a:lnTo>
                    <a:pt x="789" y="290"/>
                  </a:lnTo>
                  <a:lnTo>
                    <a:pt x="793" y="289"/>
                  </a:lnTo>
                  <a:lnTo>
                    <a:pt x="797" y="285"/>
                  </a:lnTo>
                  <a:lnTo>
                    <a:pt x="801" y="286"/>
                  </a:lnTo>
                  <a:lnTo>
                    <a:pt x="801" y="289"/>
                  </a:lnTo>
                  <a:lnTo>
                    <a:pt x="803" y="289"/>
                  </a:lnTo>
                  <a:lnTo>
                    <a:pt x="808" y="286"/>
                  </a:lnTo>
                  <a:lnTo>
                    <a:pt x="810" y="289"/>
                  </a:lnTo>
                  <a:lnTo>
                    <a:pt x="814" y="289"/>
                  </a:lnTo>
                  <a:lnTo>
                    <a:pt x="826" y="285"/>
                  </a:lnTo>
                  <a:lnTo>
                    <a:pt x="826" y="281"/>
                  </a:lnTo>
                  <a:lnTo>
                    <a:pt x="828" y="278"/>
                  </a:lnTo>
                  <a:lnTo>
                    <a:pt x="836" y="277"/>
                  </a:lnTo>
                  <a:lnTo>
                    <a:pt x="842" y="273"/>
                  </a:lnTo>
                  <a:lnTo>
                    <a:pt x="845" y="260"/>
                  </a:lnTo>
                  <a:lnTo>
                    <a:pt x="847" y="256"/>
                  </a:lnTo>
                  <a:lnTo>
                    <a:pt x="847" y="253"/>
                  </a:lnTo>
                  <a:lnTo>
                    <a:pt x="850" y="250"/>
                  </a:lnTo>
                  <a:lnTo>
                    <a:pt x="854" y="250"/>
                  </a:lnTo>
                  <a:lnTo>
                    <a:pt x="862" y="245"/>
                  </a:lnTo>
                  <a:lnTo>
                    <a:pt x="865" y="245"/>
                  </a:lnTo>
                  <a:lnTo>
                    <a:pt x="868" y="245"/>
                  </a:lnTo>
                  <a:lnTo>
                    <a:pt x="871" y="244"/>
                  </a:lnTo>
                  <a:lnTo>
                    <a:pt x="875" y="245"/>
                  </a:lnTo>
                  <a:lnTo>
                    <a:pt x="876" y="245"/>
                  </a:lnTo>
                  <a:lnTo>
                    <a:pt x="882" y="248"/>
                  </a:lnTo>
                  <a:lnTo>
                    <a:pt x="885" y="250"/>
                  </a:lnTo>
                  <a:lnTo>
                    <a:pt x="889" y="260"/>
                  </a:lnTo>
                  <a:lnTo>
                    <a:pt x="895" y="260"/>
                  </a:lnTo>
                  <a:lnTo>
                    <a:pt x="898" y="262"/>
                  </a:lnTo>
                  <a:lnTo>
                    <a:pt x="900" y="263"/>
                  </a:lnTo>
                  <a:lnTo>
                    <a:pt x="900" y="270"/>
                  </a:lnTo>
                  <a:lnTo>
                    <a:pt x="901" y="273"/>
                  </a:lnTo>
                  <a:lnTo>
                    <a:pt x="907" y="275"/>
                  </a:lnTo>
                  <a:lnTo>
                    <a:pt x="912" y="274"/>
                  </a:lnTo>
                  <a:lnTo>
                    <a:pt x="914" y="274"/>
                  </a:lnTo>
                  <a:lnTo>
                    <a:pt x="918" y="277"/>
                  </a:lnTo>
                  <a:lnTo>
                    <a:pt x="922" y="281"/>
                  </a:lnTo>
                  <a:lnTo>
                    <a:pt x="926" y="282"/>
                  </a:lnTo>
                  <a:lnTo>
                    <a:pt x="931" y="289"/>
                  </a:lnTo>
                  <a:lnTo>
                    <a:pt x="935" y="289"/>
                  </a:lnTo>
                  <a:lnTo>
                    <a:pt x="937" y="285"/>
                  </a:lnTo>
                  <a:lnTo>
                    <a:pt x="950" y="285"/>
                  </a:lnTo>
                  <a:lnTo>
                    <a:pt x="951" y="285"/>
                  </a:lnTo>
                  <a:lnTo>
                    <a:pt x="956" y="279"/>
                  </a:lnTo>
                  <a:lnTo>
                    <a:pt x="956" y="277"/>
                  </a:lnTo>
                  <a:lnTo>
                    <a:pt x="954" y="273"/>
                  </a:lnTo>
                  <a:lnTo>
                    <a:pt x="956" y="267"/>
                  </a:lnTo>
                  <a:lnTo>
                    <a:pt x="964" y="263"/>
                  </a:lnTo>
                  <a:lnTo>
                    <a:pt x="967" y="260"/>
                  </a:lnTo>
                  <a:lnTo>
                    <a:pt x="970" y="256"/>
                  </a:lnTo>
                  <a:lnTo>
                    <a:pt x="974" y="256"/>
                  </a:lnTo>
                  <a:lnTo>
                    <a:pt x="976" y="257"/>
                  </a:lnTo>
                  <a:lnTo>
                    <a:pt x="979" y="256"/>
                  </a:lnTo>
                  <a:lnTo>
                    <a:pt x="986" y="249"/>
                  </a:lnTo>
                  <a:lnTo>
                    <a:pt x="985" y="245"/>
                  </a:lnTo>
                  <a:lnTo>
                    <a:pt x="990" y="240"/>
                  </a:lnTo>
                  <a:lnTo>
                    <a:pt x="993" y="231"/>
                  </a:lnTo>
                  <a:lnTo>
                    <a:pt x="1000" y="228"/>
                  </a:lnTo>
                  <a:lnTo>
                    <a:pt x="1010" y="227"/>
                  </a:lnTo>
                  <a:lnTo>
                    <a:pt x="1014" y="223"/>
                  </a:lnTo>
                  <a:lnTo>
                    <a:pt x="1014" y="217"/>
                  </a:lnTo>
                  <a:lnTo>
                    <a:pt x="1024" y="215"/>
                  </a:lnTo>
                  <a:lnTo>
                    <a:pt x="1025" y="211"/>
                  </a:lnTo>
                  <a:lnTo>
                    <a:pt x="1025" y="208"/>
                  </a:lnTo>
                  <a:lnTo>
                    <a:pt x="1027" y="206"/>
                  </a:lnTo>
                  <a:lnTo>
                    <a:pt x="1035" y="203"/>
                  </a:lnTo>
                  <a:lnTo>
                    <a:pt x="1035" y="200"/>
                  </a:lnTo>
                  <a:lnTo>
                    <a:pt x="1033" y="196"/>
                  </a:lnTo>
                  <a:lnTo>
                    <a:pt x="1035" y="195"/>
                  </a:lnTo>
                  <a:lnTo>
                    <a:pt x="1039" y="191"/>
                  </a:lnTo>
                  <a:lnTo>
                    <a:pt x="1039" y="186"/>
                  </a:lnTo>
                  <a:lnTo>
                    <a:pt x="1038" y="181"/>
                  </a:lnTo>
                  <a:lnTo>
                    <a:pt x="1038" y="178"/>
                  </a:lnTo>
                  <a:lnTo>
                    <a:pt x="1039" y="173"/>
                  </a:lnTo>
                  <a:lnTo>
                    <a:pt x="1045" y="169"/>
                  </a:lnTo>
                  <a:lnTo>
                    <a:pt x="1050" y="166"/>
                  </a:lnTo>
                  <a:lnTo>
                    <a:pt x="1063" y="166"/>
                  </a:lnTo>
                  <a:lnTo>
                    <a:pt x="1066" y="166"/>
                  </a:lnTo>
                  <a:lnTo>
                    <a:pt x="1068" y="170"/>
                  </a:lnTo>
                  <a:lnTo>
                    <a:pt x="1071" y="170"/>
                  </a:lnTo>
                  <a:lnTo>
                    <a:pt x="1074" y="169"/>
                  </a:lnTo>
                  <a:lnTo>
                    <a:pt x="1075" y="165"/>
                  </a:lnTo>
                  <a:lnTo>
                    <a:pt x="1081" y="162"/>
                  </a:lnTo>
                  <a:lnTo>
                    <a:pt x="1082" y="158"/>
                  </a:lnTo>
                  <a:lnTo>
                    <a:pt x="1088" y="148"/>
                  </a:lnTo>
                  <a:lnTo>
                    <a:pt x="1093" y="148"/>
                  </a:lnTo>
                  <a:lnTo>
                    <a:pt x="1100" y="148"/>
                  </a:lnTo>
                  <a:lnTo>
                    <a:pt x="1106" y="144"/>
                  </a:lnTo>
                  <a:lnTo>
                    <a:pt x="1110" y="144"/>
                  </a:lnTo>
                  <a:lnTo>
                    <a:pt x="1114" y="148"/>
                  </a:lnTo>
                  <a:lnTo>
                    <a:pt x="1121" y="146"/>
                  </a:lnTo>
                  <a:lnTo>
                    <a:pt x="1122" y="142"/>
                  </a:lnTo>
                  <a:lnTo>
                    <a:pt x="1132" y="142"/>
                  </a:lnTo>
                  <a:lnTo>
                    <a:pt x="1138" y="144"/>
                  </a:lnTo>
                  <a:lnTo>
                    <a:pt x="1146" y="140"/>
                  </a:lnTo>
                  <a:lnTo>
                    <a:pt x="1145" y="137"/>
                  </a:lnTo>
                  <a:lnTo>
                    <a:pt x="1146" y="134"/>
                  </a:lnTo>
                  <a:lnTo>
                    <a:pt x="1160" y="129"/>
                  </a:lnTo>
                  <a:lnTo>
                    <a:pt x="1167" y="121"/>
                  </a:lnTo>
                  <a:lnTo>
                    <a:pt x="1172" y="124"/>
                  </a:lnTo>
                  <a:lnTo>
                    <a:pt x="1175" y="121"/>
                  </a:lnTo>
                  <a:lnTo>
                    <a:pt x="1177" y="121"/>
                  </a:lnTo>
                  <a:lnTo>
                    <a:pt x="1177" y="117"/>
                  </a:lnTo>
                  <a:lnTo>
                    <a:pt x="1185" y="112"/>
                  </a:lnTo>
                  <a:lnTo>
                    <a:pt x="1188" y="112"/>
                  </a:lnTo>
                  <a:lnTo>
                    <a:pt x="1189" y="115"/>
                  </a:lnTo>
                  <a:lnTo>
                    <a:pt x="1192" y="115"/>
                  </a:lnTo>
                  <a:lnTo>
                    <a:pt x="1193" y="115"/>
                  </a:lnTo>
                  <a:lnTo>
                    <a:pt x="1196" y="111"/>
                  </a:lnTo>
                  <a:lnTo>
                    <a:pt x="1200" y="109"/>
                  </a:lnTo>
                  <a:lnTo>
                    <a:pt x="1203" y="107"/>
                  </a:lnTo>
                  <a:lnTo>
                    <a:pt x="1211" y="109"/>
                  </a:lnTo>
                  <a:lnTo>
                    <a:pt x="1214" y="112"/>
                  </a:lnTo>
                  <a:lnTo>
                    <a:pt x="1218" y="112"/>
                  </a:lnTo>
                  <a:lnTo>
                    <a:pt x="1222" y="115"/>
                  </a:lnTo>
                  <a:lnTo>
                    <a:pt x="1228" y="117"/>
                  </a:lnTo>
                  <a:lnTo>
                    <a:pt x="1235" y="117"/>
                  </a:lnTo>
                  <a:lnTo>
                    <a:pt x="1235" y="124"/>
                  </a:lnTo>
                  <a:lnTo>
                    <a:pt x="1243" y="131"/>
                  </a:lnTo>
                  <a:lnTo>
                    <a:pt x="1250" y="129"/>
                  </a:lnTo>
                  <a:lnTo>
                    <a:pt x="1256" y="132"/>
                  </a:lnTo>
                  <a:lnTo>
                    <a:pt x="1260" y="136"/>
                  </a:lnTo>
                  <a:lnTo>
                    <a:pt x="1266" y="136"/>
                  </a:lnTo>
                  <a:lnTo>
                    <a:pt x="1271" y="140"/>
                  </a:lnTo>
                  <a:lnTo>
                    <a:pt x="1277" y="140"/>
                  </a:lnTo>
                  <a:lnTo>
                    <a:pt x="1282" y="140"/>
                  </a:lnTo>
                  <a:lnTo>
                    <a:pt x="1287" y="138"/>
                  </a:lnTo>
                  <a:lnTo>
                    <a:pt x="1295" y="132"/>
                  </a:lnTo>
                  <a:lnTo>
                    <a:pt x="1295" y="125"/>
                  </a:lnTo>
                  <a:lnTo>
                    <a:pt x="1301" y="120"/>
                  </a:lnTo>
                  <a:lnTo>
                    <a:pt x="1302" y="116"/>
                  </a:lnTo>
                  <a:lnTo>
                    <a:pt x="1307" y="109"/>
                  </a:lnTo>
                  <a:lnTo>
                    <a:pt x="1315" y="107"/>
                  </a:lnTo>
                  <a:lnTo>
                    <a:pt x="1315" y="101"/>
                  </a:lnTo>
                  <a:lnTo>
                    <a:pt x="1319" y="98"/>
                  </a:lnTo>
                  <a:lnTo>
                    <a:pt x="1324" y="98"/>
                  </a:lnTo>
                  <a:lnTo>
                    <a:pt x="1327" y="99"/>
                  </a:lnTo>
                  <a:lnTo>
                    <a:pt x="1331" y="98"/>
                  </a:lnTo>
                  <a:lnTo>
                    <a:pt x="1331" y="95"/>
                  </a:lnTo>
                  <a:lnTo>
                    <a:pt x="1334" y="89"/>
                  </a:lnTo>
                  <a:lnTo>
                    <a:pt x="1332" y="86"/>
                  </a:lnTo>
                  <a:lnTo>
                    <a:pt x="1335" y="81"/>
                  </a:lnTo>
                  <a:lnTo>
                    <a:pt x="1341" y="83"/>
                  </a:lnTo>
                  <a:lnTo>
                    <a:pt x="1359" y="75"/>
                  </a:lnTo>
                  <a:lnTo>
                    <a:pt x="1362" y="75"/>
                  </a:lnTo>
                  <a:lnTo>
                    <a:pt x="1366" y="75"/>
                  </a:lnTo>
                  <a:lnTo>
                    <a:pt x="1367" y="71"/>
                  </a:lnTo>
                  <a:lnTo>
                    <a:pt x="1373" y="70"/>
                  </a:lnTo>
                  <a:lnTo>
                    <a:pt x="1376" y="66"/>
                  </a:lnTo>
                  <a:lnTo>
                    <a:pt x="1381" y="66"/>
                  </a:lnTo>
                  <a:lnTo>
                    <a:pt x="1385" y="61"/>
                  </a:lnTo>
                  <a:lnTo>
                    <a:pt x="1385" y="57"/>
                  </a:lnTo>
                  <a:lnTo>
                    <a:pt x="1394" y="50"/>
                  </a:lnTo>
                  <a:lnTo>
                    <a:pt x="1396" y="50"/>
                  </a:lnTo>
                  <a:lnTo>
                    <a:pt x="1399" y="54"/>
                  </a:lnTo>
                  <a:lnTo>
                    <a:pt x="1406" y="53"/>
                  </a:lnTo>
                  <a:lnTo>
                    <a:pt x="1409" y="54"/>
                  </a:lnTo>
                  <a:lnTo>
                    <a:pt x="1410" y="50"/>
                  </a:lnTo>
                  <a:lnTo>
                    <a:pt x="1407" y="46"/>
                  </a:lnTo>
                  <a:lnTo>
                    <a:pt x="1413" y="41"/>
                  </a:lnTo>
                  <a:lnTo>
                    <a:pt x="1416" y="41"/>
                  </a:lnTo>
                  <a:lnTo>
                    <a:pt x="1420" y="45"/>
                  </a:lnTo>
                  <a:lnTo>
                    <a:pt x="1421" y="45"/>
                  </a:lnTo>
                  <a:lnTo>
                    <a:pt x="1434" y="37"/>
                  </a:lnTo>
                  <a:lnTo>
                    <a:pt x="1437" y="32"/>
                  </a:lnTo>
                  <a:lnTo>
                    <a:pt x="1441" y="30"/>
                  </a:lnTo>
                  <a:lnTo>
                    <a:pt x="1441" y="28"/>
                  </a:lnTo>
                  <a:lnTo>
                    <a:pt x="1451" y="28"/>
                  </a:lnTo>
                  <a:lnTo>
                    <a:pt x="1455" y="26"/>
                  </a:lnTo>
                  <a:lnTo>
                    <a:pt x="1469" y="26"/>
                  </a:lnTo>
                  <a:lnTo>
                    <a:pt x="1473" y="28"/>
                  </a:lnTo>
                  <a:lnTo>
                    <a:pt x="1477" y="28"/>
                  </a:lnTo>
                  <a:lnTo>
                    <a:pt x="1492" y="22"/>
                  </a:lnTo>
                  <a:lnTo>
                    <a:pt x="1508" y="20"/>
                  </a:lnTo>
                  <a:lnTo>
                    <a:pt x="1519" y="13"/>
                  </a:lnTo>
                  <a:lnTo>
                    <a:pt x="1524" y="14"/>
                  </a:lnTo>
                  <a:lnTo>
                    <a:pt x="1533" y="14"/>
                  </a:lnTo>
                  <a:lnTo>
                    <a:pt x="1538" y="9"/>
                  </a:lnTo>
                  <a:lnTo>
                    <a:pt x="1541" y="5"/>
                  </a:lnTo>
                  <a:lnTo>
                    <a:pt x="1544" y="1"/>
                  </a:lnTo>
                  <a:lnTo>
                    <a:pt x="1551" y="5"/>
                  </a:lnTo>
                  <a:lnTo>
                    <a:pt x="1561" y="5"/>
                  </a:lnTo>
                  <a:lnTo>
                    <a:pt x="1567" y="4"/>
                  </a:lnTo>
                  <a:lnTo>
                    <a:pt x="1570" y="5"/>
                  </a:lnTo>
                  <a:lnTo>
                    <a:pt x="1570" y="12"/>
                  </a:lnTo>
                  <a:lnTo>
                    <a:pt x="1573" y="16"/>
                  </a:lnTo>
                  <a:lnTo>
                    <a:pt x="1577" y="9"/>
                  </a:lnTo>
                  <a:lnTo>
                    <a:pt x="1576" y="9"/>
                  </a:lnTo>
                  <a:lnTo>
                    <a:pt x="1575" y="5"/>
                  </a:lnTo>
                  <a:lnTo>
                    <a:pt x="1577" y="5"/>
                  </a:lnTo>
                  <a:lnTo>
                    <a:pt x="1579" y="0"/>
                  </a:lnTo>
                  <a:lnTo>
                    <a:pt x="1581" y="0"/>
                  </a:lnTo>
                  <a:lnTo>
                    <a:pt x="1584" y="1"/>
                  </a:lnTo>
                  <a:lnTo>
                    <a:pt x="1572" y="26"/>
                  </a:lnTo>
                  <a:lnTo>
                    <a:pt x="1570" y="32"/>
                  </a:lnTo>
                  <a:lnTo>
                    <a:pt x="1566" y="42"/>
                  </a:lnTo>
                  <a:lnTo>
                    <a:pt x="1565" y="54"/>
                  </a:lnTo>
                  <a:lnTo>
                    <a:pt x="1558" y="66"/>
                  </a:lnTo>
                  <a:lnTo>
                    <a:pt x="1556" y="67"/>
                  </a:lnTo>
                  <a:lnTo>
                    <a:pt x="1555" y="62"/>
                  </a:lnTo>
                  <a:lnTo>
                    <a:pt x="1558" y="62"/>
                  </a:lnTo>
                  <a:lnTo>
                    <a:pt x="1559" y="61"/>
                  </a:lnTo>
                  <a:lnTo>
                    <a:pt x="1556" y="58"/>
                  </a:lnTo>
                  <a:lnTo>
                    <a:pt x="1556" y="57"/>
                  </a:lnTo>
                  <a:lnTo>
                    <a:pt x="1559" y="57"/>
                  </a:lnTo>
                  <a:lnTo>
                    <a:pt x="1559" y="54"/>
                  </a:lnTo>
                  <a:lnTo>
                    <a:pt x="1556" y="46"/>
                  </a:lnTo>
                  <a:lnTo>
                    <a:pt x="1554" y="46"/>
                  </a:lnTo>
                  <a:lnTo>
                    <a:pt x="1549" y="49"/>
                  </a:lnTo>
                  <a:lnTo>
                    <a:pt x="1548" y="46"/>
                  </a:lnTo>
                  <a:lnTo>
                    <a:pt x="1542" y="50"/>
                  </a:lnTo>
                  <a:lnTo>
                    <a:pt x="1538" y="57"/>
                  </a:lnTo>
                  <a:lnTo>
                    <a:pt x="1537" y="58"/>
                  </a:lnTo>
                  <a:lnTo>
                    <a:pt x="1540" y="62"/>
                  </a:lnTo>
                  <a:lnTo>
                    <a:pt x="1545" y="58"/>
                  </a:lnTo>
                  <a:lnTo>
                    <a:pt x="1542" y="66"/>
                  </a:lnTo>
                  <a:lnTo>
                    <a:pt x="1544" y="71"/>
                  </a:lnTo>
                  <a:lnTo>
                    <a:pt x="1548" y="75"/>
                  </a:lnTo>
                  <a:lnTo>
                    <a:pt x="1554" y="76"/>
                  </a:lnTo>
                  <a:lnTo>
                    <a:pt x="1551" y="99"/>
                  </a:lnTo>
                  <a:lnTo>
                    <a:pt x="1548" y="106"/>
                  </a:lnTo>
                  <a:lnTo>
                    <a:pt x="1540" y="103"/>
                  </a:lnTo>
                  <a:lnTo>
                    <a:pt x="1540" y="101"/>
                  </a:lnTo>
                  <a:lnTo>
                    <a:pt x="1542" y="99"/>
                  </a:lnTo>
                  <a:lnTo>
                    <a:pt x="1540" y="95"/>
                  </a:lnTo>
                  <a:lnTo>
                    <a:pt x="1535" y="98"/>
                  </a:lnTo>
                  <a:lnTo>
                    <a:pt x="1535" y="99"/>
                  </a:lnTo>
                  <a:lnTo>
                    <a:pt x="1534" y="101"/>
                  </a:lnTo>
                  <a:lnTo>
                    <a:pt x="1524" y="103"/>
                  </a:lnTo>
                  <a:lnTo>
                    <a:pt x="1519" y="108"/>
                  </a:lnTo>
                  <a:lnTo>
                    <a:pt x="1517" y="108"/>
                  </a:lnTo>
                  <a:lnTo>
                    <a:pt x="1517" y="107"/>
                  </a:lnTo>
                  <a:lnTo>
                    <a:pt x="1519" y="103"/>
                  </a:lnTo>
                  <a:lnTo>
                    <a:pt x="1516" y="95"/>
                  </a:lnTo>
                  <a:lnTo>
                    <a:pt x="1517" y="91"/>
                  </a:lnTo>
                  <a:lnTo>
                    <a:pt x="1513" y="94"/>
                  </a:lnTo>
                  <a:lnTo>
                    <a:pt x="1512" y="98"/>
                  </a:lnTo>
                  <a:lnTo>
                    <a:pt x="1512" y="99"/>
                  </a:lnTo>
                  <a:lnTo>
                    <a:pt x="1515" y="101"/>
                  </a:lnTo>
                  <a:lnTo>
                    <a:pt x="1509" y="103"/>
                  </a:lnTo>
                  <a:lnTo>
                    <a:pt x="1505" y="101"/>
                  </a:lnTo>
                  <a:lnTo>
                    <a:pt x="1504" y="98"/>
                  </a:lnTo>
                  <a:lnTo>
                    <a:pt x="1505" y="92"/>
                  </a:lnTo>
                  <a:lnTo>
                    <a:pt x="1501" y="89"/>
                  </a:lnTo>
                  <a:lnTo>
                    <a:pt x="1502" y="94"/>
                  </a:lnTo>
                  <a:lnTo>
                    <a:pt x="1501" y="95"/>
                  </a:lnTo>
                  <a:lnTo>
                    <a:pt x="1496" y="92"/>
                  </a:lnTo>
                  <a:lnTo>
                    <a:pt x="1491" y="91"/>
                  </a:lnTo>
                  <a:lnTo>
                    <a:pt x="1490" y="91"/>
                  </a:lnTo>
                  <a:lnTo>
                    <a:pt x="1491" y="95"/>
                  </a:lnTo>
                  <a:lnTo>
                    <a:pt x="1494" y="95"/>
                  </a:lnTo>
                  <a:lnTo>
                    <a:pt x="1498" y="106"/>
                  </a:lnTo>
                  <a:lnTo>
                    <a:pt x="1498" y="108"/>
                  </a:lnTo>
                  <a:lnTo>
                    <a:pt x="1496" y="108"/>
                  </a:lnTo>
                  <a:lnTo>
                    <a:pt x="1499" y="115"/>
                  </a:lnTo>
                  <a:lnTo>
                    <a:pt x="1498" y="116"/>
                  </a:lnTo>
                  <a:lnTo>
                    <a:pt x="1498" y="117"/>
                  </a:lnTo>
                  <a:lnTo>
                    <a:pt x="1494" y="121"/>
                  </a:lnTo>
                  <a:lnTo>
                    <a:pt x="1492" y="121"/>
                  </a:lnTo>
                  <a:lnTo>
                    <a:pt x="1491" y="117"/>
                  </a:lnTo>
                  <a:lnTo>
                    <a:pt x="1490" y="117"/>
                  </a:lnTo>
                  <a:lnTo>
                    <a:pt x="1490" y="121"/>
                  </a:lnTo>
                  <a:lnTo>
                    <a:pt x="1484" y="125"/>
                  </a:lnTo>
                  <a:lnTo>
                    <a:pt x="1485" y="128"/>
                  </a:lnTo>
                  <a:lnTo>
                    <a:pt x="1490" y="125"/>
                  </a:lnTo>
                  <a:lnTo>
                    <a:pt x="1498" y="125"/>
                  </a:lnTo>
                  <a:lnTo>
                    <a:pt x="1505" y="129"/>
                  </a:lnTo>
                  <a:lnTo>
                    <a:pt x="1504" y="132"/>
                  </a:lnTo>
                  <a:lnTo>
                    <a:pt x="1506" y="133"/>
                  </a:lnTo>
                  <a:lnTo>
                    <a:pt x="1508" y="133"/>
                  </a:lnTo>
                  <a:lnTo>
                    <a:pt x="1513" y="140"/>
                  </a:lnTo>
                  <a:lnTo>
                    <a:pt x="1513" y="142"/>
                  </a:lnTo>
                  <a:lnTo>
                    <a:pt x="1510" y="144"/>
                  </a:lnTo>
                  <a:lnTo>
                    <a:pt x="1512" y="148"/>
                  </a:lnTo>
                  <a:lnTo>
                    <a:pt x="1509" y="148"/>
                  </a:lnTo>
                  <a:lnTo>
                    <a:pt x="1512" y="151"/>
                  </a:lnTo>
                  <a:lnTo>
                    <a:pt x="1513" y="150"/>
                  </a:lnTo>
                  <a:lnTo>
                    <a:pt x="1513" y="144"/>
                  </a:lnTo>
                  <a:lnTo>
                    <a:pt x="1515" y="144"/>
                  </a:lnTo>
                  <a:lnTo>
                    <a:pt x="1515" y="146"/>
                  </a:lnTo>
                  <a:lnTo>
                    <a:pt x="1516" y="146"/>
                  </a:lnTo>
                  <a:lnTo>
                    <a:pt x="1516" y="144"/>
                  </a:lnTo>
                  <a:lnTo>
                    <a:pt x="1520" y="140"/>
                  </a:lnTo>
                  <a:lnTo>
                    <a:pt x="1520" y="137"/>
                  </a:lnTo>
                  <a:lnTo>
                    <a:pt x="1521" y="134"/>
                  </a:lnTo>
                  <a:lnTo>
                    <a:pt x="1523" y="133"/>
                  </a:lnTo>
                  <a:lnTo>
                    <a:pt x="1526" y="136"/>
                  </a:lnTo>
                  <a:lnTo>
                    <a:pt x="1531" y="144"/>
                  </a:lnTo>
                  <a:lnTo>
                    <a:pt x="1531" y="154"/>
                  </a:lnTo>
                  <a:lnTo>
                    <a:pt x="1529" y="160"/>
                  </a:lnTo>
                  <a:lnTo>
                    <a:pt x="1527" y="161"/>
                  </a:lnTo>
                  <a:lnTo>
                    <a:pt x="1523" y="161"/>
                  </a:lnTo>
                  <a:lnTo>
                    <a:pt x="1520" y="165"/>
                  </a:lnTo>
                  <a:lnTo>
                    <a:pt x="1520" y="166"/>
                  </a:lnTo>
                  <a:lnTo>
                    <a:pt x="1513" y="169"/>
                  </a:lnTo>
                  <a:lnTo>
                    <a:pt x="1510" y="170"/>
                  </a:lnTo>
                  <a:lnTo>
                    <a:pt x="1516" y="170"/>
                  </a:lnTo>
                  <a:lnTo>
                    <a:pt x="1515" y="173"/>
                  </a:lnTo>
                  <a:lnTo>
                    <a:pt x="1517" y="174"/>
                  </a:lnTo>
                  <a:lnTo>
                    <a:pt x="1517" y="176"/>
                  </a:lnTo>
                  <a:lnTo>
                    <a:pt x="1516" y="179"/>
                  </a:lnTo>
                  <a:lnTo>
                    <a:pt x="1519" y="183"/>
                  </a:lnTo>
                  <a:lnTo>
                    <a:pt x="1520" y="183"/>
                  </a:lnTo>
                  <a:lnTo>
                    <a:pt x="1520" y="179"/>
                  </a:lnTo>
                  <a:lnTo>
                    <a:pt x="1520" y="178"/>
                  </a:lnTo>
                  <a:lnTo>
                    <a:pt x="1527" y="174"/>
                  </a:lnTo>
                  <a:lnTo>
                    <a:pt x="1529" y="176"/>
                  </a:lnTo>
                  <a:lnTo>
                    <a:pt x="1531" y="182"/>
                  </a:lnTo>
                  <a:lnTo>
                    <a:pt x="1535" y="181"/>
                  </a:lnTo>
                  <a:lnTo>
                    <a:pt x="1541" y="183"/>
                  </a:lnTo>
                  <a:lnTo>
                    <a:pt x="1541" y="188"/>
                  </a:lnTo>
                  <a:lnTo>
                    <a:pt x="1537" y="187"/>
                  </a:lnTo>
                  <a:lnTo>
                    <a:pt x="1534" y="191"/>
                  </a:lnTo>
                  <a:lnTo>
                    <a:pt x="1535" y="192"/>
                  </a:lnTo>
                  <a:lnTo>
                    <a:pt x="1537" y="188"/>
                  </a:lnTo>
                  <a:lnTo>
                    <a:pt x="1544" y="196"/>
                  </a:lnTo>
                  <a:lnTo>
                    <a:pt x="1542" y="200"/>
                  </a:lnTo>
                  <a:lnTo>
                    <a:pt x="1547" y="202"/>
                  </a:lnTo>
                  <a:lnTo>
                    <a:pt x="1547" y="203"/>
                  </a:lnTo>
                  <a:lnTo>
                    <a:pt x="1545" y="206"/>
                  </a:lnTo>
                  <a:lnTo>
                    <a:pt x="1547" y="208"/>
                  </a:lnTo>
                  <a:lnTo>
                    <a:pt x="1545" y="210"/>
                  </a:lnTo>
                  <a:lnTo>
                    <a:pt x="1547" y="211"/>
                  </a:lnTo>
                  <a:lnTo>
                    <a:pt x="1549" y="207"/>
                  </a:lnTo>
                  <a:lnTo>
                    <a:pt x="1552" y="206"/>
                  </a:lnTo>
                  <a:lnTo>
                    <a:pt x="1552" y="202"/>
                  </a:lnTo>
                  <a:lnTo>
                    <a:pt x="1554" y="196"/>
                  </a:lnTo>
                  <a:lnTo>
                    <a:pt x="1556" y="200"/>
                  </a:lnTo>
                  <a:lnTo>
                    <a:pt x="1559" y="202"/>
                  </a:lnTo>
                  <a:lnTo>
                    <a:pt x="1558" y="202"/>
                  </a:lnTo>
                  <a:lnTo>
                    <a:pt x="1558" y="203"/>
                  </a:lnTo>
                  <a:lnTo>
                    <a:pt x="1562" y="204"/>
                  </a:lnTo>
                  <a:lnTo>
                    <a:pt x="1562" y="210"/>
                  </a:lnTo>
                  <a:lnTo>
                    <a:pt x="1562" y="213"/>
                  </a:lnTo>
                  <a:lnTo>
                    <a:pt x="1563" y="215"/>
                  </a:lnTo>
                  <a:lnTo>
                    <a:pt x="1561" y="219"/>
                  </a:lnTo>
                  <a:lnTo>
                    <a:pt x="1561" y="221"/>
                  </a:lnTo>
                  <a:lnTo>
                    <a:pt x="1558" y="224"/>
                  </a:lnTo>
                  <a:lnTo>
                    <a:pt x="1556" y="229"/>
                  </a:lnTo>
                  <a:lnTo>
                    <a:pt x="1554" y="235"/>
                  </a:lnTo>
                  <a:lnTo>
                    <a:pt x="1549" y="227"/>
                  </a:lnTo>
                  <a:lnTo>
                    <a:pt x="1548" y="225"/>
                  </a:lnTo>
                  <a:lnTo>
                    <a:pt x="1538" y="227"/>
                  </a:lnTo>
                  <a:lnTo>
                    <a:pt x="1533" y="231"/>
                  </a:lnTo>
                  <a:lnTo>
                    <a:pt x="1524" y="231"/>
                  </a:lnTo>
                  <a:lnTo>
                    <a:pt x="1523" y="228"/>
                  </a:lnTo>
                  <a:lnTo>
                    <a:pt x="1526" y="229"/>
                  </a:lnTo>
                  <a:lnTo>
                    <a:pt x="1527" y="227"/>
                  </a:lnTo>
                  <a:lnTo>
                    <a:pt x="1524" y="225"/>
                  </a:lnTo>
                  <a:lnTo>
                    <a:pt x="1521" y="225"/>
                  </a:lnTo>
                  <a:lnTo>
                    <a:pt x="1519" y="215"/>
                  </a:lnTo>
                  <a:lnTo>
                    <a:pt x="1515" y="215"/>
                  </a:lnTo>
                  <a:lnTo>
                    <a:pt x="1519" y="224"/>
                  </a:lnTo>
                  <a:lnTo>
                    <a:pt x="1517" y="228"/>
                  </a:lnTo>
                  <a:lnTo>
                    <a:pt x="1519" y="232"/>
                  </a:lnTo>
                  <a:lnTo>
                    <a:pt x="1516" y="236"/>
                  </a:lnTo>
                  <a:lnTo>
                    <a:pt x="1521" y="237"/>
                  </a:lnTo>
                  <a:lnTo>
                    <a:pt x="1527" y="240"/>
                  </a:lnTo>
                  <a:lnTo>
                    <a:pt x="1537" y="237"/>
                  </a:lnTo>
                  <a:lnTo>
                    <a:pt x="1541" y="241"/>
                  </a:lnTo>
                  <a:lnTo>
                    <a:pt x="1540" y="245"/>
                  </a:lnTo>
                  <a:lnTo>
                    <a:pt x="1531" y="252"/>
                  </a:lnTo>
                  <a:lnTo>
                    <a:pt x="1533" y="253"/>
                  </a:lnTo>
                  <a:lnTo>
                    <a:pt x="1538" y="253"/>
                  </a:lnTo>
                  <a:lnTo>
                    <a:pt x="1535" y="254"/>
                  </a:lnTo>
                  <a:lnTo>
                    <a:pt x="1529" y="253"/>
                  </a:lnTo>
                  <a:lnTo>
                    <a:pt x="1529" y="254"/>
                  </a:lnTo>
                  <a:lnTo>
                    <a:pt x="1531" y="256"/>
                  </a:lnTo>
                  <a:lnTo>
                    <a:pt x="1529" y="256"/>
                  </a:lnTo>
                  <a:lnTo>
                    <a:pt x="1529" y="257"/>
                  </a:lnTo>
                  <a:lnTo>
                    <a:pt x="1530" y="258"/>
                  </a:lnTo>
                  <a:lnTo>
                    <a:pt x="1530" y="260"/>
                  </a:lnTo>
                  <a:lnTo>
                    <a:pt x="1534" y="260"/>
                  </a:lnTo>
                  <a:lnTo>
                    <a:pt x="1540" y="262"/>
                  </a:lnTo>
                  <a:lnTo>
                    <a:pt x="1541" y="272"/>
                  </a:lnTo>
                  <a:lnTo>
                    <a:pt x="1537" y="278"/>
                  </a:lnTo>
                  <a:lnTo>
                    <a:pt x="1540" y="285"/>
                  </a:lnTo>
                  <a:lnTo>
                    <a:pt x="1541" y="290"/>
                  </a:lnTo>
                  <a:lnTo>
                    <a:pt x="1542" y="289"/>
                  </a:lnTo>
                  <a:lnTo>
                    <a:pt x="1545" y="282"/>
                  </a:lnTo>
                  <a:lnTo>
                    <a:pt x="1552" y="281"/>
                  </a:lnTo>
                  <a:lnTo>
                    <a:pt x="1555" y="275"/>
                  </a:lnTo>
                  <a:lnTo>
                    <a:pt x="1561" y="272"/>
                  </a:lnTo>
                  <a:lnTo>
                    <a:pt x="1561" y="270"/>
                  </a:lnTo>
                  <a:lnTo>
                    <a:pt x="1559" y="272"/>
                  </a:lnTo>
                  <a:lnTo>
                    <a:pt x="1558" y="272"/>
                  </a:lnTo>
                  <a:lnTo>
                    <a:pt x="1563" y="263"/>
                  </a:lnTo>
                  <a:lnTo>
                    <a:pt x="1566" y="245"/>
                  </a:lnTo>
                  <a:lnTo>
                    <a:pt x="1569" y="240"/>
                  </a:lnTo>
                  <a:lnTo>
                    <a:pt x="1572" y="240"/>
                  </a:lnTo>
                  <a:lnTo>
                    <a:pt x="1567" y="277"/>
                  </a:lnTo>
                  <a:lnTo>
                    <a:pt x="1567" y="290"/>
                  </a:lnTo>
                  <a:lnTo>
                    <a:pt x="1570" y="311"/>
                  </a:lnTo>
                  <a:lnTo>
                    <a:pt x="1575" y="331"/>
                  </a:lnTo>
                  <a:lnTo>
                    <a:pt x="1584" y="360"/>
                  </a:lnTo>
                  <a:lnTo>
                    <a:pt x="1591" y="376"/>
                  </a:lnTo>
                  <a:lnTo>
                    <a:pt x="1600" y="392"/>
                  </a:lnTo>
                  <a:lnTo>
                    <a:pt x="1631" y="444"/>
                  </a:lnTo>
                  <a:lnTo>
                    <a:pt x="1640" y="461"/>
                  </a:lnTo>
                  <a:lnTo>
                    <a:pt x="1650" y="476"/>
                  </a:lnTo>
                  <a:lnTo>
                    <a:pt x="1679" y="503"/>
                  </a:lnTo>
                  <a:lnTo>
                    <a:pt x="1683" y="513"/>
                  </a:lnTo>
                  <a:lnTo>
                    <a:pt x="1684" y="526"/>
                  </a:lnTo>
                  <a:lnTo>
                    <a:pt x="1690" y="538"/>
                  </a:lnTo>
                  <a:lnTo>
                    <a:pt x="1692" y="543"/>
                  </a:lnTo>
                  <a:lnTo>
                    <a:pt x="1697" y="544"/>
                  </a:lnTo>
                  <a:lnTo>
                    <a:pt x="1697" y="548"/>
                  </a:lnTo>
                  <a:lnTo>
                    <a:pt x="1701" y="551"/>
                  </a:lnTo>
                  <a:lnTo>
                    <a:pt x="1698" y="552"/>
                  </a:lnTo>
                  <a:lnTo>
                    <a:pt x="1698" y="556"/>
                  </a:lnTo>
                  <a:lnTo>
                    <a:pt x="1700" y="560"/>
                  </a:lnTo>
                  <a:lnTo>
                    <a:pt x="1697" y="564"/>
                  </a:lnTo>
                  <a:lnTo>
                    <a:pt x="1698" y="573"/>
                  </a:lnTo>
                  <a:lnTo>
                    <a:pt x="1694" y="603"/>
                  </a:lnTo>
                  <a:lnTo>
                    <a:pt x="1694" y="606"/>
                  </a:lnTo>
                  <a:lnTo>
                    <a:pt x="1695" y="606"/>
                  </a:lnTo>
                  <a:lnTo>
                    <a:pt x="1694" y="608"/>
                  </a:lnTo>
                  <a:lnTo>
                    <a:pt x="1695" y="611"/>
                  </a:lnTo>
                  <a:lnTo>
                    <a:pt x="1700" y="611"/>
                  </a:lnTo>
                  <a:lnTo>
                    <a:pt x="1701" y="615"/>
                  </a:lnTo>
                  <a:lnTo>
                    <a:pt x="1704" y="618"/>
                  </a:lnTo>
                  <a:lnTo>
                    <a:pt x="1706" y="625"/>
                  </a:lnTo>
                  <a:lnTo>
                    <a:pt x="1704" y="634"/>
                  </a:lnTo>
                  <a:lnTo>
                    <a:pt x="1701" y="653"/>
                  </a:lnTo>
                  <a:lnTo>
                    <a:pt x="1704" y="664"/>
                  </a:lnTo>
                  <a:lnTo>
                    <a:pt x="1706" y="667"/>
                  </a:lnTo>
                  <a:lnTo>
                    <a:pt x="1705" y="675"/>
                  </a:lnTo>
                  <a:lnTo>
                    <a:pt x="1708" y="679"/>
                  </a:lnTo>
                  <a:lnTo>
                    <a:pt x="1706" y="693"/>
                  </a:lnTo>
                  <a:lnTo>
                    <a:pt x="1711" y="705"/>
                  </a:lnTo>
                  <a:lnTo>
                    <a:pt x="1714" y="705"/>
                  </a:lnTo>
                  <a:lnTo>
                    <a:pt x="1716" y="715"/>
                  </a:lnTo>
                  <a:lnTo>
                    <a:pt x="1719" y="717"/>
                  </a:lnTo>
                  <a:lnTo>
                    <a:pt x="1720" y="722"/>
                  </a:lnTo>
                  <a:lnTo>
                    <a:pt x="1720" y="730"/>
                  </a:lnTo>
                  <a:lnTo>
                    <a:pt x="1723" y="747"/>
                  </a:lnTo>
                  <a:lnTo>
                    <a:pt x="1726" y="756"/>
                  </a:lnTo>
                  <a:lnTo>
                    <a:pt x="1736" y="767"/>
                  </a:lnTo>
                  <a:lnTo>
                    <a:pt x="1736" y="770"/>
                  </a:lnTo>
                  <a:lnTo>
                    <a:pt x="1731" y="788"/>
                  </a:lnTo>
                  <a:lnTo>
                    <a:pt x="1733" y="791"/>
                  </a:lnTo>
                  <a:lnTo>
                    <a:pt x="1736" y="791"/>
                  </a:lnTo>
                  <a:lnTo>
                    <a:pt x="1736" y="793"/>
                  </a:lnTo>
                  <a:lnTo>
                    <a:pt x="1730" y="806"/>
                  </a:lnTo>
                  <a:lnTo>
                    <a:pt x="1729" y="814"/>
                  </a:lnTo>
                  <a:lnTo>
                    <a:pt x="1730" y="820"/>
                  </a:lnTo>
                  <a:lnTo>
                    <a:pt x="1733" y="825"/>
                  </a:lnTo>
                  <a:lnTo>
                    <a:pt x="1736" y="825"/>
                  </a:lnTo>
                  <a:lnTo>
                    <a:pt x="1739" y="825"/>
                  </a:lnTo>
                  <a:lnTo>
                    <a:pt x="1740" y="834"/>
                  </a:lnTo>
                  <a:lnTo>
                    <a:pt x="1737" y="859"/>
                  </a:lnTo>
                  <a:lnTo>
                    <a:pt x="1739" y="868"/>
                  </a:lnTo>
                  <a:lnTo>
                    <a:pt x="1739" y="876"/>
                  </a:lnTo>
                  <a:lnTo>
                    <a:pt x="1740" y="891"/>
                  </a:lnTo>
                  <a:lnTo>
                    <a:pt x="1747" y="911"/>
                  </a:lnTo>
                  <a:lnTo>
                    <a:pt x="1747" y="926"/>
                  </a:lnTo>
                  <a:lnTo>
                    <a:pt x="1747" y="940"/>
                  </a:lnTo>
                  <a:lnTo>
                    <a:pt x="1745" y="943"/>
                  </a:lnTo>
                  <a:lnTo>
                    <a:pt x="1747" y="949"/>
                  </a:lnTo>
                  <a:lnTo>
                    <a:pt x="1745" y="954"/>
                  </a:lnTo>
                  <a:lnTo>
                    <a:pt x="1747" y="956"/>
                  </a:lnTo>
                  <a:lnTo>
                    <a:pt x="1745" y="958"/>
                  </a:lnTo>
                  <a:lnTo>
                    <a:pt x="1745" y="963"/>
                  </a:lnTo>
                  <a:lnTo>
                    <a:pt x="1742" y="988"/>
                  </a:lnTo>
                  <a:lnTo>
                    <a:pt x="1747" y="990"/>
                  </a:lnTo>
                  <a:lnTo>
                    <a:pt x="1748" y="992"/>
                  </a:lnTo>
                  <a:lnTo>
                    <a:pt x="1750" y="992"/>
                  </a:lnTo>
                  <a:lnTo>
                    <a:pt x="1750" y="993"/>
                  </a:lnTo>
                  <a:lnTo>
                    <a:pt x="1751" y="993"/>
                  </a:lnTo>
                  <a:lnTo>
                    <a:pt x="1750" y="996"/>
                  </a:lnTo>
                  <a:lnTo>
                    <a:pt x="1751" y="998"/>
                  </a:lnTo>
                  <a:lnTo>
                    <a:pt x="1750" y="1003"/>
                  </a:lnTo>
                  <a:lnTo>
                    <a:pt x="1748" y="1004"/>
                  </a:lnTo>
                  <a:lnTo>
                    <a:pt x="1747" y="1003"/>
                  </a:lnTo>
                  <a:lnTo>
                    <a:pt x="1747" y="1005"/>
                  </a:lnTo>
                  <a:lnTo>
                    <a:pt x="1751" y="1008"/>
                  </a:lnTo>
                  <a:lnTo>
                    <a:pt x="1750" y="1011"/>
                  </a:lnTo>
                  <a:lnTo>
                    <a:pt x="1751" y="1011"/>
                  </a:lnTo>
                  <a:lnTo>
                    <a:pt x="1751" y="1012"/>
                  </a:lnTo>
                  <a:lnTo>
                    <a:pt x="1752" y="1012"/>
                  </a:lnTo>
                  <a:lnTo>
                    <a:pt x="1751" y="1015"/>
                  </a:lnTo>
                  <a:lnTo>
                    <a:pt x="1748" y="1018"/>
                  </a:lnTo>
                  <a:lnTo>
                    <a:pt x="1754" y="1016"/>
                  </a:lnTo>
                  <a:lnTo>
                    <a:pt x="1754" y="1020"/>
                  </a:lnTo>
                  <a:lnTo>
                    <a:pt x="1755" y="1020"/>
                  </a:lnTo>
                  <a:lnTo>
                    <a:pt x="1758" y="1018"/>
                  </a:lnTo>
                  <a:lnTo>
                    <a:pt x="1759" y="1020"/>
                  </a:lnTo>
                  <a:lnTo>
                    <a:pt x="1759" y="1018"/>
                  </a:lnTo>
                  <a:lnTo>
                    <a:pt x="1762" y="1012"/>
                  </a:lnTo>
                  <a:lnTo>
                    <a:pt x="1761" y="1012"/>
                  </a:lnTo>
                  <a:lnTo>
                    <a:pt x="1758" y="1012"/>
                  </a:lnTo>
                  <a:lnTo>
                    <a:pt x="1758" y="1008"/>
                  </a:lnTo>
                  <a:lnTo>
                    <a:pt x="1766" y="1000"/>
                  </a:lnTo>
                  <a:lnTo>
                    <a:pt x="1766" y="1003"/>
                  </a:lnTo>
                  <a:lnTo>
                    <a:pt x="1762" y="1005"/>
                  </a:lnTo>
                  <a:lnTo>
                    <a:pt x="1761" y="1011"/>
                  </a:lnTo>
                  <a:lnTo>
                    <a:pt x="1766" y="1010"/>
                  </a:lnTo>
                  <a:lnTo>
                    <a:pt x="1767" y="1005"/>
                  </a:lnTo>
                  <a:lnTo>
                    <a:pt x="1775" y="1007"/>
                  </a:lnTo>
                  <a:lnTo>
                    <a:pt x="1775" y="1010"/>
                  </a:lnTo>
                  <a:lnTo>
                    <a:pt x="1779" y="1011"/>
                  </a:lnTo>
                  <a:lnTo>
                    <a:pt x="1779" y="1020"/>
                  </a:lnTo>
                  <a:lnTo>
                    <a:pt x="1781" y="1016"/>
                  </a:lnTo>
                  <a:lnTo>
                    <a:pt x="1783" y="1012"/>
                  </a:lnTo>
                  <a:lnTo>
                    <a:pt x="1784" y="1015"/>
                  </a:lnTo>
                  <a:lnTo>
                    <a:pt x="1784" y="1011"/>
                  </a:lnTo>
                  <a:lnTo>
                    <a:pt x="1787" y="1010"/>
                  </a:lnTo>
                  <a:lnTo>
                    <a:pt x="1789" y="1010"/>
                  </a:lnTo>
                  <a:lnTo>
                    <a:pt x="1789" y="1007"/>
                  </a:lnTo>
                  <a:lnTo>
                    <a:pt x="1791" y="1008"/>
                  </a:lnTo>
                  <a:lnTo>
                    <a:pt x="1793" y="1007"/>
                  </a:lnTo>
                  <a:lnTo>
                    <a:pt x="1795" y="1007"/>
                  </a:lnTo>
                  <a:lnTo>
                    <a:pt x="1797" y="1010"/>
                  </a:lnTo>
                  <a:lnTo>
                    <a:pt x="1798" y="1015"/>
                  </a:lnTo>
                  <a:lnTo>
                    <a:pt x="1800" y="1004"/>
                  </a:lnTo>
                  <a:lnTo>
                    <a:pt x="1804" y="999"/>
                  </a:lnTo>
                  <a:lnTo>
                    <a:pt x="1805" y="1000"/>
                  </a:lnTo>
                  <a:lnTo>
                    <a:pt x="1808" y="999"/>
                  </a:lnTo>
                  <a:lnTo>
                    <a:pt x="1808" y="998"/>
                  </a:lnTo>
                  <a:lnTo>
                    <a:pt x="1811" y="998"/>
                  </a:lnTo>
                  <a:lnTo>
                    <a:pt x="1815" y="999"/>
                  </a:lnTo>
                  <a:lnTo>
                    <a:pt x="1811" y="993"/>
                  </a:lnTo>
                  <a:lnTo>
                    <a:pt x="1812" y="988"/>
                  </a:lnTo>
                  <a:lnTo>
                    <a:pt x="1816" y="990"/>
                  </a:lnTo>
                  <a:lnTo>
                    <a:pt x="1819" y="990"/>
                  </a:lnTo>
                  <a:lnTo>
                    <a:pt x="1816" y="988"/>
                  </a:lnTo>
                  <a:lnTo>
                    <a:pt x="1811" y="984"/>
                  </a:lnTo>
                  <a:lnTo>
                    <a:pt x="1814" y="979"/>
                  </a:lnTo>
                  <a:lnTo>
                    <a:pt x="1822" y="971"/>
                  </a:lnTo>
                  <a:lnTo>
                    <a:pt x="1837" y="963"/>
                  </a:lnTo>
                  <a:lnTo>
                    <a:pt x="1837" y="961"/>
                  </a:lnTo>
                  <a:lnTo>
                    <a:pt x="1840" y="959"/>
                  </a:lnTo>
                  <a:lnTo>
                    <a:pt x="1839" y="955"/>
                  </a:lnTo>
                  <a:lnTo>
                    <a:pt x="1839" y="954"/>
                  </a:lnTo>
                  <a:lnTo>
                    <a:pt x="1833" y="941"/>
                  </a:lnTo>
                  <a:lnTo>
                    <a:pt x="1836" y="938"/>
                  </a:lnTo>
                  <a:lnTo>
                    <a:pt x="1840" y="933"/>
                  </a:lnTo>
                  <a:lnTo>
                    <a:pt x="1844" y="931"/>
                  </a:lnTo>
                  <a:lnTo>
                    <a:pt x="1844" y="926"/>
                  </a:lnTo>
                  <a:lnTo>
                    <a:pt x="1847" y="925"/>
                  </a:lnTo>
                  <a:lnTo>
                    <a:pt x="1849" y="917"/>
                  </a:lnTo>
                  <a:lnTo>
                    <a:pt x="1851" y="916"/>
                  </a:lnTo>
                  <a:lnTo>
                    <a:pt x="1862" y="917"/>
                  </a:lnTo>
                  <a:lnTo>
                    <a:pt x="1868" y="918"/>
                  </a:lnTo>
                  <a:lnTo>
                    <a:pt x="1871" y="923"/>
                  </a:lnTo>
                  <a:lnTo>
                    <a:pt x="1875" y="931"/>
                  </a:lnTo>
                  <a:lnTo>
                    <a:pt x="1874" y="943"/>
                  </a:lnTo>
                  <a:lnTo>
                    <a:pt x="1878" y="953"/>
                  </a:lnTo>
                  <a:lnTo>
                    <a:pt x="1878" y="961"/>
                  </a:lnTo>
                  <a:lnTo>
                    <a:pt x="1885" y="974"/>
                  </a:lnTo>
                  <a:lnTo>
                    <a:pt x="1891" y="988"/>
                  </a:lnTo>
                  <a:lnTo>
                    <a:pt x="1897" y="1012"/>
                  </a:lnTo>
                  <a:lnTo>
                    <a:pt x="1897" y="1020"/>
                  </a:lnTo>
                  <a:lnTo>
                    <a:pt x="1901" y="1016"/>
                  </a:lnTo>
                  <a:lnTo>
                    <a:pt x="1900" y="1011"/>
                  </a:lnTo>
                  <a:lnTo>
                    <a:pt x="1903" y="1010"/>
                  </a:lnTo>
                  <a:lnTo>
                    <a:pt x="1901" y="1004"/>
                  </a:lnTo>
                  <a:lnTo>
                    <a:pt x="1904" y="1000"/>
                  </a:lnTo>
                  <a:lnTo>
                    <a:pt x="1903" y="998"/>
                  </a:lnTo>
                  <a:lnTo>
                    <a:pt x="1904" y="993"/>
                  </a:lnTo>
                  <a:lnTo>
                    <a:pt x="1905" y="992"/>
                  </a:lnTo>
                  <a:lnTo>
                    <a:pt x="1908" y="990"/>
                  </a:lnTo>
                  <a:lnTo>
                    <a:pt x="1911" y="982"/>
                  </a:lnTo>
                  <a:lnTo>
                    <a:pt x="1911" y="978"/>
                  </a:lnTo>
                  <a:lnTo>
                    <a:pt x="1912" y="976"/>
                  </a:lnTo>
                  <a:lnTo>
                    <a:pt x="1912" y="975"/>
                  </a:lnTo>
                  <a:lnTo>
                    <a:pt x="1910" y="974"/>
                  </a:lnTo>
                  <a:lnTo>
                    <a:pt x="1910" y="967"/>
                  </a:lnTo>
                  <a:lnTo>
                    <a:pt x="1915" y="967"/>
                  </a:lnTo>
                  <a:lnTo>
                    <a:pt x="1912" y="967"/>
                  </a:lnTo>
                  <a:lnTo>
                    <a:pt x="1912" y="963"/>
                  </a:lnTo>
                  <a:lnTo>
                    <a:pt x="1914" y="963"/>
                  </a:lnTo>
                  <a:lnTo>
                    <a:pt x="1914" y="962"/>
                  </a:lnTo>
                  <a:lnTo>
                    <a:pt x="1915" y="959"/>
                  </a:lnTo>
                  <a:lnTo>
                    <a:pt x="1915" y="958"/>
                  </a:lnTo>
                  <a:lnTo>
                    <a:pt x="1916" y="954"/>
                  </a:lnTo>
                  <a:lnTo>
                    <a:pt x="1916" y="951"/>
                  </a:lnTo>
                  <a:lnTo>
                    <a:pt x="1915" y="948"/>
                  </a:lnTo>
                  <a:lnTo>
                    <a:pt x="1914" y="940"/>
                  </a:lnTo>
                  <a:lnTo>
                    <a:pt x="1911" y="933"/>
                  </a:lnTo>
                  <a:lnTo>
                    <a:pt x="1915" y="937"/>
                  </a:lnTo>
                  <a:lnTo>
                    <a:pt x="1918" y="949"/>
                  </a:lnTo>
                  <a:lnTo>
                    <a:pt x="1918" y="962"/>
                  </a:lnTo>
                  <a:lnTo>
                    <a:pt x="1910" y="993"/>
                  </a:lnTo>
                  <a:lnTo>
                    <a:pt x="1904" y="1032"/>
                  </a:lnTo>
                  <a:lnTo>
                    <a:pt x="1905" y="1033"/>
                  </a:lnTo>
                  <a:lnTo>
                    <a:pt x="1904" y="1041"/>
                  </a:lnTo>
                  <a:lnTo>
                    <a:pt x="1904" y="1048"/>
                  </a:lnTo>
                  <a:lnTo>
                    <a:pt x="1908" y="1055"/>
                  </a:lnTo>
                  <a:lnTo>
                    <a:pt x="1908" y="1070"/>
                  </a:lnTo>
                  <a:lnTo>
                    <a:pt x="1911" y="1079"/>
                  </a:lnTo>
                  <a:lnTo>
                    <a:pt x="1914" y="1095"/>
                  </a:lnTo>
                  <a:lnTo>
                    <a:pt x="1915" y="1098"/>
                  </a:lnTo>
                  <a:lnTo>
                    <a:pt x="1914" y="1136"/>
                  </a:lnTo>
                  <a:lnTo>
                    <a:pt x="1912" y="1173"/>
                  </a:lnTo>
                  <a:lnTo>
                    <a:pt x="1912" y="1177"/>
                  </a:lnTo>
                  <a:lnTo>
                    <a:pt x="1908" y="1212"/>
                  </a:lnTo>
                  <a:lnTo>
                    <a:pt x="1901" y="1237"/>
                  </a:lnTo>
                  <a:lnTo>
                    <a:pt x="1899" y="1248"/>
                  </a:lnTo>
                  <a:lnTo>
                    <a:pt x="1887" y="1284"/>
                  </a:lnTo>
                  <a:lnTo>
                    <a:pt x="1883" y="1310"/>
                  </a:lnTo>
                  <a:lnTo>
                    <a:pt x="1883" y="1322"/>
                  </a:lnTo>
                  <a:lnTo>
                    <a:pt x="1885" y="1323"/>
                  </a:lnTo>
                  <a:lnTo>
                    <a:pt x="1885" y="1336"/>
                  </a:lnTo>
                  <a:lnTo>
                    <a:pt x="1887" y="1344"/>
                  </a:lnTo>
                  <a:lnTo>
                    <a:pt x="1887" y="1353"/>
                  </a:lnTo>
                  <a:lnTo>
                    <a:pt x="1890" y="1360"/>
                  </a:lnTo>
                  <a:lnTo>
                    <a:pt x="1890" y="1372"/>
                  </a:lnTo>
                  <a:lnTo>
                    <a:pt x="1893" y="1384"/>
                  </a:lnTo>
                  <a:lnTo>
                    <a:pt x="1893" y="1397"/>
                  </a:lnTo>
                  <a:lnTo>
                    <a:pt x="1891" y="1411"/>
                  </a:lnTo>
                  <a:lnTo>
                    <a:pt x="1891" y="1420"/>
                  </a:lnTo>
                  <a:lnTo>
                    <a:pt x="1890" y="1450"/>
                  </a:lnTo>
                  <a:lnTo>
                    <a:pt x="1891" y="1456"/>
                  </a:lnTo>
                  <a:lnTo>
                    <a:pt x="1891" y="1472"/>
                  </a:lnTo>
                  <a:lnTo>
                    <a:pt x="1894" y="1493"/>
                  </a:lnTo>
                  <a:lnTo>
                    <a:pt x="1894" y="1502"/>
                  </a:lnTo>
                  <a:lnTo>
                    <a:pt x="1900" y="1523"/>
                  </a:lnTo>
                  <a:lnTo>
                    <a:pt x="1904" y="1532"/>
                  </a:lnTo>
                  <a:lnTo>
                    <a:pt x="1903" y="1537"/>
                  </a:lnTo>
                  <a:lnTo>
                    <a:pt x="1911" y="1548"/>
                  </a:lnTo>
                  <a:lnTo>
                    <a:pt x="1911" y="1555"/>
                  </a:lnTo>
                  <a:lnTo>
                    <a:pt x="1916" y="1563"/>
                  </a:lnTo>
                  <a:lnTo>
                    <a:pt x="1915" y="1567"/>
                  </a:lnTo>
                  <a:lnTo>
                    <a:pt x="1918" y="1575"/>
                  </a:lnTo>
                  <a:lnTo>
                    <a:pt x="1916" y="1577"/>
                  </a:lnTo>
                  <a:lnTo>
                    <a:pt x="1916" y="1581"/>
                  </a:lnTo>
                  <a:lnTo>
                    <a:pt x="1918" y="1584"/>
                  </a:lnTo>
                  <a:lnTo>
                    <a:pt x="1928" y="1584"/>
                  </a:lnTo>
                  <a:lnTo>
                    <a:pt x="1936" y="1589"/>
                  </a:lnTo>
                  <a:lnTo>
                    <a:pt x="1939" y="1588"/>
                  </a:lnTo>
                  <a:lnTo>
                    <a:pt x="1941" y="1593"/>
                  </a:lnTo>
                  <a:lnTo>
                    <a:pt x="1943" y="1591"/>
                  </a:lnTo>
                  <a:lnTo>
                    <a:pt x="1941" y="1585"/>
                  </a:lnTo>
                  <a:lnTo>
                    <a:pt x="1936" y="1581"/>
                  </a:lnTo>
                  <a:lnTo>
                    <a:pt x="1929" y="1571"/>
                  </a:lnTo>
                  <a:lnTo>
                    <a:pt x="1926" y="1569"/>
                  </a:lnTo>
                  <a:lnTo>
                    <a:pt x="1922" y="1562"/>
                  </a:lnTo>
                  <a:lnTo>
                    <a:pt x="1919" y="1559"/>
                  </a:lnTo>
                  <a:lnTo>
                    <a:pt x="1919" y="1555"/>
                  </a:lnTo>
                  <a:lnTo>
                    <a:pt x="1918" y="1554"/>
                  </a:lnTo>
                  <a:lnTo>
                    <a:pt x="1916" y="1550"/>
                  </a:lnTo>
                  <a:lnTo>
                    <a:pt x="1918" y="1550"/>
                  </a:lnTo>
                  <a:lnTo>
                    <a:pt x="1926" y="1564"/>
                  </a:lnTo>
                  <a:lnTo>
                    <a:pt x="1932" y="1574"/>
                  </a:lnTo>
                  <a:lnTo>
                    <a:pt x="1939" y="1575"/>
                  </a:lnTo>
                  <a:lnTo>
                    <a:pt x="1941" y="1577"/>
                  </a:lnTo>
                  <a:lnTo>
                    <a:pt x="1955" y="1580"/>
                  </a:lnTo>
                  <a:lnTo>
                    <a:pt x="1958" y="1581"/>
                  </a:lnTo>
                  <a:lnTo>
                    <a:pt x="1962" y="1581"/>
                  </a:lnTo>
                  <a:close/>
                  <a:moveTo>
                    <a:pt x="1874" y="513"/>
                  </a:moveTo>
                  <a:lnTo>
                    <a:pt x="1874" y="518"/>
                  </a:lnTo>
                  <a:lnTo>
                    <a:pt x="1875" y="524"/>
                  </a:lnTo>
                  <a:lnTo>
                    <a:pt x="1869" y="543"/>
                  </a:lnTo>
                  <a:lnTo>
                    <a:pt x="1872" y="548"/>
                  </a:lnTo>
                  <a:lnTo>
                    <a:pt x="1875" y="551"/>
                  </a:lnTo>
                  <a:lnTo>
                    <a:pt x="1878" y="551"/>
                  </a:lnTo>
                  <a:lnTo>
                    <a:pt x="1878" y="552"/>
                  </a:lnTo>
                  <a:lnTo>
                    <a:pt x="1868" y="583"/>
                  </a:lnTo>
                  <a:lnTo>
                    <a:pt x="1866" y="600"/>
                  </a:lnTo>
                  <a:lnTo>
                    <a:pt x="1855" y="620"/>
                  </a:lnTo>
                  <a:lnTo>
                    <a:pt x="1852" y="623"/>
                  </a:lnTo>
                  <a:lnTo>
                    <a:pt x="1849" y="634"/>
                  </a:lnTo>
                  <a:lnTo>
                    <a:pt x="1847" y="652"/>
                  </a:lnTo>
                  <a:lnTo>
                    <a:pt x="1850" y="660"/>
                  </a:lnTo>
                  <a:lnTo>
                    <a:pt x="1850" y="664"/>
                  </a:lnTo>
                  <a:lnTo>
                    <a:pt x="1844" y="675"/>
                  </a:lnTo>
                  <a:lnTo>
                    <a:pt x="1835" y="660"/>
                  </a:lnTo>
                  <a:lnTo>
                    <a:pt x="1833" y="659"/>
                  </a:lnTo>
                  <a:lnTo>
                    <a:pt x="1829" y="653"/>
                  </a:lnTo>
                  <a:lnTo>
                    <a:pt x="1827" y="650"/>
                  </a:lnTo>
                  <a:lnTo>
                    <a:pt x="1827" y="648"/>
                  </a:lnTo>
                  <a:lnTo>
                    <a:pt x="1829" y="647"/>
                  </a:lnTo>
                  <a:lnTo>
                    <a:pt x="1830" y="642"/>
                  </a:lnTo>
                  <a:lnTo>
                    <a:pt x="1829" y="637"/>
                  </a:lnTo>
                  <a:lnTo>
                    <a:pt x="1827" y="634"/>
                  </a:lnTo>
                  <a:lnTo>
                    <a:pt x="1827" y="631"/>
                  </a:lnTo>
                  <a:lnTo>
                    <a:pt x="1825" y="625"/>
                  </a:lnTo>
                  <a:lnTo>
                    <a:pt x="1819" y="620"/>
                  </a:lnTo>
                  <a:lnTo>
                    <a:pt x="1821" y="615"/>
                  </a:lnTo>
                  <a:lnTo>
                    <a:pt x="1826" y="615"/>
                  </a:lnTo>
                  <a:lnTo>
                    <a:pt x="1833" y="609"/>
                  </a:lnTo>
                  <a:lnTo>
                    <a:pt x="1837" y="601"/>
                  </a:lnTo>
                  <a:lnTo>
                    <a:pt x="1837" y="596"/>
                  </a:lnTo>
                  <a:lnTo>
                    <a:pt x="1835" y="586"/>
                  </a:lnTo>
                  <a:lnTo>
                    <a:pt x="1835" y="584"/>
                  </a:lnTo>
                  <a:lnTo>
                    <a:pt x="1832" y="576"/>
                  </a:lnTo>
                  <a:lnTo>
                    <a:pt x="1829" y="573"/>
                  </a:lnTo>
                  <a:lnTo>
                    <a:pt x="1826" y="566"/>
                  </a:lnTo>
                  <a:lnTo>
                    <a:pt x="1825" y="564"/>
                  </a:lnTo>
                  <a:lnTo>
                    <a:pt x="1841" y="552"/>
                  </a:lnTo>
                  <a:lnTo>
                    <a:pt x="1850" y="539"/>
                  </a:lnTo>
                  <a:lnTo>
                    <a:pt x="1850" y="526"/>
                  </a:lnTo>
                  <a:lnTo>
                    <a:pt x="1850" y="522"/>
                  </a:lnTo>
                  <a:lnTo>
                    <a:pt x="1852" y="522"/>
                  </a:lnTo>
                  <a:lnTo>
                    <a:pt x="1852" y="521"/>
                  </a:lnTo>
                  <a:lnTo>
                    <a:pt x="1852" y="510"/>
                  </a:lnTo>
                  <a:lnTo>
                    <a:pt x="1849" y="489"/>
                  </a:lnTo>
                  <a:lnTo>
                    <a:pt x="1854" y="484"/>
                  </a:lnTo>
                  <a:lnTo>
                    <a:pt x="1857" y="476"/>
                  </a:lnTo>
                  <a:lnTo>
                    <a:pt x="1857" y="463"/>
                  </a:lnTo>
                  <a:lnTo>
                    <a:pt x="1861" y="460"/>
                  </a:lnTo>
                  <a:lnTo>
                    <a:pt x="1864" y="457"/>
                  </a:lnTo>
                  <a:lnTo>
                    <a:pt x="1862" y="454"/>
                  </a:lnTo>
                  <a:lnTo>
                    <a:pt x="1861" y="451"/>
                  </a:lnTo>
                  <a:lnTo>
                    <a:pt x="1846" y="444"/>
                  </a:lnTo>
                  <a:lnTo>
                    <a:pt x="1841" y="441"/>
                  </a:lnTo>
                  <a:lnTo>
                    <a:pt x="1837" y="440"/>
                  </a:lnTo>
                  <a:lnTo>
                    <a:pt x="1840" y="440"/>
                  </a:lnTo>
                  <a:lnTo>
                    <a:pt x="1860" y="449"/>
                  </a:lnTo>
                  <a:lnTo>
                    <a:pt x="1865" y="447"/>
                  </a:lnTo>
                  <a:lnTo>
                    <a:pt x="1871" y="459"/>
                  </a:lnTo>
                  <a:lnTo>
                    <a:pt x="1875" y="464"/>
                  </a:lnTo>
                  <a:lnTo>
                    <a:pt x="1875" y="485"/>
                  </a:lnTo>
                  <a:lnTo>
                    <a:pt x="1878" y="488"/>
                  </a:lnTo>
                  <a:lnTo>
                    <a:pt x="1878" y="490"/>
                  </a:lnTo>
                  <a:lnTo>
                    <a:pt x="1874" y="513"/>
                  </a:lnTo>
                  <a:close/>
                  <a:moveTo>
                    <a:pt x="1854" y="687"/>
                  </a:moveTo>
                  <a:lnTo>
                    <a:pt x="1854" y="693"/>
                  </a:lnTo>
                  <a:lnTo>
                    <a:pt x="1851" y="698"/>
                  </a:lnTo>
                  <a:lnTo>
                    <a:pt x="1847" y="715"/>
                  </a:lnTo>
                  <a:lnTo>
                    <a:pt x="1846" y="718"/>
                  </a:lnTo>
                  <a:lnTo>
                    <a:pt x="1843" y="749"/>
                  </a:lnTo>
                  <a:lnTo>
                    <a:pt x="1840" y="760"/>
                  </a:lnTo>
                  <a:lnTo>
                    <a:pt x="1836" y="770"/>
                  </a:lnTo>
                  <a:lnTo>
                    <a:pt x="1832" y="766"/>
                  </a:lnTo>
                  <a:lnTo>
                    <a:pt x="1822" y="762"/>
                  </a:lnTo>
                  <a:lnTo>
                    <a:pt x="1821" y="762"/>
                  </a:lnTo>
                  <a:lnTo>
                    <a:pt x="1818" y="754"/>
                  </a:lnTo>
                  <a:lnTo>
                    <a:pt x="1819" y="750"/>
                  </a:lnTo>
                  <a:lnTo>
                    <a:pt x="1818" y="743"/>
                  </a:lnTo>
                  <a:lnTo>
                    <a:pt x="1816" y="739"/>
                  </a:lnTo>
                  <a:lnTo>
                    <a:pt x="1809" y="734"/>
                  </a:lnTo>
                  <a:lnTo>
                    <a:pt x="1809" y="730"/>
                  </a:lnTo>
                  <a:lnTo>
                    <a:pt x="1815" y="729"/>
                  </a:lnTo>
                  <a:lnTo>
                    <a:pt x="1822" y="720"/>
                  </a:lnTo>
                  <a:lnTo>
                    <a:pt x="1830" y="717"/>
                  </a:lnTo>
                  <a:lnTo>
                    <a:pt x="1832" y="713"/>
                  </a:lnTo>
                  <a:lnTo>
                    <a:pt x="1843" y="715"/>
                  </a:lnTo>
                  <a:lnTo>
                    <a:pt x="1841" y="709"/>
                  </a:lnTo>
                  <a:lnTo>
                    <a:pt x="1841" y="705"/>
                  </a:lnTo>
                  <a:lnTo>
                    <a:pt x="1843" y="702"/>
                  </a:lnTo>
                  <a:lnTo>
                    <a:pt x="1847" y="700"/>
                  </a:lnTo>
                  <a:lnTo>
                    <a:pt x="1847" y="693"/>
                  </a:lnTo>
                  <a:lnTo>
                    <a:pt x="1850" y="687"/>
                  </a:lnTo>
                  <a:lnTo>
                    <a:pt x="1849" y="687"/>
                  </a:lnTo>
                  <a:lnTo>
                    <a:pt x="1849" y="683"/>
                  </a:lnTo>
                  <a:lnTo>
                    <a:pt x="1851" y="685"/>
                  </a:lnTo>
                  <a:lnTo>
                    <a:pt x="1854" y="687"/>
                  </a:lnTo>
                  <a:close/>
                  <a:moveTo>
                    <a:pt x="1905" y="953"/>
                  </a:moveTo>
                  <a:lnTo>
                    <a:pt x="1907" y="958"/>
                  </a:lnTo>
                  <a:lnTo>
                    <a:pt x="1905" y="959"/>
                  </a:lnTo>
                  <a:lnTo>
                    <a:pt x="1904" y="963"/>
                  </a:lnTo>
                  <a:lnTo>
                    <a:pt x="1904" y="967"/>
                  </a:lnTo>
                  <a:lnTo>
                    <a:pt x="1897" y="963"/>
                  </a:lnTo>
                  <a:lnTo>
                    <a:pt x="1896" y="956"/>
                  </a:lnTo>
                  <a:lnTo>
                    <a:pt x="1896" y="951"/>
                  </a:lnTo>
                  <a:lnTo>
                    <a:pt x="1897" y="949"/>
                  </a:lnTo>
                  <a:lnTo>
                    <a:pt x="1900" y="945"/>
                  </a:lnTo>
                  <a:lnTo>
                    <a:pt x="1903" y="945"/>
                  </a:lnTo>
                  <a:lnTo>
                    <a:pt x="1904" y="949"/>
                  </a:lnTo>
                  <a:lnTo>
                    <a:pt x="1907" y="949"/>
                  </a:lnTo>
                  <a:lnTo>
                    <a:pt x="1907" y="951"/>
                  </a:lnTo>
                  <a:lnTo>
                    <a:pt x="1905" y="953"/>
                  </a:lnTo>
                  <a:close/>
                  <a:moveTo>
                    <a:pt x="1826" y="806"/>
                  </a:moveTo>
                  <a:lnTo>
                    <a:pt x="1826" y="813"/>
                  </a:lnTo>
                  <a:lnTo>
                    <a:pt x="1829" y="824"/>
                  </a:lnTo>
                  <a:lnTo>
                    <a:pt x="1823" y="818"/>
                  </a:lnTo>
                  <a:lnTo>
                    <a:pt x="1818" y="824"/>
                  </a:lnTo>
                  <a:lnTo>
                    <a:pt x="1815" y="824"/>
                  </a:lnTo>
                  <a:lnTo>
                    <a:pt x="1816" y="816"/>
                  </a:lnTo>
                  <a:lnTo>
                    <a:pt x="1819" y="812"/>
                  </a:lnTo>
                  <a:lnTo>
                    <a:pt x="1822" y="806"/>
                  </a:lnTo>
                  <a:lnTo>
                    <a:pt x="1823" y="806"/>
                  </a:lnTo>
                  <a:lnTo>
                    <a:pt x="1826" y="806"/>
                  </a:lnTo>
                  <a:close/>
                  <a:moveTo>
                    <a:pt x="1583" y="187"/>
                  </a:moveTo>
                  <a:lnTo>
                    <a:pt x="1583" y="192"/>
                  </a:lnTo>
                  <a:lnTo>
                    <a:pt x="1581" y="195"/>
                  </a:lnTo>
                  <a:lnTo>
                    <a:pt x="1580" y="186"/>
                  </a:lnTo>
                  <a:lnTo>
                    <a:pt x="1576" y="179"/>
                  </a:lnTo>
                  <a:lnTo>
                    <a:pt x="1577" y="173"/>
                  </a:lnTo>
                  <a:lnTo>
                    <a:pt x="1575" y="169"/>
                  </a:lnTo>
                  <a:lnTo>
                    <a:pt x="1575" y="166"/>
                  </a:lnTo>
                  <a:lnTo>
                    <a:pt x="1576" y="166"/>
                  </a:lnTo>
                  <a:lnTo>
                    <a:pt x="1580" y="173"/>
                  </a:lnTo>
                  <a:lnTo>
                    <a:pt x="1581" y="176"/>
                  </a:lnTo>
                  <a:lnTo>
                    <a:pt x="1583" y="187"/>
                  </a:lnTo>
                  <a:close/>
                  <a:moveTo>
                    <a:pt x="1900" y="978"/>
                  </a:moveTo>
                  <a:lnTo>
                    <a:pt x="1901" y="982"/>
                  </a:lnTo>
                  <a:lnTo>
                    <a:pt x="1900" y="986"/>
                  </a:lnTo>
                  <a:lnTo>
                    <a:pt x="1896" y="987"/>
                  </a:lnTo>
                  <a:lnTo>
                    <a:pt x="1896" y="986"/>
                  </a:lnTo>
                  <a:lnTo>
                    <a:pt x="1896" y="980"/>
                  </a:lnTo>
                  <a:lnTo>
                    <a:pt x="1897" y="978"/>
                  </a:lnTo>
                  <a:lnTo>
                    <a:pt x="1897" y="976"/>
                  </a:lnTo>
                  <a:lnTo>
                    <a:pt x="1900" y="978"/>
                  </a:lnTo>
                  <a:close/>
                  <a:moveTo>
                    <a:pt x="1754" y="531"/>
                  </a:moveTo>
                  <a:lnTo>
                    <a:pt x="1752" y="539"/>
                  </a:lnTo>
                  <a:lnTo>
                    <a:pt x="1750" y="538"/>
                  </a:lnTo>
                  <a:lnTo>
                    <a:pt x="1751" y="534"/>
                  </a:lnTo>
                  <a:lnTo>
                    <a:pt x="1751" y="531"/>
                  </a:lnTo>
                  <a:lnTo>
                    <a:pt x="1747" y="530"/>
                  </a:lnTo>
                  <a:lnTo>
                    <a:pt x="1747" y="526"/>
                  </a:lnTo>
                  <a:lnTo>
                    <a:pt x="1754" y="531"/>
                  </a:lnTo>
                  <a:close/>
                </a:path>
              </a:pathLst>
            </a:custGeom>
            <a:solidFill>
              <a:srgbClr val="548DD4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97" name="Freeform 196"/>
            <p:cNvSpPr>
              <a:spLocks noEditPoints="1"/>
            </p:cNvSpPr>
            <p:nvPr/>
          </p:nvSpPr>
          <p:spPr bwMode="auto">
            <a:xfrm>
              <a:off x="883168" y="4552168"/>
              <a:ext cx="193384" cy="578347"/>
            </a:xfrm>
            <a:custGeom>
              <a:avLst/>
              <a:gdLst>
                <a:gd name="T0" fmla="*/ 679 w 970"/>
                <a:gd name="T1" fmla="*/ 1183 h 2143"/>
                <a:gd name="T2" fmla="*/ 650 w 970"/>
                <a:gd name="T3" fmla="*/ 1324 h 2143"/>
                <a:gd name="T4" fmla="*/ 618 w 970"/>
                <a:gd name="T5" fmla="*/ 1310 h 2143"/>
                <a:gd name="T6" fmla="*/ 464 w 970"/>
                <a:gd name="T7" fmla="*/ 1397 h 2143"/>
                <a:gd name="T8" fmla="*/ 455 w 970"/>
                <a:gd name="T9" fmla="*/ 1451 h 2143"/>
                <a:gd name="T10" fmla="*/ 425 w 970"/>
                <a:gd name="T11" fmla="*/ 1519 h 2143"/>
                <a:gd name="T12" fmla="*/ 542 w 970"/>
                <a:gd name="T13" fmla="*/ 1480 h 2143"/>
                <a:gd name="T14" fmla="*/ 617 w 970"/>
                <a:gd name="T15" fmla="*/ 1596 h 2143"/>
                <a:gd name="T16" fmla="*/ 756 w 970"/>
                <a:gd name="T17" fmla="*/ 1667 h 2143"/>
                <a:gd name="T18" fmla="*/ 769 w 970"/>
                <a:gd name="T19" fmla="*/ 1576 h 2143"/>
                <a:gd name="T20" fmla="*/ 786 w 970"/>
                <a:gd name="T21" fmla="*/ 1571 h 2143"/>
                <a:gd name="T22" fmla="*/ 797 w 970"/>
                <a:gd name="T23" fmla="*/ 1530 h 2143"/>
                <a:gd name="T24" fmla="*/ 799 w 970"/>
                <a:gd name="T25" fmla="*/ 1525 h 2143"/>
                <a:gd name="T26" fmla="*/ 821 w 970"/>
                <a:gd name="T27" fmla="*/ 1571 h 2143"/>
                <a:gd name="T28" fmla="*/ 808 w 970"/>
                <a:gd name="T29" fmla="*/ 1733 h 2143"/>
                <a:gd name="T30" fmla="*/ 794 w 970"/>
                <a:gd name="T31" fmla="*/ 1859 h 2143"/>
                <a:gd name="T32" fmla="*/ 785 w 970"/>
                <a:gd name="T33" fmla="*/ 2013 h 2143"/>
                <a:gd name="T34" fmla="*/ 775 w 970"/>
                <a:gd name="T35" fmla="*/ 2064 h 2143"/>
                <a:gd name="T36" fmla="*/ 769 w 970"/>
                <a:gd name="T37" fmla="*/ 2114 h 2143"/>
                <a:gd name="T38" fmla="*/ 778 w 970"/>
                <a:gd name="T39" fmla="*/ 2123 h 2143"/>
                <a:gd name="T40" fmla="*/ 326 w 970"/>
                <a:gd name="T41" fmla="*/ 2131 h 2143"/>
                <a:gd name="T42" fmla="*/ 311 w 970"/>
                <a:gd name="T43" fmla="*/ 2129 h 2143"/>
                <a:gd name="T44" fmla="*/ 293 w 970"/>
                <a:gd name="T45" fmla="*/ 2129 h 2143"/>
                <a:gd name="T46" fmla="*/ 276 w 970"/>
                <a:gd name="T47" fmla="*/ 2125 h 2143"/>
                <a:gd name="T48" fmla="*/ 258 w 970"/>
                <a:gd name="T49" fmla="*/ 2119 h 2143"/>
                <a:gd name="T50" fmla="*/ 241 w 970"/>
                <a:gd name="T51" fmla="*/ 2114 h 2143"/>
                <a:gd name="T52" fmla="*/ 226 w 970"/>
                <a:gd name="T53" fmla="*/ 2119 h 2143"/>
                <a:gd name="T54" fmla="*/ 218 w 970"/>
                <a:gd name="T55" fmla="*/ 2129 h 2143"/>
                <a:gd name="T56" fmla="*/ 201 w 970"/>
                <a:gd name="T57" fmla="*/ 2135 h 2143"/>
                <a:gd name="T58" fmla="*/ 184 w 970"/>
                <a:gd name="T59" fmla="*/ 2127 h 2143"/>
                <a:gd name="T60" fmla="*/ 170 w 970"/>
                <a:gd name="T61" fmla="*/ 2119 h 2143"/>
                <a:gd name="T62" fmla="*/ 168 w 970"/>
                <a:gd name="T63" fmla="*/ 1960 h 2143"/>
                <a:gd name="T64" fmla="*/ 138 w 970"/>
                <a:gd name="T65" fmla="*/ 1600 h 2143"/>
                <a:gd name="T66" fmla="*/ 35 w 970"/>
                <a:gd name="T67" fmla="*/ 1407 h 2143"/>
                <a:gd name="T68" fmla="*/ 48 w 970"/>
                <a:gd name="T69" fmla="*/ 989 h 2143"/>
                <a:gd name="T70" fmla="*/ 38 w 970"/>
                <a:gd name="T71" fmla="*/ 33 h 2143"/>
                <a:gd name="T72" fmla="*/ 113 w 970"/>
                <a:gd name="T73" fmla="*/ 0 h 2143"/>
                <a:gd name="T74" fmla="*/ 193 w 970"/>
                <a:gd name="T75" fmla="*/ 11 h 2143"/>
                <a:gd name="T76" fmla="*/ 222 w 970"/>
                <a:gd name="T77" fmla="*/ 20 h 2143"/>
                <a:gd name="T78" fmla="*/ 284 w 970"/>
                <a:gd name="T79" fmla="*/ 43 h 2143"/>
                <a:gd name="T80" fmla="*/ 332 w 970"/>
                <a:gd name="T81" fmla="*/ 35 h 2143"/>
                <a:gd name="T82" fmla="*/ 395 w 970"/>
                <a:gd name="T83" fmla="*/ 56 h 2143"/>
                <a:gd name="T84" fmla="*/ 457 w 970"/>
                <a:gd name="T85" fmla="*/ 105 h 2143"/>
                <a:gd name="T86" fmla="*/ 536 w 970"/>
                <a:gd name="T87" fmla="*/ 127 h 2143"/>
                <a:gd name="T88" fmla="*/ 624 w 970"/>
                <a:gd name="T89" fmla="*/ 156 h 2143"/>
                <a:gd name="T90" fmla="*/ 639 w 970"/>
                <a:gd name="T91" fmla="*/ 256 h 2143"/>
                <a:gd name="T92" fmla="*/ 672 w 970"/>
                <a:gd name="T93" fmla="*/ 294 h 2143"/>
                <a:gd name="T94" fmla="*/ 703 w 970"/>
                <a:gd name="T95" fmla="*/ 346 h 2143"/>
                <a:gd name="T96" fmla="*/ 733 w 970"/>
                <a:gd name="T97" fmla="*/ 391 h 2143"/>
                <a:gd name="T98" fmla="*/ 747 w 970"/>
                <a:gd name="T99" fmla="*/ 433 h 2143"/>
                <a:gd name="T100" fmla="*/ 785 w 970"/>
                <a:gd name="T101" fmla="*/ 450 h 2143"/>
                <a:gd name="T102" fmla="*/ 791 w 970"/>
                <a:gd name="T103" fmla="*/ 538 h 2143"/>
                <a:gd name="T104" fmla="*/ 799 w 970"/>
                <a:gd name="T105" fmla="*/ 560 h 2143"/>
                <a:gd name="T106" fmla="*/ 810 w 970"/>
                <a:gd name="T107" fmla="*/ 574 h 2143"/>
                <a:gd name="T108" fmla="*/ 791 w 970"/>
                <a:gd name="T109" fmla="*/ 588 h 2143"/>
                <a:gd name="T110" fmla="*/ 797 w 970"/>
                <a:gd name="T111" fmla="*/ 642 h 2143"/>
                <a:gd name="T112" fmla="*/ 813 w 970"/>
                <a:gd name="T113" fmla="*/ 698 h 2143"/>
                <a:gd name="T114" fmla="*/ 860 w 970"/>
                <a:gd name="T115" fmla="*/ 712 h 2143"/>
                <a:gd name="T116" fmla="*/ 846 w 970"/>
                <a:gd name="T117" fmla="*/ 741 h 2143"/>
                <a:gd name="T118" fmla="*/ 856 w 970"/>
                <a:gd name="T119" fmla="*/ 783 h 2143"/>
                <a:gd name="T120" fmla="*/ 967 w 970"/>
                <a:gd name="T121" fmla="*/ 866 h 2143"/>
                <a:gd name="T122" fmla="*/ 628 w 970"/>
                <a:gd name="T123" fmla="*/ 1310 h 214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70"/>
                <a:gd name="T187" fmla="*/ 0 h 2143"/>
                <a:gd name="T188" fmla="*/ 970 w 970"/>
                <a:gd name="T189" fmla="*/ 2143 h 214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70" h="2143">
                  <a:moveTo>
                    <a:pt x="967" y="947"/>
                  </a:moveTo>
                  <a:lnTo>
                    <a:pt x="948" y="960"/>
                  </a:lnTo>
                  <a:lnTo>
                    <a:pt x="916" y="976"/>
                  </a:lnTo>
                  <a:lnTo>
                    <a:pt x="887" y="991"/>
                  </a:lnTo>
                  <a:lnTo>
                    <a:pt x="841" y="1023"/>
                  </a:lnTo>
                  <a:lnTo>
                    <a:pt x="810" y="1043"/>
                  </a:lnTo>
                  <a:lnTo>
                    <a:pt x="788" y="1057"/>
                  </a:lnTo>
                  <a:lnTo>
                    <a:pt x="743" y="1094"/>
                  </a:lnTo>
                  <a:lnTo>
                    <a:pt x="725" y="1111"/>
                  </a:lnTo>
                  <a:lnTo>
                    <a:pt x="717" y="1121"/>
                  </a:lnTo>
                  <a:lnTo>
                    <a:pt x="706" y="1135"/>
                  </a:lnTo>
                  <a:lnTo>
                    <a:pt x="694" y="1156"/>
                  </a:lnTo>
                  <a:lnTo>
                    <a:pt x="679" y="1183"/>
                  </a:lnTo>
                  <a:lnTo>
                    <a:pt x="661" y="1222"/>
                  </a:lnTo>
                  <a:lnTo>
                    <a:pt x="654" y="1242"/>
                  </a:lnTo>
                  <a:lnTo>
                    <a:pt x="649" y="1273"/>
                  </a:lnTo>
                  <a:lnTo>
                    <a:pt x="647" y="1288"/>
                  </a:lnTo>
                  <a:lnTo>
                    <a:pt x="653" y="1324"/>
                  </a:lnTo>
                  <a:lnTo>
                    <a:pt x="657" y="1334"/>
                  </a:lnTo>
                  <a:lnTo>
                    <a:pt x="661" y="1342"/>
                  </a:lnTo>
                  <a:lnTo>
                    <a:pt x="656" y="1342"/>
                  </a:lnTo>
                  <a:lnTo>
                    <a:pt x="654" y="1339"/>
                  </a:lnTo>
                  <a:lnTo>
                    <a:pt x="654" y="1335"/>
                  </a:lnTo>
                  <a:lnTo>
                    <a:pt x="652" y="1333"/>
                  </a:lnTo>
                  <a:lnTo>
                    <a:pt x="650" y="1332"/>
                  </a:lnTo>
                  <a:lnTo>
                    <a:pt x="650" y="1324"/>
                  </a:lnTo>
                  <a:lnTo>
                    <a:pt x="647" y="1317"/>
                  </a:lnTo>
                  <a:lnTo>
                    <a:pt x="649" y="1309"/>
                  </a:lnTo>
                  <a:lnTo>
                    <a:pt x="646" y="1298"/>
                  </a:lnTo>
                  <a:lnTo>
                    <a:pt x="646" y="1295"/>
                  </a:lnTo>
                  <a:lnTo>
                    <a:pt x="644" y="1289"/>
                  </a:lnTo>
                  <a:lnTo>
                    <a:pt x="642" y="1289"/>
                  </a:lnTo>
                  <a:lnTo>
                    <a:pt x="638" y="1289"/>
                  </a:lnTo>
                  <a:lnTo>
                    <a:pt x="636" y="1295"/>
                  </a:lnTo>
                  <a:lnTo>
                    <a:pt x="633" y="1300"/>
                  </a:lnTo>
                  <a:lnTo>
                    <a:pt x="627" y="1300"/>
                  </a:lnTo>
                  <a:lnTo>
                    <a:pt x="621" y="1302"/>
                  </a:lnTo>
                  <a:lnTo>
                    <a:pt x="621" y="1308"/>
                  </a:lnTo>
                  <a:lnTo>
                    <a:pt x="618" y="1310"/>
                  </a:lnTo>
                  <a:lnTo>
                    <a:pt x="618" y="1317"/>
                  </a:lnTo>
                  <a:lnTo>
                    <a:pt x="617" y="1318"/>
                  </a:lnTo>
                  <a:lnTo>
                    <a:pt x="617" y="1326"/>
                  </a:lnTo>
                  <a:lnTo>
                    <a:pt x="514" y="1292"/>
                  </a:lnTo>
                  <a:lnTo>
                    <a:pt x="508" y="1327"/>
                  </a:lnTo>
                  <a:lnTo>
                    <a:pt x="508" y="1347"/>
                  </a:lnTo>
                  <a:lnTo>
                    <a:pt x="505" y="1358"/>
                  </a:lnTo>
                  <a:lnTo>
                    <a:pt x="501" y="1367"/>
                  </a:lnTo>
                  <a:lnTo>
                    <a:pt x="497" y="1376"/>
                  </a:lnTo>
                  <a:lnTo>
                    <a:pt x="493" y="1379"/>
                  </a:lnTo>
                  <a:lnTo>
                    <a:pt x="484" y="1384"/>
                  </a:lnTo>
                  <a:lnTo>
                    <a:pt x="467" y="1392"/>
                  </a:lnTo>
                  <a:lnTo>
                    <a:pt x="464" y="1397"/>
                  </a:lnTo>
                  <a:lnTo>
                    <a:pt x="459" y="1412"/>
                  </a:lnTo>
                  <a:lnTo>
                    <a:pt x="455" y="1414"/>
                  </a:lnTo>
                  <a:lnTo>
                    <a:pt x="454" y="1413"/>
                  </a:lnTo>
                  <a:lnTo>
                    <a:pt x="451" y="1412"/>
                  </a:lnTo>
                  <a:lnTo>
                    <a:pt x="447" y="1414"/>
                  </a:lnTo>
                  <a:lnTo>
                    <a:pt x="447" y="1419"/>
                  </a:lnTo>
                  <a:lnTo>
                    <a:pt x="444" y="1420"/>
                  </a:lnTo>
                  <a:lnTo>
                    <a:pt x="443" y="1424"/>
                  </a:lnTo>
                  <a:lnTo>
                    <a:pt x="437" y="1432"/>
                  </a:lnTo>
                  <a:lnTo>
                    <a:pt x="437" y="1437"/>
                  </a:lnTo>
                  <a:lnTo>
                    <a:pt x="442" y="1449"/>
                  </a:lnTo>
                  <a:lnTo>
                    <a:pt x="448" y="1453"/>
                  </a:lnTo>
                  <a:lnTo>
                    <a:pt x="455" y="1451"/>
                  </a:lnTo>
                  <a:lnTo>
                    <a:pt x="457" y="1461"/>
                  </a:lnTo>
                  <a:lnTo>
                    <a:pt x="455" y="1466"/>
                  </a:lnTo>
                  <a:lnTo>
                    <a:pt x="451" y="1474"/>
                  </a:lnTo>
                  <a:lnTo>
                    <a:pt x="437" y="1489"/>
                  </a:lnTo>
                  <a:lnTo>
                    <a:pt x="430" y="1491"/>
                  </a:lnTo>
                  <a:lnTo>
                    <a:pt x="420" y="1487"/>
                  </a:lnTo>
                  <a:lnTo>
                    <a:pt x="417" y="1487"/>
                  </a:lnTo>
                  <a:lnTo>
                    <a:pt x="412" y="1489"/>
                  </a:lnTo>
                  <a:lnTo>
                    <a:pt x="411" y="1492"/>
                  </a:lnTo>
                  <a:lnTo>
                    <a:pt x="411" y="1498"/>
                  </a:lnTo>
                  <a:lnTo>
                    <a:pt x="417" y="1507"/>
                  </a:lnTo>
                  <a:lnTo>
                    <a:pt x="422" y="1517"/>
                  </a:lnTo>
                  <a:lnTo>
                    <a:pt x="425" y="1519"/>
                  </a:lnTo>
                  <a:lnTo>
                    <a:pt x="430" y="1514"/>
                  </a:lnTo>
                  <a:lnTo>
                    <a:pt x="433" y="1514"/>
                  </a:lnTo>
                  <a:lnTo>
                    <a:pt x="440" y="1517"/>
                  </a:lnTo>
                  <a:lnTo>
                    <a:pt x="444" y="1520"/>
                  </a:lnTo>
                  <a:lnTo>
                    <a:pt x="464" y="1512"/>
                  </a:lnTo>
                  <a:lnTo>
                    <a:pt x="469" y="1507"/>
                  </a:lnTo>
                  <a:lnTo>
                    <a:pt x="482" y="1505"/>
                  </a:lnTo>
                  <a:lnTo>
                    <a:pt x="497" y="1505"/>
                  </a:lnTo>
                  <a:lnTo>
                    <a:pt x="505" y="1507"/>
                  </a:lnTo>
                  <a:lnTo>
                    <a:pt x="509" y="1511"/>
                  </a:lnTo>
                  <a:lnTo>
                    <a:pt x="515" y="1512"/>
                  </a:lnTo>
                  <a:lnTo>
                    <a:pt x="523" y="1492"/>
                  </a:lnTo>
                  <a:lnTo>
                    <a:pt x="542" y="1480"/>
                  </a:lnTo>
                  <a:lnTo>
                    <a:pt x="546" y="1472"/>
                  </a:lnTo>
                  <a:lnTo>
                    <a:pt x="548" y="1478"/>
                  </a:lnTo>
                  <a:lnTo>
                    <a:pt x="562" y="1501"/>
                  </a:lnTo>
                  <a:lnTo>
                    <a:pt x="581" y="1521"/>
                  </a:lnTo>
                  <a:lnTo>
                    <a:pt x="592" y="1541"/>
                  </a:lnTo>
                  <a:lnTo>
                    <a:pt x="593" y="1546"/>
                  </a:lnTo>
                  <a:lnTo>
                    <a:pt x="592" y="1551"/>
                  </a:lnTo>
                  <a:lnTo>
                    <a:pt x="592" y="1557"/>
                  </a:lnTo>
                  <a:lnTo>
                    <a:pt x="593" y="1563"/>
                  </a:lnTo>
                  <a:lnTo>
                    <a:pt x="599" y="1573"/>
                  </a:lnTo>
                  <a:lnTo>
                    <a:pt x="604" y="1592"/>
                  </a:lnTo>
                  <a:lnTo>
                    <a:pt x="608" y="1595"/>
                  </a:lnTo>
                  <a:lnTo>
                    <a:pt x="617" y="1596"/>
                  </a:lnTo>
                  <a:lnTo>
                    <a:pt x="625" y="1594"/>
                  </a:lnTo>
                  <a:lnTo>
                    <a:pt x="635" y="1591"/>
                  </a:lnTo>
                  <a:lnTo>
                    <a:pt x="639" y="1591"/>
                  </a:lnTo>
                  <a:lnTo>
                    <a:pt x="646" y="1600"/>
                  </a:lnTo>
                  <a:lnTo>
                    <a:pt x="664" y="1613"/>
                  </a:lnTo>
                  <a:lnTo>
                    <a:pt x="682" y="1630"/>
                  </a:lnTo>
                  <a:lnTo>
                    <a:pt x="696" y="1640"/>
                  </a:lnTo>
                  <a:lnTo>
                    <a:pt x="706" y="1662"/>
                  </a:lnTo>
                  <a:lnTo>
                    <a:pt x="710" y="1666"/>
                  </a:lnTo>
                  <a:lnTo>
                    <a:pt x="727" y="1675"/>
                  </a:lnTo>
                  <a:lnTo>
                    <a:pt x="739" y="1675"/>
                  </a:lnTo>
                  <a:lnTo>
                    <a:pt x="746" y="1669"/>
                  </a:lnTo>
                  <a:lnTo>
                    <a:pt x="756" y="1667"/>
                  </a:lnTo>
                  <a:lnTo>
                    <a:pt x="764" y="1669"/>
                  </a:lnTo>
                  <a:lnTo>
                    <a:pt x="768" y="1672"/>
                  </a:lnTo>
                  <a:lnTo>
                    <a:pt x="768" y="1669"/>
                  </a:lnTo>
                  <a:lnTo>
                    <a:pt x="764" y="1663"/>
                  </a:lnTo>
                  <a:lnTo>
                    <a:pt x="758" y="1661"/>
                  </a:lnTo>
                  <a:lnTo>
                    <a:pt x="753" y="1652"/>
                  </a:lnTo>
                  <a:lnTo>
                    <a:pt x="756" y="1644"/>
                  </a:lnTo>
                  <a:lnTo>
                    <a:pt x="754" y="1619"/>
                  </a:lnTo>
                  <a:lnTo>
                    <a:pt x="754" y="1610"/>
                  </a:lnTo>
                  <a:lnTo>
                    <a:pt x="756" y="1603"/>
                  </a:lnTo>
                  <a:lnTo>
                    <a:pt x="761" y="1594"/>
                  </a:lnTo>
                  <a:lnTo>
                    <a:pt x="769" y="1571"/>
                  </a:lnTo>
                  <a:lnTo>
                    <a:pt x="769" y="1576"/>
                  </a:lnTo>
                  <a:lnTo>
                    <a:pt x="763" y="1594"/>
                  </a:lnTo>
                  <a:lnTo>
                    <a:pt x="757" y="1603"/>
                  </a:lnTo>
                  <a:lnTo>
                    <a:pt x="757" y="1607"/>
                  </a:lnTo>
                  <a:lnTo>
                    <a:pt x="761" y="1604"/>
                  </a:lnTo>
                  <a:lnTo>
                    <a:pt x="769" y="1592"/>
                  </a:lnTo>
                  <a:lnTo>
                    <a:pt x="769" y="1586"/>
                  </a:lnTo>
                  <a:lnTo>
                    <a:pt x="771" y="1582"/>
                  </a:lnTo>
                  <a:lnTo>
                    <a:pt x="772" y="1571"/>
                  </a:lnTo>
                  <a:lnTo>
                    <a:pt x="775" y="1570"/>
                  </a:lnTo>
                  <a:lnTo>
                    <a:pt x="775" y="1571"/>
                  </a:lnTo>
                  <a:lnTo>
                    <a:pt x="778" y="1571"/>
                  </a:lnTo>
                  <a:lnTo>
                    <a:pt x="781" y="1573"/>
                  </a:lnTo>
                  <a:lnTo>
                    <a:pt x="786" y="1571"/>
                  </a:lnTo>
                  <a:lnTo>
                    <a:pt x="783" y="1569"/>
                  </a:lnTo>
                  <a:lnTo>
                    <a:pt x="781" y="1570"/>
                  </a:lnTo>
                  <a:lnTo>
                    <a:pt x="782" y="1565"/>
                  </a:lnTo>
                  <a:lnTo>
                    <a:pt x="782" y="1561"/>
                  </a:lnTo>
                  <a:lnTo>
                    <a:pt x="778" y="1557"/>
                  </a:lnTo>
                  <a:lnTo>
                    <a:pt x="781" y="1554"/>
                  </a:lnTo>
                  <a:lnTo>
                    <a:pt x="781" y="1553"/>
                  </a:lnTo>
                  <a:lnTo>
                    <a:pt x="783" y="1549"/>
                  </a:lnTo>
                  <a:lnTo>
                    <a:pt x="783" y="1544"/>
                  </a:lnTo>
                  <a:lnTo>
                    <a:pt x="785" y="1540"/>
                  </a:lnTo>
                  <a:lnTo>
                    <a:pt x="793" y="1534"/>
                  </a:lnTo>
                  <a:lnTo>
                    <a:pt x="794" y="1530"/>
                  </a:lnTo>
                  <a:lnTo>
                    <a:pt x="797" y="1530"/>
                  </a:lnTo>
                  <a:lnTo>
                    <a:pt x="797" y="1526"/>
                  </a:lnTo>
                  <a:lnTo>
                    <a:pt x="791" y="1530"/>
                  </a:lnTo>
                  <a:lnTo>
                    <a:pt x="785" y="1537"/>
                  </a:lnTo>
                  <a:lnTo>
                    <a:pt x="777" y="1557"/>
                  </a:lnTo>
                  <a:lnTo>
                    <a:pt x="777" y="1558"/>
                  </a:lnTo>
                  <a:lnTo>
                    <a:pt x="778" y="1559"/>
                  </a:lnTo>
                  <a:lnTo>
                    <a:pt x="775" y="1558"/>
                  </a:lnTo>
                  <a:lnTo>
                    <a:pt x="774" y="1565"/>
                  </a:lnTo>
                  <a:lnTo>
                    <a:pt x="771" y="1570"/>
                  </a:lnTo>
                  <a:lnTo>
                    <a:pt x="775" y="1557"/>
                  </a:lnTo>
                  <a:lnTo>
                    <a:pt x="788" y="1532"/>
                  </a:lnTo>
                  <a:lnTo>
                    <a:pt x="796" y="1525"/>
                  </a:lnTo>
                  <a:lnTo>
                    <a:pt x="799" y="1525"/>
                  </a:lnTo>
                  <a:lnTo>
                    <a:pt x="800" y="1526"/>
                  </a:lnTo>
                  <a:lnTo>
                    <a:pt x="804" y="1524"/>
                  </a:lnTo>
                  <a:lnTo>
                    <a:pt x="822" y="1517"/>
                  </a:lnTo>
                  <a:lnTo>
                    <a:pt x="824" y="1513"/>
                  </a:lnTo>
                  <a:lnTo>
                    <a:pt x="822" y="1509"/>
                  </a:lnTo>
                  <a:lnTo>
                    <a:pt x="831" y="1509"/>
                  </a:lnTo>
                  <a:lnTo>
                    <a:pt x="831" y="1513"/>
                  </a:lnTo>
                  <a:lnTo>
                    <a:pt x="827" y="1528"/>
                  </a:lnTo>
                  <a:lnTo>
                    <a:pt x="827" y="1529"/>
                  </a:lnTo>
                  <a:lnTo>
                    <a:pt x="829" y="1529"/>
                  </a:lnTo>
                  <a:lnTo>
                    <a:pt x="831" y="1533"/>
                  </a:lnTo>
                  <a:lnTo>
                    <a:pt x="821" y="1561"/>
                  </a:lnTo>
                  <a:lnTo>
                    <a:pt x="821" y="1571"/>
                  </a:lnTo>
                  <a:lnTo>
                    <a:pt x="818" y="1587"/>
                  </a:lnTo>
                  <a:lnTo>
                    <a:pt x="819" y="1594"/>
                  </a:lnTo>
                  <a:lnTo>
                    <a:pt x="818" y="1601"/>
                  </a:lnTo>
                  <a:lnTo>
                    <a:pt x="818" y="1608"/>
                  </a:lnTo>
                  <a:lnTo>
                    <a:pt x="811" y="1644"/>
                  </a:lnTo>
                  <a:lnTo>
                    <a:pt x="811" y="1646"/>
                  </a:lnTo>
                  <a:lnTo>
                    <a:pt x="816" y="1653"/>
                  </a:lnTo>
                  <a:lnTo>
                    <a:pt x="810" y="1669"/>
                  </a:lnTo>
                  <a:lnTo>
                    <a:pt x="806" y="1699"/>
                  </a:lnTo>
                  <a:lnTo>
                    <a:pt x="807" y="1703"/>
                  </a:lnTo>
                  <a:lnTo>
                    <a:pt x="806" y="1717"/>
                  </a:lnTo>
                  <a:lnTo>
                    <a:pt x="808" y="1728"/>
                  </a:lnTo>
                  <a:lnTo>
                    <a:pt x="808" y="1733"/>
                  </a:lnTo>
                  <a:lnTo>
                    <a:pt x="804" y="1744"/>
                  </a:lnTo>
                  <a:lnTo>
                    <a:pt x="800" y="1762"/>
                  </a:lnTo>
                  <a:lnTo>
                    <a:pt x="800" y="1766"/>
                  </a:lnTo>
                  <a:lnTo>
                    <a:pt x="802" y="1770"/>
                  </a:lnTo>
                  <a:lnTo>
                    <a:pt x="799" y="1782"/>
                  </a:lnTo>
                  <a:lnTo>
                    <a:pt x="797" y="1795"/>
                  </a:lnTo>
                  <a:lnTo>
                    <a:pt x="800" y="1802"/>
                  </a:lnTo>
                  <a:lnTo>
                    <a:pt x="803" y="1804"/>
                  </a:lnTo>
                  <a:lnTo>
                    <a:pt x="806" y="1806"/>
                  </a:lnTo>
                  <a:lnTo>
                    <a:pt x="806" y="1809"/>
                  </a:lnTo>
                  <a:lnTo>
                    <a:pt x="796" y="1834"/>
                  </a:lnTo>
                  <a:lnTo>
                    <a:pt x="793" y="1854"/>
                  </a:lnTo>
                  <a:lnTo>
                    <a:pt x="794" y="1859"/>
                  </a:lnTo>
                  <a:lnTo>
                    <a:pt x="797" y="1860"/>
                  </a:lnTo>
                  <a:lnTo>
                    <a:pt x="797" y="1862"/>
                  </a:lnTo>
                  <a:lnTo>
                    <a:pt x="789" y="1888"/>
                  </a:lnTo>
                  <a:lnTo>
                    <a:pt x="791" y="1889"/>
                  </a:lnTo>
                  <a:lnTo>
                    <a:pt x="786" y="1906"/>
                  </a:lnTo>
                  <a:lnTo>
                    <a:pt x="786" y="1918"/>
                  </a:lnTo>
                  <a:lnTo>
                    <a:pt x="782" y="1938"/>
                  </a:lnTo>
                  <a:lnTo>
                    <a:pt x="775" y="1972"/>
                  </a:lnTo>
                  <a:lnTo>
                    <a:pt x="777" y="1985"/>
                  </a:lnTo>
                  <a:lnTo>
                    <a:pt x="782" y="1996"/>
                  </a:lnTo>
                  <a:lnTo>
                    <a:pt x="781" y="2006"/>
                  </a:lnTo>
                  <a:lnTo>
                    <a:pt x="781" y="2010"/>
                  </a:lnTo>
                  <a:lnTo>
                    <a:pt x="785" y="2013"/>
                  </a:lnTo>
                  <a:lnTo>
                    <a:pt x="785" y="2015"/>
                  </a:lnTo>
                  <a:lnTo>
                    <a:pt x="782" y="2022"/>
                  </a:lnTo>
                  <a:lnTo>
                    <a:pt x="782" y="2025"/>
                  </a:lnTo>
                  <a:lnTo>
                    <a:pt x="781" y="2030"/>
                  </a:lnTo>
                  <a:lnTo>
                    <a:pt x="781" y="2031"/>
                  </a:lnTo>
                  <a:lnTo>
                    <a:pt x="782" y="2036"/>
                  </a:lnTo>
                  <a:lnTo>
                    <a:pt x="782" y="2038"/>
                  </a:lnTo>
                  <a:lnTo>
                    <a:pt x="782" y="2039"/>
                  </a:lnTo>
                  <a:lnTo>
                    <a:pt x="782" y="2040"/>
                  </a:lnTo>
                  <a:lnTo>
                    <a:pt x="782" y="2044"/>
                  </a:lnTo>
                  <a:lnTo>
                    <a:pt x="779" y="2050"/>
                  </a:lnTo>
                  <a:lnTo>
                    <a:pt x="777" y="2060"/>
                  </a:lnTo>
                  <a:lnTo>
                    <a:pt x="775" y="2064"/>
                  </a:lnTo>
                  <a:lnTo>
                    <a:pt x="774" y="2072"/>
                  </a:lnTo>
                  <a:lnTo>
                    <a:pt x="774" y="2075"/>
                  </a:lnTo>
                  <a:lnTo>
                    <a:pt x="772" y="2078"/>
                  </a:lnTo>
                  <a:lnTo>
                    <a:pt x="772" y="2080"/>
                  </a:lnTo>
                  <a:lnTo>
                    <a:pt x="774" y="2081"/>
                  </a:lnTo>
                  <a:lnTo>
                    <a:pt x="775" y="2083"/>
                  </a:lnTo>
                  <a:lnTo>
                    <a:pt x="775" y="2084"/>
                  </a:lnTo>
                  <a:lnTo>
                    <a:pt x="775" y="2085"/>
                  </a:lnTo>
                  <a:lnTo>
                    <a:pt x="774" y="2090"/>
                  </a:lnTo>
                  <a:lnTo>
                    <a:pt x="771" y="2097"/>
                  </a:lnTo>
                  <a:lnTo>
                    <a:pt x="771" y="2104"/>
                  </a:lnTo>
                  <a:lnTo>
                    <a:pt x="769" y="2110"/>
                  </a:lnTo>
                  <a:lnTo>
                    <a:pt x="769" y="2114"/>
                  </a:lnTo>
                  <a:lnTo>
                    <a:pt x="769" y="2115"/>
                  </a:lnTo>
                  <a:lnTo>
                    <a:pt x="769" y="2117"/>
                  </a:lnTo>
                  <a:lnTo>
                    <a:pt x="771" y="2117"/>
                  </a:lnTo>
                  <a:lnTo>
                    <a:pt x="771" y="2118"/>
                  </a:lnTo>
                  <a:lnTo>
                    <a:pt x="771" y="2119"/>
                  </a:lnTo>
                  <a:lnTo>
                    <a:pt x="772" y="2121"/>
                  </a:lnTo>
                  <a:lnTo>
                    <a:pt x="772" y="2122"/>
                  </a:lnTo>
                  <a:lnTo>
                    <a:pt x="774" y="2122"/>
                  </a:lnTo>
                  <a:lnTo>
                    <a:pt x="775" y="2122"/>
                  </a:lnTo>
                  <a:lnTo>
                    <a:pt x="775" y="2121"/>
                  </a:lnTo>
                  <a:lnTo>
                    <a:pt x="777" y="2121"/>
                  </a:lnTo>
                  <a:lnTo>
                    <a:pt x="778" y="2122"/>
                  </a:lnTo>
                  <a:lnTo>
                    <a:pt x="778" y="2123"/>
                  </a:lnTo>
                  <a:lnTo>
                    <a:pt x="777" y="2129"/>
                  </a:lnTo>
                  <a:lnTo>
                    <a:pt x="777" y="2133"/>
                  </a:lnTo>
                  <a:lnTo>
                    <a:pt x="774" y="2134"/>
                  </a:lnTo>
                  <a:lnTo>
                    <a:pt x="772" y="2134"/>
                  </a:lnTo>
                  <a:lnTo>
                    <a:pt x="758" y="2139"/>
                  </a:lnTo>
                  <a:lnTo>
                    <a:pt x="749" y="2140"/>
                  </a:lnTo>
                  <a:lnTo>
                    <a:pt x="738" y="2142"/>
                  </a:lnTo>
                  <a:lnTo>
                    <a:pt x="716" y="2143"/>
                  </a:lnTo>
                  <a:lnTo>
                    <a:pt x="679" y="2140"/>
                  </a:lnTo>
                  <a:lnTo>
                    <a:pt x="653" y="2140"/>
                  </a:lnTo>
                  <a:lnTo>
                    <a:pt x="333" y="2131"/>
                  </a:lnTo>
                  <a:lnTo>
                    <a:pt x="327" y="2131"/>
                  </a:lnTo>
                  <a:lnTo>
                    <a:pt x="326" y="2131"/>
                  </a:lnTo>
                  <a:lnTo>
                    <a:pt x="326" y="2130"/>
                  </a:lnTo>
                  <a:lnTo>
                    <a:pt x="325" y="2130"/>
                  </a:lnTo>
                  <a:lnTo>
                    <a:pt x="323" y="2130"/>
                  </a:lnTo>
                  <a:lnTo>
                    <a:pt x="322" y="2130"/>
                  </a:lnTo>
                  <a:lnTo>
                    <a:pt x="320" y="2130"/>
                  </a:lnTo>
                  <a:lnTo>
                    <a:pt x="319" y="2130"/>
                  </a:lnTo>
                  <a:lnTo>
                    <a:pt x="318" y="2130"/>
                  </a:lnTo>
                  <a:lnTo>
                    <a:pt x="316" y="2130"/>
                  </a:lnTo>
                  <a:lnTo>
                    <a:pt x="316" y="2129"/>
                  </a:lnTo>
                  <a:lnTo>
                    <a:pt x="315" y="2129"/>
                  </a:lnTo>
                  <a:lnTo>
                    <a:pt x="313" y="2129"/>
                  </a:lnTo>
                  <a:lnTo>
                    <a:pt x="312" y="2129"/>
                  </a:lnTo>
                  <a:lnTo>
                    <a:pt x="311" y="2129"/>
                  </a:lnTo>
                  <a:lnTo>
                    <a:pt x="309" y="2129"/>
                  </a:lnTo>
                  <a:lnTo>
                    <a:pt x="308" y="2129"/>
                  </a:lnTo>
                  <a:lnTo>
                    <a:pt x="307" y="2129"/>
                  </a:lnTo>
                  <a:lnTo>
                    <a:pt x="305" y="2129"/>
                  </a:lnTo>
                  <a:lnTo>
                    <a:pt x="304" y="2129"/>
                  </a:lnTo>
                  <a:lnTo>
                    <a:pt x="302" y="2129"/>
                  </a:lnTo>
                  <a:lnTo>
                    <a:pt x="301" y="2129"/>
                  </a:lnTo>
                  <a:lnTo>
                    <a:pt x="300" y="2129"/>
                  </a:lnTo>
                  <a:lnTo>
                    <a:pt x="298" y="2129"/>
                  </a:lnTo>
                  <a:lnTo>
                    <a:pt x="297" y="2129"/>
                  </a:lnTo>
                  <a:lnTo>
                    <a:pt x="295" y="2129"/>
                  </a:lnTo>
                  <a:lnTo>
                    <a:pt x="294" y="2129"/>
                  </a:lnTo>
                  <a:lnTo>
                    <a:pt x="293" y="2129"/>
                  </a:lnTo>
                  <a:lnTo>
                    <a:pt x="291" y="2129"/>
                  </a:lnTo>
                  <a:lnTo>
                    <a:pt x="290" y="2127"/>
                  </a:lnTo>
                  <a:lnTo>
                    <a:pt x="288" y="2127"/>
                  </a:lnTo>
                  <a:lnTo>
                    <a:pt x="287" y="2127"/>
                  </a:lnTo>
                  <a:lnTo>
                    <a:pt x="286" y="2127"/>
                  </a:lnTo>
                  <a:lnTo>
                    <a:pt x="284" y="2127"/>
                  </a:lnTo>
                  <a:lnTo>
                    <a:pt x="283" y="2127"/>
                  </a:lnTo>
                  <a:lnTo>
                    <a:pt x="282" y="2126"/>
                  </a:lnTo>
                  <a:lnTo>
                    <a:pt x="280" y="2126"/>
                  </a:lnTo>
                  <a:lnTo>
                    <a:pt x="279" y="2126"/>
                  </a:lnTo>
                  <a:lnTo>
                    <a:pt x="277" y="2126"/>
                  </a:lnTo>
                  <a:lnTo>
                    <a:pt x="277" y="2125"/>
                  </a:lnTo>
                  <a:lnTo>
                    <a:pt x="276" y="2125"/>
                  </a:lnTo>
                  <a:lnTo>
                    <a:pt x="274" y="2125"/>
                  </a:lnTo>
                  <a:lnTo>
                    <a:pt x="273" y="2125"/>
                  </a:lnTo>
                  <a:lnTo>
                    <a:pt x="272" y="2123"/>
                  </a:lnTo>
                  <a:lnTo>
                    <a:pt x="270" y="2123"/>
                  </a:lnTo>
                  <a:lnTo>
                    <a:pt x="269" y="2123"/>
                  </a:lnTo>
                  <a:lnTo>
                    <a:pt x="268" y="2122"/>
                  </a:lnTo>
                  <a:lnTo>
                    <a:pt x="266" y="2122"/>
                  </a:lnTo>
                  <a:lnTo>
                    <a:pt x="265" y="2122"/>
                  </a:lnTo>
                  <a:lnTo>
                    <a:pt x="263" y="2121"/>
                  </a:lnTo>
                  <a:lnTo>
                    <a:pt x="262" y="2121"/>
                  </a:lnTo>
                  <a:lnTo>
                    <a:pt x="260" y="2121"/>
                  </a:lnTo>
                  <a:lnTo>
                    <a:pt x="259" y="2119"/>
                  </a:lnTo>
                  <a:lnTo>
                    <a:pt x="258" y="2119"/>
                  </a:lnTo>
                  <a:lnTo>
                    <a:pt x="257" y="2119"/>
                  </a:lnTo>
                  <a:lnTo>
                    <a:pt x="255" y="2118"/>
                  </a:lnTo>
                  <a:lnTo>
                    <a:pt x="254" y="2118"/>
                  </a:lnTo>
                  <a:lnTo>
                    <a:pt x="252" y="2118"/>
                  </a:lnTo>
                  <a:lnTo>
                    <a:pt x="251" y="2117"/>
                  </a:lnTo>
                  <a:lnTo>
                    <a:pt x="249" y="2117"/>
                  </a:lnTo>
                  <a:lnTo>
                    <a:pt x="248" y="2117"/>
                  </a:lnTo>
                  <a:lnTo>
                    <a:pt x="248" y="2115"/>
                  </a:lnTo>
                  <a:lnTo>
                    <a:pt x="247" y="2115"/>
                  </a:lnTo>
                  <a:lnTo>
                    <a:pt x="245" y="2115"/>
                  </a:lnTo>
                  <a:lnTo>
                    <a:pt x="244" y="2114"/>
                  </a:lnTo>
                  <a:lnTo>
                    <a:pt x="243" y="2114"/>
                  </a:lnTo>
                  <a:lnTo>
                    <a:pt x="241" y="2114"/>
                  </a:lnTo>
                  <a:lnTo>
                    <a:pt x="240" y="2114"/>
                  </a:lnTo>
                  <a:lnTo>
                    <a:pt x="238" y="2114"/>
                  </a:lnTo>
                  <a:lnTo>
                    <a:pt x="237" y="2114"/>
                  </a:lnTo>
                  <a:lnTo>
                    <a:pt x="235" y="2114"/>
                  </a:lnTo>
                  <a:lnTo>
                    <a:pt x="234" y="2114"/>
                  </a:lnTo>
                  <a:lnTo>
                    <a:pt x="233" y="2114"/>
                  </a:lnTo>
                  <a:lnTo>
                    <a:pt x="233" y="2115"/>
                  </a:lnTo>
                  <a:lnTo>
                    <a:pt x="232" y="2115"/>
                  </a:lnTo>
                  <a:lnTo>
                    <a:pt x="230" y="2117"/>
                  </a:lnTo>
                  <a:lnTo>
                    <a:pt x="229" y="2117"/>
                  </a:lnTo>
                  <a:lnTo>
                    <a:pt x="229" y="2118"/>
                  </a:lnTo>
                  <a:lnTo>
                    <a:pt x="227" y="2119"/>
                  </a:lnTo>
                  <a:lnTo>
                    <a:pt x="226" y="2119"/>
                  </a:lnTo>
                  <a:lnTo>
                    <a:pt x="226" y="2121"/>
                  </a:lnTo>
                  <a:lnTo>
                    <a:pt x="224" y="2121"/>
                  </a:lnTo>
                  <a:lnTo>
                    <a:pt x="224" y="2122"/>
                  </a:lnTo>
                  <a:lnTo>
                    <a:pt x="223" y="2122"/>
                  </a:lnTo>
                  <a:lnTo>
                    <a:pt x="223" y="2123"/>
                  </a:lnTo>
                  <a:lnTo>
                    <a:pt x="222" y="2123"/>
                  </a:lnTo>
                  <a:lnTo>
                    <a:pt x="222" y="2125"/>
                  </a:lnTo>
                  <a:lnTo>
                    <a:pt x="220" y="2125"/>
                  </a:lnTo>
                  <a:lnTo>
                    <a:pt x="220" y="2126"/>
                  </a:lnTo>
                  <a:lnTo>
                    <a:pt x="219" y="2126"/>
                  </a:lnTo>
                  <a:lnTo>
                    <a:pt x="219" y="2127"/>
                  </a:lnTo>
                  <a:lnTo>
                    <a:pt x="218" y="2127"/>
                  </a:lnTo>
                  <a:lnTo>
                    <a:pt x="218" y="2129"/>
                  </a:lnTo>
                  <a:lnTo>
                    <a:pt x="216" y="2130"/>
                  </a:lnTo>
                  <a:lnTo>
                    <a:pt x="215" y="2131"/>
                  </a:lnTo>
                  <a:lnTo>
                    <a:pt x="213" y="2133"/>
                  </a:lnTo>
                  <a:lnTo>
                    <a:pt x="212" y="2134"/>
                  </a:lnTo>
                  <a:lnTo>
                    <a:pt x="210" y="2135"/>
                  </a:lnTo>
                  <a:lnTo>
                    <a:pt x="209" y="2135"/>
                  </a:lnTo>
                  <a:lnTo>
                    <a:pt x="208" y="2135"/>
                  </a:lnTo>
                  <a:lnTo>
                    <a:pt x="207" y="2135"/>
                  </a:lnTo>
                  <a:lnTo>
                    <a:pt x="207" y="2137"/>
                  </a:lnTo>
                  <a:lnTo>
                    <a:pt x="205" y="2137"/>
                  </a:lnTo>
                  <a:lnTo>
                    <a:pt x="204" y="2135"/>
                  </a:lnTo>
                  <a:lnTo>
                    <a:pt x="202" y="2135"/>
                  </a:lnTo>
                  <a:lnTo>
                    <a:pt x="201" y="2135"/>
                  </a:lnTo>
                  <a:lnTo>
                    <a:pt x="199" y="2135"/>
                  </a:lnTo>
                  <a:lnTo>
                    <a:pt x="198" y="2134"/>
                  </a:lnTo>
                  <a:lnTo>
                    <a:pt x="197" y="2134"/>
                  </a:lnTo>
                  <a:lnTo>
                    <a:pt x="195" y="2134"/>
                  </a:lnTo>
                  <a:lnTo>
                    <a:pt x="194" y="2133"/>
                  </a:lnTo>
                  <a:lnTo>
                    <a:pt x="193" y="2133"/>
                  </a:lnTo>
                  <a:lnTo>
                    <a:pt x="191" y="2131"/>
                  </a:lnTo>
                  <a:lnTo>
                    <a:pt x="190" y="2131"/>
                  </a:lnTo>
                  <a:lnTo>
                    <a:pt x="188" y="2130"/>
                  </a:lnTo>
                  <a:lnTo>
                    <a:pt x="187" y="2130"/>
                  </a:lnTo>
                  <a:lnTo>
                    <a:pt x="185" y="2129"/>
                  </a:lnTo>
                  <a:lnTo>
                    <a:pt x="184" y="2129"/>
                  </a:lnTo>
                  <a:lnTo>
                    <a:pt x="184" y="2127"/>
                  </a:lnTo>
                  <a:lnTo>
                    <a:pt x="183" y="2127"/>
                  </a:lnTo>
                  <a:lnTo>
                    <a:pt x="182" y="2126"/>
                  </a:lnTo>
                  <a:lnTo>
                    <a:pt x="180" y="2126"/>
                  </a:lnTo>
                  <a:lnTo>
                    <a:pt x="180" y="2125"/>
                  </a:lnTo>
                  <a:lnTo>
                    <a:pt x="179" y="2125"/>
                  </a:lnTo>
                  <a:lnTo>
                    <a:pt x="177" y="2123"/>
                  </a:lnTo>
                  <a:lnTo>
                    <a:pt x="176" y="2123"/>
                  </a:lnTo>
                  <a:lnTo>
                    <a:pt x="176" y="2122"/>
                  </a:lnTo>
                  <a:lnTo>
                    <a:pt x="174" y="2122"/>
                  </a:lnTo>
                  <a:lnTo>
                    <a:pt x="173" y="2121"/>
                  </a:lnTo>
                  <a:lnTo>
                    <a:pt x="172" y="2121"/>
                  </a:lnTo>
                  <a:lnTo>
                    <a:pt x="172" y="2119"/>
                  </a:lnTo>
                  <a:lnTo>
                    <a:pt x="170" y="2119"/>
                  </a:lnTo>
                  <a:lnTo>
                    <a:pt x="170" y="2118"/>
                  </a:lnTo>
                  <a:lnTo>
                    <a:pt x="169" y="2118"/>
                  </a:lnTo>
                  <a:lnTo>
                    <a:pt x="168" y="2118"/>
                  </a:lnTo>
                  <a:lnTo>
                    <a:pt x="168" y="2117"/>
                  </a:lnTo>
                  <a:lnTo>
                    <a:pt x="166" y="2117"/>
                  </a:lnTo>
                  <a:lnTo>
                    <a:pt x="165" y="2117"/>
                  </a:lnTo>
                  <a:lnTo>
                    <a:pt x="165" y="2115"/>
                  </a:lnTo>
                  <a:lnTo>
                    <a:pt x="163" y="2115"/>
                  </a:lnTo>
                  <a:lnTo>
                    <a:pt x="163" y="2104"/>
                  </a:lnTo>
                  <a:lnTo>
                    <a:pt x="165" y="2028"/>
                  </a:lnTo>
                  <a:lnTo>
                    <a:pt x="166" y="2023"/>
                  </a:lnTo>
                  <a:lnTo>
                    <a:pt x="165" y="1984"/>
                  </a:lnTo>
                  <a:lnTo>
                    <a:pt x="168" y="1960"/>
                  </a:lnTo>
                  <a:lnTo>
                    <a:pt x="166" y="1948"/>
                  </a:lnTo>
                  <a:lnTo>
                    <a:pt x="166" y="1874"/>
                  </a:lnTo>
                  <a:lnTo>
                    <a:pt x="135" y="1809"/>
                  </a:lnTo>
                  <a:lnTo>
                    <a:pt x="129" y="1791"/>
                  </a:lnTo>
                  <a:lnTo>
                    <a:pt x="122" y="1773"/>
                  </a:lnTo>
                  <a:lnTo>
                    <a:pt x="122" y="1765"/>
                  </a:lnTo>
                  <a:lnTo>
                    <a:pt x="119" y="1737"/>
                  </a:lnTo>
                  <a:lnTo>
                    <a:pt x="118" y="1707"/>
                  </a:lnTo>
                  <a:lnTo>
                    <a:pt x="116" y="1695"/>
                  </a:lnTo>
                  <a:lnTo>
                    <a:pt x="130" y="1641"/>
                  </a:lnTo>
                  <a:lnTo>
                    <a:pt x="134" y="1620"/>
                  </a:lnTo>
                  <a:lnTo>
                    <a:pt x="134" y="1613"/>
                  </a:lnTo>
                  <a:lnTo>
                    <a:pt x="138" y="1600"/>
                  </a:lnTo>
                  <a:lnTo>
                    <a:pt x="144" y="1578"/>
                  </a:lnTo>
                  <a:lnTo>
                    <a:pt x="135" y="1524"/>
                  </a:lnTo>
                  <a:lnTo>
                    <a:pt x="134" y="1503"/>
                  </a:lnTo>
                  <a:lnTo>
                    <a:pt x="127" y="1453"/>
                  </a:lnTo>
                  <a:lnTo>
                    <a:pt x="119" y="1451"/>
                  </a:lnTo>
                  <a:lnTo>
                    <a:pt x="112" y="1451"/>
                  </a:lnTo>
                  <a:lnTo>
                    <a:pt x="109" y="1449"/>
                  </a:lnTo>
                  <a:lnTo>
                    <a:pt x="102" y="1449"/>
                  </a:lnTo>
                  <a:lnTo>
                    <a:pt x="98" y="1446"/>
                  </a:lnTo>
                  <a:lnTo>
                    <a:pt x="80" y="1442"/>
                  </a:lnTo>
                  <a:lnTo>
                    <a:pt x="80" y="1444"/>
                  </a:lnTo>
                  <a:lnTo>
                    <a:pt x="60" y="1437"/>
                  </a:lnTo>
                  <a:lnTo>
                    <a:pt x="35" y="1407"/>
                  </a:lnTo>
                  <a:lnTo>
                    <a:pt x="0" y="1315"/>
                  </a:lnTo>
                  <a:lnTo>
                    <a:pt x="40" y="1198"/>
                  </a:lnTo>
                  <a:lnTo>
                    <a:pt x="52" y="1185"/>
                  </a:lnTo>
                  <a:lnTo>
                    <a:pt x="54" y="1184"/>
                  </a:lnTo>
                  <a:lnTo>
                    <a:pt x="62" y="1159"/>
                  </a:lnTo>
                  <a:lnTo>
                    <a:pt x="55" y="1080"/>
                  </a:lnTo>
                  <a:lnTo>
                    <a:pt x="54" y="1063"/>
                  </a:lnTo>
                  <a:lnTo>
                    <a:pt x="42" y="1060"/>
                  </a:lnTo>
                  <a:lnTo>
                    <a:pt x="38" y="1049"/>
                  </a:lnTo>
                  <a:lnTo>
                    <a:pt x="40" y="1006"/>
                  </a:lnTo>
                  <a:lnTo>
                    <a:pt x="47" y="993"/>
                  </a:lnTo>
                  <a:lnTo>
                    <a:pt x="48" y="991"/>
                  </a:lnTo>
                  <a:lnTo>
                    <a:pt x="48" y="989"/>
                  </a:lnTo>
                  <a:lnTo>
                    <a:pt x="70" y="940"/>
                  </a:lnTo>
                  <a:lnTo>
                    <a:pt x="80" y="840"/>
                  </a:lnTo>
                  <a:lnTo>
                    <a:pt x="83" y="787"/>
                  </a:lnTo>
                  <a:lnTo>
                    <a:pt x="84" y="746"/>
                  </a:lnTo>
                  <a:lnTo>
                    <a:pt x="66" y="520"/>
                  </a:lnTo>
                  <a:lnTo>
                    <a:pt x="62" y="471"/>
                  </a:lnTo>
                  <a:lnTo>
                    <a:pt x="55" y="391"/>
                  </a:lnTo>
                  <a:lnTo>
                    <a:pt x="63" y="298"/>
                  </a:lnTo>
                  <a:lnTo>
                    <a:pt x="68" y="202"/>
                  </a:lnTo>
                  <a:lnTo>
                    <a:pt x="47" y="80"/>
                  </a:lnTo>
                  <a:lnTo>
                    <a:pt x="24" y="45"/>
                  </a:lnTo>
                  <a:lnTo>
                    <a:pt x="19" y="38"/>
                  </a:lnTo>
                  <a:lnTo>
                    <a:pt x="38" y="33"/>
                  </a:lnTo>
                  <a:lnTo>
                    <a:pt x="42" y="30"/>
                  </a:lnTo>
                  <a:lnTo>
                    <a:pt x="56" y="24"/>
                  </a:lnTo>
                  <a:lnTo>
                    <a:pt x="58" y="22"/>
                  </a:lnTo>
                  <a:lnTo>
                    <a:pt x="68" y="20"/>
                  </a:lnTo>
                  <a:lnTo>
                    <a:pt x="77" y="13"/>
                  </a:lnTo>
                  <a:lnTo>
                    <a:pt x="80" y="13"/>
                  </a:lnTo>
                  <a:lnTo>
                    <a:pt x="81" y="11"/>
                  </a:lnTo>
                  <a:lnTo>
                    <a:pt x="85" y="11"/>
                  </a:lnTo>
                  <a:lnTo>
                    <a:pt x="87" y="8"/>
                  </a:lnTo>
                  <a:lnTo>
                    <a:pt x="95" y="5"/>
                  </a:lnTo>
                  <a:lnTo>
                    <a:pt x="109" y="5"/>
                  </a:lnTo>
                  <a:lnTo>
                    <a:pt x="109" y="3"/>
                  </a:lnTo>
                  <a:lnTo>
                    <a:pt x="113" y="0"/>
                  </a:lnTo>
                  <a:lnTo>
                    <a:pt x="119" y="0"/>
                  </a:lnTo>
                  <a:lnTo>
                    <a:pt x="141" y="5"/>
                  </a:lnTo>
                  <a:lnTo>
                    <a:pt x="144" y="5"/>
                  </a:lnTo>
                  <a:lnTo>
                    <a:pt x="151" y="5"/>
                  </a:lnTo>
                  <a:lnTo>
                    <a:pt x="152" y="10"/>
                  </a:lnTo>
                  <a:lnTo>
                    <a:pt x="166" y="10"/>
                  </a:lnTo>
                  <a:lnTo>
                    <a:pt x="172" y="12"/>
                  </a:lnTo>
                  <a:lnTo>
                    <a:pt x="174" y="8"/>
                  </a:lnTo>
                  <a:lnTo>
                    <a:pt x="179" y="10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0" y="12"/>
                  </a:lnTo>
                  <a:lnTo>
                    <a:pt x="193" y="11"/>
                  </a:lnTo>
                  <a:lnTo>
                    <a:pt x="195" y="12"/>
                  </a:lnTo>
                  <a:lnTo>
                    <a:pt x="199" y="12"/>
                  </a:lnTo>
                  <a:lnTo>
                    <a:pt x="201" y="11"/>
                  </a:lnTo>
                  <a:lnTo>
                    <a:pt x="204" y="12"/>
                  </a:lnTo>
                  <a:lnTo>
                    <a:pt x="205" y="11"/>
                  </a:lnTo>
                  <a:lnTo>
                    <a:pt x="207" y="12"/>
                  </a:lnTo>
                  <a:lnTo>
                    <a:pt x="208" y="11"/>
                  </a:lnTo>
                  <a:lnTo>
                    <a:pt x="212" y="11"/>
                  </a:lnTo>
                  <a:lnTo>
                    <a:pt x="215" y="13"/>
                  </a:lnTo>
                  <a:lnTo>
                    <a:pt x="215" y="18"/>
                  </a:lnTo>
                  <a:lnTo>
                    <a:pt x="218" y="16"/>
                  </a:lnTo>
                  <a:lnTo>
                    <a:pt x="218" y="19"/>
                  </a:lnTo>
                  <a:lnTo>
                    <a:pt x="222" y="20"/>
                  </a:lnTo>
                  <a:lnTo>
                    <a:pt x="226" y="25"/>
                  </a:lnTo>
                  <a:lnTo>
                    <a:pt x="232" y="25"/>
                  </a:lnTo>
                  <a:lnTo>
                    <a:pt x="237" y="27"/>
                  </a:lnTo>
                  <a:lnTo>
                    <a:pt x="240" y="32"/>
                  </a:lnTo>
                  <a:lnTo>
                    <a:pt x="244" y="24"/>
                  </a:lnTo>
                  <a:lnTo>
                    <a:pt x="245" y="25"/>
                  </a:lnTo>
                  <a:lnTo>
                    <a:pt x="247" y="23"/>
                  </a:lnTo>
                  <a:lnTo>
                    <a:pt x="255" y="27"/>
                  </a:lnTo>
                  <a:lnTo>
                    <a:pt x="258" y="25"/>
                  </a:lnTo>
                  <a:lnTo>
                    <a:pt x="266" y="31"/>
                  </a:lnTo>
                  <a:lnTo>
                    <a:pt x="277" y="37"/>
                  </a:lnTo>
                  <a:lnTo>
                    <a:pt x="279" y="40"/>
                  </a:lnTo>
                  <a:lnTo>
                    <a:pt x="284" y="43"/>
                  </a:lnTo>
                  <a:lnTo>
                    <a:pt x="287" y="43"/>
                  </a:lnTo>
                  <a:lnTo>
                    <a:pt x="290" y="38"/>
                  </a:lnTo>
                  <a:lnTo>
                    <a:pt x="294" y="37"/>
                  </a:lnTo>
                  <a:lnTo>
                    <a:pt x="300" y="37"/>
                  </a:lnTo>
                  <a:lnTo>
                    <a:pt x="302" y="38"/>
                  </a:lnTo>
                  <a:lnTo>
                    <a:pt x="307" y="40"/>
                  </a:lnTo>
                  <a:lnTo>
                    <a:pt x="311" y="38"/>
                  </a:lnTo>
                  <a:lnTo>
                    <a:pt x="316" y="40"/>
                  </a:lnTo>
                  <a:lnTo>
                    <a:pt x="320" y="36"/>
                  </a:lnTo>
                  <a:lnTo>
                    <a:pt x="326" y="35"/>
                  </a:lnTo>
                  <a:lnTo>
                    <a:pt x="326" y="33"/>
                  </a:lnTo>
                  <a:lnTo>
                    <a:pt x="327" y="33"/>
                  </a:lnTo>
                  <a:lnTo>
                    <a:pt x="332" y="35"/>
                  </a:lnTo>
                  <a:lnTo>
                    <a:pt x="337" y="33"/>
                  </a:lnTo>
                  <a:lnTo>
                    <a:pt x="341" y="36"/>
                  </a:lnTo>
                  <a:lnTo>
                    <a:pt x="350" y="36"/>
                  </a:lnTo>
                  <a:lnTo>
                    <a:pt x="357" y="40"/>
                  </a:lnTo>
                  <a:lnTo>
                    <a:pt x="368" y="40"/>
                  </a:lnTo>
                  <a:lnTo>
                    <a:pt x="378" y="45"/>
                  </a:lnTo>
                  <a:lnTo>
                    <a:pt x="379" y="43"/>
                  </a:lnTo>
                  <a:lnTo>
                    <a:pt x="382" y="43"/>
                  </a:lnTo>
                  <a:lnTo>
                    <a:pt x="384" y="44"/>
                  </a:lnTo>
                  <a:lnTo>
                    <a:pt x="386" y="48"/>
                  </a:lnTo>
                  <a:lnTo>
                    <a:pt x="389" y="48"/>
                  </a:lnTo>
                  <a:lnTo>
                    <a:pt x="393" y="52"/>
                  </a:lnTo>
                  <a:lnTo>
                    <a:pt x="395" y="56"/>
                  </a:lnTo>
                  <a:lnTo>
                    <a:pt x="403" y="62"/>
                  </a:lnTo>
                  <a:lnTo>
                    <a:pt x="409" y="60"/>
                  </a:lnTo>
                  <a:lnTo>
                    <a:pt x="414" y="72"/>
                  </a:lnTo>
                  <a:lnTo>
                    <a:pt x="418" y="74"/>
                  </a:lnTo>
                  <a:lnTo>
                    <a:pt x="419" y="82"/>
                  </a:lnTo>
                  <a:lnTo>
                    <a:pt x="423" y="83"/>
                  </a:lnTo>
                  <a:lnTo>
                    <a:pt x="428" y="83"/>
                  </a:lnTo>
                  <a:lnTo>
                    <a:pt x="440" y="100"/>
                  </a:lnTo>
                  <a:lnTo>
                    <a:pt x="443" y="102"/>
                  </a:lnTo>
                  <a:lnTo>
                    <a:pt x="446" y="102"/>
                  </a:lnTo>
                  <a:lnTo>
                    <a:pt x="450" y="103"/>
                  </a:lnTo>
                  <a:lnTo>
                    <a:pt x="454" y="103"/>
                  </a:lnTo>
                  <a:lnTo>
                    <a:pt x="457" y="105"/>
                  </a:lnTo>
                  <a:lnTo>
                    <a:pt x="467" y="103"/>
                  </a:lnTo>
                  <a:lnTo>
                    <a:pt x="476" y="107"/>
                  </a:lnTo>
                  <a:lnTo>
                    <a:pt x="480" y="106"/>
                  </a:lnTo>
                  <a:lnTo>
                    <a:pt x="484" y="114"/>
                  </a:lnTo>
                  <a:lnTo>
                    <a:pt x="492" y="117"/>
                  </a:lnTo>
                  <a:lnTo>
                    <a:pt x="497" y="115"/>
                  </a:lnTo>
                  <a:lnTo>
                    <a:pt x="507" y="106"/>
                  </a:lnTo>
                  <a:lnTo>
                    <a:pt x="517" y="110"/>
                  </a:lnTo>
                  <a:lnTo>
                    <a:pt x="528" y="117"/>
                  </a:lnTo>
                  <a:lnTo>
                    <a:pt x="529" y="119"/>
                  </a:lnTo>
                  <a:lnTo>
                    <a:pt x="532" y="120"/>
                  </a:lnTo>
                  <a:lnTo>
                    <a:pt x="533" y="124"/>
                  </a:lnTo>
                  <a:lnTo>
                    <a:pt x="536" y="127"/>
                  </a:lnTo>
                  <a:lnTo>
                    <a:pt x="537" y="132"/>
                  </a:lnTo>
                  <a:lnTo>
                    <a:pt x="543" y="137"/>
                  </a:lnTo>
                  <a:lnTo>
                    <a:pt x="547" y="143"/>
                  </a:lnTo>
                  <a:lnTo>
                    <a:pt x="551" y="142"/>
                  </a:lnTo>
                  <a:lnTo>
                    <a:pt x="557" y="143"/>
                  </a:lnTo>
                  <a:lnTo>
                    <a:pt x="572" y="140"/>
                  </a:lnTo>
                  <a:lnTo>
                    <a:pt x="581" y="142"/>
                  </a:lnTo>
                  <a:lnTo>
                    <a:pt x="585" y="142"/>
                  </a:lnTo>
                  <a:lnTo>
                    <a:pt x="597" y="149"/>
                  </a:lnTo>
                  <a:lnTo>
                    <a:pt x="617" y="152"/>
                  </a:lnTo>
                  <a:lnTo>
                    <a:pt x="615" y="153"/>
                  </a:lnTo>
                  <a:lnTo>
                    <a:pt x="619" y="156"/>
                  </a:lnTo>
                  <a:lnTo>
                    <a:pt x="624" y="156"/>
                  </a:lnTo>
                  <a:lnTo>
                    <a:pt x="638" y="164"/>
                  </a:lnTo>
                  <a:lnTo>
                    <a:pt x="640" y="176"/>
                  </a:lnTo>
                  <a:lnTo>
                    <a:pt x="639" y="187"/>
                  </a:lnTo>
                  <a:lnTo>
                    <a:pt x="642" y="201"/>
                  </a:lnTo>
                  <a:lnTo>
                    <a:pt x="640" y="207"/>
                  </a:lnTo>
                  <a:lnTo>
                    <a:pt x="642" y="209"/>
                  </a:lnTo>
                  <a:lnTo>
                    <a:pt x="642" y="222"/>
                  </a:lnTo>
                  <a:lnTo>
                    <a:pt x="635" y="230"/>
                  </a:lnTo>
                  <a:lnTo>
                    <a:pt x="635" y="234"/>
                  </a:lnTo>
                  <a:lnTo>
                    <a:pt x="632" y="239"/>
                  </a:lnTo>
                  <a:lnTo>
                    <a:pt x="632" y="251"/>
                  </a:lnTo>
                  <a:lnTo>
                    <a:pt x="633" y="254"/>
                  </a:lnTo>
                  <a:lnTo>
                    <a:pt x="639" y="256"/>
                  </a:lnTo>
                  <a:lnTo>
                    <a:pt x="639" y="263"/>
                  </a:lnTo>
                  <a:lnTo>
                    <a:pt x="647" y="269"/>
                  </a:lnTo>
                  <a:lnTo>
                    <a:pt x="647" y="272"/>
                  </a:lnTo>
                  <a:lnTo>
                    <a:pt x="649" y="272"/>
                  </a:lnTo>
                  <a:lnTo>
                    <a:pt x="652" y="271"/>
                  </a:lnTo>
                  <a:lnTo>
                    <a:pt x="654" y="272"/>
                  </a:lnTo>
                  <a:lnTo>
                    <a:pt x="658" y="274"/>
                  </a:lnTo>
                  <a:lnTo>
                    <a:pt x="657" y="280"/>
                  </a:lnTo>
                  <a:lnTo>
                    <a:pt x="660" y="285"/>
                  </a:lnTo>
                  <a:lnTo>
                    <a:pt x="664" y="285"/>
                  </a:lnTo>
                  <a:lnTo>
                    <a:pt x="671" y="291"/>
                  </a:lnTo>
                  <a:lnTo>
                    <a:pt x="671" y="292"/>
                  </a:lnTo>
                  <a:lnTo>
                    <a:pt x="672" y="294"/>
                  </a:lnTo>
                  <a:lnTo>
                    <a:pt x="671" y="299"/>
                  </a:lnTo>
                  <a:lnTo>
                    <a:pt x="675" y="301"/>
                  </a:lnTo>
                  <a:lnTo>
                    <a:pt x="675" y="302"/>
                  </a:lnTo>
                  <a:lnTo>
                    <a:pt x="678" y="308"/>
                  </a:lnTo>
                  <a:lnTo>
                    <a:pt x="679" y="317"/>
                  </a:lnTo>
                  <a:lnTo>
                    <a:pt x="681" y="319"/>
                  </a:lnTo>
                  <a:lnTo>
                    <a:pt x="682" y="323"/>
                  </a:lnTo>
                  <a:lnTo>
                    <a:pt x="686" y="326"/>
                  </a:lnTo>
                  <a:lnTo>
                    <a:pt x="688" y="330"/>
                  </a:lnTo>
                  <a:lnTo>
                    <a:pt x="693" y="334"/>
                  </a:lnTo>
                  <a:lnTo>
                    <a:pt x="694" y="336"/>
                  </a:lnTo>
                  <a:lnTo>
                    <a:pt x="697" y="339"/>
                  </a:lnTo>
                  <a:lnTo>
                    <a:pt x="703" y="346"/>
                  </a:lnTo>
                  <a:lnTo>
                    <a:pt x="703" y="350"/>
                  </a:lnTo>
                  <a:lnTo>
                    <a:pt x="706" y="352"/>
                  </a:lnTo>
                  <a:lnTo>
                    <a:pt x="708" y="352"/>
                  </a:lnTo>
                  <a:lnTo>
                    <a:pt x="710" y="356"/>
                  </a:lnTo>
                  <a:lnTo>
                    <a:pt x="708" y="359"/>
                  </a:lnTo>
                  <a:lnTo>
                    <a:pt x="718" y="375"/>
                  </a:lnTo>
                  <a:lnTo>
                    <a:pt x="719" y="375"/>
                  </a:lnTo>
                  <a:lnTo>
                    <a:pt x="724" y="375"/>
                  </a:lnTo>
                  <a:lnTo>
                    <a:pt x="727" y="376"/>
                  </a:lnTo>
                  <a:lnTo>
                    <a:pt x="729" y="381"/>
                  </a:lnTo>
                  <a:lnTo>
                    <a:pt x="729" y="386"/>
                  </a:lnTo>
                  <a:lnTo>
                    <a:pt x="733" y="388"/>
                  </a:lnTo>
                  <a:lnTo>
                    <a:pt x="733" y="391"/>
                  </a:lnTo>
                  <a:lnTo>
                    <a:pt x="736" y="393"/>
                  </a:lnTo>
                  <a:lnTo>
                    <a:pt x="735" y="396"/>
                  </a:lnTo>
                  <a:lnTo>
                    <a:pt x="731" y="397"/>
                  </a:lnTo>
                  <a:lnTo>
                    <a:pt x="733" y="401"/>
                  </a:lnTo>
                  <a:lnTo>
                    <a:pt x="732" y="401"/>
                  </a:lnTo>
                  <a:lnTo>
                    <a:pt x="731" y="405"/>
                  </a:lnTo>
                  <a:lnTo>
                    <a:pt x="732" y="412"/>
                  </a:lnTo>
                  <a:lnTo>
                    <a:pt x="729" y="417"/>
                  </a:lnTo>
                  <a:lnTo>
                    <a:pt x="731" y="420"/>
                  </a:lnTo>
                  <a:lnTo>
                    <a:pt x="736" y="425"/>
                  </a:lnTo>
                  <a:lnTo>
                    <a:pt x="738" y="425"/>
                  </a:lnTo>
                  <a:lnTo>
                    <a:pt x="747" y="430"/>
                  </a:lnTo>
                  <a:lnTo>
                    <a:pt x="747" y="433"/>
                  </a:lnTo>
                  <a:lnTo>
                    <a:pt x="749" y="435"/>
                  </a:lnTo>
                  <a:lnTo>
                    <a:pt x="749" y="437"/>
                  </a:lnTo>
                  <a:lnTo>
                    <a:pt x="753" y="439"/>
                  </a:lnTo>
                  <a:lnTo>
                    <a:pt x="756" y="438"/>
                  </a:lnTo>
                  <a:lnTo>
                    <a:pt x="760" y="441"/>
                  </a:lnTo>
                  <a:lnTo>
                    <a:pt x="758" y="447"/>
                  </a:lnTo>
                  <a:lnTo>
                    <a:pt x="756" y="450"/>
                  </a:lnTo>
                  <a:lnTo>
                    <a:pt x="757" y="454"/>
                  </a:lnTo>
                  <a:lnTo>
                    <a:pt x="753" y="457"/>
                  </a:lnTo>
                  <a:lnTo>
                    <a:pt x="753" y="462"/>
                  </a:lnTo>
                  <a:lnTo>
                    <a:pt x="757" y="460"/>
                  </a:lnTo>
                  <a:lnTo>
                    <a:pt x="769" y="450"/>
                  </a:lnTo>
                  <a:lnTo>
                    <a:pt x="785" y="450"/>
                  </a:lnTo>
                  <a:lnTo>
                    <a:pt x="824" y="450"/>
                  </a:lnTo>
                  <a:lnTo>
                    <a:pt x="803" y="499"/>
                  </a:lnTo>
                  <a:lnTo>
                    <a:pt x="793" y="509"/>
                  </a:lnTo>
                  <a:lnTo>
                    <a:pt x="782" y="525"/>
                  </a:lnTo>
                  <a:lnTo>
                    <a:pt x="782" y="526"/>
                  </a:lnTo>
                  <a:lnTo>
                    <a:pt x="788" y="526"/>
                  </a:lnTo>
                  <a:lnTo>
                    <a:pt x="788" y="527"/>
                  </a:lnTo>
                  <a:lnTo>
                    <a:pt x="788" y="529"/>
                  </a:lnTo>
                  <a:lnTo>
                    <a:pt x="786" y="529"/>
                  </a:lnTo>
                  <a:lnTo>
                    <a:pt x="788" y="532"/>
                  </a:lnTo>
                  <a:lnTo>
                    <a:pt x="785" y="533"/>
                  </a:lnTo>
                  <a:lnTo>
                    <a:pt x="783" y="535"/>
                  </a:lnTo>
                  <a:lnTo>
                    <a:pt x="791" y="538"/>
                  </a:lnTo>
                  <a:lnTo>
                    <a:pt x="789" y="539"/>
                  </a:lnTo>
                  <a:lnTo>
                    <a:pt x="791" y="541"/>
                  </a:lnTo>
                  <a:lnTo>
                    <a:pt x="789" y="542"/>
                  </a:lnTo>
                  <a:lnTo>
                    <a:pt x="789" y="546"/>
                  </a:lnTo>
                  <a:lnTo>
                    <a:pt x="791" y="547"/>
                  </a:lnTo>
                  <a:lnTo>
                    <a:pt x="793" y="547"/>
                  </a:lnTo>
                  <a:lnTo>
                    <a:pt x="794" y="549"/>
                  </a:lnTo>
                  <a:lnTo>
                    <a:pt x="792" y="551"/>
                  </a:lnTo>
                  <a:lnTo>
                    <a:pt x="794" y="552"/>
                  </a:lnTo>
                  <a:lnTo>
                    <a:pt x="792" y="554"/>
                  </a:lnTo>
                  <a:lnTo>
                    <a:pt x="794" y="555"/>
                  </a:lnTo>
                  <a:lnTo>
                    <a:pt x="793" y="558"/>
                  </a:lnTo>
                  <a:lnTo>
                    <a:pt x="799" y="560"/>
                  </a:lnTo>
                  <a:lnTo>
                    <a:pt x="802" y="560"/>
                  </a:lnTo>
                  <a:lnTo>
                    <a:pt x="803" y="559"/>
                  </a:lnTo>
                  <a:lnTo>
                    <a:pt x="810" y="560"/>
                  </a:lnTo>
                  <a:lnTo>
                    <a:pt x="811" y="559"/>
                  </a:lnTo>
                  <a:lnTo>
                    <a:pt x="813" y="560"/>
                  </a:lnTo>
                  <a:lnTo>
                    <a:pt x="813" y="563"/>
                  </a:lnTo>
                  <a:lnTo>
                    <a:pt x="813" y="564"/>
                  </a:lnTo>
                  <a:lnTo>
                    <a:pt x="811" y="566"/>
                  </a:lnTo>
                  <a:lnTo>
                    <a:pt x="814" y="569"/>
                  </a:lnTo>
                  <a:lnTo>
                    <a:pt x="816" y="572"/>
                  </a:lnTo>
                  <a:lnTo>
                    <a:pt x="814" y="574"/>
                  </a:lnTo>
                  <a:lnTo>
                    <a:pt x="813" y="572"/>
                  </a:lnTo>
                  <a:lnTo>
                    <a:pt x="810" y="574"/>
                  </a:lnTo>
                  <a:lnTo>
                    <a:pt x="808" y="572"/>
                  </a:lnTo>
                  <a:lnTo>
                    <a:pt x="806" y="574"/>
                  </a:lnTo>
                  <a:lnTo>
                    <a:pt x="806" y="575"/>
                  </a:lnTo>
                  <a:lnTo>
                    <a:pt x="803" y="575"/>
                  </a:lnTo>
                  <a:lnTo>
                    <a:pt x="803" y="577"/>
                  </a:lnTo>
                  <a:lnTo>
                    <a:pt x="797" y="579"/>
                  </a:lnTo>
                  <a:lnTo>
                    <a:pt x="796" y="582"/>
                  </a:lnTo>
                  <a:lnTo>
                    <a:pt x="799" y="582"/>
                  </a:lnTo>
                  <a:lnTo>
                    <a:pt x="797" y="583"/>
                  </a:lnTo>
                  <a:lnTo>
                    <a:pt x="793" y="580"/>
                  </a:lnTo>
                  <a:lnTo>
                    <a:pt x="792" y="582"/>
                  </a:lnTo>
                  <a:lnTo>
                    <a:pt x="792" y="586"/>
                  </a:lnTo>
                  <a:lnTo>
                    <a:pt x="791" y="588"/>
                  </a:lnTo>
                  <a:lnTo>
                    <a:pt x="786" y="592"/>
                  </a:lnTo>
                  <a:lnTo>
                    <a:pt x="783" y="597"/>
                  </a:lnTo>
                  <a:lnTo>
                    <a:pt x="782" y="611"/>
                  </a:lnTo>
                  <a:lnTo>
                    <a:pt x="783" y="614"/>
                  </a:lnTo>
                  <a:lnTo>
                    <a:pt x="792" y="620"/>
                  </a:lnTo>
                  <a:lnTo>
                    <a:pt x="799" y="621"/>
                  </a:lnTo>
                  <a:lnTo>
                    <a:pt x="800" y="625"/>
                  </a:lnTo>
                  <a:lnTo>
                    <a:pt x="799" y="629"/>
                  </a:lnTo>
                  <a:lnTo>
                    <a:pt x="796" y="630"/>
                  </a:lnTo>
                  <a:lnTo>
                    <a:pt x="794" y="633"/>
                  </a:lnTo>
                  <a:lnTo>
                    <a:pt x="799" y="636"/>
                  </a:lnTo>
                  <a:lnTo>
                    <a:pt x="799" y="639"/>
                  </a:lnTo>
                  <a:lnTo>
                    <a:pt x="797" y="642"/>
                  </a:lnTo>
                  <a:lnTo>
                    <a:pt x="793" y="642"/>
                  </a:lnTo>
                  <a:lnTo>
                    <a:pt x="792" y="644"/>
                  </a:lnTo>
                  <a:lnTo>
                    <a:pt x="796" y="647"/>
                  </a:lnTo>
                  <a:lnTo>
                    <a:pt x="797" y="650"/>
                  </a:lnTo>
                  <a:lnTo>
                    <a:pt x="792" y="673"/>
                  </a:lnTo>
                  <a:lnTo>
                    <a:pt x="792" y="675"/>
                  </a:lnTo>
                  <a:lnTo>
                    <a:pt x="793" y="678"/>
                  </a:lnTo>
                  <a:lnTo>
                    <a:pt x="800" y="684"/>
                  </a:lnTo>
                  <a:lnTo>
                    <a:pt x="800" y="688"/>
                  </a:lnTo>
                  <a:lnTo>
                    <a:pt x="797" y="692"/>
                  </a:lnTo>
                  <a:lnTo>
                    <a:pt x="799" y="696"/>
                  </a:lnTo>
                  <a:lnTo>
                    <a:pt x="810" y="696"/>
                  </a:lnTo>
                  <a:lnTo>
                    <a:pt x="813" y="698"/>
                  </a:lnTo>
                  <a:lnTo>
                    <a:pt x="814" y="700"/>
                  </a:lnTo>
                  <a:lnTo>
                    <a:pt x="818" y="700"/>
                  </a:lnTo>
                  <a:lnTo>
                    <a:pt x="819" y="703"/>
                  </a:lnTo>
                  <a:lnTo>
                    <a:pt x="827" y="704"/>
                  </a:lnTo>
                  <a:lnTo>
                    <a:pt x="831" y="707"/>
                  </a:lnTo>
                  <a:lnTo>
                    <a:pt x="838" y="706"/>
                  </a:lnTo>
                  <a:lnTo>
                    <a:pt x="841" y="707"/>
                  </a:lnTo>
                  <a:lnTo>
                    <a:pt x="845" y="707"/>
                  </a:lnTo>
                  <a:lnTo>
                    <a:pt x="849" y="708"/>
                  </a:lnTo>
                  <a:lnTo>
                    <a:pt x="852" y="708"/>
                  </a:lnTo>
                  <a:lnTo>
                    <a:pt x="854" y="708"/>
                  </a:lnTo>
                  <a:lnTo>
                    <a:pt x="857" y="708"/>
                  </a:lnTo>
                  <a:lnTo>
                    <a:pt x="860" y="712"/>
                  </a:lnTo>
                  <a:lnTo>
                    <a:pt x="860" y="713"/>
                  </a:lnTo>
                  <a:lnTo>
                    <a:pt x="857" y="716"/>
                  </a:lnTo>
                  <a:lnTo>
                    <a:pt x="856" y="715"/>
                  </a:lnTo>
                  <a:lnTo>
                    <a:pt x="854" y="720"/>
                  </a:lnTo>
                  <a:lnTo>
                    <a:pt x="852" y="721"/>
                  </a:lnTo>
                  <a:lnTo>
                    <a:pt x="852" y="724"/>
                  </a:lnTo>
                  <a:lnTo>
                    <a:pt x="850" y="728"/>
                  </a:lnTo>
                  <a:lnTo>
                    <a:pt x="850" y="731"/>
                  </a:lnTo>
                  <a:lnTo>
                    <a:pt x="846" y="731"/>
                  </a:lnTo>
                  <a:lnTo>
                    <a:pt x="847" y="737"/>
                  </a:lnTo>
                  <a:lnTo>
                    <a:pt x="845" y="738"/>
                  </a:lnTo>
                  <a:lnTo>
                    <a:pt x="845" y="740"/>
                  </a:lnTo>
                  <a:lnTo>
                    <a:pt x="846" y="741"/>
                  </a:lnTo>
                  <a:lnTo>
                    <a:pt x="850" y="743"/>
                  </a:lnTo>
                  <a:lnTo>
                    <a:pt x="856" y="750"/>
                  </a:lnTo>
                  <a:lnTo>
                    <a:pt x="861" y="748"/>
                  </a:lnTo>
                  <a:lnTo>
                    <a:pt x="866" y="748"/>
                  </a:lnTo>
                  <a:lnTo>
                    <a:pt x="868" y="754"/>
                  </a:lnTo>
                  <a:lnTo>
                    <a:pt x="867" y="757"/>
                  </a:lnTo>
                  <a:lnTo>
                    <a:pt x="868" y="763"/>
                  </a:lnTo>
                  <a:lnTo>
                    <a:pt x="867" y="766"/>
                  </a:lnTo>
                  <a:lnTo>
                    <a:pt x="863" y="769"/>
                  </a:lnTo>
                  <a:lnTo>
                    <a:pt x="861" y="774"/>
                  </a:lnTo>
                  <a:lnTo>
                    <a:pt x="859" y="775"/>
                  </a:lnTo>
                  <a:lnTo>
                    <a:pt x="854" y="779"/>
                  </a:lnTo>
                  <a:lnTo>
                    <a:pt x="856" y="783"/>
                  </a:lnTo>
                  <a:lnTo>
                    <a:pt x="854" y="783"/>
                  </a:lnTo>
                  <a:lnTo>
                    <a:pt x="854" y="785"/>
                  </a:lnTo>
                  <a:lnTo>
                    <a:pt x="857" y="786"/>
                  </a:lnTo>
                  <a:lnTo>
                    <a:pt x="859" y="787"/>
                  </a:lnTo>
                  <a:lnTo>
                    <a:pt x="856" y="795"/>
                  </a:lnTo>
                  <a:lnTo>
                    <a:pt x="856" y="798"/>
                  </a:lnTo>
                  <a:lnTo>
                    <a:pt x="852" y="799"/>
                  </a:lnTo>
                  <a:lnTo>
                    <a:pt x="852" y="804"/>
                  </a:lnTo>
                  <a:lnTo>
                    <a:pt x="939" y="802"/>
                  </a:lnTo>
                  <a:lnTo>
                    <a:pt x="954" y="824"/>
                  </a:lnTo>
                  <a:lnTo>
                    <a:pt x="963" y="838"/>
                  </a:lnTo>
                  <a:lnTo>
                    <a:pt x="966" y="845"/>
                  </a:lnTo>
                  <a:lnTo>
                    <a:pt x="967" y="866"/>
                  </a:lnTo>
                  <a:lnTo>
                    <a:pt x="970" y="880"/>
                  </a:lnTo>
                  <a:lnTo>
                    <a:pt x="967" y="910"/>
                  </a:lnTo>
                  <a:lnTo>
                    <a:pt x="967" y="947"/>
                  </a:lnTo>
                  <a:close/>
                  <a:moveTo>
                    <a:pt x="640" y="1301"/>
                  </a:moveTo>
                  <a:lnTo>
                    <a:pt x="642" y="1309"/>
                  </a:lnTo>
                  <a:lnTo>
                    <a:pt x="638" y="1315"/>
                  </a:lnTo>
                  <a:lnTo>
                    <a:pt x="636" y="1327"/>
                  </a:lnTo>
                  <a:lnTo>
                    <a:pt x="635" y="1330"/>
                  </a:lnTo>
                  <a:lnTo>
                    <a:pt x="632" y="1330"/>
                  </a:lnTo>
                  <a:lnTo>
                    <a:pt x="631" y="1329"/>
                  </a:lnTo>
                  <a:lnTo>
                    <a:pt x="631" y="1326"/>
                  </a:lnTo>
                  <a:lnTo>
                    <a:pt x="627" y="1318"/>
                  </a:lnTo>
                  <a:lnTo>
                    <a:pt x="628" y="1310"/>
                  </a:lnTo>
                  <a:lnTo>
                    <a:pt x="632" y="1305"/>
                  </a:lnTo>
                  <a:lnTo>
                    <a:pt x="639" y="1298"/>
                  </a:lnTo>
                  <a:lnTo>
                    <a:pt x="640" y="1301"/>
                  </a:lnTo>
                  <a:close/>
                </a:path>
              </a:pathLst>
            </a:custGeom>
            <a:solidFill>
              <a:srgbClr val="00B0F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98" name="Freeform 197"/>
            <p:cNvSpPr>
              <a:spLocks noEditPoints="1"/>
            </p:cNvSpPr>
            <p:nvPr/>
          </p:nvSpPr>
          <p:spPr bwMode="auto">
            <a:xfrm>
              <a:off x="1116225" y="2945858"/>
              <a:ext cx="449368" cy="980194"/>
            </a:xfrm>
            <a:custGeom>
              <a:avLst/>
              <a:gdLst>
                <a:gd name="T0" fmla="*/ 1355 w 2254"/>
                <a:gd name="T1" fmla="*/ 3305 h 3632"/>
                <a:gd name="T2" fmla="*/ 2151 w 2254"/>
                <a:gd name="T3" fmla="*/ 1708 h 3632"/>
                <a:gd name="T4" fmla="*/ 2073 w 2254"/>
                <a:gd name="T5" fmla="*/ 1699 h 3632"/>
                <a:gd name="T6" fmla="*/ 1874 w 2254"/>
                <a:gd name="T7" fmla="*/ 1841 h 3632"/>
                <a:gd name="T8" fmla="*/ 1800 w 2254"/>
                <a:gd name="T9" fmla="*/ 1929 h 3632"/>
                <a:gd name="T10" fmla="*/ 1667 w 2254"/>
                <a:gd name="T11" fmla="*/ 2069 h 3632"/>
                <a:gd name="T12" fmla="*/ 1500 w 2254"/>
                <a:gd name="T13" fmla="*/ 2247 h 3632"/>
                <a:gd name="T14" fmla="*/ 1289 w 2254"/>
                <a:gd name="T15" fmla="*/ 2397 h 3632"/>
                <a:gd name="T16" fmla="*/ 1135 w 2254"/>
                <a:gd name="T17" fmla="*/ 2381 h 3632"/>
                <a:gd name="T18" fmla="*/ 1113 w 2254"/>
                <a:gd name="T19" fmla="*/ 2430 h 3632"/>
                <a:gd name="T20" fmla="*/ 1097 w 2254"/>
                <a:gd name="T21" fmla="*/ 2599 h 3632"/>
                <a:gd name="T22" fmla="*/ 1077 w 2254"/>
                <a:gd name="T23" fmla="*/ 2692 h 3632"/>
                <a:gd name="T24" fmla="*/ 1072 w 2254"/>
                <a:gd name="T25" fmla="*/ 2755 h 3632"/>
                <a:gd name="T26" fmla="*/ 1075 w 2254"/>
                <a:gd name="T27" fmla="*/ 2786 h 3632"/>
                <a:gd name="T28" fmla="*/ 1033 w 2254"/>
                <a:gd name="T29" fmla="*/ 2849 h 3632"/>
                <a:gd name="T30" fmla="*/ 1030 w 2254"/>
                <a:gd name="T31" fmla="*/ 2894 h 3632"/>
                <a:gd name="T32" fmla="*/ 1044 w 2254"/>
                <a:gd name="T33" fmla="*/ 2931 h 3632"/>
                <a:gd name="T34" fmla="*/ 1033 w 2254"/>
                <a:gd name="T35" fmla="*/ 3040 h 3632"/>
                <a:gd name="T36" fmla="*/ 1073 w 2254"/>
                <a:gd name="T37" fmla="*/ 2991 h 3632"/>
                <a:gd name="T38" fmla="*/ 1162 w 2254"/>
                <a:gd name="T39" fmla="*/ 3069 h 3632"/>
                <a:gd name="T40" fmla="*/ 1133 w 2254"/>
                <a:gd name="T41" fmla="*/ 3126 h 3632"/>
                <a:gd name="T42" fmla="*/ 1205 w 2254"/>
                <a:gd name="T43" fmla="*/ 3145 h 3632"/>
                <a:gd name="T44" fmla="*/ 1257 w 2254"/>
                <a:gd name="T45" fmla="*/ 3138 h 3632"/>
                <a:gd name="T46" fmla="*/ 1268 w 2254"/>
                <a:gd name="T47" fmla="*/ 3182 h 3632"/>
                <a:gd name="T48" fmla="*/ 1279 w 2254"/>
                <a:gd name="T49" fmla="*/ 3222 h 3632"/>
                <a:gd name="T50" fmla="*/ 1335 w 2254"/>
                <a:gd name="T51" fmla="*/ 3263 h 3632"/>
                <a:gd name="T52" fmla="*/ 1271 w 2254"/>
                <a:gd name="T53" fmla="*/ 3370 h 3632"/>
                <a:gd name="T54" fmla="*/ 1147 w 2254"/>
                <a:gd name="T55" fmla="*/ 3441 h 3632"/>
                <a:gd name="T56" fmla="*/ 1009 w 2254"/>
                <a:gd name="T57" fmla="*/ 3457 h 3632"/>
                <a:gd name="T58" fmla="*/ 865 w 2254"/>
                <a:gd name="T59" fmla="*/ 3511 h 3632"/>
                <a:gd name="T60" fmla="*/ 776 w 2254"/>
                <a:gd name="T61" fmla="*/ 3621 h 3632"/>
                <a:gd name="T62" fmla="*/ 662 w 2254"/>
                <a:gd name="T63" fmla="*/ 3615 h 3632"/>
                <a:gd name="T64" fmla="*/ 527 w 2254"/>
                <a:gd name="T65" fmla="*/ 3617 h 3632"/>
                <a:gd name="T66" fmla="*/ 343 w 2254"/>
                <a:gd name="T67" fmla="*/ 3168 h 3632"/>
                <a:gd name="T68" fmla="*/ 71 w 2254"/>
                <a:gd name="T69" fmla="*/ 2909 h 3632"/>
                <a:gd name="T70" fmla="*/ 15 w 2254"/>
                <a:gd name="T71" fmla="*/ 2633 h 3632"/>
                <a:gd name="T72" fmla="*/ 103 w 2254"/>
                <a:gd name="T73" fmla="*/ 2564 h 3632"/>
                <a:gd name="T74" fmla="*/ 194 w 2254"/>
                <a:gd name="T75" fmla="*/ 2531 h 3632"/>
                <a:gd name="T76" fmla="*/ 354 w 2254"/>
                <a:gd name="T77" fmla="*/ 2491 h 3632"/>
                <a:gd name="T78" fmla="*/ 292 w 2254"/>
                <a:gd name="T79" fmla="*/ 2264 h 3632"/>
                <a:gd name="T80" fmla="*/ 499 w 2254"/>
                <a:gd name="T81" fmla="*/ 1708 h 3632"/>
                <a:gd name="T82" fmla="*/ 339 w 2254"/>
                <a:gd name="T83" fmla="*/ 1568 h 3632"/>
                <a:gd name="T84" fmla="*/ 374 w 2254"/>
                <a:gd name="T85" fmla="*/ 1378 h 3632"/>
                <a:gd name="T86" fmla="*/ 368 w 2254"/>
                <a:gd name="T87" fmla="*/ 1303 h 3632"/>
                <a:gd name="T88" fmla="*/ 361 w 2254"/>
                <a:gd name="T89" fmla="*/ 1182 h 3632"/>
                <a:gd name="T90" fmla="*/ 534 w 2254"/>
                <a:gd name="T91" fmla="*/ 1119 h 3632"/>
                <a:gd name="T92" fmla="*/ 695 w 2254"/>
                <a:gd name="T93" fmla="*/ 1135 h 3632"/>
                <a:gd name="T94" fmla="*/ 680 w 2254"/>
                <a:gd name="T95" fmla="*/ 869 h 3632"/>
                <a:gd name="T96" fmla="*/ 649 w 2254"/>
                <a:gd name="T97" fmla="*/ 457 h 3632"/>
                <a:gd name="T98" fmla="*/ 913 w 2254"/>
                <a:gd name="T99" fmla="*/ 31 h 3632"/>
                <a:gd name="T100" fmla="*/ 1166 w 2254"/>
                <a:gd name="T101" fmla="*/ 158 h 3632"/>
                <a:gd name="T102" fmla="*/ 1286 w 2254"/>
                <a:gd name="T103" fmla="*/ 423 h 3632"/>
                <a:gd name="T104" fmla="*/ 1446 w 2254"/>
                <a:gd name="T105" fmla="*/ 663 h 3632"/>
                <a:gd name="T106" fmla="*/ 1621 w 2254"/>
                <a:gd name="T107" fmla="*/ 813 h 3632"/>
                <a:gd name="T108" fmla="*/ 1784 w 2254"/>
                <a:gd name="T109" fmla="*/ 987 h 3632"/>
                <a:gd name="T110" fmla="*/ 2063 w 2254"/>
                <a:gd name="T111" fmla="*/ 1187 h 3632"/>
                <a:gd name="T112" fmla="*/ 2225 w 2254"/>
                <a:gd name="T113" fmla="*/ 1438 h 3632"/>
                <a:gd name="T114" fmla="*/ 2220 w 2254"/>
                <a:gd name="T115" fmla="*/ 1546 h 3632"/>
                <a:gd name="T116" fmla="*/ 1227 w 2254"/>
                <a:gd name="T117" fmla="*/ 3080 h 3632"/>
                <a:gd name="T118" fmla="*/ 1036 w 2254"/>
                <a:gd name="T119" fmla="*/ 2345 h 3632"/>
                <a:gd name="T120" fmla="*/ 1122 w 2254"/>
                <a:gd name="T121" fmla="*/ 2396 h 3632"/>
                <a:gd name="T122" fmla="*/ 1058 w 2254"/>
                <a:gd name="T123" fmla="*/ 2377 h 3632"/>
                <a:gd name="T124" fmla="*/ 1144 w 2254"/>
                <a:gd name="T125" fmla="*/ 2399 h 36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54"/>
                <a:gd name="T190" fmla="*/ 0 h 3632"/>
                <a:gd name="T191" fmla="*/ 2254 w 2254"/>
                <a:gd name="T192" fmla="*/ 3632 h 36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54" h="3632">
                  <a:moveTo>
                    <a:pt x="1400" y="3329"/>
                  </a:moveTo>
                  <a:lnTo>
                    <a:pt x="1396" y="3329"/>
                  </a:lnTo>
                  <a:lnTo>
                    <a:pt x="1393" y="3325"/>
                  </a:lnTo>
                  <a:lnTo>
                    <a:pt x="1390" y="3325"/>
                  </a:lnTo>
                  <a:lnTo>
                    <a:pt x="1389" y="3325"/>
                  </a:lnTo>
                  <a:lnTo>
                    <a:pt x="1392" y="3328"/>
                  </a:lnTo>
                  <a:lnTo>
                    <a:pt x="1393" y="3329"/>
                  </a:lnTo>
                  <a:lnTo>
                    <a:pt x="1395" y="3331"/>
                  </a:lnTo>
                  <a:lnTo>
                    <a:pt x="1393" y="3334"/>
                  </a:lnTo>
                  <a:lnTo>
                    <a:pt x="1382" y="3338"/>
                  </a:lnTo>
                  <a:lnTo>
                    <a:pt x="1375" y="3337"/>
                  </a:lnTo>
                  <a:lnTo>
                    <a:pt x="1371" y="3339"/>
                  </a:lnTo>
                  <a:lnTo>
                    <a:pt x="1364" y="3338"/>
                  </a:lnTo>
                  <a:lnTo>
                    <a:pt x="1371" y="3341"/>
                  </a:lnTo>
                  <a:lnTo>
                    <a:pt x="1378" y="3341"/>
                  </a:lnTo>
                  <a:lnTo>
                    <a:pt x="1378" y="3342"/>
                  </a:lnTo>
                  <a:lnTo>
                    <a:pt x="1375" y="3343"/>
                  </a:lnTo>
                  <a:lnTo>
                    <a:pt x="1372" y="3343"/>
                  </a:lnTo>
                  <a:lnTo>
                    <a:pt x="1365" y="3342"/>
                  </a:lnTo>
                  <a:lnTo>
                    <a:pt x="1362" y="3343"/>
                  </a:lnTo>
                  <a:lnTo>
                    <a:pt x="1353" y="3354"/>
                  </a:lnTo>
                  <a:lnTo>
                    <a:pt x="1346" y="3355"/>
                  </a:lnTo>
                  <a:lnTo>
                    <a:pt x="1343" y="3354"/>
                  </a:lnTo>
                  <a:lnTo>
                    <a:pt x="1347" y="3346"/>
                  </a:lnTo>
                  <a:lnTo>
                    <a:pt x="1347" y="3333"/>
                  </a:lnTo>
                  <a:lnTo>
                    <a:pt x="1343" y="3329"/>
                  </a:lnTo>
                  <a:lnTo>
                    <a:pt x="1336" y="3331"/>
                  </a:lnTo>
                  <a:lnTo>
                    <a:pt x="1335" y="3329"/>
                  </a:lnTo>
                  <a:lnTo>
                    <a:pt x="1350" y="3321"/>
                  </a:lnTo>
                  <a:lnTo>
                    <a:pt x="1358" y="3312"/>
                  </a:lnTo>
                  <a:lnTo>
                    <a:pt x="1355" y="3305"/>
                  </a:lnTo>
                  <a:lnTo>
                    <a:pt x="1369" y="3302"/>
                  </a:lnTo>
                  <a:lnTo>
                    <a:pt x="1378" y="3311"/>
                  </a:lnTo>
                  <a:lnTo>
                    <a:pt x="1379" y="3302"/>
                  </a:lnTo>
                  <a:lnTo>
                    <a:pt x="1382" y="3301"/>
                  </a:lnTo>
                  <a:lnTo>
                    <a:pt x="1385" y="3301"/>
                  </a:lnTo>
                  <a:lnTo>
                    <a:pt x="1385" y="3297"/>
                  </a:lnTo>
                  <a:lnTo>
                    <a:pt x="1386" y="3297"/>
                  </a:lnTo>
                  <a:lnTo>
                    <a:pt x="1390" y="3311"/>
                  </a:lnTo>
                  <a:lnTo>
                    <a:pt x="1401" y="3328"/>
                  </a:lnTo>
                  <a:lnTo>
                    <a:pt x="1403" y="3333"/>
                  </a:lnTo>
                  <a:lnTo>
                    <a:pt x="1400" y="3329"/>
                  </a:lnTo>
                  <a:close/>
                  <a:moveTo>
                    <a:pt x="2250" y="1587"/>
                  </a:moveTo>
                  <a:lnTo>
                    <a:pt x="2233" y="1587"/>
                  </a:lnTo>
                  <a:lnTo>
                    <a:pt x="2230" y="1588"/>
                  </a:lnTo>
                  <a:lnTo>
                    <a:pt x="2228" y="1592"/>
                  </a:lnTo>
                  <a:lnTo>
                    <a:pt x="2229" y="1605"/>
                  </a:lnTo>
                  <a:lnTo>
                    <a:pt x="2206" y="1617"/>
                  </a:lnTo>
                  <a:lnTo>
                    <a:pt x="2198" y="1629"/>
                  </a:lnTo>
                  <a:lnTo>
                    <a:pt x="2195" y="1636"/>
                  </a:lnTo>
                  <a:lnTo>
                    <a:pt x="2195" y="1645"/>
                  </a:lnTo>
                  <a:lnTo>
                    <a:pt x="2197" y="1647"/>
                  </a:lnTo>
                  <a:lnTo>
                    <a:pt x="2200" y="1651"/>
                  </a:lnTo>
                  <a:lnTo>
                    <a:pt x="2202" y="1659"/>
                  </a:lnTo>
                  <a:lnTo>
                    <a:pt x="2204" y="1670"/>
                  </a:lnTo>
                  <a:lnTo>
                    <a:pt x="2201" y="1678"/>
                  </a:lnTo>
                  <a:lnTo>
                    <a:pt x="2194" y="1686"/>
                  </a:lnTo>
                  <a:lnTo>
                    <a:pt x="2193" y="1696"/>
                  </a:lnTo>
                  <a:lnTo>
                    <a:pt x="2190" y="1700"/>
                  </a:lnTo>
                  <a:lnTo>
                    <a:pt x="2184" y="1704"/>
                  </a:lnTo>
                  <a:lnTo>
                    <a:pt x="2173" y="1704"/>
                  </a:lnTo>
                  <a:lnTo>
                    <a:pt x="2151" y="1708"/>
                  </a:lnTo>
                  <a:lnTo>
                    <a:pt x="2149" y="1704"/>
                  </a:lnTo>
                  <a:lnTo>
                    <a:pt x="2154" y="1700"/>
                  </a:lnTo>
                  <a:lnTo>
                    <a:pt x="2165" y="1699"/>
                  </a:lnTo>
                  <a:lnTo>
                    <a:pt x="2172" y="1695"/>
                  </a:lnTo>
                  <a:lnTo>
                    <a:pt x="2172" y="1692"/>
                  </a:lnTo>
                  <a:lnTo>
                    <a:pt x="2170" y="1686"/>
                  </a:lnTo>
                  <a:lnTo>
                    <a:pt x="2168" y="1688"/>
                  </a:lnTo>
                  <a:lnTo>
                    <a:pt x="2163" y="1686"/>
                  </a:lnTo>
                  <a:lnTo>
                    <a:pt x="2155" y="1695"/>
                  </a:lnTo>
                  <a:lnTo>
                    <a:pt x="2149" y="1694"/>
                  </a:lnTo>
                  <a:lnTo>
                    <a:pt x="2141" y="1699"/>
                  </a:lnTo>
                  <a:lnTo>
                    <a:pt x="2133" y="1700"/>
                  </a:lnTo>
                  <a:lnTo>
                    <a:pt x="2131" y="1704"/>
                  </a:lnTo>
                  <a:lnTo>
                    <a:pt x="2133" y="1711"/>
                  </a:lnTo>
                  <a:lnTo>
                    <a:pt x="2130" y="1712"/>
                  </a:lnTo>
                  <a:lnTo>
                    <a:pt x="2102" y="1721"/>
                  </a:lnTo>
                  <a:lnTo>
                    <a:pt x="2088" y="1719"/>
                  </a:lnTo>
                  <a:lnTo>
                    <a:pt x="2088" y="1716"/>
                  </a:lnTo>
                  <a:lnTo>
                    <a:pt x="2094" y="1713"/>
                  </a:lnTo>
                  <a:lnTo>
                    <a:pt x="2102" y="1704"/>
                  </a:lnTo>
                  <a:lnTo>
                    <a:pt x="2113" y="1696"/>
                  </a:lnTo>
                  <a:lnTo>
                    <a:pt x="2123" y="1663"/>
                  </a:lnTo>
                  <a:lnTo>
                    <a:pt x="2123" y="1655"/>
                  </a:lnTo>
                  <a:lnTo>
                    <a:pt x="2118" y="1666"/>
                  </a:lnTo>
                  <a:lnTo>
                    <a:pt x="2112" y="1674"/>
                  </a:lnTo>
                  <a:lnTo>
                    <a:pt x="2109" y="1686"/>
                  </a:lnTo>
                  <a:lnTo>
                    <a:pt x="2105" y="1695"/>
                  </a:lnTo>
                  <a:lnTo>
                    <a:pt x="2101" y="1696"/>
                  </a:lnTo>
                  <a:lnTo>
                    <a:pt x="2094" y="1694"/>
                  </a:lnTo>
                  <a:lnTo>
                    <a:pt x="2087" y="1694"/>
                  </a:lnTo>
                  <a:lnTo>
                    <a:pt x="2073" y="1699"/>
                  </a:lnTo>
                  <a:lnTo>
                    <a:pt x="2068" y="1704"/>
                  </a:lnTo>
                  <a:lnTo>
                    <a:pt x="2065" y="1708"/>
                  </a:lnTo>
                  <a:lnTo>
                    <a:pt x="2065" y="1714"/>
                  </a:lnTo>
                  <a:lnTo>
                    <a:pt x="2069" y="1719"/>
                  </a:lnTo>
                  <a:lnTo>
                    <a:pt x="2069" y="1726"/>
                  </a:lnTo>
                  <a:lnTo>
                    <a:pt x="2066" y="1731"/>
                  </a:lnTo>
                  <a:lnTo>
                    <a:pt x="2062" y="1734"/>
                  </a:lnTo>
                  <a:lnTo>
                    <a:pt x="2055" y="1737"/>
                  </a:lnTo>
                  <a:lnTo>
                    <a:pt x="2048" y="1738"/>
                  </a:lnTo>
                  <a:lnTo>
                    <a:pt x="2035" y="1733"/>
                  </a:lnTo>
                  <a:lnTo>
                    <a:pt x="2029" y="1734"/>
                  </a:lnTo>
                  <a:lnTo>
                    <a:pt x="2024" y="1731"/>
                  </a:lnTo>
                  <a:lnTo>
                    <a:pt x="2019" y="1731"/>
                  </a:lnTo>
                  <a:lnTo>
                    <a:pt x="2015" y="1725"/>
                  </a:lnTo>
                  <a:lnTo>
                    <a:pt x="2015" y="1729"/>
                  </a:lnTo>
                  <a:lnTo>
                    <a:pt x="2012" y="1736"/>
                  </a:lnTo>
                  <a:lnTo>
                    <a:pt x="2012" y="1737"/>
                  </a:lnTo>
                  <a:lnTo>
                    <a:pt x="2006" y="1739"/>
                  </a:lnTo>
                  <a:lnTo>
                    <a:pt x="2006" y="1741"/>
                  </a:lnTo>
                  <a:lnTo>
                    <a:pt x="2015" y="1738"/>
                  </a:lnTo>
                  <a:lnTo>
                    <a:pt x="2021" y="1741"/>
                  </a:lnTo>
                  <a:lnTo>
                    <a:pt x="2030" y="1741"/>
                  </a:lnTo>
                  <a:lnTo>
                    <a:pt x="2029" y="1745"/>
                  </a:lnTo>
                  <a:lnTo>
                    <a:pt x="1973" y="1775"/>
                  </a:lnTo>
                  <a:lnTo>
                    <a:pt x="1916" y="1812"/>
                  </a:lnTo>
                  <a:lnTo>
                    <a:pt x="1905" y="1820"/>
                  </a:lnTo>
                  <a:lnTo>
                    <a:pt x="1896" y="1829"/>
                  </a:lnTo>
                  <a:lnTo>
                    <a:pt x="1891" y="1831"/>
                  </a:lnTo>
                  <a:lnTo>
                    <a:pt x="1881" y="1837"/>
                  </a:lnTo>
                  <a:lnTo>
                    <a:pt x="1875" y="1838"/>
                  </a:lnTo>
                  <a:lnTo>
                    <a:pt x="1874" y="1841"/>
                  </a:lnTo>
                  <a:lnTo>
                    <a:pt x="1874" y="1846"/>
                  </a:lnTo>
                  <a:lnTo>
                    <a:pt x="1870" y="1850"/>
                  </a:lnTo>
                  <a:lnTo>
                    <a:pt x="1874" y="1850"/>
                  </a:lnTo>
                  <a:lnTo>
                    <a:pt x="1878" y="1849"/>
                  </a:lnTo>
                  <a:lnTo>
                    <a:pt x="1880" y="1849"/>
                  </a:lnTo>
                  <a:lnTo>
                    <a:pt x="1867" y="1858"/>
                  </a:lnTo>
                  <a:lnTo>
                    <a:pt x="1863" y="1863"/>
                  </a:lnTo>
                  <a:lnTo>
                    <a:pt x="1860" y="1865"/>
                  </a:lnTo>
                  <a:lnTo>
                    <a:pt x="1860" y="1861"/>
                  </a:lnTo>
                  <a:lnTo>
                    <a:pt x="1859" y="1861"/>
                  </a:lnTo>
                  <a:lnTo>
                    <a:pt x="1852" y="1865"/>
                  </a:lnTo>
                  <a:lnTo>
                    <a:pt x="1846" y="1857"/>
                  </a:lnTo>
                  <a:lnTo>
                    <a:pt x="1845" y="1857"/>
                  </a:lnTo>
                  <a:lnTo>
                    <a:pt x="1845" y="1860"/>
                  </a:lnTo>
                  <a:lnTo>
                    <a:pt x="1846" y="1861"/>
                  </a:lnTo>
                  <a:lnTo>
                    <a:pt x="1848" y="1865"/>
                  </a:lnTo>
                  <a:lnTo>
                    <a:pt x="1841" y="1869"/>
                  </a:lnTo>
                  <a:lnTo>
                    <a:pt x="1845" y="1871"/>
                  </a:lnTo>
                  <a:lnTo>
                    <a:pt x="1848" y="1875"/>
                  </a:lnTo>
                  <a:lnTo>
                    <a:pt x="1849" y="1877"/>
                  </a:lnTo>
                  <a:lnTo>
                    <a:pt x="1839" y="1881"/>
                  </a:lnTo>
                  <a:lnTo>
                    <a:pt x="1833" y="1882"/>
                  </a:lnTo>
                  <a:lnTo>
                    <a:pt x="1828" y="1883"/>
                  </a:lnTo>
                  <a:lnTo>
                    <a:pt x="1828" y="1886"/>
                  </a:lnTo>
                  <a:lnTo>
                    <a:pt x="1828" y="1891"/>
                  </a:lnTo>
                  <a:lnTo>
                    <a:pt x="1833" y="1887"/>
                  </a:lnTo>
                  <a:lnTo>
                    <a:pt x="1838" y="1891"/>
                  </a:lnTo>
                  <a:lnTo>
                    <a:pt x="1838" y="1895"/>
                  </a:lnTo>
                  <a:lnTo>
                    <a:pt x="1824" y="1904"/>
                  </a:lnTo>
                  <a:lnTo>
                    <a:pt x="1814" y="1916"/>
                  </a:lnTo>
                  <a:lnTo>
                    <a:pt x="1800" y="1929"/>
                  </a:lnTo>
                  <a:lnTo>
                    <a:pt x="1795" y="1936"/>
                  </a:lnTo>
                  <a:lnTo>
                    <a:pt x="1788" y="1942"/>
                  </a:lnTo>
                  <a:lnTo>
                    <a:pt x="1785" y="1947"/>
                  </a:lnTo>
                  <a:lnTo>
                    <a:pt x="1767" y="1958"/>
                  </a:lnTo>
                  <a:lnTo>
                    <a:pt x="1767" y="1962"/>
                  </a:lnTo>
                  <a:lnTo>
                    <a:pt x="1769" y="1962"/>
                  </a:lnTo>
                  <a:lnTo>
                    <a:pt x="1764" y="1965"/>
                  </a:lnTo>
                  <a:lnTo>
                    <a:pt x="1763" y="1969"/>
                  </a:lnTo>
                  <a:lnTo>
                    <a:pt x="1763" y="1970"/>
                  </a:lnTo>
                  <a:lnTo>
                    <a:pt x="1767" y="1966"/>
                  </a:lnTo>
                  <a:lnTo>
                    <a:pt x="1770" y="1966"/>
                  </a:lnTo>
                  <a:lnTo>
                    <a:pt x="1755" y="1981"/>
                  </a:lnTo>
                  <a:lnTo>
                    <a:pt x="1725" y="2014"/>
                  </a:lnTo>
                  <a:lnTo>
                    <a:pt x="1723" y="2015"/>
                  </a:lnTo>
                  <a:lnTo>
                    <a:pt x="1721" y="2011"/>
                  </a:lnTo>
                  <a:lnTo>
                    <a:pt x="1719" y="2011"/>
                  </a:lnTo>
                  <a:lnTo>
                    <a:pt x="1719" y="2014"/>
                  </a:lnTo>
                  <a:lnTo>
                    <a:pt x="1716" y="2017"/>
                  </a:lnTo>
                  <a:lnTo>
                    <a:pt x="1711" y="2029"/>
                  </a:lnTo>
                  <a:lnTo>
                    <a:pt x="1706" y="2037"/>
                  </a:lnTo>
                  <a:lnTo>
                    <a:pt x="1699" y="2040"/>
                  </a:lnTo>
                  <a:lnTo>
                    <a:pt x="1694" y="2047"/>
                  </a:lnTo>
                  <a:lnTo>
                    <a:pt x="1688" y="2052"/>
                  </a:lnTo>
                  <a:lnTo>
                    <a:pt x="1686" y="2056"/>
                  </a:lnTo>
                  <a:lnTo>
                    <a:pt x="1686" y="2060"/>
                  </a:lnTo>
                  <a:lnTo>
                    <a:pt x="1672" y="2078"/>
                  </a:lnTo>
                  <a:lnTo>
                    <a:pt x="1670" y="2078"/>
                  </a:lnTo>
                  <a:lnTo>
                    <a:pt x="1667" y="2078"/>
                  </a:lnTo>
                  <a:lnTo>
                    <a:pt x="1667" y="2074"/>
                  </a:lnTo>
                  <a:lnTo>
                    <a:pt x="1670" y="2069"/>
                  </a:lnTo>
                  <a:lnTo>
                    <a:pt x="1667" y="2069"/>
                  </a:lnTo>
                  <a:lnTo>
                    <a:pt x="1663" y="2070"/>
                  </a:lnTo>
                  <a:lnTo>
                    <a:pt x="1661" y="2073"/>
                  </a:lnTo>
                  <a:lnTo>
                    <a:pt x="1661" y="2077"/>
                  </a:lnTo>
                  <a:lnTo>
                    <a:pt x="1659" y="2082"/>
                  </a:lnTo>
                  <a:lnTo>
                    <a:pt x="1661" y="2086"/>
                  </a:lnTo>
                  <a:lnTo>
                    <a:pt x="1666" y="2086"/>
                  </a:lnTo>
                  <a:lnTo>
                    <a:pt x="1666" y="2089"/>
                  </a:lnTo>
                  <a:lnTo>
                    <a:pt x="1647" y="2109"/>
                  </a:lnTo>
                  <a:lnTo>
                    <a:pt x="1642" y="2109"/>
                  </a:lnTo>
                  <a:lnTo>
                    <a:pt x="1638" y="2114"/>
                  </a:lnTo>
                  <a:lnTo>
                    <a:pt x="1635" y="2118"/>
                  </a:lnTo>
                  <a:lnTo>
                    <a:pt x="1634" y="2123"/>
                  </a:lnTo>
                  <a:lnTo>
                    <a:pt x="1628" y="2129"/>
                  </a:lnTo>
                  <a:lnTo>
                    <a:pt x="1625" y="2131"/>
                  </a:lnTo>
                  <a:lnTo>
                    <a:pt x="1621" y="2131"/>
                  </a:lnTo>
                  <a:lnTo>
                    <a:pt x="1618" y="2136"/>
                  </a:lnTo>
                  <a:lnTo>
                    <a:pt x="1611" y="2141"/>
                  </a:lnTo>
                  <a:lnTo>
                    <a:pt x="1604" y="2149"/>
                  </a:lnTo>
                  <a:lnTo>
                    <a:pt x="1603" y="2153"/>
                  </a:lnTo>
                  <a:lnTo>
                    <a:pt x="1586" y="2172"/>
                  </a:lnTo>
                  <a:lnTo>
                    <a:pt x="1582" y="2176"/>
                  </a:lnTo>
                  <a:lnTo>
                    <a:pt x="1578" y="2176"/>
                  </a:lnTo>
                  <a:lnTo>
                    <a:pt x="1574" y="2178"/>
                  </a:lnTo>
                  <a:lnTo>
                    <a:pt x="1556" y="2194"/>
                  </a:lnTo>
                  <a:lnTo>
                    <a:pt x="1559" y="2194"/>
                  </a:lnTo>
                  <a:lnTo>
                    <a:pt x="1557" y="2198"/>
                  </a:lnTo>
                  <a:lnTo>
                    <a:pt x="1551" y="2202"/>
                  </a:lnTo>
                  <a:lnTo>
                    <a:pt x="1532" y="2221"/>
                  </a:lnTo>
                  <a:lnTo>
                    <a:pt x="1515" y="2231"/>
                  </a:lnTo>
                  <a:lnTo>
                    <a:pt x="1501" y="2243"/>
                  </a:lnTo>
                  <a:lnTo>
                    <a:pt x="1500" y="2247"/>
                  </a:lnTo>
                  <a:lnTo>
                    <a:pt x="1482" y="2261"/>
                  </a:lnTo>
                  <a:lnTo>
                    <a:pt x="1474" y="2265"/>
                  </a:lnTo>
                  <a:lnTo>
                    <a:pt x="1465" y="2273"/>
                  </a:lnTo>
                  <a:lnTo>
                    <a:pt x="1449" y="2288"/>
                  </a:lnTo>
                  <a:lnTo>
                    <a:pt x="1415" y="2318"/>
                  </a:lnTo>
                  <a:lnTo>
                    <a:pt x="1412" y="2318"/>
                  </a:lnTo>
                  <a:lnTo>
                    <a:pt x="1410" y="2318"/>
                  </a:lnTo>
                  <a:lnTo>
                    <a:pt x="1411" y="2309"/>
                  </a:lnTo>
                  <a:lnTo>
                    <a:pt x="1407" y="2314"/>
                  </a:lnTo>
                  <a:lnTo>
                    <a:pt x="1396" y="2322"/>
                  </a:lnTo>
                  <a:lnTo>
                    <a:pt x="1399" y="2327"/>
                  </a:lnTo>
                  <a:lnTo>
                    <a:pt x="1389" y="2337"/>
                  </a:lnTo>
                  <a:lnTo>
                    <a:pt x="1382" y="2340"/>
                  </a:lnTo>
                  <a:lnTo>
                    <a:pt x="1372" y="2340"/>
                  </a:lnTo>
                  <a:lnTo>
                    <a:pt x="1371" y="2343"/>
                  </a:lnTo>
                  <a:lnTo>
                    <a:pt x="1364" y="2345"/>
                  </a:lnTo>
                  <a:lnTo>
                    <a:pt x="1364" y="2348"/>
                  </a:lnTo>
                  <a:lnTo>
                    <a:pt x="1361" y="2351"/>
                  </a:lnTo>
                  <a:lnTo>
                    <a:pt x="1353" y="2355"/>
                  </a:lnTo>
                  <a:lnTo>
                    <a:pt x="1321" y="2377"/>
                  </a:lnTo>
                  <a:lnTo>
                    <a:pt x="1308" y="2393"/>
                  </a:lnTo>
                  <a:lnTo>
                    <a:pt x="1287" y="2408"/>
                  </a:lnTo>
                  <a:lnTo>
                    <a:pt x="1283" y="2412"/>
                  </a:lnTo>
                  <a:lnTo>
                    <a:pt x="1285" y="2410"/>
                  </a:lnTo>
                  <a:lnTo>
                    <a:pt x="1283" y="2408"/>
                  </a:lnTo>
                  <a:lnTo>
                    <a:pt x="1287" y="2404"/>
                  </a:lnTo>
                  <a:lnTo>
                    <a:pt x="1294" y="2402"/>
                  </a:lnTo>
                  <a:lnTo>
                    <a:pt x="1299" y="2399"/>
                  </a:lnTo>
                  <a:lnTo>
                    <a:pt x="1299" y="2393"/>
                  </a:lnTo>
                  <a:lnTo>
                    <a:pt x="1293" y="2399"/>
                  </a:lnTo>
                  <a:lnTo>
                    <a:pt x="1289" y="2397"/>
                  </a:lnTo>
                  <a:lnTo>
                    <a:pt x="1290" y="2399"/>
                  </a:lnTo>
                  <a:lnTo>
                    <a:pt x="1286" y="2400"/>
                  </a:lnTo>
                  <a:lnTo>
                    <a:pt x="1283" y="2400"/>
                  </a:lnTo>
                  <a:lnTo>
                    <a:pt x="1280" y="2404"/>
                  </a:lnTo>
                  <a:lnTo>
                    <a:pt x="1275" y="2406"/>
                  </a:lnTo>
                  <a:lnTo>
                    <a:pt x="1272" y="2412"/>
                  </a:lnTo>
                  <a:lnTo>
                    <a:pt x="1265" y="2416"/>
                  </a:lnTo>
                  <a:lnTo>
                    <a:pt x="1258" y="2422"/>
                  </a:lnTo>
                  <a:lnTo>
                    <a:pt x="1254" y="2422"/>
                  </a:lnTo>
                  <a:lnTo>
                    <a:pt x="1241" y="2426"/>
                  </a:lnTo>
                  <a:lnTo>
                    <a:pt x="1222" y="2445"/>
                  </a:lnTo>
                  <a:lnTo>
                    <a:pt x="1208" y="2452"/>
                  </a:lnTo>
                  <a:lnTo>
                    <a:pt x="1204" y="2455"/>
                  </a:lnTo>
                  <a:lnTo>
                    <a:pt x="1180" y="2452"/>
                  </a:lnTo>
                  <a:lnTo>
                    <a:pt x="1171" y="2452"/>
                  </a:lnTo>
                  <a:lnTo>
                    <a:pt x="1165" y="2449"/>
                  </a:lnTo>
                  <a:lnTo>
                    <a:pt x="1161" y="2443"/>
                  </a:lnTo>
                  <a:lnTo>
                    <a:pt x="1165" y="2438"/>
                  </a:lnTo>
                  <a:lnTo>
                    <a:pt x="1164" y="2434"/>
                  </a:lnTo>
                  <a:lnTo>
                    <a:pt x="1166" y="2434"/>
                  </a:lnTo>
                  <a:lnTo>
                    <a:pt x="1165" y="2433"/>
                  </a:lnTo>
                  <a:lnTo>
                    <a:pt x="1166" y="2426"/>
                  </a:lnTo>
                  <a:lnTo>
                    <a:pt x="1165" y="2420"/>
                  </a:lnTo>
                  <a:lnTo>
                    <a:pt x="1165" y="2418"/>
                  </a:lnTo>
                  <a:lnTo>
                    <a:pt x="1162" y="2412"/>
                  </a:lnTo>
                  <a:lnTo>
                    <a:pt x="1164" y="2410"/>
                  </a:lnTo>
                  <a:lnTo>
                    <a:pt x="1161" y="2408"/>
                  </a:lnTo>
                  <a:lnTo>
                    <a:pt x="1158" y="2404"/>
                  </a:lnTo>
                  <a:lnTo>
                    <a:pt x="1147" y="2392"/>
                  </a:lnTo>
                  <a:lnTo>
                    <a:pt x="1140" y="2385"/>
                  </a:lnTo>
                  <a:lnTo>
                    <a:pt x="1135" y="2381"/>
                  </a:lnTo>
                  <a:lnTo>
                    <a:pt x="1122" y="2374"/>
                  </a:lnTo>
                  <a:lnTo>
                    <a:pt x="1113" y="2372"/>
                  </a:lnTo>
                  <a:lnTo>
                    <a:pt x="1102" y="2363"/>
                  </a:lnTo>
                  <a:lnTo>
                    <a:pt x="1090" y="2358"/>
                  </a:lnTo>
                  <a:lnTo>
                    <a:pt x="1082" y="2355"/>
                  </a:lnTo>
                  <a:lnTo>
                    <a:pt x="1069" y="2359"/>
                  </a:lnTo>
                  <a:lnTo>
                    <a:pt x="1062" y="2359"/>
                  </a:lnTo>
                  <a:lnTo>
                    <a:pt x="1055" y="2352"/>
                  </a:lnTo>
                  <a:lnTo>
                    <a:pt x="1055" y="2348"/>
                  </a:lnTo>
                  <a:lnTo>
                    <a:pt x="1056" y="2340"/>
                  </a:lnTo>
                  <a:lnTo>
                    <a:pt x="1055" y="2333"/>
                  </a:lnTo>
                  <a:lnTo>
                    <a:pt x="1051" y="2326"/>
                  </a:lnTo>
                  <a:lnTo>
                    <a:pt x="1042" y="2329"/>
                  </a:lnTo>
                  <a:lnTo>
                    <a:pt x="1037" y="2333"/>
                  </a:lnTo>
                  <a:lnTo>
                    <a:pt x="1036" y="2343"/>
                  </a:lnTo>
                  <a:lnTo>
                    <a:pt x="1033" y="2345"/>
                  </a:lnTo>
                  <a:lnTo>
                    <a:pt x="1029" y="2343"/>
                  </a:lnTo>
                  <a:lnTo>
                    <a:pt x="1026" y="2345"/>
                  </a:lnTo>
                  <a:lnTo>
                    <a:pt x="1026" y="2350"/>
                  </a:lnTo>
                  <a:lnTo>
                    <a:pt x="1027" y="2355"/>
                  </a:lnTo>
                  <a:lnTo>
                    <a:pt x="1037" y="2363"/>
                  </a:lnTo>
                  <a:lnTo>
                    <a:pt x="1040" y="2367"/>
                  </a:lnTo>
                  <a:lnTo>
                    <a:pt x="1050" y="2377"/>
                  </a:lnTo>
                  <a:lnTo>
                    <a:pt x="1054" y="2380"/>
                  </a:lnTo>
                  <a:lnTo>
                    <a:pt x="1062" y="2377"/>
                  </a:lnTo>
                  <a:lnTo>
                    <a:pt x="1080" y="2381"/>
                  </a:lnTo>
                  <a:lnTo>
                    <a:pt x="1091" y="2395"/>
                  </a:lnTo>
                  <a:lnTo>
                    <a:pt x="1101" y="2400"/>
                  </a:lnTo>
                  <a:lnTo>
                    <a:pt x="1102" y="2404"/>
                  </a:lnTo>
                  <a:lnTo>
                    <a:pt x="1107" y="2420"/>
                  </a:lnTo>
                  <a:lnTo>
                    <a:pt x="1113" y="2430"/>
                  </a:lnTo>
                  <a:lnTo>
                    <a:pt x="1115" y="2439"/>
                  </a:lnTo>
                  <a:lnTo>
                    <a:pt x="1118" y="2443"/>
                  </a:lnTo>
                  <a:lnTo>
                    <a:pt x="1119" y="2449"/>
                  </a:lnTo>
                  <a:lnTo>
                    <a:pt x="1116" y="2460"/>
                  </a:lnTo>
                  <a:lnTo>
                    <a:pt x="1109" y="2460"/>
                  </a:lnTo>
                  <a:lnTo>
                    <a:pt x="1102" y="2463"/>
                  </a:lnTo>
                  <a:lnTo>
                    <a:pt x="1098" y="2470"/>
                  </a:lnTo>
                  <a:lnTo>
                    <a:pt x="1091" y="2475"/>
                  </a:lnTo>
                  <a:lnTo>
                    <a:pt x="1088" y="2479"/>
                  </a:lnTo>
                  <a:lnTo>
                    <a:pt x="1093" y="2483"/>
                  </a:lnTo>
                  <a:lnTo>
                    <a:pt x="1094" y="2483"/>
                  </a:lnTo>
                  <a:lnTo>
                    <a:pt x="1097" y="2483"/>
                  </a:lnTo>
                  <a:lnTo>
                    <a:pt x="1102" y="2487"/>
                  </a:lnTo>
                  <a:lnTo>
                    <a:pt x="1105" y="2492"/>
                  </a:lnTo>
                  <a:lnTo>
                    <a:pt x="1107" y="2500"/>
                  </a:lnTo>
                  <a:lnTo>
                    <a:pt x="1107" y="2512"/>
                  </a:lnTo>
                  <a:lnTo>
                    <a:pt x="1108" y="2517"/>
                  </a:lnTo>
                  <a:lnTo>
                    <a:pt x="1109" y="2522"/>
                  </a:lnTo>
                  <a:lnTo>
                    <a:pt x="1108" y="2528"/>
                  </a:lnTo>
                  <a:lnTo>
                    <a:pt x="1107" y="2528"/>
                  </a:lnTo>
                  <a:lnTo>
                    <a:pt x="1105" y="2531"/>
                  </a:lnTo>
                  <a:lnTo>
                    <a:pt x="1104" y="2536"/>
                  </a:lnTo>
                  <a:lnTo>
                    <a:pt x="1107" y="2541"/>
                  </a:lnTo>
                  <a:lnTo>
                    <a:pt x="1105" y="2549"/>
                  </a:lnTo>
                  <a:lnTo>
                    <a:pt x="1102" y="2554"/>
                  </a:lnTo>
                  <a:lnTo>
                    <a:pt x="1104" y="2562"/>
                  </a:lnTo>
                  <a:lnTo>
                    <a:pt x="1101" y="2573"/>
                  </a:lnTo>
                  <a:lnTo>
                    <a:pt x="1100" y="2580"/>
                  </a:lnTo>
                  <a:lnTo>
                    <a:pt x="1094" y="2590"/>
                  </a:lnTo>
                  <a:lnTo>
                    <a:pt x="1094" y="2595"/>
                  </a:lnTo>
                  <a:lnTo>
                    <a:pt x="1097" y="2599"/>
                  </a:lnTo>
                  <a:lnTo>
                    <a:pt x="1096" y="2591"/>
                  </a:lnTo>
                  <a:lnTo>
                    <a:pt x="1097" y="2591"/>
                  </a:lnTo>
                  <a:lnTo>
                    <a:pt x="1098" y="2591"/>
                  </a:lnTo>
                  <a:lnTo>
                    <a:pt x="1100" y="2611"/>
                  </a:lnTo>
                  <a:lnTo>
                    <a:pt x="1104" y="2638"/>
                  </a:lnTo>
                  <a:lnTo>
                    <a:pt x="1107" y="2643"/>
                  </a:lnTo>
                  <a:lnTo>
                    <a:pt x="1115" y="2658"/>
                  </a:lnTo>
                  <a:lnTo>
                    <a:pt x="1119" y="2670"/>
                  </a:lnTo>
                  <a:lnTo>
                    <a:pt x="1122" y="2687"/>
                  </a:lnTo>
                  <a:lnTo>
                    <a:pt x="1121" y="2688"/>
                  </a:lnTo>
                  <a:lnTo>
                    <a:pt x="1116" y="2688"/>
                  </a:lnTo>
                  <a:lnTo>
                    <a:pt x="1121" y="2688"/>
                  </a:lnTo>
                  <a:lnTo>
                    <a:pt x="1121" y="2692"/>
                  </a:lnTo>
                  <a:lnTo>
                    <a:pt x="1118" y="2699"/>
                  </a:lnTo>
                  <a:lnTo>
                    <a:pt x="1113" y="2703"/>
                  </a:lnTo>
                  <a:lnTo>
                    <a:pt x="1112" y="2703"/>
                  </a:lnTo>
                  <a:lnTo>
                    <a:pt x="1112" y="2704"/>
                  </a:lnTo>
                  <a:lnTo>
                    <a:pt x="1113" y="2704"/>
                  </a:lnTo>
                  <a:lnTo>
                    <a:pt x="1112" y="2707"/>
                  </a:lnTo>
                  <a:lnTo>
                    <a:pt x="1109" y="2711"/>
                  </a:lnTo>
                  <a:lnTo>
                    <a:pt x="1105" y="2711"/>
                  </a:lnTo>
                  <a:lnTo>
                    <a:pt x="1100" y="2710"/>
                  </a:lnTo>
                  <a:lnTo>
                    <a:pt x="1096" y="2703"/>
                  </a:lnTo>
                  <a:lnTo>
                    <a:pt x="1090" y="2699"/>
                  </a:lnTo>
                  <a:lnTo>
                    <a:pt x="1083" y="2702"/>
                  </a:lnTo>
                  <a:lnTo>
                    <a:pt x="1080" y="2699"/>
                  </a:lnTo>
                  <a:lnTo>
                    <a:pt x="1075" y="2702"/>
                  </a:lnTo>
                  <a:lnTo>
                    <a:pt x="1069" y="2700"/>
                  </a:lnTo>
                  <a:lnTo>
                    <a:pt x="1070" y="2699"/>
                  </a:lnTo>
                  <a:lnTo>
                    <a:pt x="1076" y="2696"/>
                  </a:lnTo>
                  <a:lnTo>
                    <a:pt x="1077" y="2692"/>
                  </a:lnTo>
                  <a:lnTo>
                    <a:pt x="1075" y="2692"/>
                  </a:lnTo>
                  <a:lnTo>
                    <a:pt x="1077" y="2688"/>
                  </a:lnTo>
                  <a:lnTo>
                    <a:pt x="1073" y="2691"/>
                  </a:lnTo>
                  <a:lnTo>
                    <a:pt x="1073" y="2695"/>
                  </a:lnTo>
                  <a:lnTo>
                    <a:pt x="1069" y="2696"/>
                  </a:lnTo>
                  <a:lnTo>
                    <a:pt x="1068" y="2699"/>
                  </a:lnTo>
                  <a:lnTo>
                    <a:pt x="1063" y="2703"/>
                  </a:lnTo>
                  <a:lnTo>
                    <a:pt x="1058" y="2703"/>
                  </a:lnTo>
                  <a:lnTo>
                    <a:pt x="1058" y="2700"/>
                  </a:lnTo>
                  <a:lnTo>
                    <a:pt x="1056" y="2702"/>
                  </a:lnTo>
                  <a:lnTo>
                    <a:pt x="1055" y="2707"/>
                  </a:lnTo>
                  <a:lnTo>
                    <a:pt x="1051" y="2707"/>
                  </a:lnTo>
                  <a:lnTo>
                    <a:pt x="1041" y="2715"/>
                  </a:lnTo>
                  <a:lnTo>
                    <a:pt x="1041" y="2717"/>
                  </a:lnTo>
                  <a:lnTo>
                    <a:pt x="1045" y="2717"/>
                  </a:lnTo>
                  <a:lnTo>
                    <a:pt x="1038" y="2724"/>
                  </a:lnTo>
                  <a:lnTo>
                    <a:pt x="1044" y="2719"/>
                  </a:lnTo>
                  <a:lnTo>
                    <a:pt x="1048" y="2723"/>
                  </a:lnTo>
                  <a:lnTo>
                    <a:pt x="1055" y="2721"/>
                  </a:lnTo>
                  <a:lnTo>
                    <a:pt x="1061" y="2725"/>
                  </a:lnTo>
                  <a:lnTo>
                    <a:pt x="1063" y="2728"/>
                  </a:lnTo>
                  <a:lnTo>
                    <a:pt x="1062" y="2729"/>
                  </a:lnTo>
                  <a:lnTo>
                    <a:pt x="1058" y="2733"/>
                  </a:lnTo>
                  <a:lnTo>
                    <a:pt x="1063" y="2729"/>
                  </a:lnTo>
                  <a:lnTo>
                    <a:pt x="1063" y="2733"/>
                  </a:lnTo>
                  <a:lnTo>
                    <a:pt x="1066" y="2737"/>
                  </a:lnTo>
                  <a:lnTo>
                    <a:pt x="1070" y="2741"/>
                  </a:lnTo>
                  <a:lnTo>
                    <a:pt x="1079" y="2744"/>
                  </a:lnTo>
                  <a:lnTo>
                    <a:pt x="1077" y="2752"/>
                  </a:lnTo>
                  <a:lnTo>
                    <a:pt x="1072" y="2753"/>
                  </a:lnTo>
                  <a:lnTo>
                    <a:pt x="1072" y="2755"/>
                  </a:lnTo>
                  <a:lnTo>
                    <a:pt x="1073" y="2755"/>
                  </a:lnTo>
                  <a:lnTo>
                    <a:pt x="1072" y="2754"/>
                  </a:lnTo>
                  <a:lnTo>
                    <a:pt x="1077" y="2753"/>
                  </a:lnTo>
                  <a:lnTo>
                    <a:pt x="1079" y="2749"/>
                  </a:lnTo>
                  <a:lnTo>
                    <a:pt x="1080" y="2747"/>
                  </a:lnTo>
                  <a:lnTo>
                    <a:pt x="1083" y="2749"/>
                  </a:lnTo>
                  <a:lnTo>
                    <a:pt x="1087" y="2747"/>
                  </a:lnTo>
                  <a:lnTo>
                    <a:pt x="1090" y="2747"/>
                  </a:lnTo>
                  <a:lnTo>
                    <a:pt x="1091" y="2748"/>
                  </a:lnTo>
                  <a:lnTo>
                    <a:pt x="1090" y="2750"/>
                  </a:lnTo>
                  <a:lnTo>
                    <a:pt x="1083" y="2754"/>
                  </a:lnTo>
                  <a:lnTo>
                    <a:pt x="1080" y="2760"/>
                  </a:lnTo>
                  <a:lnTo>
                    <a:pt x="1082" y="2764"/>
                  </a:lnTo>
                  <a:lnTo>
                    <a:pt x="1079" y="2770"/>
                  </a:lnTo>
                  <a:lnTo>
                    <a:pt x="1077" y="2772"/>
                  </a:lnTo>
                  <a:lnTo>
                    <a:pt x="1077" y="2774"/>
                  </a:lnTo>
                  <a:lnTo>
                    <a:pt x="1079" y="2772"/>
                  </a:lnTo>
                  <a:lnTo>
                    <a:pt x="1082" y="2770"/>
                  </a:lnTo>
                  <a:lnTo>
                    <a:pt x="1083" y="2762"/>
                  </a:lnTo>
                  <a:lnTo>
                    <a:pt x="1086" y="2758"/>
                  </a:lnTo>
                  <a:lnTo>
                    <a:pt x="1088" y="2755"/>
                  </a:lnTo>
                  <a:lnTo>
                    <a:pt x="1088" y="2760"/>
                  </a:lnTo>
                  <a:lnTo>
                    <a:pt x="1087" y="2767"/>
                  </a:lnTo>
                  <a:lnTo>
                    <a:pt x="1086" y="2766"/>
                  </a:lnTo>
                  <a:lnTo>
                    <a:pt x="1084" y="2769"/>
                  </a:lnTo>
                  <a:lnTo>
                    <a:pt x="1084" y="2772"/>
                  </a:lnTo>
                  <a:lnTo>
                    <a:pt x="1082" y="2774"/>
                  </a:lnTo>
                  <a:lnTo>
                    <a:pt x="1080" y="2780"/>
                  </a:lnTo>
                  <a:lnTo>
                    <a:pt x="1077" y="2782"/>
                  </a:lnTo>
                  <a:lnTo>
                    <a:pt x="1076" y="2786"/>
                  </a:lnTo>
                  <a:lnTo>
                    <a:pt x="1075" y="2786"/>
                  </a:lnTo>
                  <a:lnTo>
                    <a:pt x="1075" y="2790"/>
                  </a:lnTo>
                  <a:lnTo>
                    <a:pt x="1072" y="2794"/>
                  </a:lnTo>
                  <a:lnTo>
                    <a:pt x="1073" y="2794"/>
                  </a:lnTo>
                  <a:lnTo>
                    <a:pt x="1072" y="2797"/>
                  </a:lnTo>
                  <a:lnTo>
                    <a:pt x="1070" y="2798"/>
                  </a:lnTo>
                  <a:lnTo>
                    <a:pt x="1069" y="2799"/>
                  </a:lnTo>
                  <a:lnTo>
                    <a:pt x="1069" y="2800"/>
                  </a:lnTo>
                  <a:lnTo>
                    <a:pt x="1070" y="2800"/>
                  </a:lnTo>
                  <a:lnTo>
                    <a:pt x="1066" y="2817"/>
                  </a:lnTo>
                  <a:lnTo>
                    <a:pt x="1063" y="2819"/>
                  </a:lnTo>
                  <a:lnTo>
                    <a:pt x="1056" y="2822"/>
                  </a:lnTo>
                  <a:lnTo>
                    <a:pt x="1052" y="2827"/>
                  </a:lnTo>
                  <a:lnTo>
                    <a:pt x="1047" y="2829"/>
                  </a:lnTo>
                  <a:lnTo>
                    <a:pt x="1047" y="2831"/>
                  </a:lnTo>
                  <a:lnTo>
                    <a:pt x="1044" y="2831"/>
                  </a:lnTo>
                  <a:lnTo>
                    <a:pt x="1041" y="2837"/>
                  </a:lnTo>
                  <a:lnTo>
                    <a:pt x="1037" y="2840"/>
                  </a:lnTo>
                  <a:lnTo>
                    <a:pt x="1036" y="2840"/>
                  </a:lnTo>
                  <a:lnTo>
                    <a:pt x="1034" y="2837"/>
                  </a:lnTo>
                  <a:lnTo>
                    <a:pt x="1031" y="2835"/>
                  </a:lnTo>
                  <a:lnTo>
                    <a:pt x="1027" y="2840"/>
                  </a:lnTo>
                  <a:lnTo>
                    <a:pt x="1023" y="2840"/>
                  </a:lnTo>
                  <a:lnTo>
                    <a:pt x="1019" y="2835"/>
                  </a:lnTo>
                  <a:lnTo>
                    <a:pt x="1020" y="2840"/>
                  </a:lnTo>
                  <a:lnTo>
                    <a:pt x="1023" y="2842"/>
                  </a:lnTo>
                  <a:lnTo>
                    <a:pt x="1026" y="2842"/>
                  </a:lnTo>
                  <a:lnTo>
                    <a:pt x="1030" y="2841"/>
                  </a:lnTo>
                  <a:lnTo>
                    <a:pt x="1034" y="2844"/>
                  </a:lnTo>
                  <a:lnTo>
                    <a:pt x="1036" y="2845"/>
                  </a:lnTo>
                  <a:lnTo>
                    <a:pt x="1033" y="2847"/>
                  </a:lnTo>
                  <a:lnTo>
                    <a:pt x="1033" y="2849"/>
                  </a:lnTo>
                  <a:lnTo>
                    <a:pt x="1036" y="2848"/>
                  </a:lnTo>
                  <a:lnTo>
                    <a:pt x="1040" y="2852"/>
                  </a:lnTo>
                  <a:lnTo>
                    <a:pt x="1042" y="2847"/>
                  </a:lnTo>
                  <a:lnTo>
                    <a:pt x="1050" y="2844"/>
                  </a:lnTo>
                  <a:lnTo>
                    <a:pt x="1055" y="2849"/>
                  </a:lnTo>
                  <a:lnTo>
                    <a:pt x="1055" y="2860"/>
                  </a:lnTo>
                  <a:lnTo>
                    <a:pt x="1056" y="2857"/>
                  </a:lnTo>
                  <a:lnTo>
                    <a:pt x="1058" y="2861"/>
                  </a:lnTo>
                  <a:lnTo>
                    <a:pt x="1056" y="2861"/>
                  </a:lnTo>
                  <a:lnTo>
                    <a:pt x="1056" y="2865"/>
                  </a:lnTo>
                  <a:lnTo>
                    <a:pt x="1061" y="2872"/>
                  </a:lnTo>
                  <a:lnTo>
                    <a:pt x="1062" y="2876"/>
                  </a:lnTo>
                  <a:lnTo>
                    <a:pt x="1059" y="2878"/>
                  </a:lnTo>
                  <a:lnTo>
                    <a:pt x="1058" y="2876"/>
                  </a:lnTo>
                  <a:lnTo>
                    <a:pt x="1055" y="2876"/>
                  </a:lnTo>
                  <a:lnTo>
                    <a:pt x="1050" y="2879"/>
                  </a:lnTo>
                  <a:lnTo>
                    <a:pt x="1047" y="2884"/>
                  </a:lnTo>
                  <a:lnTo>
                    <a:pt x="1042" y="2879"/>
                  </a:lnTo>
                  <a:lnTo>
                    <a:pt x="1047" y="2882"/>
                  </a:lnTo>
                  <a:lnTo>
                    <a:pt x="1047" y="2879"/>
                  </a:lnTo>
                  <a:lnTo>
                    <a:pt x="1045" y="2878"/>
                  </a:lnTo>
                  <a:lnTo>
                    <a:pt x="1045" y="2879"/>
                  </a:lnTo>
                  <a:lnTo>
                    <a:pt x="1044" y="2878"/>
                  </a:lnTo>
                  <a:lnTo>
                    <a:pt x="1041" y="2878"/>
                  </a:lnTo>
                  <a:lnTo>
                    <a:pt x="1041" y="2879"/>
                  </a:lnTo>
                  <a:lnTo>
                    <a:pt x="1042" y="2884"/>
                  </a:lnTo>
                  <a:lnTo>
                    <a:pt x="1041" y="2887"/>
                  </a:lnTo>
                  <a:lnTo>
                    <a:pt x="1037" y="2889"/>
                  </a:lnTo>
                  <a:lnTo>
                    <a:pt x="1036" y="2891"/>
                  </a:lnTo>
                  <a:lnTo>
                    <a:pt x="1033" y="2893"/>
                  </a:lnTo>
                  <a:lnTo>
                    <a:pt x="1030" y="2894"/>
                  </a:lnTo>
                  <a:lnTo>
                    <a:pt x="1030" y="2897"/>
                  </a:lnTo>
                  <a:lnTo>
                    <a:pt x="1027" y="2894"/>
                  </a:lnTo>
                  <a:lnTo>
                    <a:pt x="1026" y="2894"/>
                  </a:lnTo>
                  <a:lnTo>
                    <a:pt x="1030" y="2887"/>
                  </a:lnTo>
                  <a:lnTo>
                    <a:pt x="1026" y="2886"/>
                  </a:lnTo>
                  <a:lnTo>
                    <a:pt x="1023" y="2891"/>
                  </a:lnTo>
                  <a:lnTo>
                    <a:pt x="1016" y="2894"/>
                  </a:lnTo>
                  <a:lnTo>
                    <a:pt x="1013" y="2897"/>
                  </a:lnTo>
                  <a:lnTo>
                    <a:pt x="1012" y="2898"/>
                  </a:lnTo>
                  <a:lnTo>
                    <a:pt x="1015" y="2898"/>
                  </a:lnTo>
                  <a:lnTo>
                    <a:pt x="1019" y="2894"/>
                  </a:lnTo>
                  <a:lnTo>
                    <a:pt x="1022" y="2894"/>
                  </a:lnTo>
                  <a:lnTo>
                    <a:pt x="1023" y="2902"/>
                  </a:lnTo>
                  <a:lnTo>
                    <a:pt x="1022" y="2911"/>
                  </a:lnTo>
                  <a:lnTo>
                    <a:pt x="1025" y="2915"/>
                  </a:lnTo>
                  <a:lnTo>
                    <a:pt x="1027" y="2914"/>
                  </a:lnTo>
                  <a:lnTo>
                    <a:pt x="1026" y="2909"/>
                  </a:lnTo>
                  <a:lnTo>
                    <a:pt x="1029" y="2906"/>
                  </a:lnTo>
                  <a:lnTo>
                    <a:pt x="1034" y="2911"/>
                  </a:lnTo>
                  <a:lnTo>
                    <a:pt x="1034" y="2914"/>
                  </a:lnTo>
                  <a:lnTo>
                    <a:pt x="1036" y="2915"/>
                  </a:lnTo>
                  <a:lnTo>
                    <a:pt x="1036" y="2916"/>
                  </a:lnTo>
                  <a:lnTo>
                    <a:pt x="1037" y="2915"/>
                  </a:lnTo>
                  <a:lnTo>
                    <a:pt x="1038" y="2923"/>
                  </a:lnTo>
                  <a:lnTo>
                    <a:pt x="1033" y="2928"/>
                  </a:lnTo>
                  <a:lnTo>
                    <a:pt x="1034" y="2932"/>
                  </a:lnTo>
                  <a:lnTo>
                    <a:pt x="1037" y="2928"/>
                  </a:lnTo>
                  <a:lnTo>
                    <a:pt x="1041" y="2928"/>
                  </a:lnTo>
                  <a:lnTo>
                    <a:pt x="1044" y="2932"/>
                  </a:lnTo>
                  <a:lnTo>
                    <a:pt x="1047" y="2934"/>
                  </a:lnTo>
                  <a:lnTo>
                    <a:pt x="1044" y="2931"/>
                  </a:lnTo>
                  <a:lnTo>
                    <a:pt x="1051" y="2924"/>
                  </a:lnTo>
                  <a:lnTo>
                    <a:pt x="1056" y="2920"/>
                  </a:lnTo>
                  <a:lnTo>
                    <a:pt x="1061" y="2924"/>
                  </a:lnTo>
                  <a:lnTo>
                    <a:pt x="1065" y="2928"/>
                  </a:lnTo>
                  <a:lnTo>
                    <a:pt x="1063" y="2928"/>
                  </a:lnTo>
                  <a:lnTo>
                    <a:pt x="1065" y="2932"/>
                  </a:lnTo>
                  <a:lnTo>
                    <a:pt x="1066" y="2938"/>
                  </a:lnTo>
                  <a:lnTo>
                    <a:pt x="1066" y="2941"/>
                  </a:lnTo>
                  <a:lnTo>
                    <a:pt x="1068" y="2941"/>
                  </a:lnTo>
                  <a:lnTo>
                    <a:pt x="1072" y="2953"/>
                  </a:lnTo>
                  <a:lnTo>
                    <a:pt x="1061" y="2973"/>
                  </a:lnTo>
                  <a:lnTo>
                    <a:pt x="1058" y="2977"/>
                  </a:lnTo>
                  <a:lnTo>
                    <a:pt x="1051" y="2980"/>
                  </a:lnTo>
                  <a:lnTo>
                    <a:pt x="1048" y="2981"/>
                  </a:lnTo>
                  <a:lnTo>
                    <a:pt x="1048" y="2985"/>
                  </a:lnTo>
                  <a:lnTo>
                    <a:pt x="1047" y="2988"/>
                  </a:lnTo>
                  <a:lnTo>
                    <a:pt x="1045" y="2988"/>
                  </a:lnTo>
                  <a:lnTo>
                    <a:pt x="1041" y="2985"/>
                  </a:lnTo>
                  <a:lnTo>
                    <a:pt x="1037" y="2984"/>
                  </a:lnTo>
                  <a:lnTo>
                    <a:pt x="1029" y="2986"/>
                  </a:lnTo>
                  <a:lnTo>
                    <a:pt x="1027" y="2988"/>
                  </a:lnTo>
                  <a:lnTo>
                    <a:pt x="1029" y="2988"/>
                  </a:lnTo>
                  <a:lnTo>
                    <a:pt x="1034" y="2988"/>
                  </a:lnTo>
                  <a:lnTo>
                    <a:pt x="1036" y="2988"/>
                  </a:lnTo>
                  <a:lnTo>
                    <a:pt x="1036" y="2990"/>
                  </a:lnTo>
                  <a:lnTo>
                    <a:pt x="1031" y="2994"/>
                  </a:lnTo>
                  <a:lnTo>
                    <a:pt x="1031" y="3009"/>
                  </a:lnTo>
                  <a:lnTo>
                    <a:pt x="1027" y="3014"/>
                  </a:lnTo>
                  <a:lnTo>
                    <a:pt x="1027" y="3022"/>
                  </a:lnTo>
                  <a:lnTo>
                    <a:pt x="1031" y="3031"/>
                  </a:lnTo>
                  <a:lnTo>
                    <a:pt x="1033" y="3040"/>
                  </a:lnTo>
                  <a:lnTo>
                    <a:pt x="1034" y="3044"/>
                  </a:lnTo>
                  <a:lnTo>
                    <a:pt x="1041" y="3050"/>
                  </a:lnTo>
                  <a:lnTo>
                    <a:pt x="1045" y="3063"/>
                  </a:lnTo>
                  <a:lnTo>
                    <a:pt x="1042" y="3048"/>
                  </a:lnTo>
                  <a:lnTo>
                    <a:pt x="1036" y="3040"/>
                  </a:lnTo>
                  <a:lnTo>
                    <a:pt x="1037" y="3031"/>
                  </a:lnTo>
                  <a:lnTo>
                    <a:pt x="1042" y="3030"/>
                  </a:lnTo>
                  <a:lnTo>
                    <a:pt x="1044" y="3032"/>
                  </a:lnTo>
                  <a:lnTo>
                    <a:pt x="1045" y="3031"/>
                  </a:lnTo>
                  <a:lnTo>
                    <a:pt x="1044" y="3028"/>
                  </a:lnTo>
                  <a:lnTo>
                    <a:pt x="1038" y="3028"/>
                  </a:lnTo>
                  <a:lnTo>
                    <a:pt x="1036" y="3026"/>
                  </a:lnTo>
                  <a:lnTo>
                    <a:pt x="1042" y="3013"/>
                  </a:lnTo>
                  <a:lnTo>
                    <a:pt x="1042" y="3010"/>
                  </a:lnTo>
                  <a:lnTo>
                    <a:pt x="1040" y="3005"/>
                  </a:lnTo>
                  <a:lnTo>
                    <a:pt x="1040" y="3002"/>
                  </a:lnTo>
                  <a:lnTo>
                    <a:pt x="1041" y="2999"/>
                  </a:lnTo>
                  <a:lnTo>
                    <a:pt x="1042" y="2999"/>
                  </a:lnTo>
                  <a:lnTo>
                    <a:pt x="1047" y="3005"/>
                  </a:lnTo>
                  <a:lnTo>
                    <a:pt x="1052" y="3007"/>
                  </a:lnTo>
                  <a:lnTo>
                    <a:pt x="1051" y="3005"/>
                  </a:lnTo>
                  <a:lnTo>
                    <a:pt x="1047" y="3002"/>
                  </a:lnTo>
                  <a:lnTo>
                    <a:pt x="1044" y="2991"/>
                  </a:lnTo>
                  <a:lnTo>
                    <a:pt x="1045" y="2991"/>
                  </a:lnTo>
                  <a:lnTo>
                    <a:pt x="1054" y="2995"/>
                  </a:lnTo>
                  <a:lnTo>
                    <a:pt x="1056" y="2998"/>
                  </a:lnTo>
                  <a:lnTo>
                    <a:pt x="1058" y="3003"/>
                  </a:lnTo>
                  <a:lnTo>
                    <a:pt x="1062" y="3003"/>
                  </a:lnTo>
                  <a:lnTo>
                    <a:pt x="1059" y="2999"/>
                  </a:lnTo>
                  <a:lnTo>
                    <a:pt x="1063" y="2991"/>
                  </a:lnTo>
                  <a:lnTo>
                    <a:pt x="1073" y="2991"/>
                  </a:lnTo>
                  <a:lnTo>
                    <a:pt x="1088" y="2985"/>
                  </a:lnTo>
                  <a:lnTo>
                    <a:pt x="1093" y="2988"/>
                  </a:lnTo>
                  <a:lnTo>
                    <a:pt x="1096" y="2991"/>
                  </a:lnTo>
                  <a:lnTo>
                    <a:pt x="1098" y="2995"/>
                  </a:lnTo>
                  <a:lnTo>
                    <a:pt x="1098" y="3002"/>
                  </a:lnTo>
                  <a:lnTo>
                    <a:pt x="1097" y="3006"/>
                  </a:lnTo>
                  <a:lnTo>
                    <a:pt x="1090" y="3007"/>
                  </a:lnTo>
                  <a:lnTo>
                    <a:pt x="1087" y="3010"/>
                  </a:lnTo>
                  <a:lnTo>
                    <a:pt x="1091" y="3009"/>
                  </a:lnTo>
                  <a:lnTo>
                    <a:pt x="1097" y="3011"/>
                  </a:lnTo>
                  <a:lnTo>
                    <a:pt x="1101" y="3013"/>
                  </a:lnTo>
                  <a:lnTo>
                    <a:pt x="1102" y="3016"/>
                  </a:lnTo>
                  <a:lnTo>
                    <a:pt x="1104" y="3014"/>
                  </a:lnTo>
                  <a:lnTo>
                    <a:pt x="1109" y="3014"/>
                  </a:lnTo>
                  <a:lnTo>
                    <a:pt x="1116" y="3018"/>
                  </a:lnTo>
                  <a:lnTo>
                    <a:pt x="1116" y="3022"/>
                  </a:lnTo>
                  <a:lnTo>
                    <a:pt x="1125" y="3026"/>
                  </a:lnTo>
                  <a:lnTo>
                    <a:pt x="1127" y="3028"/>
                  </a:lnTo>
                  <a:lnTo>
                    <a:pt x="1129" y="3036"/>
                  </a:lnTo>
                  <a:lnTo>
                    <a:pt x="1125" y="3035"/>
                  </a:lnTo>
                  <a:lnTo>
                    <a:pt x="1123" y="3036"/>
                  </a:lnTo>
                  <a:lnTo>
                    <a:pt x="1125" y="3039"/>
                  </a:lnTo>
                  <a:lnTo>
                    <a:pt x="1127" y="3040"/>
                  </a:lnTo>
                  <a:lnTo>
                    <a:pt x="1130" y="3044"/>
                  </a:lnTo>
                  <a:lnTo>
                    <a:pt x="1133" y="3040"/>
                  </a:lnTo>
                  <a:lnTo>
                    <a:pt x="1137" y="3040"/>
                  </a:lnTo>
                  <a:lnTo>
                    <a:pt x="1139" y="3040"/>
                  </a:lnTo>
                  <a:lnTo>
                    <a:pt x="1139" y="3043"/>
                  </a:lnTo>
                  <a:lnTo>
                    <a:pt x="1143" y="3043"/>
                  </a:lnTo>
                  <a:lnTo>
                    <a:pt x="1144" y="3043"/>
                  </a:lnTo>
                  <a:lnTo>
                    <a:pt x="1162" y="3069"/>
                  </a:lnTo>
                  <a:lnTo>
                    <a:pt x="1168" y="3075"/>
                  </a:lnTo>
                  <a:lnTo>
                    <a:pt x="1177" y="3082"/>
                  </a:lnTo>
                  <a:lnTo>
                    <a:pt x="1177" y="3085"/>
                  </a:lnTo>
                  <a:lnTo>
                    <a:pt x="1172" y="3084"/>
                  </a:lnTo>
                  <a:lnTo>
                    <a:pt x="1166" y="3089"/>
                  </a:lnTo>
                  <a:lnTo>
                    <a:pt x="1164" y="3088"/>
                  </a:lnTo>
                  <a:lnTo>
                    <a:pt x="1161" y="3084"/>
                  </a:lnTo>
                  <a:lnTo>
                    <a:pt x="1160" y="3085"/>
                  </a:lnTo>
                  <a:lnTo>
                    <a:pt x="1164" y="3089"/>
                  </a:lnTo>
                  <a:lnTo>
                    <a:pt x="1169" y="3089"/>
                  </a:lnTo>
                  <a:lnTo>
                    <a:pt x="1173" y="3088"/>
                  </a:lnTo>
                  <a:lnTo>
                    <a:pt x="1177" y="3089"/>
                  </a:lnTo>
                  <a:lnTo>
                    <a:pt x="1176" y="3102"/>
                  </a:lnTo>
                  <a:lnTo>
                    <a:pt x="1175" y="3102"/>
                  </a:lnTo>
                  <a:lnTo>
                    <a:pt x="1172" y="3098"/>
                  </a:lnTo>
                  <a:lnTo>
                    <a:pt x="1166" y="3093"/>
                  </a:lnTo>
                  <a:lnTo>
                    <a:pt x="1171" y="3101"/>
                  </a:lnTo>
                  <a:lnTo>
                    <a:pt x="1173" y="3105"/>
                  </a:lnTo>
                  <a:lnTo>
                    <a:pt x="1175" y="3105"/>
                  </a:lnTo>
                  <a:lnTo>
                    <a:pt x="1176" y="3110"/>
                  </a:lnTo>
                  <a:lnTo>
                    <a:pt x="1175" y="3111"/>
                  </a:lnTo>
                  <a:lnTo>
                    <a:pt x="1172" y="3114"/>
                  </a:lnTo>
                  <a:lnTo>
                    <a:pt x="1165" y="3115"/>
                  </a:lnTo>
                  <a:lnTo>
                    <a:pt x="1154" y="3114"/>
                  </a:lnTo>
                  <a:lnTo>
                    <a:pt x="1155" y="3115"/>
                  </a:lnTo>
                  <a:lnTo>
                    <a:pt x="1155" y="3118"/>
                  </a:lnTo>
                  <a:lnTo>
                    <a:pt x="1148" y="3119"/>
                  </a:lnTo>
                  <a:lnTo>
                    <a:pt x="1154" y="3120"/>
                  </a:lnTo>
                  <a:lnTo>
                    <a:pt x="1151" y="3123"/>
                  </a:lnTo>
                  <a:lnTo>
                    <a:pt x="1147" y="3126"/>
                  </a:lnTo>
                  <a:lnTo>
                    <a:pt x="1133" y="3126"/>
                  </a:lnTo>
                  <a:lnTo>
                    <a:pt x="1135" y="3127"/>
                  </a:lnTo>
                  <a:lnTo>
                    <a:pt x="1144" y="3130"/>
                  </a:lnTo>
                  <a:lnTo>
                    <a:pt x="1161" y="3123"/>
                  </a:lnTo>
                  <a:lnTo>
                    <a:pt x="1168" y="3119"/>
                  </a:lnTo>
                  <a:lnTo>
                    <a:pt x="1175" y="3119"/>
                  </a:lnTo>
                  <a:lnTo>
                    <a:pt x="1177" y="3120"/>
                  </a:lnTo>
                  <a:lnTo>
                    <a:pt x="1177" y="3123"/>
                  </a:lnTo>
                  <a:lnTo>
                    <a:pt x="1182" y="3126"/>
                  </a:lnTo>
                  <a:lnTo>
                    <a:pt x="1179" y="3134"/>
                  </a:lnTo>
                  <a:lnTo>
                    <a:pt x="1180" y="3138"/>
                  </a:lnTo>
                  <a:lnTo>
                    <a:pt x="1182" y="3142"/>
                  </a:lnTo>
                  <a:lnTo>
                    <a:pt x="1182" y="3137"/>
                  </a:lnTo>
                  <a:lnTo>
                    <a:pt x="1186" y="3123"/>
                  </a:lnTo>
                  <a:lnTo>
                    <a:pt x="1185" y="3122"/>
                  </a:lnTo>
                  <a:lnTo>
                    <a:pt x="1182" y="3120"/>
                  </a:lnTo>
                  <a:lnTo>
                    <a:pt x="1182" y="3118"/>
                  </a:lnTo>
                  <a:lnTo>
                    <a:pt x="1187" y="3111"/>
                  </a:lnTo>
                  <a:lnTo>
                    <a:pt x="1190" y="3110"/>
                  </a:lnTo>
                  <a:lnTo>
                    <a:pt x="1198" y="3103"/>
                  </a:lnTo>
                  <a:lnTo>
                    <a:pt x="1210" y="3093"/>
                  </a:lnTo>
                  <a:lnTo>
                    <a:pt x="1214" y="3093"/>
                  </a:lnTo>
                  <a:lnTo>
                    <a:pt x="1221" y="3097"/>
                  </a:lnTo>
                  <a:lnTo>
                    <a:pt x="1222" y="3102"/>
                  </a:lnTo>
                  <a:lnTo>
                    <a:pt x="1222" y="3106"/>
                  </a:lnTo>
                  <a:lnTo>
                    <a:pt x="1216" y="3115"/>
                  </a:lnTo>
                  <a:lnTo>
                    <a:pt x="1211" y="3120"/>
                  </a:lnTo>
                  <a:lnTo>
                    <a:pt x="1202" y="3123"/>
                  </a:lnTo>
                  <a:lnTo>
                    <a:pt x="1197" y="3130"/>
                  </a:lnTo>
                  <a:lnTo>
                    <a:pt x="1196" y="3138"/>
                  </a:lnTo>
                  <a:lnTo>
                    <a:pt x="1198" y="3142"/>
                  </a:lnTo>
                  <a:lnTo>
                    <a:pt x="1205" y="3145"/>
                  </a:lnTo>
                  <a:lnTo>
                    <a:pt x="1211" y="3163"/>
                  </a:lnTo>
                  <a:lnTo>
                    <a:pt x="1210" y="3164"/>
                  </a:lnTo>
                  <a:lnTo>
                    <a:pt x="1205" y="3168"/>
                  </a:lnTo>
                  <a:lnTo>
                    <a:pt x="1202" y="3170"/>
                  </a:lnTo>
                  <a:lnTo>
                    <a:pt x="1197" y="3173"/>
                  </a:lnTo>
                  <a:lnTo>
                    <a:pt x="1196" y="3176"/>
                  </a:lnTo>
                  <a:lnTo>
                    <a:pt x="1197" y="3179"/>
                  </a:lnTo>
                  <a:lnTo>
                    <a:pt x="1198" y="3179"/>
                  </a:lnTo>
                  <a:lnTo>
                    <a:pt x="1198" y="3176"/>
                  </a:lnTo>
                  <a:lnTo>
                    <a:pt x="1204" y="3172"/>
                  </a:lnTo>
                  <a:lnTo>
                    <a:pt x="1212" y="3168"/>
                  </a:lnTo>
                  <a:lnTo>
                    <a:pt x="1215" y="3160"/>
                  </a:lnTo>
                  <a:lnTo>
                    <a:pt x="1215" y="3156"/>
                  </a:lnTo>
                  <a:lnTo>
                    <a:pt x="1212" y="3152"/>
                  </a:lnTo>
                  <a:lnTo>
                    <a:pt x="1214" y="3142"/>
                  </a:lnTo>
                  <a:lnTo>
                    <a:pt x="1210" y="3137"/>
                  </a:lnTo>
                  <a:lnTo>
                    <a:pt x="1214" y="3132"/>
                  </a:lnTo>
                  <a:lnTo>
                    <a:pt x="1224" y="3128"/>
                  </a:lnTo>
                  <a:lnTo>
                    <a:pt x="1229" y="3128"/>
                  </a:lnTo>
                  <a:lnTo>
                    <a:pt x="1240" y="3125"/>
                  </a:lnTo>
                  <a:lnTo>
                    <a:pt x="1240" y="3127"/>
                  </a:lnTo>
                  <a:lnTo>
                    <a:pt x="1239" y="3130"/>
                  </a:lnTo>
                  <a:lnTo>
                    <a:pt x="1237" y="3138"/>
                  </a:lnTo>
                  <a:lnTo>
                    <a:pt x="1240" y="3145"/>
                  </a:lnTo>
                  <a:lnTo>
                    <a:pt x="1243" y="3147"/>
                  </a:lnTo>
                  <a:lnTo>
                    <a:pt x="1252" y="3142"/>
                  </a:lnTo>
                  <a:lnTo>
                    <a:pt x="1254" y="3142"/>
                  </a:lnTo>
                  <a:lnTo>
                    <a:pt x="1261" y="3152"/>
                  </a:lnTo>
                  <a:lnTo>
                    <a:pt x="1261" y="3150"/>
                  </a:lnTo>
                  <a:lnTo>
                    <a:pt x="1260" y="3142"/>
                  </a:lnTo>
                  <a:lnTo>
                    <a:pt x="1257" y="3138"/>
                  </a:lnTo>
                  <a:lnTo>
                    <a:pt x="1250" y="3138"/>
                  </a:lnTo>
                  <a:lnTo>
                    <a:pt x="1243" y="3144"/>
                  </a:lnTo>
                  <a:lnTo>
                    <a:pt x="1240" y="3144"/>
                  </a:lnTo>
                  <a:lnTo>
                    <a:pt x="1239" y="3142"/>
                  </a:lnTo>
                  <a:lnTo>
                    <a:pt x="1239" y="3138"/>
                  </a:lnTo>
                  <a:lnTo>
                    <a:pt x="1244" y="3126"/>
                  </a:lnTo>
                  <a:lnTo>
                    <a:pt x="1250" y="3125"/>
                  </a:lnTo>
                  <a:lnTo>
                    <a:pt x="1258" y="3127"/>
                  </a:lnTo>
                  <a:lnTo>
                    <a:pt x="1260" y="3130"/>
                  </a:lnTo>
                  <a:lnTo>
                    <a:pt x="1266" y="3130"/>
                  </a:lnTo>
                  <a:lnTo>
                    <a:pt x="1272" y="3137"/>
                  </a:lnTo>
                  <a:lnTo>
                    <a:pt x="1276" y="3138"/>
                  </a:lnTo>
                  <a:lnTo>
                    <a:pt x="1276" y="3134"/>
                  </a:lnTo>
                  <a:lnTo>
                    <a:pt x="1280" y="3138"/>
                  </a:lnTo>
                  <a:lnTo>
                    <a:pt x="1289" y="3151"/>
                  </a:lnTo>
                  <a:lnTo>
                    <a:pt x="1287" y="3159"/>
                  </a:lnTo>
                  <a:lnTo>
                    <a:pt x="1291" y="3155"/>
                  </a:lnTo>
                  <a:lnTo>
                    <a:pt x="1291" y="3147"/>
                  </a:lnTo>
                  <a:lnTo>
                    <a:pt x="1294" y="3145"/>
                  </a:lnTo>
                  <a:lnTo>
                    <a:pt x="1296" y="3156"/>
                  </a:lnTo>
                  <a:lnTo>
                    <a:pt x="1300" y="3164"/>
                  </a:lnTo>
                  <a:lnTo>
                    <a:pt x="1304" y="3176"/>
                  </a:lnTo>
                  <a:lnTo>
                    <a:pt x="1304" y="3179"/>
                  </a:lnTo>
                  <a:lnTo>
                    <a:pt x="1299" y="3182"/>
                  </a:lnTo>
                  <a:lnTo>
                    <a:pt x="1291" y="3179"/>
                  </a:lnTo>
                  <a:lnTo>
                    <a:pt x="1286" y="3181"/>
                  </a:lnTo>
                  <a:lnTo>
                    <a:pt x="1275" y="3189"/>
                  </a:lnTo>
                  <a:lnTo>
                    <a:pt x="1272" y="3187"/>
                  </a:lnTo>
                  <a:lnTo>
                    <a:pt x="1271" y="3182"/>
                  </a:lnTo>
                  <a:lnTo>
                    <a:pt x="1266" y="3182"/>
                  </a:lnTo>
                  <a:lnTo>
                    <a:pt x="1268" y="3182"/>
                  </a:lnTo>
                  <a:lnTo>
                    <a:pt x="1271" y="3189"/>
                  </a:lnTo>
                  <a:lnTo>
                    <a:pt x="1275" y="3192"/>
                  </a:lnTo>
                  <a:lnTo>
                    <a:pt x="1277" y="3190"/>
                  </a:lnTo>
                  <a:lnTo>
                    <a:pt x="1283" y="3187"/>
                  </a:lnTo>
                  <a:lnTo>
                    <a:pt x="1289" y="3182"/>
                  </a:lnTo>
                  <a:lnTo>
                    <a:pt x="1296" y="3187"/>
                  </a:lnTo>
                  <a:lnTo>
                    <a:pt x="1296" y="3189"/>
                  </a:lnTo>
                  <a:lnTo>
                    <a:pt x="1300" y="3189"/>
                  </a:lnTo>
                  <a:lnTo>
                    <a:pt x="1304" y="3187"/>
                  </a:lnTo>
                  <a:lnTo>
                    <a:pt x="1308" y="3192"/>
                  </a:lnTo>
                  <a:lnTo>
                    <a:pt x="1308" y="3193"/>
                  </a:lnTo>
                  <a:lnTo>
                    <a:pt x="1304" y="3196"/>
                  </a:lnTo>
                  <a:lnTo>
                    <a:pt x="1305" y="3196"/>
                  </a:lnTo>
                  <a:lnTo>
                    <a:pt x="1308" y="3196"/>
                  </a:lnTo>
                  <a:lnTo>
                    <a:pt x="1311" y="3193"/>
                  </a:lnTo>
                  <a:lnTo>
                    <a:pt x="1311" y="3189"/>
                  </a:lnTo>
                  <a:lnTo>
                    <a:pt x="1308" y="3185"/>
                  </a:lnTo>
                  <a:lnTo>
                    <a:pt x="1310" y="3185"/>
                  </a:lnTo>
                  <a:lnTo>
                    <a:pt x="1311" y="3187"/>
                  </a:lnTo>
                  <a:lnTo>
                    <a:pt x="1318" y="3201"/>
                  </a:lnTo>
                  <a:lnTo>
                    <a:pt x="1319" y="3209"/>
                  </a:lnTo>
                  <a:lnTo>
                    <a:pt x="1315" y="3213"/>
                  </a:lnTo>
                  <a:lnTo>
                    <a:pt x="1314" y="3212"/>
                  </a:lnTo>
                  <a:lnTo>
                    <a:pt x="1312" y="3209"/>
                  </a:lnTo>
                  <a:lnTo>
                    <a:pt x="1310" y="3207"/>
                  </a:lnTo>
                  <a:lnTo>
                    <a:pt x="1308" y="3209"/>
                  </a:lnTo>
                  <a:lnTo>
                    <a:pt x="1302" y="3209"/>
                  </a:lnTo>
                  <a:lnTo>
                    <a:pt x="1297" y="3212"/>
                  </a:lnTo>
                  <a:lnTo>
                    <a:pt x="1289" y="3212"/>
                  </a:lnTo>
                  <a:lnTo>
                    <a:pt x="1283" y="3215"/>
                  </a:lnTo>
                  <a:lnTo>
                    <a:pt x="1279" y="3222"/>
                  </a:lnTo>
                  <a:lnTo>
                    <a:pt x="1272" y="3224"/>
                  </a:lnTo>
                  <a:lnTo>
                    <a:pt x="1269" y="3226"/>
                  </a:lnTo>
                  <a:lnTo>
                    <a:pt x="1279" y="3226"/>
                  </a:lnTo>
                  <a:lnTo>
                    <a:pt x="1282" y="3224"/>
                  </a:lnTo>
                  <a:lnTo>
                    <a:pt x="1287" y="3218"/>
                  </a:lnTo>
                  <a:lnTo>
                    <a:pt x="1301" y="3217"/>
                  </a:lnTo>
                  <a:lnTo>
                    <a:pt x="1301" y="3218"/>
                  </a:lnTo>
                  <a:lnTo>
                    <a:pt x="1301" y="3224"/>
                  </a:lnTo>
                  <a:lnTo>
                    <a:pt x="1299" y="3226"/>
                  </a:lnTo>
                  <a:lnTo>
                    <a:pt x="1299" y="3227"/>
                  </a:lnTo>
                  <a:lnTo>
                    <a:pt x="1300" y="3227"/>
                  </a:lnTo>
                  <a:lnTo>
                    <a:pt x="1302" y="3227"/>
                  </a:lnTo>
                  <a:lnTo>
                    <a:pt x="1304" y="3231"/>
                  </a:lnTo>
                  <a:lnTo>
                    <a:pt x="1307" y="3231"/>
                  </a:lnTo>
                  <a:lnTo>
                    <a:pt x="1314" y="3250"/>
                  </a:lnTo>
                  <a:lnTo>
                    <a:pt x="1312" y="3254"/>
                  </a:lnTo>
                  <a:lnTo>
                    <a:pt x="1307" y="3254"/>
                  </a:lnTo>
                  <a:lnTo>
                    <a:pt x="1305" y="3257"/>
                  </a:lnTo>
                  <a:lnTo>
                    <a:pt x="1312" y="3256"/>
                  </a:lnTo>
                  <a:lnTo>
                    <a:pt x="1315" y="3254"/>
                  </a:lnTo>
                  <a:lnTo>
                    <a:pt x="1318" y="3250"/>
                  </a:lnTo>
                  <a:lnTo>
                    <a:pt x="1316" y="3246"/>
                  </a:lnTo>
                  <a:lnTo>
                    <a:pt x="1319" y="3246"/>
                  </a:lnTo>
                  <a:lnTo>
                    <a:pt x="1319" y="3239"/>
                  </a:lnTo>
                  <a:lnTo>
                    <a:pt x="1318" y="3235"/>
                  </a:lnTo>
                  <a:lnTo>
                    <a:pt x="1319" y="3231"/>
                  </a:lnTo>
                  <a:lnTo>
                    <a:pt x="1321" y="3227"/>
                  </a:lnTo>
                  <a:lnTo>
                    <a:pt x="1322" y="3231"/>
                  </a:lnTo>
                  <a:lnTo>
                    <a:pt x="1330" y="3254"/>
                  </a:lnTo>
                  <a:lnTo>
                    <a:pt x="1336" y="3264"/>
                  </a:lnTo>
                  <a:lnTo>
                    <a:pt x="1335" y="3263"/>
                  </a:lnTo>
                  <a:lnTo>
                    <a:pt x="1335" y="3267"/>
                  </a:lnTo>
                  <a:lnTo>
                    <a:pt x="1344" y="3276"/>
                  </a:lnTo>
                  <a:lnTo>
                    <a:pt x="1349" y="3285"/>
                  </a:lnTo>
                  <a:lnTo>
                    <a:pt x="1344" y="3291"/>
                  </a:lnTo>
                  <a:lnTo>
                    <a:pt x="1343" y="3289"/>
                  </a:lnTo>
                  <a:lnTo>
                    <a:pt x="1343" y="3294"/>
                  </a:lnTo>
                  <a:lnTo>
                    <a:pt x="1341" y="3297"/>
                  </a:lnTo>
                  <a:lnTo>
                    <a:pt x="1340" y="3299"/>
                  </a:lnTo>
                  <a:lnTo>
                    <a:pt x="1336" y="3301"/>
                  </a:lnTo>
                  <a:lnTo>
                    <a:pt x="1339" y="3302"/>
                  </a:lnTo>
                  <a:lnTo>
                    <a:pt x="1346" y="3301"/>
                  </a:lnTo>
                  <a:lnTo>
                    <a:pt x="1346" y="3302"/>
                  </a:lnTo>
                  <a:lnTo>
                    <a:pt x="1349" y="3305"/>
                  </a:lnTo>
                  <a:lnTo>
                    <a:pt x="1354" y="3311"/>
                  </a:lnTo>
                  <a:lnTo>
                    <a:pt x="1346" y="3321"/>
                  </a:lnTo>
                  <a:lnTo>
                    <a:pt x="1344" y="3321"/>
                  </a:lnTo>
                  <a:lnTo>
                    <a:pt x="1335" y="3325"/>
                  </a:lnTo>
                  <a:lnTo>
                    <a:pt x="1332" y="3329"/>
                  </a:lnTo>
                  <a:lnTo>
                    <a:pt x="1332" y="3331"/>
                  </a:lnTo>
                  <a:lnTo>
                    <a:pt x="1333" y="3333"/>
                  </a:lnTo>
                  <a:lnTo>
                    <a:pt x="1343" y="3336"/>
                  </a:lnTo>
                  <a:lnTo>
                    <a:pt x="1341" y="3347"/>
                  </a:lnTo>
                  <a:lnTo>
                    <a:pt x="1337" y="3351"/>
                  </a:lnTo>
                  <a:lnTo>
                    <a:pt x="1339" y="3355"/>
                  </a:lnTo>
                  <a:lnTo>
                    <a:pt x="1328" y="3362"/>
                  </a:lnTo>
                  <a:lnTo>
                    <a:pt x="1312" y="3364"/>
                  </a:lnTo>
                  <a:lnTo>
                    <a:pt x="1297" y="3370"/>
                  </a:lnTo>
                  <a:lnTo>
                    <a:pt x="1293" y="3370"/>
                  </a:lnTo>
                  <a:lnTo>
                    <a:pt x="1289" y="3368"/>
                  </a:lnTo>
                  <a:lnTo>
                    <a:pt x="1275" y="3368"/>
                  </a:lnTo>
                  <a:lnTo>
                    <a:pt x="1271" y="3370"/>
                  </a:lnTo>
                  <a:lnTo>
                    <a:pt x="1261" y="3370"/>
                  </a:lnTo>
                  <a:lnTo>
                    <a:pt x="1261" y="3372"/>
                  </a:lnTo>
                  <a:lnTo>
                    <a:pt x="1257" y="3374"/>
                  </a:lnTo>
                  <a:lnTo>
                    <a:pt x="1254" y="3379"/>
                  </a:lnTo>
                  <a:lnTo>
                    <a:pt x="1241" y="3387"/>
                  </a:lnTo>
                  <a:lnTo>
                    <a:pt x="1240" y="3387"/>
                  </a:lnTo>
                  <a:lnTo>
                    <a:pt x="1236" y="3383"/>
                  </a:lnTo>
                  <a:lnTo>
                    <a:pt x="1233" y="3383"/>
                  </a:lnTo>
                  <a:lnTo>
                    <a:pt x="1227" y="3388"/>
                  </a:lnTo>
                  <a:lnTo>
                    <a:pt x="1230" y="3392"/>
                  </a:lnTo>
                  <a:lnTo>
                    <a:pt x="1229" y="3396"/>
                  </a:lnTo>
                  <a:lnTo>
                    <a:pt x="1226" y="3395"/>
                  </a:lnTo>
                  <a:lnTo>
                    <a:pt x="1219" y="3396"/>
                  </a:lnTo>
                  <a:lnTo>
                    <a:pt x="1216" y="3392"/>
                  </a:lnTo>
                  <a:lnTo>
                    <a:pt x="1214" y="3392"/>
                  </a:lnTo>
                  <a:lnTo>
                    <a:pt x="1205" y="3399"/>
                  </a:lnTo>
                  <a:lnTo>
                    <a:pt x="1205" y="3403"/>
                  </a:lnTo>
                  <a:lnTo>
                    <a:pt x="1201" y="3408"/>
                  </a:lnTo>
                  <a:lnTo>
                    <a:pt x="1196" y="3408"/>
                  </a:lnTo>
                  <a:lnTo>
                    <a:pt x="1193" y="3412"/>
                  </a:lnTo>
                  <a:lnTo>
                    <a:pt x="1187" y="3413"/>
                  </a:lnTo>
                  <a:lnTo>
                    <a:pt x="1186" y="3417"/>
                  </a:lnTo>
                  <a:lnTo>
                    <a:pt x="1182" y="3417"/>
                  </a:lnTo>
                  <a:lnTo>
                    <a:pt x="1179" y="3417"/>
                  </a:lnTo>
                  <a:lnTo>
                    <a:pt x="1161" y="3425"/>
                  </a:lnTo>
                  <a:lnTo>
                    <a:pt x="1155" y="3423"/>
                  </a:lnTo>
                  <a:lnTo>
                    <a:pt x="1152" y="3428"/>
                  </a:lnTo>
                  <a:lnTo>
                    <a:pt x="1154" y="3431"/>
                  </a:lnTo>
                  <a:lnTo>
                    <a:pt x="1151" y="3437"/>
                  </a:lnTo>
                  <a:lnTo>
                    <a:pt x="1151" y="3440"/>
                  </a:lnTo>
                  <a:lnTo>
                    <a:pt x="1147" y="3441"/>
                  </a:lnTo>
                  <a:lnTo>
                    <a:pt x="1144" y="3440"/>
                  </a:lnTo>
                  <a:lnTo>
                    <a:pt x="1139" y="3440"/>
                  </a:lnTo>
                  <a:lnTo>
                    <a:pt x="1135" y="3443"/>
                  </a:lnTo>
                  <a:lnTo>
                    <a:pt x="1135" y="3449"/>
                  </a:lnTo>
                  <a:lnTo>
                    <a:pt x="1127" y="3451"/>
                  </a:lnTo>
                  <a:lnTo>
                    <a:pt x="1122" y="3458"/>
                  </a:lnTo>
                  <a:lnTo>
                    <a:pt x="1121" y="3462"/>
                  </a:lnTo>
                  <a:lnTo>
                    <a:pt x="1115" y="3467"/>
                  </a:lnTo>
                  <a:lnTo>
                    <a:pt x="1115" y="3474"/>
                  </a:lnTo>
                  <a:lnTo>
                    <a:pt x="1107" y="3480"/>
                  </a:lnTo>
                  <a:lnTo>
                    <a:pt x="1102" y="3482"/>
                  </a:lnTo>
                  <a:lnTo>
                    <a:pt x="1097" y="3482"/>
                  </a:lnTo>
                  <a:lnTo>
                    <a:pt x="1091" y="3482"/>
                  </a:lnTo>
                  <a:lnTo>
                    <a:pt x="1086" y="3478"/>
                  </a:lnTo>
                  <a:lnTo>
                    <a:pt x="1080" y="3478"/>
                  </a:lnTo>
                  <a:lnTo>
                    <a:pt x="1076" y="3474"/>
                  </a:lnTo>
                  <a:lnTo>
                    <a:pt x="1070" y="3471"/>
                  </a:lnTo>
                  <a:lnTo>
                    <a:pt x="1063" y="3473"/>
                  </a:lnTo>
                  <a:lnTo>
                    <a:pt x="1055" y="3466"/>
                  </a:lnTo>
                  <a:lnTo>
                    <a:pt x="1055" y="3459"/>
                  </a:lnTo>
                  <a:lnTo>
                    <a:pt x="1048" y="3459"/>
                  </a:lnTo>
                  <a:lnTo>
                    <a:pt x="1042" y="3457"/>
                  </a:lnTo>
                  <a:lnTo>
                    <a:pt x="1038" y="3454"/>
                  </a:lnTo>
                  <a:lnTo>
                    <a:pt x="1034" y="3454"/>
                  </a:lnTo>
                  <a:lnTo>
                    <a:pt x="1031" y="3451"/>
                  </a:lnTo>
                  <a:lnTo>
                    <a:pt x="1023" y="3449"/>
                  </a:lnTo>
                  <a:lnTo>
                    <a:pt x="1020" y="3451"/>
                  </a:lnTo>
                  <a:lnTo>
                    <a:pt x="1016" y="3453"/>
                  </a:lnTo>
                  <a:lnTo>
                    <a:pt x="1013" y="3457"/>
                  </a:lnTo>
                  <a:lnTo>
                    <a:pt x="1012" y="3457"/>
                  </a:lnTo>
                  <a:lnTo>
                    <a:pt x="1009" y="3457"/>
                  </a:lnTo>
                  <a:lnTo>
                    <a:pt x="1008" y="3454"/>
                  </a:lnTo>
                  <a:lnTo>
                    <a:pt x="1005" y="3454"/>
                  </a:lnTo>
                  <a:lnTo>
                    <a:pt x="997" y="3459"/>
                  </a:lnTo>
                  <a:lnTo>
                    <a:pt x="997" y="3463"/>
                  </a:lnTo>
                  <a:lnTo>
                    <a:pt x="995" y="3463"/>
                  </a:lnTo>
                  <a:lnTo>
                    <a:pt x="992" y="3466"/>
                  </a:lnTo>
                  <a:lnTo>
                    <a:pt x="987" y="3463"/>
                  </a:lnTo>
                  <a:lnTo>
                    <a:pt x="980" y="3471"/>
                  </a:lnTo>
                  <a:lnTo>
                    <a:pt x="966" y="3476"/>
                  </a:lnTo>
                  <a:lnTo>
                    <a:pt x="965" y="3479"/>
                  </a:lnTo>
                  <a:lnTo>
                    <a:pt x="966" y="3482"/>
                  </a:lnTo>
                  <a:lnTo>
                    <a:pt x="958" y="3486"/>
                  </a:lnTo>
                  <a:lnTo>
                    <a:pt x="952" y="3484"/>
                  </a:lnTo>
                  <a:lnTo>
                    <a:pt x="942" y="3484"/>
                  </a:lnTo>
                  <a:lnTo>
                    <a:pt x="941" y="3488"/>
                  </a:lnTo>
                  <a:lnTo>
                    <a:pt x="934" y="3490"/>
                  </a:lnTo>
                  <a:lnTo>
                    <a:pt x="930" y="3486"/>
                  </a:lnTo>
                  <a:lnTo>
                    <a:pt x="926" y="3486"/>
                  </a:lnTo>
                  <a:lnTo>
                    <a:pt x="920" y="3490"/>
                  </a:lnTo>
                  <a:lnTo>
                    <a:pt x="913" y="3490"/>
                  </a:lnTo>
                  <a:lnTo>
                    <a:pt x="908" y="3490"/>
                  </a:lnTo>
                  <a:lnTo>
                    <a:pt x="902" y="3500"/>
                  </a:lnTo>
                  <a:lnTo>
                    <a:pt x="901" y="3504"/>
                  </a:lnTo>
                  <a:lnTo>
                    <a:pt x="895" y="3507"/>
                  </a:lnTo>
                  <a:lnTo>
                    <a:pt x="894" y="3511"/>
                  </a:lnTo>
                  <a:lnTo>
                    <a:pt x="891" y="3512"/>
                  </a:lnTo>
                  <a:lnTo>
                    <a:pt x="888" y="3512"/>
                  </a:lnTo>
                  <a:lnTo>
                    <a:pt x="886" y="3508"/>
                  </a:lnTo>
                  <a:lnTo>
                    <a:pt x="883" y="3508"/>
                  </a:lnTo>
                  <a:lnTo>
                    <a:pt x="870" y="3508"/>
                  </a:lnTo>
                  <a:lnTo>
                    <a:pt x="865" y="3511"/>
                  </a:lnTo>
                  <a:lnTo>
                    <a:pt x="859" y="3515"/>
                  </a:lnTo>
                  <a:lnTo>
                    <a:pt x="858" y="3520"/>
                  </a:lnTo>
                  <a:lnTo>
                    <a:pt x="858" y="3523"/>
                  </a:lnTo>
                  <a:lnTo>
                    <a:pt x="859" y="3528"/>
                  </a:lnTo>
                  <a:lnTo>
                    <a:pt x="859" y="3533"/>
                  </a:lnTo>
                  <a:lnTo>
                    <a:pt x="855" y="3537"/>
                  </a:lnTo>
                  <a:lnTo>
                    <a:pt x="853" y="3538"/>
                  </a:lnTo>
                  <a:lnTo>
                    <a:pt x="855" y="3542"/>
                  </a:lnTo>
                  <a:lnTo>
                    <a:pt x="855" y="3545"/>
                  </a:lnTo>
                  <a:lnTo>
                    <a:pt x="847" y="3548"/>
                  </a:lnTo>
                  <a:lnTo>
                    <a:pt x="845" y="3550"/>
                  </a:lnTo>
                  <a:lnTo>
                    <a:pt x="845" y="3553"/>
                  </a:lnTo>
                  <a:lnTo>
                    <a:pt x="844" y="3557"/>
                  </a:lnTo>
                  <a:lnTo>
                    <a:pt x="834" y="3559"/>
                  </a:lnTo>
                  <a:lnTo>
                    <a:pt x="834" y="3565"/>
                  </a:lnTo>
                  <a:lnTo>
                    <a:pt x="830" y="3569"/>
                  </a:lnTo>
                  <a:lnTo>
                    <a:pt x="820" y="3570"/>
                  </a:lnTo>
                  <a:lnTo>
                    <a:pt x="813" y="3573"/>
                  </a:lnTo>
                  <a:lnTo>
                    <a:pt x="810" y="3582"/>
                  </a:lnTo>
                  <a:lnTo>
                    <a:pt x="805" y="3587"/>
                  </a:lnTo>
                  <a:lnTo>
                    <a:pt x="806" y="3591"/>
                  </a:lnTo>
                  <a:lnTo>
                    <a:pt x="799" y="3598"/>
                  </a:lnTo>
                  <a:lnTo>
                    <a:pt x="796" y="3599"/>
                  </a:lnTo>
                  <a:lnTo>
                    <a:pt x="794" y="3598"/>
                  </a:lnTo>
                  <a:lnTo>
                    <a:pt x="790" y="3598"/>
                  </a:lnTo>
                  <a:lnTo>
                    <a:pt x="787" y="3602"/>
                  </a:lnTo>
                  <a:lnTo>
                    <a:pt x="784" y="3605"/>
                  </a:lnTo>
                  <a:lnTo>
                    <a:pt x="776" y="3609"/>
                  </a:lnTo>
                  <a:lnTo>
                    <a:pt x="774" y="3615"/>
                  </a:lnTo>
                  <a:lnTo>
                    <a:pt x="776" y="3619"/>
                  </a:lnTo>
                  <a:lnTo>
                    <a:pt x="776" y="3621"/>
                  </a:lnTo>
                  <a:lnTo>
                    <a:pt x="771" y="3627"/>
                  </a:lnTo>
                  <a:lnTo>
                    <a:pt x="770" y="3627"/>
                  </a:lnTo>
                  <a:lnTo>
                    <a:pt x="757" y="3627"/>
                  </a:lnTo>
                  <a:lnTo>
                    <a:pt x="755" y="3631"/>
                  </a:lnTo>
                  <a:lnTo>
                    <a:pt x="751" y="3631"/>
                  </a:lnTo>
                  <a:lnTo>
                    <a:pt x="746" y="3624"/>
                  </a:lnTo>
                  <a:lnTo>
                    <a:pt x="742" y="3623"/>
                  </a:lnTo>
                  <a:lnTo>
                    <a:pt x="738" y="3619"/>
                  </a:lnTo>
                  <a:lnTo>
                    <a:pt x="734" y="3616"/>
                  </a:lnTo>
                  <a:lnTo>
                    <a:pt x="732" y="3616"/>
                  </a:lnTo>
                  <a:lnTo>
                    <a:pt x="727" y="3617"/>
                  </a:lnTo>
                  <a:lnTo>
                    <a:pt x="721" y="3615"/>
                  </a:lnTo>
                  <a:lnTo>
                    <a:pt x="720" y="3612"/>
                  </a:lnTo>
                  <a:lnTo>
                    <a:pt x="720" y="3605"/>
                  </a:lnTo>
                  <a:lnTo>
                    <a:pt x="718" y="3604"/>
                  </a:lnTo>
                  <a:lnTo>
                    <a:pt x="715" y="3602"/>
                  </a:lnTo>
                  <a:lnTo>
                    <a:pt x="709" y="3602"/>
                  </a:lnTo>
                  <a:lnTo>
                    <a:pt x="705" y="3592"/>
                  </a:lnTo>
                  <a:lnTo>
                    <a:pt x="702" y="3590"/>
                  </a:lnTo>
                  <a:lnTo>
                    <a:pt x="696" y="3587"/>
                  </a:lnTo>
                  <a:lnTo>
                    <a:pt x="695" y="3587"/>
                  </a:lnTo>
                  <a:lnTo>
                    <a:pt x="691" y="3586"/>
                  </a:lnTo>
                  <a:lnTo>
                    <a:pt x="688" y="3587"/>
                  </a:lnTo>
                  <a:lnTo>
                    <a:pt x="685" y="3587"/>
                  </a:lnTo>
                  <a:lnTo>
                    <a:pt x="682" y="3587"/>
                  </a:lnTo>
                  <a:lnTo>
                    <a:pt x="674" y="3592"/>
                  </a:lnTo>
                  <a:lnTo>
                    <a:pt x="670" y="3592"/>
                  </a:lnTo>
                  <a:lnTo>
                    <a:pt x="667" y="3595"/>
                  </a:lnTo>
                  <a:lnTo>
                    <a:pt x="667" y="3598"/>
                  </a:lnTo>
                  <a:lnTo>
                    <a:pt x="665" y="3602"/>
                  </a:lnTo>
                  <a:lnTo>
                    <a:pt x="662" y="3615"/>
                  </a:lnTo>
                  <a:lnTo>
                    <a:pt x="656" y="3619"/>
                  </a:lnTo>
                  <a:lnTo>
                    <a:pt x="648" y="3620"/>
                  </a:lnTo>
                  <a:lnTo>
                    <a:pt x="646" y="3623"/>
                  </a:lnTo>
                  <a:lnTo>
                    <a:pt x="646" y="3627"/>
                  </a:lnTo>
                  <a:lnTo>
                    <a:pt x="634" y="3631"/>
                  </a:lnTo>
                  <a:lnTo>
                    <a:pt x="630" y="3631"/>
                  </a:lnTo>
                  <a:lnTo>
                    <a:pt x="628" y="3628"/>
                  </a:lnTo>
                  <a:lnTo>
                    <a:pt x="623" y="3631"/>
                  </a:lnTo>
                  <a:lnTo>
                    <a:pt x="621" y="3631"/>
                  </a:lnTo>
                  <a:lnTo>
                    <a:pt x="621" y="3628"/>
                  </a:lnTo>
                  <a:lnTo>
                    <a:pt x="617" y="3627"/>
                  </a:lnTo>
                  <a:lnTo>
                    <a:pt x="613" y="3631"/>
                  </a:lnTo>
                  <a:lnTo>
                    <a:pt x="609" y="3632"/>
                  </a:lnTo>
                  <a:lnTo>
                    <a:pt x="606" y="3632"/>
                  </a:lnTo>
                  <a:lnTo>
                    <a:pt x="602" y="3624"/>
                  </a:lnTo>
                  <a:lnTo>
                    <a:pt x="602" y="3619"/>
                  </a:lnTo>
                  <a:lnTo>
                    <a:pt x="598" y="3616"/>
                  </a:lnTo>
                  <a:lnTo>
                    <a:pt x="592" y="3615"/>
                  </a:lnTo>
                  <a:lnTo>
                    <a:pt x="592" y="3609"/>
                  </a:lnTo>
                  <a:lnTo>
                    <a:pt x="589" y="3609"/>
                  </a:lnTo>
                  <a:lnTo>
                    <a:pt x="578" y="3612"/>
                  </a:lnTo>
                  <a:lnTo>
                    <a:pt x="574" y="3609"/>
                  </a:lnTo>
                  <a:lnTo>
                    <a:pt x="571" y="3609"/>
                  </a:lnTo>
                  <a:lnTo>
                    <a:pt x="568" y="3614"/>
                  </a:lnTo>
                  <a:lnTo>
                    <a:pt x="566" y="3614"/>
                  </a:lnTo>
                  <a:lnTo>
                    <a:pt x="556" y="3619"/>
                  </a:lnTo>
                  <a:lnTo>
                    <a:pt x="550" y="3619"/>
                  </a:lnTo>
                  <a:lnTo>
                    <a:pt x="545" y="3616"/>
                  </a:lnTo>
                  <a:lnTo>
                    <a:pt x="539" y="3617"/>
                  </a:lnTo>
                  <a:lnTo>
                    <a:pt x="532" y="3616"/>
                  </a:lnTo>
                  <a:lnTo>
                    <a:pt x="527" y="3617"/>
                  </a:lnTo>
                  <a:lnTo>
                    <a:pt x="523" y="3620"/>
                  </a:lnTo>
                  <a:lnTo>
                    <a:pt x="517" y="3620"/>
                  </a:lnTo>
                  <a:lnTo>
                    <a:pt x="507" y="3623"/>
                  </a:lnTo>
                  <a:lnTo>
                    <a:pt x="506" y="3624"/>
                  </a:lnTo>
                  <a:lnTo>
                    <a:pt x="503" y="3627"/>
                  </a:lnTo>
                  <a:lnTo>
                    <a:pt x="502" y="3623"/>
                  </a:lnTo>
                  <a:lnTo>
                    <a:pt x="504" y="3582"/>
                  </a:lnTo>
                  <a:lnTo>
                    <a:pt x="509" y="3570"/>
                  </a:lnTo>
                  <a:lnTo>
                    <a:pt x="514" y="3561"/>
                  </a:lnTo>
                  <a:lnTo>
                    <a:pt x="524" y="3553"/>
                  </a:lnTo>
                  <a:lnTo>
                    <a:pt x="524" y="3541"/>
                  </a:lnTo>
                  <a:lnTo>
                    <a:pt x="530" y="3508"/>
                  </a:lnTo>
                  <a:lnTo>
                    <a:pt x="576" y="3480"/>
                  </a:lnTo>
                  <a:lnTo>
                    <a:pt x="585" y="3437"/>
                  </a:lnTo>
                  <a:lnTo>
                    <a:pt x="488" y="3378"/>
                  </a:lnTo>
                  <a:lnTo>
                    <a:pt x="479" y="3378"/>
                  </a:lnTo>
                  <a:lnTo>
                    <a:pt x="408" y="3378"/>
                  </a:lnTo>
                  <a:lnTo>
                    <a:pt x="417" y="3268"/>
                  </a:lnTo>
                  <a:lnTo>
                    <a:pt x="413" y="3213"/>
                  </a:lnTo>
                  <a:lnTo>
                    <a:pt x="407" y="3212"/>
                  </a:lnTo>
                  <a:lnTo>
                    <a:pt x="404" y="3209"/>
                  </a:lnTo>
                  <a:lnTo>
                    <a:pt x="402" y="3201"/>
                  </a:lnTo>
                  <a:lnTo>
                    <a:pt x="393" y="3196"/>
                  </a:lnTo>
                  <a:lnTo>
                    <a:pt x="392" y="3189"/>
                  </a:lnTo>
                  <a:lnTo>
                    <a:pt x="377" y="3179"/>
                  </a:lnTo>
                  <a:lnTo>
                    <a:pt x="372" y="3170"/>
                  </a:lnTo>
                  <a:lnTo>
                    <a:pt x="369" y="3168"/>
                  </a:lnTo>
                  <a:lnTo>
                    <a:pt x="361" y="3164"/>
                  </a:lnTo>
                  <a:lnTo>
                    <a:pt x="358" y="3164"/>
                  </a:lnTo>
                  <a:lnTo>
                    <a:pt x="353" y="3168"/>
                  </a:lnTo>
                  <a:lnTo>
                    <a:pt x="343" y="3168"/>
                  </a:lnTo>
                  <a:lnTo>
                    <a:pt x="338" y="3167"/>
                  </a:lnTo>
                  <a:lnTo>
                    <a:pt x="335" y="3163"/>
                  </a:lnTo>
                  <a:lnTo>
                    <a:pt x="329" y="3160"/>
                  </a:lnTo>
                  <a:lnTo>
                    <a:pt x="317" y="3160"/>
                  </a:lnTo>
                  <a:lnTo>
                    <a:pt x="316" y="3159"/>
                  </a:lnTo>
                  <a:lnTo>
                    <a:pt x="307" y="3156"/>
                  </a:lnTo>
                  <a:lnTo>
                    <a:pt x="306" y="3155"/>
                  </a:lnTo>
                  <a:lnTo>
                    <a:pt x="297" y="3152"/>
                  </a:lnTo>
                  <a:lnTo>
                    <a:pt x="291" y="3151"/>
                  </a:lnTo>
                  <a:lnTo>
                    <a:pt x="289" y="3150"/>
                  </a:lnTo>
                  <a:lnTo>
                    <a:pt x="285" y="3150"/>
                  </a:lnTo>
                  <a:lnTo>
                    <a:pt x="282" y="3145"/>
                  </a:lnTo>
                  <a:lnTo>
                    <a:pt x="278" y="3144"/>
                  </a:lnTo>
                  <a:lnTo>
                    <a:pt x="274" y="3140"/>
                  </a:lnTo>
                  <a:lnTo>
                    <a:pt x="271" y="3092"/>
                  </a:lnTo>
                  <a:lnTo>
                    <a:pt x="254" y="3085"/>
                  </a:lnTo>
                  <a:lnTo>
                    <a:pt x="243" y="3078"/>
                  </a:lnTo>
                  <a:lnTo>
                    <a:pt x="237" y="3077"/>
                  </a:lnTo>
                  <a:lnTo>
                    <a:pt x="236" y="3075"/>
                  </a:lnTo>
                  <a:lnTo>
                    <a:pt x="228" y="3070"/>
                  </a:lnTo>
                  <a:lnTo>
                    <a:pt x="218" y="3063"/>
                  </a:lnTo>
                  <a:lnTo>
                    <a:pt x="218" y="3061"/>
                  </a:lnTo>
                  <a:lnTo>
                    <a:pt x="218" y="3059"/>
                  </a:lnTo>
                  <a:lnTo>
                    <a:pt x="215" y="3057"/>
                  </a:lnTo>
                  <a:lnTo>
                    <a:pt x="211" y="3052"/>
                  </a:lnTo>
                  <a:lnTo>
                    <a:pt x="218" y="3018"/>
                  </a:lnTo>
                  <a:lnTo>
                    <a:pt x="225" y="3005"/>
                  </a:lnTo>
                  <a:lnTo>
                    <a:pt x="178" y="3002"/>
                  </a:lnTo>
                  <a:lnTo>
                    <a:pt x="159" y="2986"/>
                  </a:lnTo>
                  <a:lnTo>
                    <a:pt x="108" y="2940"/>
                  </a:lnTo>
                  <a:lnTo>
                    <a:pt x="71" y="2909"/>
                  </a:lnTo>
                  <a:lnTo>
                    <a:pt x="86" y="2857"/>
                  </a:lnTo>
                  <a:lnTo>
                    <a:pt x="90" y="2853"/>
                  </a:lnTo>
                  <a:lnTo>
                    <a:pt x="68" y="2823"/>
                  </a:lnTo>
                  <a:lnTo>
                    <a:pt x="69" y="2822"/>
                  </a:lnTo>
                  <a:lnTo>
                    <a:pt x="69" y="2820"/>
                  </a:lnTo>
                  <a:lnTo>
                    <a:pt x="71" y="2819"/>
                  </a:lnTo>
                  <a:lnTo>
                    <a:pt x="71" y="2816"/>
                  </a:lnTo>
                  <a:lnTo>
                    <a:pt x="73" y="2812"/>
                  </a:lnTo>
                  <a:lnTo>
                    <a:pt x="71" y="2808"/>
                  </a:lnTo>
                  <a:lnTo>
                    <a:pt x="79" y="2808"/>
                  </a:lnTo>
                  <a:lnTo>
                    <a:pt x="82" y="2799"/>
                  </a:lnTo>
                  <a:lnTo>
                    <a:pt x="90" y="2794"/>
                  </a:lnTo>
                  <a:lnTo>
                    <a:pt x="100" y="2792"/>
                  </a:lnTo>
                  <a:lnTo>
                    <a:pt x="104" y="2790"/>
                  </a:lnTo>
                  <a:lnTo>
                    <a:pt x="100" y="2786"/>
                  </a:lnTo>
                  <a:lnTo>
                    <a:pt x="92" y="2782"/>
                  </a:lnTo>
                  <a:lnTo>
                    <a:pt x="89" y="2777"/>
                  </a:lnTo>
                  <a:lnTo>
                    <a:pt x="86" y="2773"/>
                  </a:lnTo>
                  <a:lnTo>
                    <a:pt x="86" y="2764"/>
                  </a:lnTo>
                  <a:lnTo>
                    <a:pt x="73" y="2733"/>
                  </a:lnTo>
                  <a:lnTo>
                    <a:pt x="64" y="2725"/>
                  </a:lnTo>
                  <a:lnTo>
                    <a:pt x="59" y="2710"/>
                  </a:lnTo>
                  <a:lnTo>
                    <a:pt x="15" y="2666"/>
                  </a:lnTo>
                  <a:lnTo>
                    <a:pt x="14" y="2658"/>
                  </a:lnTo>
                  <a:lnTo>
                    <a:pt x="5" y="2657"/>
                  </a:lnTo>
                  <a:lnTo>
                    <a:pt x="1" y="2651"/>
                  </a:lnTo>
                  <a:lnTo>
                    <a:pt x="0" y="2648"/>
                  </a:lnTo>
                  <a:lnTo>
                    <a:pt x="3" y="2642"/>
                  </a:lnTo>
                  <a:lnTo>
                    <a:pt x="3" y="2636"/>
                  </a:lnTo>
                  <a:lnTo>
                    <a:pt x="5" y="2634"/>
                  </a:lnTo>
                  <a:lnTo>
                    <a:pt x="15" y="2633"/>
                  </a:lnTo>
                  <a:lnTo>
                    <a:pt x="18" y="2630"/>
                  </a:lnTo>
                  <a:lnTo>
                    <a:pt x="22" y="2629"/>
                  </a:lnTo>
                  <a:lnTo>
                    <a:pt x="22" y="2625"/>
                  </a:lnTo>
                  <a:lnTo>
                    <a:pt x="26" y="2621"/>
                  </a:lnTo>
                  <a:lnTo>
                    <a:pt x="29" y="2617"/>
                  </a:lnTo>
                  <a:lnTo>
                    <a:pt x="32" y="2616"/>
                  </a:lnTo>
                  <a:lnTo>
                    <a:pt x="34" y="2616"/>
                  </a:lnTo>
                  <a:lnTo>
                    <a:pt x="39" y="2613"/>
                  </a:lnTo>
                  <a:lnTo>
                    <a:pt x="43" y="2613"/>
                  </a:lnTo>
                  <a:lnTo>
                    <a:pt x="47" y="2612"/>
                  </a:lnTo>
                  <a:lnTo>
                    <a:pt x="50" y="2613"/>
                  </a:lnTo>
                  <a:lnTo>
                    <a:pt x="53" y="2613"/>
                  </a:lnTo>
                  <a:lnTo>
                    <a:pt x="57" y="2613"/>
                  </a:lnTo>
                  <a:lnTo>
                    <a:pt x="56" y="2611"/>
                  </a:lnTo>
                  <a:lnTo>
                    <a:pt x="64" y="2605"/>
                  </a:lnTo>
                  <a:lnTo>
                    <a:pt x="65" y="2601"/>
                  </a:lnTo>
                  <a:lnTo>
                    <a:pt x="65" y="2595"/>
                  </a:lnTo>
                  <a:lnTo>
                    <a:pt x="68" y="2591"/>
                  </a:lnTo>
                  <a:lnTo>
                    <a:pt x="68" y="2583"/>
                  </a:lnTo>
                  <a:lnTo>
                    <a:pt x="71" y="2581"/>
                  </a:lnTo>
                  <a:lnTo>
                    <a:pt x="71" y="2576"/>
                  </a:lnTo>
                  <a:lnTo>
                    <a:pt x="75" y="2573"/>
                  </a:lnTo>
                  <a:lnTo>
                    <a:pt x="78" y="2573"/>
                  </a:lnTo>
                  <a:lnTo>
                    <a:pt x="82" y="2571"/>
                  </a:lnTo>
                  <a:lnTo>
                    <a:pt x="89" y="2568"/>
                  </a:lnTo>
                  <a:lnTo>
                    <a:pt x="92" y="2573"/>
                  </a:lnTo>
                  <a:lnTo>
                    <a:pt x="93" y="2576"/>
                  </a:lnTo>
                  <a:lnTo>
                    <a:pt x="101" y="2576"/>
                  </a:lnTo>
                  <a:lnTo>
                    <a:pt x="103" y="2573"/>
                  </a:lnTo>
                  <a:lnTo>
                    <a:pt x="103" y="2568"/>
                  </a:lnTo>
                  <a:lnTo>
                    <a:pt x="103" y="2564"/>
                  </a:lnTo>
                  <a:lnTo>
                    <a:pt x="108" y="2564"/>
                  </a:lnTo>
                  <a:lnTo>
                    <a:pt x="111" y="2563"/>
                  </a:lnTo>
                  <a:lnTo>
                    <a:pt x="112" y="2567"/>
                  </a:lnTo>
                  <a:lnTo>
                    <a:pt x="122" y="2564"/>
                  </a:lnTo>
                  <a:lnTo>
                    <a:pt x="123" y="2561"/>
                  </a:lnTo>
                  <a:lnTo>
                    <a:pt x="126" y="2558"/>
                  </a:lnTo>
                  <a:lnTo>
                    <a:pt x="125" y="2554"/>
                  </a:lnTo>
                  <a:lnTo>
                    <a:pt x="131" y="2550"/>
                  </a:lnTo>
                  <a:lnTo>
                    <a:pt x="131" y="2549"/>
                  </a:lnTo>
                  <a:lnTo>
                    <a:pt x="133" y="2546"/>
                  </a:lnTo>
                  <a:lnTo>
                    <a:pt x="133" y="2542"/>
                  </a:lnTo>
                  <a:lnTo>
                    <a:pt x="134" y="2542"/>
                  </a:lnTo>
                  <a:lnTo>
                    <a:pt x="134" y="2545"/>
                  </a:lnTo>
                  <a:lnTo>
                    <a:pt x="137" y="2542"/>
                  </a:lnTo>
                  <a:lnTo>
                    <a:pt x="137" y="2539"/>
                  </a:lnTo>
                  <a:lnTo>
                    <a:pt x="139" y="2539"/>
                  </a:lnTo>
                  <a:lnTo>
                    <a:pt x="140" y="2541"/>
                  </a:lnTo>
                  <a:lnTo>
                    <a:pt x="144" y="2542"/>
                  </a:lnTo>
                  <a:lnTo>
                    <a:pt x="148" y="2542"/>
                  </a:lnTo>
                  <a:lnTo>
                    <a:pt x="159" y="2539"/>
                  </a:lnTo>
                  <a:lnTo>
                    <a:pt x="164" y="2536"/>
                  </a:lnTo>
                  <a:lnTo>
                    <a:pt x="168" y="2534"/>
                  </a:lnTo>
                  <a:lnTo>
                    <a:pt x="169" y="2531"/>
                  </a:lnTo>
                  <a:lnTo>
                    <a:pt x="171" y="2524"/>
                  </a:lnTo>
                  <a:lnTo>
                    <a:pt x="173" y="2520"/>
                  </a:lnTo>
                  <a:lnTo>
                    <a:pt x="172" y="2514"/>
                  </a:lnTo>
                  <a:lnTo>
                    <a:pt x="173" y="2512"/>
                  </a:lnTo>
                  <a:lnTo>
                    <a:pt x="176" y="2512"/>
                  </a:lnTo>
                  <a:lnTo>
                    <a:pt x="182" y="2524"/>
                  </a:lnTo>
                  <a:lnTo>
                    <a:pt x="186" y="2528"/>
                  </a:lnTo>
                  <a:lnTo>
                    <a:pt x="194" y="2531"/>
                  </a:lnTo>
                  <a:lnTo>
                    <a:pt x="198" y="2531"/>
                  </a:lnTo>
                  <a:lnTo>
                    <a:pt x="206" y="2530"/>
                  </a:lnTo>
                  <a:lnTo>
                    <a:pt x="208" y="2528"/>
                  </a:lnTo>
                  <a:lnTo>
                    <a:pt x="212" y="2520"/>
                  </a:lnTo>
                  <a:lnTo>
                    <a:pt x="214" y="2520"/>
                  </a:lnTo>
                  <a:lnTo>
                    <a:pt x="218" y="2520"/>
                  </a:lnTo>
                  <a:lnTo>
                    <a:pt x="219" y="2522"/>
                  </a:lnTo>
                  <a:lnTo>
                    <a:pt x="221" y="2524"/>
                  </a:lnTo>
                  <a:lnTo>
                    <a:pt x="229" y="2520"/>
                  </a:lnTo>
                  <a:lnTo>
                    <a:pt x="235" y="2522"/>
                  </a:lnTo>
                  <a:lnTo>
                    <a:pt x="246" y="2537"/>
                  </a:lnTo>
                  <a:lnTo>
                    <a:pt x="263" y="2549"/>
                  </a:lnTo>
                  <a:lnTo>
                    <a:pt x="268" y="2556"/>
                  </a:lnTo>
                  <a:lnTo>
                    <a:pt x="275" y="2559"/>
                  </a:lnTo>
                  <a:lnTo>
                    <a:pt x="285" y="2567"/>
                  </a:lnTo>
                  <a:lnTo>
                    <a:pt x="293" y="2568"/>
                  </a:lnTo>
                  <a:lnTo>
                    <a:pt x="302" y="2568"/>
                  </a:lnTo>
                  <a:lnTo>
                    <a:pt x="304" y="2567"/>
                  </a:lnTo>
                  <a:lnTo>
                    <a:pt x="307" y="2564"/>
                  </a:lnTo>
                  <a:lnTo>
                    <a:pt x="310" y="2558"/>
                  </a:lnTo>
                  <a:lnTo>
                    <a:pt x="310" y="2554"/>
                  </a:lnTo>
                  <a:lnTo>
                    <a:pt x="313" y="2546"/>
                  </a:lnTo>
                  <a:lnTo>
                    <a:pt x="322" y="2539"/>
                  </a:lnTo>
                  <a:lnTo>
                    <a:pt x="329" y="2530"/>
                  </a:lnTo>
                  <a:lnTo>
                    <a:pt x="333" y="2528"/>
                  </a:lnTo>
                  <a:lnTo>
                    <a:pt x="343" y="2526"/>
                  </a:lnTo>
                  <a:lnTo>
                    <a:pt x="349" y="2520"/>
                  </a:lnTo>
                  <a:lnTo>
                    <a:pt x="356" y="2518"/>
                  </a:lnTo>
                  <a:lnTo>
                    <a:pt x="357" y="2516"/>
                  </a:lnTo>
                  <a:lnTo>
                    <a:pt x="357" y="2508"/>
                  </a:lnTo>
                  <a:lnTo>
                    <a:pt x="354" y="2491"/>
                  </a:lnTo>
                  <a:lnTo>
                    <a:pt x="350" y="2477"/>
                  </a:lnTo>
                  <a:lnTo>
                    <a:pt x="352" y="2463"/>
                  </a:lnTo>
                  <a:lnTo>
                    <a:pt x="350" y="2452"/>
                  </a:lnTo>
                  <a:lnTo>
                    <a:pt x="357" y="2421"/>
                  </a:lnTo>
                  <a:lnTo>
                    <a:pt x="360" y="2416"/>
                  </a:lnTo>
                  <a:lnTo>
                    <a:pt x="361" y="2410"/>
                  </a:lnTo>
                  <a:lnTo>
                    <a:pt x="369" y="2399"/>
                  </a:lnTo>
                  <a:lnTo>
                    <a:pt x="371" y="2393"/>
                  </a:lnTo>
                  <a:lnTo>
                    <a:pt x="374" y="2389"/>
                  </a:lnTo>
                  <a:lnTo>
                    <a:pt x="360" y="2370"/>
                  </a:lnTo>
                  <a:lnTo>
                    <a:pt x="360" y="2367"/>
                  </a:lnTo>
                  <a:lnTo>
                    <a:pt x="360" y="2352"/>
                  </a:lnTo>
                  <a:lnTo>
                    <a:pt x="352" y="2343"/>
                  </a:lnTo>
                  <a:lnTo>
                    <a:pt x="347" y="2335"/>
                  </a:lnTo>
                  <a:lnTo>
                    <a:pt x="344" y="2326"/>
                  </a:lnTo>
                  <a:lnTo>
                    <a:pt x="342" y="2322"/>
                  </a:lnTo>
                  <a:lnTo>
                    <a:pt x="333" y="2318"/>
                  </a:lnTo>
                  <a:lnTo>
                    <a:pt x="329" y="2317"/>
                  </a:lnTo>
                  <a:lnTo>
                    <a:pt x="321" y="2314"/>
                  </a:lnTo>
                  <a:lnTo>
                    <a:pt x="310" y="2309"/>
                  </a:lnTo>
                  <a:lnTo>
                    <a:pt x="307" y="2303"/>
                  </a:lnTo>
                  <a:lnTo>
                    <a:pt x="310" y="2300"/>
                  </a:lnTo>
                  <a:lnTo>
                    <a:pt x="310" y="2296"/>
                  </a:lnTo>
                  <a:lnTo>
                    <a:pt x="304" y="2288"/>
                  </a:lnTo>
                  <a:lnTo>
                    <a:pt x="297" y="2283"/>
                  </a:lnTo>
                  <a:lnTo>
                    <a:pt x="294" y="2272"/>
                  </a:lnTo>
                  <a:lnTo>
                    <a:pt x="289" y="2272"/>
                  </a:lnTo>
                  <a:lnTo>
                    <a:pt x="288" y="2268"/>
                  </a:lnTo>
                  <a:lnTo>
                    <a:pt x="288" y="2265"/>
                  </a:lnTo>
                  <a:lnTo>
                    <a:pt x="292" y="2265"/>
                  </a:lnTo>
                  <a:lnTo>
                    <a:pt x="292" y="2264"/>
                  </a:lnTo>
                  <a:lnTo>
                    <a:pt x="286" y="2264"/>
                  </a:lnTo>
                  <a:lnTo>
                    <a:pt x="283" y="2261"/>
                  </a:lnTo>
                  <a:lnTo>
                    <a:pt x="288" y="2259"/>
                  </a:lnTo>
                  <a:lnTo>
                    <a:pt x="288" y="2253"/>
                  </a:lnTo>
                  <a:lnTo>
                    <a:pt x="291" y="2252"/>
                  </a:lnTo>
                  <a:lnTo>
                    <a:pt x="291" y="2253"/>
                  </a:lnTo>
                  <a:lnTo>
                    <a:pt x="293" y="2253"/>
                  </a:lnTo>
                  <a:lnTo>
                    <a:pt x="293" y="2250"/>
                  </a:lnTo>
                  <a:lnTo>
                    <a:pt x="416" y="2251"/>
                  </a:lnTo>
                  <a:lnTo>
                    <a:pt x="443" y="2251"/>
                  </a:lnTo>
                  <a:lnTo>
                    <a:pt x="443" y="2086"/>
                  </a:lnTo>
                  <a:lnTo>
                    <a:pt x="449" y="2060"/>
                  </a:lnTo>
                  <a:lnTo>
                    <a:pt x="445" y="2059"/>
                  </a:lnTo>
                  <a:lnTo>
                    <a:pt x="445" y="1974"/>
                  </a:lnTo>
                  <a:lnTo>
                    <a:pt x="486" y="1861"/>
                  </a:lnTo>
                  <a:lnTo>
                    <a:pt x="532" y="1731"/>
                  </a:lnTo>
                  <a:lnTo>
                    <a:pt x="536" y="1726"/>
                  </a:lnTo>
                  <a:lnTo>
                    <a:pt x="542" y="1726"/>
                  </a:lnTo>
                  <a:lnTo>
                    <a:pt x="538" y="1723"/>
                  </a:lnTo>
                  <a:lnTo>
                    <a:pt x="536" y="1719"/>
                  </a:lnTo>
                  <a:lnTo>
                    <a:pt x="534" y="1716"/>
                  </a:lnTo>
                  <a:lnTo>
                    <a:pt x="521" y="1707"/>
                  </a:lnTo>
                  <a:lnTo>
                    <a:pt x="518" y="1712"/>
                  </a:lnTo>
                  <a:lnTo>
                    <a:pt x="516" y="1708"/>
                  </a:lnTo>
                  <a:lnTo>
                    <a:pt x="514" y="1707"/>
                  </a:lnTo>
                  <a:lnTo>
                    <a:pt x="509" y="1707"/>
                  </a:lnTo>
                  <a:lnTo>
                    <a:pt x="507" y="1708"/>
                  </a:lnTo>
                  <a:lnTo>
                    <a:pt x="507" y="1712"/>
                  </a:lnTo>
                  <a:lnTo>
                    <a:pt x="504" y="1714"/>
                  </a:lnTo>
                  <a:lnTo>
                    <a:pt x="502" y="1712"/>
                  </a:lnTo>
                  <a:lnTo>
                    <a:pt x="499" y="1708"/>
                  </a:lnTo>
                  <a:lnTo>
                    <a:pt x="495" y="1703"/>
                  </a:lnTo>
                  <a:lnTo>
                    <a:pt x="486" y="1699"/>
                  </a:lnTo>
                  <a:lnTo>
                    <a:pt x="477" y="1689"/>
                  </a:lnTo>
                  <a:lnTo>
                    <a:pt x="474" y="1689"/>
                  </a:lnTo>
                  <a:lnTo>
                    <a:pt x="460" y="1680"/>
                  </a:lnTo>
                  <a:lnTo>
                    <a:pt x="453" y="1678"/>
                  </a:lnTo>
                  <a:lnTo>
                    <a:pt x="449" y="1672"/>
                  </a:lnTo>
                  <a:lnTo>
                    <a:pt x="449" y="1667"/>
                  </a:lnTo>
                  <a:lnTo>
                    <a:pt x="439" y="1663"/>
                  </a:lnTo>
                  <a:lnTo>
                    <a:pt x="438" y="1662"/>
                  </a:lnTo>
                  <a:lnTo>
                    <a:pt x="433" y="1650"/>
                  </a:lnTo>
                  <a:lnTo>
                    <a:pt x="433" y="1641"/>
                  </a:lnTo>
                  <a:lnTo>
                    <a:pt x="432" y="1636"/>
                  </a:lnTo>
                  <a:lnTo>
                    <a:pt x="425" y="1622"/>
                  </a:lnTo>
                  <a:lnTo>
                    <a:pt x="421" y="1621"/>
                  </a:lnTo>
                  <a:lnTo>
                    <a:pt x="418" y="1620"/>
                  </a:lnTo>
                  <a:lnTo>
                    <a:pt x="413" y="1602"/>
                  </a:lnTo>
                  <a:lnTo>
                    <a:pt x="407" y="1600"/>
                  </a:lnTo>
                  <a:lnTo>
                    <a:pt x="404" y="1596"/>
                  </a:lnTo>
                  <a:lnTo>
                    <a:pt x="403" y="1595"/>
                  </a:lnTo>
                  <a:lnTo>
                    <a:pt x="399" y="1599"/>
                  </a:lnTo>
                  <a:lnTo>
                    <a:pt x="396" y="1599"/>
                  </a:lnTo>
                  <a:lnTo>
                    <a:pt x="389" y="1597"/>
                  </a:lnTo>
                  <a:lnTo>
                    <a:pt x="381" y="1592"/>
                  </a:lnTo>
                  <a:lnTo>
                    <a:pt x="375" y="1599"/>
                  </a:lnTo>
                  <a:lnTo>
                    <a:pt x="367" y="1599"/>
                  </a:lnTo>
                  <a:lnTo>
                    <a:pt x="360" y="1588"/>
                  </a:lnTo>
                  <a:lnTo>
                    <a:pt x="349" y="1584"/>
                  </a:lnTo>
                  <a:lnTo>
                    <a:pt x="341" y="1576"/>
                  </a:lnTo>
                  <a:lnTo>
                    <a:pt x="339" y="1574"/>
                  </a:lnTo>
                  <a:lnTo>
                    <a:pt x="339" y="1568"/>
                  </a:lnTo>
                  <a:lnTo>
                    <a:pt x="341" y="1565"/>
                  </a:lnTo>
                  <a:lnTo>
                    <a:pt x="321" y="1554"/>
                  </a:lnTo>
                  <a:lnTo>
                    <a:pt x="318" y="1551"/>
                  </a:lnTo>
                  <a:lnTo>
                    <a:pt x="316" y="1550"/>
                  </a:lnTo>
                  <a:lnTo>
                    <a:pt x="302" y="1539"/>
                  </a:lnTo>
                  <a:lnTo>
                    <a:pt x="299" y="1539"/>
                  </a:lnTo>
                  <a:lnTo>
                    <a:pt x="297" y="1542"/>
                  </a:lnTo>
                  <a:lnTo>
                    <a:pt x="291" y="1539"/>
                  </a:lnTo>
                  <a:lnTo>
                    <a:pt x="286" y="1534"/>
                  </a:lnTo>
                  <a:lnTo>
                    <a:pt x="281" y="1532"/>
                  </a:lnTo>
                  <a:lnTo>
                    <a:pt x="272" y="1517"/>
                  </a:lnTo>
                  <a:lnTo>
                    <a:pt x="274" y="1512"/>
                  </a:lnTo>
                  <a:lnTo>
                    <a:pt x="281" y="1501"/>
                  </a:lnTo>
                  <a:lnTo>
                    <a:pt x="281" y="1497"/>
                  </a:lnTo>
                  <a:lnTo>
                    <a:pt x="285" y="1487"/>
                  </a:lnTo>
                  <a:lnTo>
                    <a:pt x="285" y="1483"/>
                  </a:lnTo>
                  <a:lnTo>
                    <a:pt x="282" y="1477"/>
                  </a:lnTo>
                  <a:lnTo>
                    <a:pt x="278" y="1456"/>
                  </a:lnTo>
                  <a:lnTo>
                    <a:pt x="282" y="1453"/>
                  </a:lnTo>
                  <a:lnTo>
                    <a:pt x="307" y="1450"/>
                  </a:lnTo>
                  <a:lnTo>
                    <a:pt x="313" y="1448"/>
                  </a:lnTo>
                  <a:lnTo>
                    <a:pt x="314" y="1446"/>
                  </a:lnTo>
                  <a:lnTo>
                    <a:pt x="316" y="1442"/>
                  </a:lnTo>
                  <a:lnTo>
                    <a:pt x="314" y="1411"/>
                  </a:lnTo>
                  <a:lnTo>
                    <a:pt x="316" y="1400"/>
                  </a:lnTo>
                  <a:lnTo>
                    <a:pt x="316" y="1384"/>
                  </a:lnTo>
                  <a:lnTo>
                    <a:pt x="318" y="1384"/>
                  </a:lnTo>
                  <a:lnTo>
                    <a:pt x="331" y="1389"/>
                  </a:lnTo>
                  <a:lnTo>
                    <a:pt x="344" y="1389"/>
                  </a:lnTo>
                  <a:lnTo>
                    <a:pt x="361" y="1385"/>
                  </a:lnTo>
                  <a:lnTo>
                    <a:pt x="374" y="1378"/>
                  </a:lnTo>
                  <a:lnTo>
                    <a:pt x="375" y="1378"/>
                  </a:lnTo>
                  <a:lnTo>
                    <a:pt x="382" y="1375"/>
                  </a:lnTo>
                  <a:lnTo>
                    <a:pt x="388" y="1383"/>
                  </a:lnTo>
                  <a:lnTo>
                    <a:pt x="392" y="1381"/>
                  </a:lnTo>
                  <a:lnTo>
                    <a:pt x="393" y="1385"/>
                  </a:lnTo>
                  <a:lnTo>
                    <a:pt x="394" y="1388"/>
                  </a:lnTo>
                  <a:lnTo>
                    <a:pt x="396" y="1386"/>
                  </a:lnTo>
                  <a:lnTo>
                    <a:pt x="397" y="1385"/>
                  </a:lnTo>
                  <a:lnTo>
                    <a:pt x="403" y="1383"/>
                  </a:lnTo>
                  <a:lnTo>
                    <a:pt x="402" y="1378"/>
                  </a:lnTo>
                  <a:lnTo>
                    <a:pt x="396" y="1375"/>
                  </a:lnTo>
                  <a:lnTo>
                    <a:pt x="393" y="1367"/>
                  </a:lnTo>
                  <a:lnTo>
                    <a:pt x="389" y="1365"/>
                  </a:lnTo>
                  <a:lnTo>
                    <a:pt x="391" y="1356"/>
                  </a:lnTo>
                  <a:lnTo>
                    <a:pt x="388" y="1352"/>
                  </a:lnTo>
                  <a:lnTo>
                    <a:pt x="389" y="1348"/>
                  </a:lnTo>
                  <a:lnTo>
                    <a:pt x="388" y="1343"/>
                  </a:lnTo>
                  <a:lnTo>
                    <a:pt x="392" y="1339"/>
                  </a:lnTo>
                  <a:lnTo>
                    <a:pt x="388" y="1336"/>
                  </a:lnTo>
                  <a:lnTo>
                    <a:pt x="386" y="1328"/>
                  </a:lnTo>
                  <a:lnTo>
                    <a:pt x="377" y="1326"/>
                  </a:lnTo>
                  <a:lnTo>
                    <a:pt x="381" y="1322"/>
                  </a:lnTo>
                  <a:lnTo>
                    <a:pt x="379" y="1311"/>
                  </a:lnTo>
                  <a:lnTo>
                    <a:pt x="383" y="1307"/>
                  </a:lnTo>
                  <a:lnTo>
                    <a:pt x="379" y="1303"/>
                  </a:lnTo>
                  <a:lnTo>
                    <a:pt x="385" y="1298"/>
                  </a:lnTo>
                  <a:lnTo>
                    <a:pt x="382" y="1293"/>
                  </a:lnTo>
                  <a:lnTo>
                    <a:pt x="379" y="1292"/>
                  </a:lnTo>
                  <a:lnTo>
                    <a:pt x="375" y="1294"/>
                  </a:lnTo>
                  <a:lnTo>
                    <a:pt x="374" y="1302"/>
                  </a:lnTo>
                  <a:lnTo>
                    <a:pt x="368" y="1303"/>
                  </a:lnTo>
                  <a:lnTo>
                    <a:pt x="364" y="1303"/>
                  </a:lnTo>
                  <a:lnTo>
                    <a:pt x="360" y="1298"/>
                  </a:lnTo>
                  <a:lnTo>
                    <a:pt x="360" y="1296"/>
                  </a:lnTo>
                  <a:lnTo>
                    <a:pt x="363" y="1294"/>
                  </a:lnTo>
                  <a:lnTo>
                    <a:pt x="364" y="1289"/>
                  </a:lnTo>
                  <a:lnTo>
                    <a:pt x="363" y="1277"/>
                  </a:lnTo>
                  <a:lnTo>
                    <a:pt x="371" y="1269"/>
                  </a:lnTo>
                  <a:lnTo>
                    <a:pt x="369" y="1268"/>
                  </a:lnTo>
                  <a:lnTo>
                    <a:pt x="363" y="1268"/>
                  </a:lnTo>
                  <a:lnTo>
                    <a:pt x="357" y="1261"/>
                  </a:lnTo>
                  <a:lnTo>
                    <a:pt x="357" y="1255"/>
                  </a:lnTo>
                  <a:lnTo>
                    <a:pt x="354" y="1251"/>
                  </a:lnTo>
                  <a:lnTo>
                    <a:pt x="356" y="1246"/>
                  </a:lnTo>
                  <a:lnTo>
                    <a:pt x="356" y="1236"/>
                  </a:lnTo>
                  <a:lnTo>
                    <a:pt x="352" y="1232"/>
                  </a:lnTo>
                  <a:lnTo>
                    <a:pt x="350" y="1231"/>
                  </a:lnTo>
                  <a:lnTo>
                    <a:pt x="354" y="1224"/>
                  </a:lnTo>
                  <a:lnTo>
                    <a:pt x="354" y="1220"/>
                  </a:lnTo>
                  <a:lnTo>
                    <a:pt x="357" y="1217"/>
                  </a:lnTo>
                  <a:lnTo>
                    <a:pt x="357" y="1210"/>
                  </a:lnTo>
                  <a:lnTo>
                    <a:pt x="356" y="1206"/>
                  </a:lnTo>
                  <a:lnTo>
                    <a:pt x="353" y="1202"/>
                  </a:lnTo>
                  <a:lnTo>
                    <a:pt x="352" y="1202"/>
                  </a:lnTo>
                  <a:lnTo>
                    <a:pt x="344" y="1205"/>
                  </a:lnTo>
                  <a:lnTo>
                    <a:pt x="339" y="1198"/>
                  </a:lnTo>
                  <a:lnTo>
                    <a:pt x="339" y="1195"/>
                  </a:lnTo>
                  <a:lnTo>
                    <a:pt x="344" y="1192"/>
                  </a:lnTo>
                  <a:lnTo>
                    <a:pt x="344" y="1187"/>
                  </a:lnTo>
                  <a:lnTo>
                    <a:pt x="349" y="1186"/>
                  </a:lnTo>
                  <a:lnTo>
                    <a:pt x="356" y="1184"/>
                  </a:lnTo>
                  <a:lnTo>
                    <a:pt x="361" y="1182"/>
                  </a:lnTo>
                  <a:lnTo>
                    <a:pt x="367" y="1173"/>
                  </a:lnTo>
                  <a:lnTo>
                    <a:pt x="369" y="1157"/>
                  </a:lnTo>
                  <a:lnTo>
                    <a:pt x="375" y="1153"/>
                  </a:lnTo>
                  <a:lnTo>
                    <a:pt x="385" y="1149"/>
                  </a:lnTo>
                  <a:lnTo>
                    <a:pt x="393" y="1143"/>
                  </a:lnTo>
                  <a:lnTo>
                    <a:pt x="411" y="1142"/>
                  </a:lnTo>
                  <a:lnTo>
                    <a:pt x="417" y="1137"/>
                  </a:lnTo>
                  <a:lnTo>
                    <a:pt x="432" y="1103"/>
                  </a:lnTo>
                  <a:lnTo>
                    <a:pt x="447" y="1081"/>
                  </a:lnTo>
                  <a:lnTo>
                    <a:pt x="454" y="1063"/>
                  </a:lnTo>
                  <a:lnTo>
                    <a:pt x="456" y="1068"/>
                  </a:lnTo>
                  <a:lnTo>
                    <a:pt x="478" y="1072"/>
                  </a:lnTo>
                  <a:lnTo>
                    <a:pt x="486" y="1072"/>
                  </a:lnTo>
                  <a:lnTo>
                    <a:pt x="495" y="1074"/>
                  </a:lnTo>
                  <a:lnTo>
                    <a:pt x="499" y="1068"/>
                  </a:lnTo>
                  <a:lnTo>
                    <a:pt x="502" y="1066"/>
                  </a:lnTo>
                  <a:lnTo>
                    <a:pt x="506" y="1066"/>
                  </a:lnTo>
                  <a:lnTo>
                    <a:pt x="517" y="1070"/>
                  </a:lnTo>
                  <a:lnTo>
                    <a:pt x="518" y="1074"/>
                  </a:lnTo>
                  <a:lnTo>
                    <a:pt x="516" y="1081"/>
                  </a:lnTo>
                  <a:lnTo>
                    <a:pt x="520" y="1082"/>
                  </a:lnTo>
                  <a:lnTo>
                    <a:pt x="521" y="1086"/>
                  </a:lnTo>
                  <a:lnTo>
                    <a:pt x="518" y="1093"/>
                  </a:lnTo>
                  <a:lnTo>
                    <a:pt x="518" y="1094"/>
                  </a:lnTo>
                  <a:lnTo>
                    <a:pt x="520" y="1097"/>
                  </a:lnTo>
                  <a:lnTo>
                    <a:pt x="534" y="1100"/>
                  </a:lnTo>
                  <a:lnTo>
                    <a:pt x="535" y="1108"/>
                  </a:lnTo>
                  <a:lnTo>
                    <a:pt x="531" y="1112"/>
                  </a:lnTo>
                  <a:lnTo>
                    <a:pt x="530" y="1116"/>
                  </a:lnTo>
                  <a:lnTo>
                    <a:pt x="530" y="1119"/>
                  </a:lnTo>
                  <a:lnTo>
                    <a:pt x="534" y="1119"/>
                  </a:lnTo>
                  <a:lnTo>
                    <a:pt x="535" y="1120"/>
                  </a:lnTo>
                  <a:lnTo>
                    <a:pt x="536" y="1128"/>
                  </a:lnTo>
                  <a:lnTo>
                    <a:pt x="538" y="1131"/>
                  </a:lnTo>
                  <a:lnTo>
                    <a:pt x="542" y="1135"/>
                  </a:lnTo>
                  <a:lnTo>
                    <a:pt x="542" y="1143"/>
                  </a:lnTo>
                  <a:lnTo>
                    <a:pt x="543" y="1145"/>
                  </a:lnTo>
                  <a:lnTo>
                    <a:pt x="546" y="1147"/>
                  </a:lnTo>
                  <a:lnTo>
                    <a:pt x="552" y="1142"/>
                  </a:lnTo>
                  <a:lnTo>
                    <a:pt x="556" y="1143"/>
                  </a:lnTo>
                  <a:lnTo>
                    <a:pt x="566" y="1157"/>
                  </a:lnTo>
                  <a:lnTo>
                    <a:pt x="574" y="1161"/>
                  </a:lnTo>
                  <a:lnTo>
                    <a:pt x="577" y="1168"/>
                  </a:lnTo>
                  <a:lnTo>
                    <a:pt x="588" y="1175"/>
                  </a:lnTo>
                  <a:lnTo>
                    <a:pt x="593" y="1178"/>
                  </a:lnTo>
                  <a:lnTo>
                    <a:pt x="602" y="1178"/>
                  </a:lnTo>
                  <a:lnTo>
                    <a:pt x="616" y="1173"/>
                  </a:lnTo>
                  <a:lnTo>
                    <a:pt x="638" y="1130"/>
                  </a:lnTo>
                  <a:lnTo>
                    <a:pt x="646" y="1120"/>
                  </a:lnTo>
                  <a:lnTo>
                    <a:pt x="652" y="1119"/>
                  </a:lnTo>
                  <a:lnTo>
                    <a:pt x="656" y="1120"/>
                  </a:lnTo>
                  <a:lnTo>
                    <a:pt x="660" y="1120"/>
                  </a:lnTo>
                  <a:lnTo>
                    <a:pt x="667" y="1124"/>
                  </a:lnTo>
                  <a:lnTo>
                    <a:pt x="667" y="1127"/>
                  </a:lnTo>
                  <a:lnTo>
                    <a:pt x="671" y="1131"/>
                  </a:lnTo>
                  <a:lnTo>
                    <a:pt x="674" y="1131"/>
                  </a:lnTo>
                  <a:lnTo>
                    <a:pt x="678" y="1131"/>
                  </a:lnTo>
                  <a:lnTo>
                    <a:pt x="681" y="1135"/>
                  </a:lnTo>
                  <a:lnTo>
                    <a:pt x="684" y="1135"/>
                  </a:lnTo>
                  <a:lnTo>
                    <a:pt x="685" y="1133"/>
                  </a:lnTo>
                  <a:lnTo>
                    <a:pt x="691" y="1133"/>
                  </a:lnTo>
                  <a:lnTo>
                    <a:pt x="695" y="1135"/>
                  </a:lnTo>
                  <a:lnTo>
                    <a:pt x="698" y="1142"/>
                  </a:lnTo>
                  <a:lnTo>
                    <a:pt x="699" y="1142"/>
                  </a:lnTo>
                  <a:lnTo>
                    <a:pt x="724" y="1032"/>
                  </a:lnTo>
                  <a:lnTo>
                    <a:pt x="728" y="1025"/>
                  </a:lnTo>
                  <a:lnTo>
                    <a:pt x="726" y="1011"/>
                  </a:lnTo>
                  <a:lnTo>
                    <a:pt x="723" y="993"/>
                  </a:lnTo>
                  <a:lnTo>
                    <a:pt x="720" y="978"/>
                  </a:lnTo>
                  <a:lnTo>
                    <a:pt x="721" y="970"/>
                  </a:lnTo>
                  <a:lnTo>
                    <a:pt x="712" y="951"/>
                  </a:lnTo>
                  <a:lnTo>
                    <a:pt x="706" y="948"/>
                  </a:lnTo>
                  <a:lnTo>
                    <a:pt x="730" y="917"/>
                  </a:lnTo>
                  <a:lnTo>
                    <a:pt x="727" y="917"/>
                  </a:lnTo>
                  <a:lnTo>
                    <a:pt x="726" y="914"/>
                  </a:lnTo>
                  <a:lnTo>
                    <a:pt x="723" y="913"/>
                  </a:lnTo>
                  <a:lnTo>
                    <a:pt x="717" y="907"/>
                  </a:lnTo>
                  <a:lnTo>
                    <a:pt x="717" y="899"/>
                  </a:lnTo>
                  <a:lnTo>
                    <a:pt x="716" y="899"/>
                  </a:lnTo>
                  <a:lnTo>
                    <a:pt x="718" y="899"/>
                  </a:lnTo>
                  <a:lnTo>
                    <a:pt x="718" y="898"/>
                  </a:lnTo>
                  <a:lnTo>
                    <a:pt x="713" y="895"/>
                  </a:lnTo>
                  <a:lnTo>
                    <a:pt x="712" y="895"/>
                  </a:lnTo>
                  <a:lnTo>
                    <a:pt x="707" y="895"/>
                  </a:lnTo>
                  <a:lnTo>
                    <a:pt x="705" y="888"/>
                  </a:lnTo>
                  <a:lnTo>
                    <a:pt x="699" y="884"/>
                  </a:lnTo>
                  <a:lnTo>
                    <a:pt x="695" y="884"/>
                  </a:lnTo>
                  <a:lnTo>
                    <a:pt x="690" y="876"/>
                  </a:lnTo>
                  <a:lnTo>
                    <a:pt x="688" y="876"/>
                  </a:lnTo>
                  <a:lnTo>
                    <a:pt x="688" y="875"/>
                  </a:lnTo>
                  <a:lnTo>
                    <a:pt x="690" y="872"/>
                  </a:lnTo>
                  <a:lnTo>
                    <a:pt x="688" y="870"/>
                  </a:lnTo>
                  <a:lnTo>
                    <a:pt x="680" y="869"/>
                  </a:lnTo>
                  <a:lnTo>
                    <a:pt x="673" y="871"/>
                  </a:lnTo>
                  <a:lnTo>
                    <a:pt x="670" y="867"/>
                  </a:lnTo>
                  <a:lnTo>
                    <a:pt x="666" y="866"/>
                  </a:lnTo>
                  <a:lnTo>
                    <a:pt x="666" y="862"/>
                  </a:lnTo>
                  <a:lnTo>
                    <a:pt x="663" y="862"/>
                  </a:lnTo>
                  <a:lnTo>
                    <a:pt x="653" y="864"/>
                  </a:lnTo>
                  <a:lnTo>
                    <a:pt x="643" y="862"/>
                  </a:lnTo>
                  <a:lnTo>
                    <a:pt x="652" y="836"/>
                  </a:lnTo>
                  <a:lnTo>
                    <a:pt x="653" y="822"/>
                  </a:lnTo>
                  <a:lnTo>
                    <a:pt x="657" y="808"/>
                  </a:lnTo>
                  <a:lnTo>
                    <a:pt x="659" y="795"/>
                  </a:lnTo>
                  <a:lnTo>
                    <a:pt x="662" y="785"/>
                  </a:lnTo>
                  <a:lnTo>
                    <a:pt x="660" y="775"/>
                  </a:lnTo>
                  <a:lnTo>
                    <a:pt x="663" y="763"/>
                  </a:lnTo>
                  <a:lnTo>
                    <a:pt x="659" y="753"/>
                  </a:lnTo>
                  <a:lnTo>
                    <a:pt x="659" y="746"/>
                  </a:lnTo>
                  <a:lnTo>
                    <a:pt x="657" y="742"/>
                  </a:lnTo>
                  <a:lnTo>
                    <a:pt x="627" y="724"/>
                  </a:lnTo>
                  <a:lnTo>
                    <a:pt x="624" y="722"/>
                  </a:lnTo>
                  <a:lnTo>
                    <a:pt x="624" y="718"/>
                  </a:lnTo>
                  <a:lnTo>
                    <a:pt x="627" y="678"/>
                  </a:lnTo>
                  <a:lnTo>
                    <a:pt x="626" y="671"/>
                  </a:lnTo>
                  <a:lnTo>
                    <a:pt x="606" y="641"/>
                  </a:lnTo>
                  <a:lnTo>
                    <a:pt x="635" y="581"/>
                  </a:lnTo>
                  <a:lnTo>
                    <a:pt x="643" y="559"/>
                  </a:lnTo>
                  <a:lnTo>
                    <a:pt x="656" y="510"/>
                  </a:lnTo>
                  <a:lnTo>
                    <a:pt x="657" y="497"/>
                  </a:lnTo>
                  <a:lnTo>
                    <a:pt x="651" y="486"/>
                  </a:lnTo>
                  <a:lnTo>
                    <a:pt x="645" y="472"/>
                  </a:lnTo>
                  <a:lnTo>
                    <a:pt x="645" y="469"/>
                  </a:lnTo>
                  <a:lnTo>
                    <a:pt x="649" y="457"/>
                  </a:lnTo>
                  <a:lnTo>
                    <a:pt x="659" y="417"/>
                  </a:lnTo>
                  <a:lnTo>
                    <a:pt x="660" y="401"/>
                  </a:lnTo>
                  <a:lnTo>
                    <a:pt x="674" y="386"/>
                  </a:lnTo>
                  <a:lnTo>
                    <a:pt x="681" y="376"/>
                  </a:lnTo>
                  <a:lnTo>
                    <a:pt x="680" y="372"/>
                  </a:lnTo>
                  <a:lnTo>
                    <a:pt x="678" y="368"/>
                  </a:lnTo>
                  <a:lnTo>
                    <a:pt x="673" y="364"/>
                  </a:lnTo>
                  <a:lnTo>
                    <a:pt x="668" y="364"/>
                  </a:lnTo>
                  <a:lnTo>
                    <a:pt x="667" y="364"/>
                  </a:lnTo>
                  <a:lnTo>
                    <a:pt x="666" y="360"/>
                  </a:lnTo>
                  <a:lnTo>
                    <a:pt x="665" y="356"/>
                  </a:lnTo>
                  <a:lnTo>
                    <a:pt x="652" y="352"/>
                  </a:lnTo>
                  <a:lnTo>
                    <a:pt x="635" y="344"/>
                  </a:lnTo>
                  <a:lnTo>
                    <a:pt x="709" y="210"/>
                  </a:lnTo>
                  <a:lnTo>
                    <a:pt x="745" y="185"/>
                  </a:lnTo>
                  <a:lnTo>
                    <a:pt x="773" y="181"/>
                  </a:lnTo>
                  <a:lnTo>
                    <a:pt x="798" y="175"/>
                  </a:lnTo>
                  <a:lnTo>
                    <a:pt x="820" y="169"/>
                  </a:lnTo>
                  <a:lnTo>
                    <a:pt x="873" y="153"/>
                  </a:lnTo>
                  <a:lnTo>
                    <a:pt x="901" y="102"/>
                  </a:lnTo>
                  <a:lnTo>
                    <a:pt x="906" y="94"/>
                  </a:lnTo>
                  <a:lnTo>
                    <a:pt x="909" y="87"/>
                  </a:lnTo>
                  <a:lnTo>
                    <a:pt x="913" y="78"/>
                  </a:lnTo>
                  <a:lnTo>
                    <a:pt x="925" y="59"/>
                  </a:lnTo>
                  <a:lnTo>
                    <a:pt x="926" y="57"/>
                  </a:lnTo>
                  <a:lnTo>
                    <a:pt x="911" y="57"/>
                  </a:lnTo>
                  <a:lnTo>
                    <a:pt x="903" y="56"/>
                  </a:lnTo>
                  <a:lnTo>
                    <a:pt x="902" y="42"/>
                  </a:lnTo>
                  <a:lnTo>
                    <a:pt x="905" y="34"/>
                  </a:lnTo>
                  <a:lnTo>
                    <a:pt x="911" y="33"/>
                  </a:lnTo>
                  <a:lnTo>
                    <a:pt x="913" y="31"/>
                  </a:lnTo>
                  <a:lnTo>
                    <a:pt x="923" y="19"/>
                  </a:lnTo>
                  <a:lnTo>
                    <a:pt x="925" y="12"/>
                  </a:lnTo>
                  <a:lnTo>
                    <a:pt x="930" y="0"/>
                  </a:lnTo>
                  <a:lnTo>
                    <a:pt x="931" y="4"/>
                  </a:lnTo>
                  <a:lnTo>
                    <a:pt x="936" y="8"/>
                  </a:lnTo>
                  <a:lnTo>
                    <a:pt x="950" y="7"/>
                  </a:lnTo>
                  <a:lnTo>
                    <a:pt x="972" y="20"/>
                  </a:lnTo>
                  <a:lnTo>
                    <a:pt x="976" y="27"/>
                  </a:lnTo>
                  <a:lnTo>
                    <a:pt x="977" y="33"/>
                  </a:lnTo>
                  <a:lnTo>
                    <a:pt x="981" y="39"/>
                  </a:lnTo>
                  <a:lnTo>
                    <a:pt x="990" y="42"/>
                  </a:lnTo>
                  <a:lnTo>
                    <a:pt x="997" y="57"/>
                  </a:lnTo>
                  <a:lnTo>
                    <a:pt x="1008" y="65"/>
                  </a:lnTo>
                  <a:lnTo>
                    <a:pt x="1036" y="78"/>
                  </a:lnTo>
                  <a:lnTo>
                    <a:pt x="1050" y="78"/>
                  </a:lnTo>
                  <a:lnTo>
                    <a:pt x="1068" y="82"/>
                  </a:lnTo>
                  <a:lnTo>
                    <a:pt x="1077" y="83"/>
                  </a:lnTo>
                  <a:lnTo>
                    <a:pt x="1090" y="91"/>
                  </a:lnTo>
                  <a:lnTo>
                    <a:pt x="1112" y="94"/>
                  </a:lnTo>
                  <a:lnTo>
                    <a:pt x="1121" y="102"/>
                  </a:lnTo>
                  <a:lnTo>
                    <a:pt x="1129" y="106"/>
                  </a:lnTo>
                  <a:lnTo>
                    <a:pt x="1135" y="112"/>
                  </a:lnTo>
                  <a:lnTo>
                    <a:pt x="1144" y="114"/>
                  </a:lnTo>
                  <a:lnTo>
                    <a:pt x="1146" y="119"/>
                  </a:lnTo>
                  <a:lnTo>
                    <a:pt x="1144" y="124"/>
                  </a:lnTo>
                  <a:lnTo>
                    <a:pt x="1146" y="128"/>
                  </a:lnTo>
                  <a:lnTo>
                    <a:pt x="1147" y="143"/>
                  </a:lnTo>
                  <a:lnTo>
                    <a:pt x="1150" y="146"/>
                  </a:lnTo>
                  <a:lnTo>
                    <a:pt x="1157" y="150"/>
                  </a:lnTo>
                  <a:lnTo>
                    <a:pt x="1160" y="153"/>
                  </a:lnTo>
                  <a:lnTo>
                    <a:pt x="1166" y="158"/>
                  </a:lnTo>
                  <a:lnTo>
                    <a:pt x="1173" y="171"/>
                  </a:lnTo>
                  <a:lnTo>
                    <a:pt x="1180" y="175"/>
                  </a:lnTo>
                  <a:lnTo>
                    <a:pt x="1182" y="181"/>
                  </a:lnTo>
                  <a:lnTo>
                    <a:pt x="1180" y="187"/>
                  </a:lnTo>
                  <a:lnTo>
                    <a:pt x="1182" y="190"/>
                  </a:lnTo>
                  <a:lnTo>
                    <a:pt x="1193" y="191"/>
                  </a:lnTo>
                  <a:lnTo>
                    <a:pt x="1210" y="202"/>
                  </a:lnTo>
                  <a:lnTo>
                    <a:pt x="1215" y="207"/>
                  </a:lnTo>
                  <a:lnTo>
                    <a:pt x="1216" y="211"/>
                  </a:lnTo>
                  <a:lnTo>
                    <a:pt x="1218" y="225"/>
                  </a:lnTo>
                  <a:lnTo>
                    <a:pt x="1212" y="239"/>
                  </a:lnTo>
                  <a:lnTo>
                    <a:pt x="1212" y="244"/>
                  </a:lnTo>
                  <a:lnTo>
                    <a:pt x="1214" y="248"/>
                  </a:lnTo>
                  <a:lnTo>
                    <a:pt x="1219" y="252"/>
                  </a:lnTo>
                  <a:lnTo>
                    <a:pt x="1222" y="258"/>
                  </a:lnTo>
                  <a:lnTo>
                    <a:pt x="1229" y="262"/>
                  </a:lnTo>
                  <a:lnTo>
                    <a:pt x="1232" y="266"/>
                  </a:lnTo>
                  <a:lnTo>
                    <a:pt x="1229" y="281"/>
                  </a:lnTo>
                  <a:lnTo>
                    <a:pt x="1230" y="287"/>
                  </a:lnTo>
                  <a:lnTo>
                    <a:pt x="1235" y="293"/>
                  </a:lnTo>
                  <a:lnTo>
                    <a:pt x="1243" y="300"/>
                  </a:lnTo>
                  <a:lnTo>
                    <a:pt x="1246" y="305"/>
                  </a:lnTo>
                  <a:lnTo>
                    <a:pt x="1246" y="310"/>
                  </a:lnTo>
                  <a:lnTo>
                    <a:pt x="1243" y="325"/>
                  </a:lnTo>
                  <a:lnTo>
                    <a:pt x="1243" y="332"/>
                  </a:lnTo>
                  <a:lnTo>
                    <a:pt x="1264" y="356"/>
                  </a:lnTo>
                  <a:lnTo>
                    <a:pt x="1269" y="372"/>
                  </a:lnTo>
                  <a:lnTo>
                    <a:pt x="1280" y="382"/>
                  </a:lnTo>
                  <a:lnTo>
                    <a:pt x="1282" y="386"/>
                  </a:lnTo>
                  <a:lnTo>
                    <a:pt x="1282" y="399"/>
                  </a:lnTo>
                  <a:lnTo>
                    <a:pt x="1286" y="423"/>
                  </a:lnTo>
                  <a:lnTo>
                    <a:pt x="1289" y="434"/>
                  </a:lnTo>
                  <a:lnTo>
                    <a:pt x="1297" y="447"/>
                  </a:lnTo>
                  <a:lnTo>
                    <a:pt x="1300" y="454"/>
                  </a:lnTo>
                  <a:lnTo>
                    <a:pt x="1302" y="461"/>
                  </a:lnTo>
                  <a:lnTo>
                    <a:pt x="1308" y="468"/>
                  </a:lnTo>
                  <a:lnTo>
                    <a:pt x="1312" y="469"/>
                  </a:lnTo>
                  <a:lnTo>
                    <a:pt x="1328" y="471"/>
                  </a:lnTo>
                  <a:lnTo>
                    <a:pt x="1333" y="476"/>
                  </a:lnTo>
                  <a:lnTo>
                    <a:pt x="1340" y="492"/>
                  </a:lnTo>
                  <a:lnTo>
                    <a:pt x="1346" y="501"/>
                  </a:lnTo>
                  <a:lnTo>
                    <a:pt x="1347" y="505"/>
                  </a:lnTo>
                  <a:lnTo>
                    <a:pt x="1349" y="529"/>
                  </a:lnTo>
                  <a:lnTo>
                    <a:pt x="1354" y="536"/>
                  </a:lnTo>
                  <a:lnTo>
                    <a:pt x="1357" y="541"/>
                  </a:lnTo>
                  <a:lnTo>
                    <a:pt x="1374" y="555"/>
                  </a:lnTo>
                  <a:lnTo>
                    <a:pt x="1378" y="563"/>
                  </a:lnTo>
                  <a:lnTo>
                    <a:pt x="1382" y="572"/>
                  </a:lnTo>
                  <a:lnTo>
                    <a:pt x="1381" y="578"/>
                  </a:lnTo>
                  <a:lnTo>
                    <a:pt x="1378" y="584"/>
                  </a:lnTo>
                  <a:lnTo>
                    <a:pt x="1381" y="592"/>
                  </a:lnTo>
                  <a:lnTo>
                    <a:pt x="1390" y="606"/>
                  </a:lnTo>
                  <a:lnTo>
                    <a:pt x="1395" y="609"/>
                  </a:lnTo>
                  <a:lnTo>
                    <a:pt x="1414" y="614"/>
                  </a:lnTo>
                  <a:lnTo>
                    <a:pt x="1417" y="618"/>
                  </a:lnTo>
                  <a:lnTo>
                    <a:pt x="1418" y="621"/>
                  </a:lnTo>
                  <a:lnTo>
                    <a:pt x="1424" y="639"/>
                  </a:lnTo>
                  <a:lnTo>
                    <a:pt x="1426" y="645"/>
                  </a:lnTo>
                  <a:lnTo>
                    <a:pt x="1431" y="648"/>
                  </a:lnTo>
                  <a:lnTo>
                    <a:pt x="1437" y="653"/>
                  </a:lnTo>
                  <a:lnTo>
                    <a:pt x="1445" y="658"/>
                  </a:lnTo>
                  <a:lnTo>
                    <a:pt x="1446" y="663"/>
                  </a:lnTo>
                  <a:lnTo>
                    <a:pt x="1446" y="667"/>
                  </a:lnTo>
                  <a:lnTo>
                    <a:pt x="1440" y="679"/>
                  </a:lnTo>
                  <a:lnTo>
                    <a:pt x="1442" y="689"/>
                  </a:lnTo>
                  <a:lnTo>
                    <a:pt x="1465" y="708"/>
                  </a:lnTo>
                  <a:lnTo>
                    <a:pt x="1475" y="712"/>
                  </a:lnTo>
                  <a:lnTo>
                    <a:pt x="1487" y="718"/>
                  </a:lnTo>
                  <a:lnTo>
                    <a:pt x="1492" y="718"/>
                  </a:lnTo>
                  <a:lnTo>
                    <a:pt x="1497" y="712"/>
                  </a:lnTo>
                  <a:lnTo>
                    <a:pt x="1504" y="710"/>
                  </a:lnTo>
                  <a:lnTo>
                    <a:pt x="1510" y="712"/>
                  </a:lnTo>
                  <a:lnTo>
                    <a:pt x="1515" y="714"/>
                  </a:lnTo>
                  <a:lnTo>
                    <a:pt x="1526" y="722"/>
                  </a:lnTo>
                  <a:lnTo>
                    <a:pt x="1534" y="724"/>
                  </a:lnTo>
                  <a:lnTo>
                    <a:pt x="1551" y="726"/>
                  </a:lnTo>
                  <a:lnTo>
                    <a:pt x="1557" y="722"/>
                  </a:lnTo>
                  <a:lnTo>
                    <a:pt x="1564" y="718"/>
                  </a:lnTo>
                  <a:lnTo>
                    <a:pt x="1571" y="718"/>
                  </a:lnTo>
                  <a:lnTo>
                    <a:pt x="1575" y="720"/>
                  </a:lnTo>
                  <a:lnTo>
                    <a:pt x="1578" y="722"/>
                  </a:lnTo>
                  <a:lnTo>
                    <a:pt x="1584" y="733"/>
                  </a:lnTo>
                  <a:lnTo>
                    <a:pt x="1593" y="753"/>
                  </a:lnTo>
                  <a:lnTo>
                    <a:pt x="1595" y="760"/>
                  </a:lnTo>
                  <a:lnTo>
                    <a:pt x="1595" y="767"/>
                  </a:lnTo>
                  <a:lnTo>
                    <a:pt x="1587" y="778"/>
                  </a:lnTo>
                  <a:lnTo>
                    <a:pt x="1589" y="787"/>
                  </a:lnTo>
                  <a:lnTo>
                    <a:pt x="1592" y="794"/>
                  </a:lnTo>
                  <a:lnTo>
                    <a:pt x="1599" y="799"/>
                  </a:lnTo>
                  <a:lnTo>
                    <a:pt x="1610" y="800"/>
                  </a:lnTo>
                  <a:lnTo>
                    <a:pt x="1614" y="801"/>
                  </a:lnTo>
                  <a:lnTo>
                    <a:pt x="1618" y="813"/>
                  </a:lnTo>
                  <a:lnTo>
                    <a:pt x="1621" y="813"/>
                  </a:lnTo>
                  <a:lnTo>
                    <a:pt x="1636" y="817"/>
                  </a:lnTo>
                  <a:lnTo>
                    <a:pt x="1641" y="821"/>
                  </a:lnTo>
                  <a:lnTo>
                    <a:pt x="1649" y="830"/>
                  </a:lnTo>
                  <a:lnTo>
                    <a:pt x="1657" y="836"/>
                  </a:lnTo>
                  <a:lnTo>
                    <a:pt x="1659" y="844"/>
                  </a:lnTo>
                  <a:lnTo>
                    <a:pt x="1657" y="850"/>
                  </a:lnTo>
                  <a:lnTo>
                    <a:pt x="1667" y="875"/>
                  </a:lnTo>
                  <a:lnTo>
                    <a:pt x="1669" y="883"/>
                  </a:lnTo>
                  <a:lnTo>
                    <a:pt x="1670" y="884"/>
                  </a:lnTo>
                  <a:lnTo>
                    <a:pt x="1666" y="894"/>
                  </a:lnTo>
                  <a:lnTo>
                    <a:pt x="1664" y="899"/>
                  </a:lnTo>
                  <a:lnTo>
                    <a:pt x="1663" y="903"/>
                  </a:lnTo>
                  <a:lnTo>
                    <a:pt x="1659" y="907"/>
                  </a:lnTo>
                  <a:lnTo>
                    <a:pt x="1659" y="911"/>
                  </a:lnTo>
                  <a:lnTo>
                    <a:pt x="1660" y="913"/>
                  </a:lnTo>
                  <a:lnTo>
                    <a:pt x="1674" y="921"/>
                  </a:lnTo>
                  <a:lnTo>
                    <a:pt x="1677" y="925"/>
                  </a:lnTo>
                  <a:lnTo>
                    <a:pt x="1677" y="932"/>
                  </a:lnTo>
                  <a:lnTo>
                    <a:pt x="1678" y="936"/>
                  </a:lnTo>
                  <a:lnTo>
                    <a:pt x="1689" y="938"/>
                  </a:lnTo>
                  <a:lnTo>
                    <a:pt x="1691" y="940"/>
                  </a:lnTo>
                  <a:lnTo>
                    <a:pt x="1692" y="948"/>
                  </a:lnTo>
                  <a:lnTo>
                    <a:pt x="1716" y="962"/>
                  </a:lnTo>
                  <a:lnTo>
                    <a:pt x="1739" y="970"/>
                  </a:lnTo>
                  <a:lnTo>
                    <a:pt x="1746" y="970"/>
                  </a:lnTo>
                  <a:lnTo>
                    <a:pt x="1755" y="969"/>
                  </a:lnTo>
                  <a:lnTo>
                    <a:pt x="1760" y="969"/>
                  </a:lnTo>
                  <a:lnTo>
                    <a:pt x="1764" y="974"/>
                  </a:lnTo>
                  <a:lnTo>
                    <a:pt x="1769" y="982"/>
                  </a:lnTo>
                  <a:lnTo>
                    <a:pt x="1773" y="986"/>
                  </a:lnTo>
                  <a:lnTo>
                    <a:pt x="1784" y="987"/>
                  </a:lnTo>
                  <a:lnTo>
                    <a:pt x="1803" y="987"/>
                  </a:lnTo>
                  <a:lnTo>
                    <a:pt x="1825" y="995"/>
                  </a:lnTo>
                  <a:lnTo>
                    <a:pt x="1846" y="996"/>
                  </a:lnTo>
                  <a:lnTo>
                    <a:pt x="1866" y="1000"/>
                  </a:lnTo>
                  <a:lnTo>
                    <a:pt x="1875" y="1007"/>
                  </a:lnTo>
                  <a:lnTo>
                    <a:pt x="1883" y="1013"/>
                  </a:lnTo>
                  <a:lnTo>
                    <a:pt x="1892" y="1018"/>
                  </a:lnTo>
                  <a:lnTo>
                    <a:pt x="1905" y="1027"/>
                  </a:lnTo>
                  <a:lnTo>
                    <a:pt x="1923" y="1031"/>
                  </a:lnTo>
                  <a:lnTo>
                    <a:pt x="1928" y="1035"/>
                  </a:lnTo>
                  <a:lnTo>
                    <a:pt x="1942" y="1048"/>
                  </a:lnTo>
                  <a:lnTo>
                    <a:pt x="1956" y="1049"/>
                  </a:lnTo>
                  <a:lnTo>
                    <a:pt x="1962" y="1053"/>
                  </a:lnTo>
                  <a:lnTo>
                    <a:pt x="1970" y="1060"/>
                  </a:lnTo>
                  <a:lnTo>
                    <a:pt x="1980" y="1070"/>
                  </a:lnTo>
                  <a:lnTo>
                    <a:pt x="1980" y="1075"/>
                  </a:lnTo>
                  <a:lnTo>
                    <a:pt x="1977" y="1086"/>
                  </a:lnTo>
                  <a:lnTo>
                    <a:pt x="1977" y="1093"/>
                  </a:lnTo>
                  <a:lnTo>
                    <a:pt x="1981" y="1107"/>
                  </a:lnTo>
                  <a:lnTo>
                    <a:pt x="1987" y="1115"/>
                  </a:lnTo>
                  <a:lnTo>
                    <a:pt x="2001" y="1124"/>
                  </a:lnTo>
                  <a:lnTo>
                    <a:pt x="2010" y="1135"/>
                  </a:lnTo>
                  <a:lnTo>
                    <a:pt x="2012" y="1139"/>
                  </a:lnTo>
                  <a:lnTo>
                    <a:pt x="2012" y="1153"/>
                  </a:lnTo>
                  <a:lnTo>
                    <a:pt x="2015" y="1161"/>
                  </a:lnTo>
                  <a:lnTo>
                    <a:pt x="2019" y="1165"/>
                  </a:lnTo>
                  <a:lnTo>
                    <a:pt x="2021" y="1169"/>
                  </a:lnTo>
                  <a:lnTo>
                    <a:pt x="2038" y="1169"/>
                  </a:lnTo>
                  <a:lnTo>
                    <a:pt x="2049" y="1175"/>
                  </a:lnTo>
                  <a:lnTo>
                    <a:pt x="2058" y="1182"/>
                  </a:lnTo>
                  <a:lnTo>
                    <a:pt x="2063" y="1187"/>
                  </a:lnTo>
                  <a:lnTo>
                    <a:pt x="2066" y="1198"/>
                  </a:lnTo>
                  <a:lnTo>
                    <a:pt x="2070" y="1199"/>
                  </a:lnTo>
                  <a:lnTo>
                    <a:pt x="2080" y="1201"/>
                  </a:lnTo>
                  <a:lnTo>
                    <a:pt x="2088" y="1206"/>
                  </a:lnTo>
                  <a:lnTo>
                    <a:pt x="2095" y="1209"/>
                  </a:lnTo>
                  <a:lnTo>
                    <a:pt x="2101" y="1214"/>
                  </a:lnTo>
                  <a:lnTo>
                    <a:pt x="2102" y="1219"/>
                  </a:lnTo>
                  <a:lnTo>
                    <a:pt x="2110" y="1224"/>
                  </a:lnTo>
                  <a:lnTo>
                    <a:pt x="2115" y="1231"/>
                  </a:lnTo>
                  <a:lnTo>
                    <a:pt x="2121" y="1244"/>
                  </a:lnTo>
                  <a:lnTo>
                    <a:pt x="2138" y="1247"/>
                  </a:lnTo>
                  <a:lnTo>
                    <a:pt x="2149" y="1259"/>
                  </a:lnTo>
                  <a:lnTo>
                    <a:pt x="2162" y="1262"/>
                  </a:lnTo>
                  <a:lnTo>
                    <a:pt x="2174" y="1299"/>
                  </a:lnTo>
                  <a:lnTo>
                    <a:pt x="2177" y="1303"/>
                  </a:lnTo>
                  <a:lnTo>
                    <a:pt x="2184" y="1315"/>
                  </a:lnTo>
                  <a:lnTo>
                    <a:pt x="2195" y="1340"/>
                  </a:lnTo>
                  <a:lnTo>
                    <a:pt x="2198" y="1355"/>
                  </a:lnTo>
                  <a:lnTo>
                    <a:pt x="2206" y="1373"/>
                  </a:lnTo>
                  <a:lnTo>
                    <a:pt x="2206" y="1377"/>
                  </a:lnTo>
                  <a:lnTo>
                    <a:pt x="2204" y="1381"/>
                  </a:lnTo>
                  <a:lnTo>
                    <a:pt x="2202" y="1388"/>
                  </a:lnTo>
                  <a:lnTo>
                    <a:pt x="2214" y="1401"/>
                  </a:lnTo>
                  <a:lnTo>
                    <a:pt x="2215" y="1405"/>
                  </a:lnTo>
                  <a:lnTo>
                    <a:pt x="2214" y="1411"/>
                  </a:lnTo>
                  <a:lnTo>
                    <a:pt x="2215" y="1418"/>
                  </a:lnTo>
                  <a:lnTo>
                    <a:pt x="2212" y="1422"/>
                  </a:lnTo>
                  <a:lnTo>
                    <a:pt x="2215" y="1431"/>
                  </a:lnTo>
                  <a:lnTo>
                    <a:pt x="2211" y="1438"/>
                  </a:lnTo>
                  <a:lnTo>
                    <a:pt x="2214" y="1440"/>
                  </a:lnTo>
                  <a:lnTo>
                    <a:pt x="2225" y="1438"/>
                  </a:lnTo>
                  <a:lnTo>
                    <a:pt x="2228" y="1442"/>
                  </a:lnTo>
                  <a:lnTo>
                    <a:pt x="2225" y="1446"/>
                  </a:lnTo>
                  <a:lnTo>
                    <a:pt x="2220" y="1448"/>
                  </a:lnTo>
                  <a:lnTo>
                    <a:pt x="2202" y="1448"/>
                  </a:lnTo>
                  <a:lnTo>
                    <a:pt x="2200" y="1453"/>
                  </a:lnTo>
                  <a:lnTo>
                    <a:pt x="2204" y="1459"/>
                  </a:lnTo>
                  <a:lnTo>
                    <a:pt x="2204" y="1460"/>
                  </a:lnTo>
                  <a:lnTo>
                    <a:pt x="2187" y="1464"/>
                  </a:lnTo>
                  <a:lnTo>
                    <a:pt x="2183" y="1468"/>
                  </a:lnTo>
                  <a:lnTo>
                    <a:pt x="2181" y="1471"/>
                  </a:lnTo>
                  <a:lnTo>
                    <a:pt x="2181" y="1476"/>
                  </a:lnTo>
                  <a:lnTo>
                    <a:pt x="2188" y="1483"/>
                  </a:lnTo>
                  <a:lnTo>
                    <a:pt x="2191" y="1495"/>
                  </a:lnTo>
                  <a:lnTo>
                    <a:pt x="2190" y="1501"/>
                  </a:lnTo>
                  <a:lnTo>
                    <a:pt x="2184" y="1509"/>
                  </a:lnTo>
                  <a:lnTo>
                    <a:pt x="2184" y="1517"/>
                  </a:lnTo>
                  <a:lnTo>
                    <a:pt x="2187" y="1520"/>
                  </a:lnTo>
                  <a:lnTo>
                    <a:pt x="2194" y="1525"/>
                  </a:lnTo>
                  <a:lnTo>
                    <a:pt x="2195" y="1529"/>
                  </a:lnTo>
                  <a:lnTo>
                    <a:pt x="2194" y="1532"/>
                  </a:lnTo>
                  <a:lnTo>
                    <a:pt x="2193" y="1532"/>
                  </a:lnTo>
                  <a:lnTo>
                    <a:pt x="2177" y="1532"/>
                  </a:lnTo>
                  <a:lnTo>
                    <a:pt x="2176" y="1539"/>
                  </a:lnTo>
                  <a:lnTo>
                    <a:pt x="2176" y="1543"/>
                  </a:lnTo>
                  <a:lnTo>
                    <a:pt x="2184" y="1546"/>
                  </a:lnTo>
                  <a:lnTo>
                    <a:pt x="2188" y="1551"/>
                  </a:lnTo>
                  <a:lnTo>
                    <a:pt x="2191" y="1551"/>
                  </a:lnTo>
                  <a:lnTo>
                    <a:pt x="2202" y="1543"/>
                  </a:lnTo>
                  <a:lnTo>
                    <a:pt x="2209" y="1542"/>
                  </a:lnTo>
                  <a:lnTo>
                    <a:pt x="2219" y="1543"/>
                  </a:lnTo>
                  <a:lnTo>
                    <a:pt x="2220" y="1546"/>
                  </a:lnTo>
                  <a:lnTo>
                    <a:pt x="2222" y="1554"/>
                  </a:lnTo>
                  <a:lnTo>
                    <a:pt x="2225" y="1558"/>
                  </a:lnTo>
                  <a:lnTo>
                    <a:pt x="2228" y="1558"/>
                  </a:lnTo>
                  <a:lnTo>
                    <a:pt x="2231" y="1552"/>
                  </a:lnTo>
                  <a:lnTo>
                    <a:pt x="2234" y="1552"/>
                  </a:lnTo>
                  <a:lnTo>
                    <a:pt x="2239" y="1564"/>
                  </a:lnTo>
                  <a:lnTo>
                    <a:pt x="2243" y="1570"/>
                  </a:lnTo>
                  <a:lnTo>
                    <a:pt x="2251" y="1576"/>
                  </a:lnTo>
                  <a:lnTo>
                    <a:pt x="2254" y="1583"/>
                  </a:lnTo>
                  <a:lnTo>
                    <a:pt x="2253" y="1584"/>
                  </a:lnTo>
                  <a:lnTo>
                    <a:pt x="2250" y="1587"/>
                  </a:lnTo>
                  <a:close/>
                  <a:moveTo>
                    <a:pt x="1271" y="3107"/>
                  </a:moveTo>
                  <a:lnTo>
                    <a:pt x="1271" y="3111"/>
                  </a:lnTo>
                  <a:lnTo>
                    <a:pt x="1265" y="3111"/>
                  </a:lnTo>
                  <a:lnTo>
                    <a:pt x="1264" y="3110"/>
                  </a:lnTo>
                  <a:lnTo>
                    <a:pt x="1264" y="3107"/>
                  </a:lnTo>
                  <a:lnTo>
                    <a:pt x="1261" y="3110"/>
                  </a:lnTo>
                  <a:lnTo>
                    <a:pt x="1250" y="3111"/>
                  </a:lnTo>
                  <a:lnTo>
                    <a:pt x="1233" y="3118"/>
                  </a:lnTo>
                  <a:lnTo>
                    <a:pt x="1227" y="3115"/>
                  </a:lnTo>
                  <a:lnTo>
                    <a:pt x="1226" y="3115"/>
                  </a:lnTo>
                  <a:lnTo>
                    <a:pt x="1226" y="3114"/>
                  </a:lnTo>
                  <a:lnTo>
                    <a:pt x="1230" y="3105"/>
                  </a:lnTo>
                  <a:lnTo>
                    <a:pt x="1229" y="3097"/>
                  </a:lnTo>
                  <a:lnTo>
                    <a:pt x="1222" y="3089"/>
                  </a:lnTo>
                  <a:lnTo>
                    <a:pt x="1212" y="3085"/>
                  </a:lnTo>
                  <a:lnTo>
                    <a:pt x="1208" y="3075"/>
                  </a:lnTo>
                  <a:lnTo>
                    <a:pt x="1208" y="3070"/>
                  </a:lnTo>
                  <a:lnTo>
                    <a:pt x="1210" y="3069"/>
                  </a:lnTo>
                  <a:lnTo>
                    <a:pt x="1211" y="3069"/>
                  </a:lnTo>
                  <a:lnTo>
                    <a:pt x="1227" y="3080"/>
                  </a:lnTo>
                  <a:lnTo>
                    <a:pt x="1232" y="3080"/>
                  </a:lnTo>
                  <a:lnTo>
                    <a:pt x="1239" y="3078"/>
                  </a:lnTo>
                  <a:lnTo>
                    <a:pt x="1241" y="3080"/>
                  </a:lnTo>
                  <a:lnTo>
                    <a:pt x="1247" y="3085"/>
                  </a:lnTo>
                  <a:lnTo>
                    <a:pt x="1249" y="3085"/>
                  </a:lnTo>
                  <a:lnTo>
                    <a:pt x="1257" y="3092"/>
                  </a:lnTo>
                  <a:lnTo>
                    <a:pt x="1255" y="3095"/>
                  </a:lnTo>
                  <a:lnTo>
                    <a:pt x="1258" y="3098"/>
                  </a:lnTo>
                  <a:lnTo>
                    <a:pt x="1258" y="3101"/>
                  </a:lnTo>
                  <a:lnTo>
                    <a:pt x="1254" y="3103"/>
                  </a:lnTo>
                  <a:lnTo>
                    <a:pt x="1258" y="3103"/>
                  </a:lnTo>
                  <a:lnTo>
                    <a:pt x="1262" y="3098"/>
                  </a:lnTo>
                  <a:lnTo>
                    <a:pt x="1271" y="3107"/>
                  </a:lnTo>
                  <a:close/>
                  <a:moveTo>
                    <a:pt x="1105" y="2375"/>
                  </a:moveTo>
                  <a:lnTo>
                    <a:pt x="1102" y="2375"/>
                  </a:lnTo>
                  <a:lnTo>
                    <a:pt x="1098" y="2374"/>
                  </a:lnTo>
                  <a:lnTo>
                    <a:pt x="1100" y="2375"/>
                  </a:lnTo>
                  <a:lnTo>
                    <a:pt x="1077" y="2371"/>
                  </a:lnTo>
                  <a:lnTo>
                    <a:pt x="1069" y="2367"/>
                  </a:lnTo>
                  <a:lnTo>
                    <a:pt x="1066" y="2367"/>
                  </a:lnTo>
                  <a:lnTo>
                    <a:pt x="1066" y="2363"/>
                  </a:lnTo>
                  <a:lnTo>
                    <a:pt x="1076" y="2359"/>
                  </a:lnTo>
                  <a:lnTo>
                    <a:pt x="1082" y="2359"/>
                  </a:lnTo>
                  <a:lnTo>
                    <a:pt x="1087" y="2363"/>
                  </a:lnTo>
                  <a:lnTo>
                    <a:pt x="1098" y="2367"/>
                  </a:lnTo>
                  <a:lnTo>
                    <a:pt x="1105" y="2375"/>
                  </a:lnTo>
                  <a:close/>
                  <a:moveTo>
                    <a:pt x="1040" y="2363"/>
                  </a:moveTo>
                  <a:lnTo>
                    <a:pt x="1030" y="2355"/>
                  </a:lnTo>
                  <a:lnTo>
                    <a:pt x="1027" y="2351"/>
                  </a:lnTo>
                  <a:lnTo>
                    <a:pt x="1027" y="2345"/>
                  </a:lnTo>
                  <a:lnTo>
                    <a:pt x="1036" y="2345"/>
                  </a:lnTo>
                  <a:lnTo>
                    <a:pt x="1034" y="2354"/>
                  </a:lnTo>
                  <a:lnTo>
                    <a:pt x="1036" y="2358"/>
                  </a:lnTo>
                  <a:lnTo>
                    <a:pt x="1041" y="2363"/>
                  </a:lnTo>
                  <a:lnTo>
                    <a:pt x="1040" y="2363"/>
                  </a:lnTo>
                  <a:close/>
                  <a:moveTo>
                    <a:pt x="1063" y="2719"/>
                  </a:moveTo>
                  <a:lnTo>
                    <a:pt x="1063" y="2723"/>
                  </a:lnTo>
                  <a:lnTo>
                    <a:pt x="1061" y="2723"/>
                  </a:lnTo>
                  <a:lnTo>
                    <a:pt x="1055" y="2719"/>
                  </a:lnTo>
                  <a:lnTo>
                    <a:pt x="1048" y="2721"/>
                  </a:lnTo>
                  <a:lnTo>
                    <a:pt x="1045" y="2719"/>
                  </a:lnTo>
                  <a:lnTo>
                    <a:pt x="1052" y="2711"/>
                  </a:lnTo>
                  <a:lnTo>
                    <a:pt x="1055" y="2711"/>
                  </a:lnTo>
                  <a:lnTo>
                    <a:pt x="1063" y="2719"/>
                  </a:lnTo>
                  <a:close/>
                  <a:moveTo>
                    <a:pt x="1113" y="2400"/>
                  </a:moveTo>
                  <a:lnTo>
                    <a:pt x="1112" y="2400"/>
                  </a:lnTo>
                  <a:lnTo>
                    <a:pt x="1102" y="2388"/>
                  </a:lnTo>
                  <a:lnTo>
                    <a:pt x="1101" y="2384"/>
                  </a:lnTo>
                  <a:lnTo>
                    <a:pt x="1102" y="2381"/>
                  </a:lnTo>
                  <a:lnTo>
                    <a:pt x="1104" y="2384"/>
                  </a:lnTo>
                  <a:lnTo>
                    <a:pt x="1105" y="2384"/>
                  </a:lnTo>
                  <a:lnTo>
                    <a:pt x="1108" y="2384"/>
                  </a:lnTo>
                  <a:lnTo>
                    <a:pt x="1111" y="2388"/>
                  </a:lnTo>
                  <a:lnTo>
                    <a:pt x="1112" y="2396"/>
                  </a:lnTo>
                  <a:lnTo>
                    <a:pt x="1113" y="2400"/>
                  </a:lnTo>
                  <a:close/>
                  <a:moveTo>
                    <a:pt x="1129" y="2395"/>
                  </a:moveTo>
                  <a:lnTo>
                    <a:pt x="1130" y="2397"/>
                  </a:lnTo>
                  <a:lnTo>
                    <a:pt x="1127" y="2399"/>
                  </a:lnTo>
                  <a:lnTo>
                    <a:pt x="1129" y="2400"/>
                  </a:lnTo>
                  <a:lnTo>
                    <a:pt x="1127" y="2400"/>
                  </a:lnTo>
                  <a:lnTo>
                    <a:pt x="1125" y="2400"/>
                  </a:lnTo>
                  <a:lnTo>
                    <a:pt x="1122" y="2396"/>
                  </a:lnTo>
                  <a:lnTo>
                    <a:pt x="1121" y="2396"/>
                  </a:lnTo>
                  <a:lnTo>
                    <a:pt x="1121" y="2392"/>
                  </a:lnTo>
                  <a:lnTo>
                    <a:pt x="1118" y="2389"/>
                  </a:lnTo>
                  <a:lnTo>
                    <a:pt x="1116" y="2389"/>
                  </a:lnTo>
                  <a:lnTo>
                    <a:pt x="1115" y="2389"/>
                  </a:lnTo>
                  <a:lnTo>
                    <a:pt x="1118" y="2396"/>
                  </a:lnTo>
                  <a:lnTo>
                    <a:pt x="1116" y="2397"/>
                  </a:lnTo>
                  <a:lnTo>
                    <a:pt x="1118" y="2400"/>
                  </a:lnTo>
                  <a:lnTo>
                    <a:pt x="1116" y="2400"/>
                  </a:lnTo>
                  <a:lnTo>
                    <a:pt x="1115" y="2389"/>
                  </a:lnTo>
                  <a:lnTo>
                    <a:pt x="1116" y="2388"/>
                  </a:lnTo>
                  <a:lnTo>
                    <a:pt x="1118" y="2388"/>
                  </a:lnTo>
                  <a:lnTo>
                    <a:pt x="1125" y="2392"/>
                  </a:lnTo>
                  <a:lnTo>
                    <a:pt x="1129" y="2395"/>
                  </a:lnTo>
                  <a:close/>
                  <a:moveTo>
                    <a:pt x="1042" y="2347"/>
                  </a:moveTo>
                  <a:lnTo>
                    <a:pt x="1041" y="2358"/>
                  </a:lnTo>
                  <a:lnTo>
                    <a:pt x="1037" y="2355"/>
                  </a:lnTo>
                  <a:lnTo>
                    <a:pt x="1037" y="2350"/>
                  </a:lnTo>
                  <a:lnTo>
                    <a:pt x="1041" y="2340"/>
                  </a:lnTo>
                  <a:lnTo>
                    <a:pt x="1042" y="2347"/>
                  </a:lnTo>
                  <a:close/>
                  <a:moveTo>
                    <a:pt x="1108" y="2475"/>
                  </a:moveTo>
                  <a:lnTo>
                    <a:pt x="1105" y="2479"/>
                  </a:lnTo>
                  <a:lnTo>
                    <a:pt x="1097" y="2477"/>
                  </a:lnTo>
                  <a:lnTo>
                    <a:pt x="1096" y="2475"/>
                  </a:lnTo>
                  <a:lnTo>
                    <a:pt x="1098" y="2474"/>
                  </a:lnTo>
                  <a:lnTo>
                    <a:pt x="1102" y="2471"/>
                  </a:lnTo>
                  <a:lnTo>
                    <a:pt x="1104" y="2470"/>
                  </a:lnTo>
                  <a:lnTo>
                    <a:pt x="1105" y="2470"/>
                  </a:lnTo>
                  <a:lnTo>
                    <a:pt x="1105" y="2471"/>
                  </a:lnTo>
                  <a:lnTo>
                    <a:pt x="1108" y="2475"/>
                  </a:lnTo>
                  <a:close/>
                  <a:moveTo>
                    <a:pt x="1058" y="2377"/>
                  </a:moveTo>
                  <a:lnTo>
                    <a:pt x="1054" y="2377"/>
                  </a:lnTo>
                  <a:lnTo>
                    <a:pt x="1050" y="2376"/>
                  </a:lnTo>
                  <a:lnTo>
                    <a:pt x="1048" y="2375"/>
                  </a:lnTo>
                  <a:lnTo>
                    <a:pt x="1040" y="2365"/>
                  </a:lnTo>
                  <a:lnTo>
                    <a:pt x="1042" y="2363"/>
                  </a:lnTo>
                  <a:lnTo>
                    <a:pt x="1051" y="2372"/>
                  </a:lnTo>
                  <a:lnTo>
                    <a:pt x="1058" y="2377"/>
                  </a:lnTo>
                  <a:close/>
                  <a:moveTo>
                    <a:pt x="1040" y="3009"/>
                  </a:moveTo>
                  <a:lnTo>
                    <a:pt x="1040" y="3011"/>
                  </a:lnTo>
                  <a:lnTo>
                    <a:pt x="1036" y="3018"/>
                  </a:lnTo>
                  <a:lnTo>
                    <a:pt x="1034" y="3022"/>
                  </a:lnTo>
                  <a:lnTo>
                    <a:pt x="1033" y="3022"/>
                  </a:lnTo>
                  <a:lnTo>
                    <a:pt x="1031" y="3022"/>
                  </a:lnTo>
                  <a:lnTo>
                    <a:pt x="1033" y="3018"/>
                  </a:lnTo>
                  <a:lnTo>
                    <a:pt x="1037" y="3009"/>
                  </a:lnTo>
                  <a:lnTo>
                    <a:pt x="1038" y="3007"/>
                  </a:lnTo>
                  <a:lnTo>
                    <a:pt x="1040" y="3009"/>
                  </a:lnTo>
                  <a:close/>
                  <a:moveTo>
                    <a:pt x="1255" y="3118"/>
                  </a:moveTo>
                  <a:lnTo>
                    <a:pt x="1257" y="3120"/>
                  </a:lnTo>
                  <a:lnTo>
                    <a:pt x="1255" y="3122"/>
                  </a:lnTo>
                  <a:lnTo>
                    <a:pt x="1244" y="3123"/>
                  </a:lnTo>
                  <a:lnTo>
                    <a:pt x="1244" y="3122"/>
                  </a:lnTo>
                  <a:lnTo>
                    <a:pt x="1246" y="3122"/>
                  </a:lnTo>
                  <a:lnTo>
                    <a:pt x="1251" y="3118"/>
                  </a:lnTo>
                  <a:lnTo>
                    <a:pt x="1255" y="3118"/>
                  </a:lnTo>
                  <a:close/>
                  <a:moveTo>
                    <a:pt x="1144" y="2399"/>
                  </a:moveTo>
                  <a:lnTo>
                    <a:pt x="1144" y="2400"/>
                  </a:lnTo>
                  <a:lnTo>
                    <a:pt x="1143" y="2400"/>
                  </a:lnTo>
                  <a:lnTo>
                    <a:pt x="1140" y="2400"/>
                  </a:lnTo>
                  <a:lnTo>
                    <a:pt x="1137" y="2395"/>
                  </a:lnTo>
                  <a:lnTo>
                    <a:pt x="1144" y="2399"/>
                  </a:lnTo>
                  <a:close/>
                  <a:moveTo>
                    <a:pt x="1038" y="2848"/>
                  </a:moveTo>
                  <a:lnTo>
                    <a:pt x="1038" y="2849"/>
                  </a:lnTo>
                  <a:lnTo>
                    <a:pt x="1037" y="2848"/>
                  </a:lnTo>
                  <a:lnTo>
                    <a:pt x="1037" y="2847"/>
                  </a:lnTo>
                  <a:lnTo>
                    <a:pt x="1038" y="2848"/>
                  </a:lnTo>
                  <a:close/>
                  <a:moveTo>
                    <a:pt x="1026" y="2887"/>
                  </a:moveTo>
                  <a:lnTo>
                    <a:pt x="1026" y="2890"/>
                  </a:lnTo>
                  <a:lnTo>
                    <a:pt x="1025" y="2891"/>
                  </a:lnTo>
                  <a:lnTo>
                    <a:pt x="1025" y="2890"/>
                  </a:lnTo>
                  <a:lnTo>
                    <a:pt x="1026" y="2887"/>
                  </a:lnTo>
                  <a:close/>
                </a:path>
              </a:pathLst>
            </a:custGeom>
            <a:solidFill>
              <a:srgbClr val="548DD4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</p:grpSp>
      <p:sp>
        <p:nvSpPr>
          <p:cNvPr id="199" name="Rectangle 198"/>
          <p:cNvSpPr>
            <a:spLocks noChangeArrowheads="1"/>
          </p:cNvSpPr>
          <p:nvPr/>
        </p:nvSpPr>
        <p:spPr bwMode="auto">
          <a:xfrm>
            <a:off x="824280" y="4101170"/>
            <a:ext cx="42263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>
                <a:latin typeface="+mn-lt"/>
                <a:cs typeface="Times New Roman" pitchFamily="18" charset="0"/>
              </a:rPr>
              <a:t>Gaza</a:t>
            </a:r>
          </a:p>
        </p:txBody>
      </p:sp>
      <p:sp>
        <p:nvSpPr>
          <p:cNvPr id="200" name="Rectangle 199"/>
          <p:cNvSpPr>
            <a:spLocks noChangeArrowheads="1"/>
          </p:cNvSpPr>
          <p:nvPr/>
        </p:nvSpPr>
        <p:spPr bwMode="auto">
          <a:xfrm>
            <a:off x="590413" y="3243153"/>
            <a:ext cx="41197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Manica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02" name="Rectangle 201"/>
          <p:cNvSpPr>
            <a:spLocks noChangeArrowheads="1"/>
          </p:cNvSpPr>
          <p:nvPr/>
        </p:nvSpPr>
        <p:spPr bwMode="auto">
          <a:xfrm>
            <a:off x="881698" y="2555032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solidFill>
                  <a:schemeClr val="bg1"/>
                </a:solidFill>
                <a:latin typeface="+mn-lt"/>
                <a:cs typeface="Times New Roman" pitchFamily="18" charset="0"/>
              </a:rPr>
              <a:t>Tete</a:t>
            </a:r>
            <a:endParaRPr lang="en-US" sz="1000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03" name="Rectangle 202"/>
          <p:cNvSpPr>
            <a:spLocks noChangeArrowheads="1"/>
          </p:cNvSpPr>
          <p:nvPr/>
        </p:nvSpPr>
        <p:spPr bwMode="auto">
          <a:xfrm>
            <a:off x="1591768" y="2117074"/>
            <a:ext cx="39113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solidFill>
                  <a:schemeClr val="bg1"/>
                </a:solidFill>
                <a:latin typeface="+mn-lt"/>
                <a:cs typeface="Times New Roman" pitchFamily="18" charset="0"/>
              </a:rPr>
              <a:t>Niassa</a:t>
            </a:r>
            <a:endParaRPr lang="en-US" sz="1000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04" name="Rectangle 203"/>
          <p:cNvSpPr>
            <a:spLocks noChangeArrowheads="1"/>
          </p:cNvSpPr>
          <p:nvPr/>
        </p:nvSpPr>
        <p:spPr bwMode="auto">
          <a:xfrm>
            <a:off x="2262759" y="2451746"/>
            <a:ext cx="51135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Nampula</a:t>
            </a:r>
            <a:endParaRPr lang="en-US" sz="1000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06" name="Rectangle 205"/>
          <p:cNvSpPr>
            <a:spLocks noChangeArrowheads="1"/>
          </p:cNvSpPr>
          <p:nvPr/>
        </p:nvSpPr>
        <p:spPr bwMode="auto">
          <a:xfrm>
            <a:off x="1739394" y="2811128"/>
            <a:ext cx="56105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solidFill>
                  <a:schemeClr val="bg1"/>
                </a:solidFill>
                <a:latin typeface="+mn-lt"/>
                <a:cs typeface="Times New Roman" pitchFamily="18" charset="0"/>
              </a:rPr>
              <a:t>Zambezia</a:t>
            </a:r>
            <a:endParaRPr lang="en-US" sz="1000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13" name="Rectangle 212"/>
          <p:cNvSpPr>
            <a:spLocks noChangeArrowheads="1"/>
          </p:cNvSpPr>
          <p:nvPr/>
        </p:nvSpPr>
        <p:spPr bwMode="auto">
          <a:xfrm>
            <a:off x="1194478" y="3965263"/>
            <a:ext cx="63639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Inhambane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15" name="Rectangle 214"/>
          <p:cNvSpPr>
            <a:spLocks noChangeArrowheads="1"/>
          </p:cNvSpPr>
          <p:nvPr/>
        </p:nvSpPr>
        <p:spPr bwMode="auto">
          <a:xfrm>
            <a:off x="519347" y="4540285"/>
            <a:ext cx="4247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>
                <a:latin typeface="+mn-lt"/>
                <a:cs typeface="Times New Roman" pitchFamily="18" charset="0"/>
              </a:rPr>
              <a:t>Maputo</a:t>
            </a:r>
          </a:p>
        </p:txBody>
      </p:sp>
      <p:sp>
        <p:nvSpPr>
          <p:cNvPr id="218" name="Rectangle 217"/>
          <p:cNvSpPr>
            <a:spLocks noChangeArrowheads="1"/>
          </p:cNvSpPr>
          <p:nvPr/>
        </p:nvSpPr>
        <p:spPr bwMode="auto">
          <a:xfrm>
            <a:off x="1109409" y="4797818"/>
            <a:ext cx="71654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>
                <a:latin typeface="+mn-lt"/>
                <a:cs typeface="Times New Roman" pitchFamily="18" charset="0"/>
              </a:rPr>
              <a:t>Maputo City </a:t>
            </a:r>
          </a:p>
        </p:txBody>
      </p:sp>
      <p:sp>
        <p:nvSpPr>
          <p:cNvPr id="220" name="Rectangle 219"/>
          <p:cNvSpPr>
            <a:spLocks noChangeArrowheads="1"/>
          </p:cNvSpPr>
          <p:nvPr/>
        </p:nvSpPr>
        <p:spPr bwMode="auto">
          <a:xfrm>
            <a:off x="1385389" y="3170412"/>
            <a:ext cx="36067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Sofala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31" name="Rectangle 230"/>
          <p:cNvSpPr>
            <a:spLocks noChangeArrowheads="1"/>
          </p:cNvSpPr>
          <p:nvPr/>
        </p:nvSpPr>
        <p:spPr bwMode="auto">
          <a:xfrm>
            <a:off x="2237264" y="1918931"/>
            <a:ext cx="47448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>
                <a:solidFill>
                  <a:schemeClr val="bg1"/>
                </a:solidFill>
                <a:latin typeface="+mn-lt"/>
                <a:cs typeface="Times New Roman" pitchFamily="18" charset="0"/>
              </a:rPr>
              <a:t>Cabo </a:t>
            </a:r>
            <a:endParaRPr lang="en-US" sz="1000" dirty="0" smtClean="0">
              <a:solidFill>
                <a:schemeClr val="bg1"/>
              </a:solidFill>
              <a:latin typeface="+mn-lt"/>
              <a:cs typeface="Times New Roman" pitchFamily="18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Delgado</a:t>
            </a:r>
            <a:endParaRPr lang="en-US" sz="1000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32" name="Oval 231"/>
          <p:cNvSpPr/>
          <p:nvPr/>
        </p:nvSpPr>
        <p:spPr>
          <a:xfrm>
            <a:off x="2169939" y="1841953"/>
            <a:ext cx="585187" cy="435795"/>
          </a:xfrm>
          <a:prstGeom prst="ellipse">
            <a:avLst/>
          </a:prstGeom>
          <a:noFill/>
          <a:ln w="2540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33" name="Oval 232"/>
          <p:cNvSpPr/>
          <p:nvPr/>
        </p:nvSpPr>
        <p:spPr>
          <a:xfrm>
            <a:off x="1513529" y="1980895"/>
            <a:ext cx="585187" cy="435795"/>
          </a:xfrm>
          <a:prstGeom prst="ellipse">
            <a:avLst/>
          </a:prstGeom>
          <a:noFill/>
          <a:ln w="2540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34" name="Oval 233"/>
          <p:cNvSpPr/>
          <p:nvPr/>
        </p:nvSpPr>
        <p:spPr>
          <a:xfrm>
            <a:off x="2208605" y="2326313"/>
            <a:ext cx="585187" cy="435795"/>
          </a:xfrm>
          <a:prstGeom prst="ellipse">
            <a:avLst/>
          </a:prstGeom>
          <a:noFill/>
          <a:ln w="2540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43" name="Rectangle 242"/>
          <p:cNvSpPr>
            <a:spLocks noChangeArrowheads="1"/>
          </p:cNvSpPr>
          <p:nvPr/>
        </p:nvSpPr>
        <p:spPr bwMode="auto">
          <a:xfrm>
            <a:off x="4126247" y="3885771"/>
            <a:ext cx="42263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>
                <a:latin typeface="+mn-lt"/>
                <a:cs typeface="Times New Roman" pitchFamily="18" charset="0"/>
              </a:rPr>
              <a:t>Gaza</a:t>
            </a:r>
          </a:p>
        </p:txBody>
      </p:sp>
      <p:sp>
        <p:nvSpPr>
          <p:cNvPr id="247" name="Rectangle 246"/>
          <p:cNvSpPr>
            <a:spLocks noChangeArrowheads="1"/>
          </p:cNvSpPr>
          <p:nvPr/>
        </p:nvSpPr>
        <p:spPr bwMode="auto">
          <a:xfrm>
            <a:off x="4144119" y="3008524"/>
            <a:ext cx="41197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Manica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48" name="Rectangle 247"/>
          <p:cNvSpPr>
            <a:spLocks noChangeArrowheads="1"/>
          </p:cNvSpPr>
          <p:nvPr/>
        </p:nvSpPr>
        <p:spPr bwMode="auto">
          <a:xfrm>
            <a:off x="4404552" y="2548852"/>
            <a:ext cx="25487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Tete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49" name="Rectangle 248"/>
          <p:cNvSpPr>
            <a:spLocks noChangeArrowheads="1"/>
          </p:cNvSpPr>
          <p:nvPr/>
        </p:nvSpPr>
        <p:spPr bwMode="auto">
          <a:xfrm>
            <a:off x="4964416" y="1987940"/>
            <a:ext cx="39113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Niassa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50" name="Rectangle 249"/>
          <p:cNvSpPr>
            <a:spLocks noChangeArrowheads="1"/>
          </p:cNvSpPr>
          <p:nvPr/>
        </p:nvSpPr>
        <p:spPr bwMode="auto">
          <a:xfrm>
            <a:off x="5660967" y="2281908"/>
            <a:ext cx="51135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 smtClean="0">
                <a:latin typeface="+mn-lt"/>
                <a:cs typeface="Times New Roman" pitchFamily="18" charset="0"/>
              </a:rPr>
              <a:t>Nampula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51" name="Rectangle 250"/>
          <p:cNvSpPr>
            <a:spLocks noChangeArrowheads="1"/>
          </p:cNvSpPr>
          <p:nvPr/>
        </p:nvSpPr>
        <p:spPr bwMode="auto">
          <a:xfrm>
            <a:off x="5147864" y="2614825"/>
            <a:ext cx="56105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Zambezia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52" name="Rectangle 251"/>
          <p:cNvSpPr>
            <a:spLocks noChangeArrowheads="1"/>
          </p:cNvSpPr>
          <p:nvPr/>
        </p:nvSpPr>
        <p:spPr bwMode="auto">
          <a:xfrm>
            <a:off x="4582211" y="3883364"/>
            <a:ext cx="63639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Inhambane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53" name="Rectangle 252"/>
          <p:cNvSpPr>
            <a:spLocks noChangeArrowheads="1"/>
          </p:cNvSpPr>
          <p:nvPr/>
        </p:nvSpPr>
        <p:spPr bwMode="auto">
          <a:xfrm>
            <a:off x="3889654" y="4429515"/>
            <a:ext cx="4247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>
                <a:latin typeface="+mn-lt"/>
                <a:cs typeface="Times New Roman" pitchFamily="18" charset="0"/>
              </a:rPr>
              <a:t>Maputo</a:t>
            </a:r>
          </a:p>
        </p:txBody>
      </p:sp>
      <p:sp>
        <p:nvSpPr>
          <p:cNvPr id="254" name="Rectangle 253"/>
          <p:cNvSpPr>
            <a:spLocks noChangeArrowheads="1"/>
          </p:cNvSpPr>
          <p:nvPr/>
        </p:nvSpPr>
        <p:spPr bwMode="auto">
          <a:xfrm>
            <a:off x="4711420" y="3109809"/>
            <a:ext cx="36067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Sofala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55" name="Rectangle 254"/>
          <p:cNvSpPr>
            <a:spLocks noChangeArrowheads="1"/>
          </p:cNvSpPr>
          <p:nvPr/>
        </p:nvSpPr>
        <p:spPr bwMode="auto">
          <a:xfrm>
            <a:off x="4301554" y="1942750"/>
            <a:ext cx="39" cy="151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pt-PT" sz="12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57" name="Rectangle 256"/>
          <p:cNvSpPr>
            <a:spLocks noChangeArrowheads="1"/>
          </p:cNvSpPr>
          <p:nvPr/>
        </p:nvSpPr>
        <p:spPr bwMode="auto">
          <a:xfrm>
            <a:off x="5630999" y="1751122"/>
            <a:ext cx="47448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>
                <a:latin typeface="+mn-lt"/>
                <a:cs typeface="Times New Roman" pitchFamily="18" charset="0"/>
              </a:rPr>
              <a:t>Cabo </a:t>
            </a:r>
            <a:endParaRPr lang="en-US" sz="1000" dirty="0" smtClean="0">
              <a:latin typeface="+mn-lt"/>
              <a:cs typeface="Times New Roman" pitchFamily="18" charset="0"/>
            </a:endParaRP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Delgado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58" name="Rectangle 257"/>
          <p:cNvSpPr/>
          <p:nvPr/>
        </p:nvSpPr>
        <p:spPr>
          <a:xfrm>
            <a:off x="4720965" y="4774795"/>
            <a:ext cx="587579" cy="238063"/>
          </a:xfrm>
          <a:prstGeom prst="rect">
            <a:avLst/>
          </a:prstGeom>
          <a:ln>
            <a:solidFill>
              <a:srgbClr val="548D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32,1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59" name="Rectangle 258"/>
          <p:cNvSpPr/>
          <p:nvPr/>
        </p:nvSpPr>
        <p:spPr>
          <a:xfrm>
            <a:off x="3638436" y="4636370"/>
            <a:ext cx="587579" cy="238063"/>
          </a:xfrm>
          <a:prstGeom prst="rect">
            <a:avLst/>
          </a:prstGeom>
          <a:ln>
            <a:solidFill>
              <a:srgbClr val="548D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46,5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60" name="Rectangle 259"/>
          <p:cNvSpPr/>
          <p:nvPr/>
        </p:nvSpPr>
        <p:spPr>
          <a:xfrm>
            <a:off x="4733688" y="4087943"/>
            <a:ext cx="587579" cy="238063"/>
          </a:xfrm>
          <a:prstGeom prst="rect">
            <a:avLst/>
          </a:prstGeom>
          <a:ln>
            <a:solidFill>
              <a:srgbClr val="548D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84,6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3873220" y="4042339"/>
            <a:ext cx="587579" cy="238063"/>
          </a:xfrm>
          <a:prstGeom prst="rect">
            <a:avLst/>
          </a:prstGeom>
          <a:ln>
            <a:solidFill>
              <a:srgbClr val="548D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59,4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62" name="Rectangle 261"/>
          <p:cNvSpPr/>
          <p:nvPr/>
        </p:nvSpPr>
        <p:spPr>
          <a:xfrm>
            <a:off x="4735693" y="3350643"/>
            <a:ext cx="587579" cy="238063"/>
          </a:xfrm>
          <a:prstGeom prst="rect">
            <a:avLst/>
          </a:prstGeom>
          <a:ln>
            <a:solidFill>
              <a:srgbClr val="548D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115,0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3938298" y="3207293"/>
            <a:ext cx="587579" cy="238063"/>
          </a:xfrm>
          <a:prstGeom prst="rect">
            <a:avLst/>
          </a:prstGeom>
          <a:ln>
            <a:solidFill>
              <a:srgbClr val="548D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133,2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64" name="Rectangle 263"/>
          <p:cNvSpPr/>
          <p:nvPr/>
        </p:nvSpPr>
        <p:spPr>
          <a:xfrm>
            <a:off x="5157900" y="2852599"/>
            <a:ext cx="587579" cy="238063"/>
          </a:xfrm>
          <a:prstGeom prst="rect">
            <a:avLst/>
          </a:prstGeom>
          <a:ln>
            <a:solidFill>
              <a:srgbClr val="548D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367,2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01" name="Rectangle 300"/>
          <p:cNvSpPr/>
          <p:nvPr/>
        </p:nvSpPr>
        <p:spPr>
          <a:xfrm>
            <a:off x="5946710" y="2497590"/>
            <a:ext cx="587579" cy="238063"/>
          </a:xfrm>
          <a:prstGeom prst="rect">
            <a:avLst/>
          </a:prstGeom>
          <a:ln>
            <a:solidFill>
              <a:srgbClr val="548D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433,3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02" name="Rectangle 301"/>
          <p:cNvSpPr/>
          <p:nvPr/>
        </p:nvSpPr>
        <p:spPr>
          <a:xfrm>
            <a:off x="5786078" y="1464864"/>
            <a:ext cx="587579" cy="238063"/>
          </a:xfrm>
          <a:prstGeom prst="rect">
            <a:avLst/>
          </a:prstGeom>
          <a:ln>
            <a:solidFill>
              <a:srgbClr val="548D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161,78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03" name="Rectangle 302"/>
          <p:cNvSpPr/>
          <p:nvPr/>
        </p:nvSpPr>
        <p:spPr>
          <a:xfrm>
            <a:off x="4649564" y="1694977"/>
            <a:ext cx="587579" cy="238063"/>
          </a:xfrm>
          <a:prstGeom prst="rect">
            <a:avLst/>
          </a:prstGeom>
          <a:ln>
            <a:solidFill>
              <a:srgbClr val="548D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126,0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04" name="Rectangle 303"/>
          <p:cNvSpPr/>
          <p:nvPr/>
        </p:nvSpPr>
        <p:spPr>
          <a:xfrm>
            <a:off x="3797149" y="2260209"/>
            <a:ext cx="587579" cy="238063"/>
          </a:xfrm>
          <a:prstGeom prst="rect">
            <a:avLst/>
          </a:prstGeom>
          <a:ln>
            <a:solidFill>
              <a:srgbClr val="548D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181,400</a:t>
            </a:r>
            <a:endParaRPr lang="en-US" sz="1000" dirty="0">
              <a:solidFill>
                <a:srgbClr val="000000"/>
              </a:solidFill>
            </a:endParaRPr>
          </a:p>
        </p:txBody>
      </p:sp>
      <p:grpSp>
        <p:nvGrpSpPr>
          <p:cNvPr id="305" name="Group 304"/>
          <p:cNvGrpSpPr>
            <a:grpSpLocks noChangeAspect="1"/>
          </p:cNvGrpSpPr>
          <p:nvPr/>
        </p:nvGrpSpPr>
        <p:grpSpPr>
          <a:xfrm>
            <a:off x="7114891" y="1813416"/>
            <a:ext cx="2426659" cy="3125729"/>
            <a:chOff x="7233777" y="1693243"/>
            <a:chExt cx="1701378" cy="3509813"/>
          </a:xfrm>
        </p:grpSpPr>
        <p:sp>
          <p:nvSpPr>
            <p:cNvPr id="306" name="Freeform 305"/>
            <p:cNvSpPr>
              <a:spLocks/>
            </p:cNvSpPr>
            <p:nvPr/>
          </p:nvSpPr>
          <p:spPr bwMode="auto">
            <a:xfrm>
              <a:off x="7407623" y="3997244"/>
              <a:ext cx="507782" cy="883038"/>
            </a:xfrm>
            <a:custGeom>
              <a:avLst/>
              <a:gdLst>
                <a:gd name="T0" fmla="*/ 2039 w 2547"/>
                <a:gd name="T1" fmla="*/ 3029 h 3272"/>
                <a:gd name="T2" fmla="*/ 1538 w 2547"/>
                <a:gd name="T3" fmla="*/ 3233 h 3272"/>
                <a:gd name="T4" fmla="*/ 1364 w 2547"/>
                <a:gd name="T5" fmla="*/ 3099 h 3272"/>
                <a:gd name="T6" fmla="*/ 1359 w 2547"/>
                <a:gd name="T7" fmla="*/ 3040 h 3272"/>
                <a:gd name="T8" fmla="*/ 1303 w 2547"/>
                <a:gd name="T9" fmla="*/ 3013 h 3272"/>
                <a:gd name="T10" fmla="*/ 1286 w 2547"/>
                <a:gd name="T11" fmla="*/ 2922 h 3272"/>
                <a:gd name="T12" fmla="*/ 1314 w 2547"/>
                <a:gd name="T13" fmla="*/ 2891 h 3272"/>
                <a:gd name="T14" fmla="*/ 1292 w 2547"/>
                <a:gd name="T15" fmla="*/ 2864 h 3272"/>
                <a:gd name="T16" fmla="*/ 1259 w 2547"/>
                <a:gd name="T17" fmla="*/ 2775 h 3272"/>
                <a:gd name="T18" fmla="*/ 1236 w 2547"/>
                <a:gd name="T19" fmla="*/ 2716 h 3272"/>
                <a:gd name="T20" fmla="*/ 1184 w 2547"/>
                <a:gd name="T21" fmla="*/ 2644 h 3272"/>
                <a:gd name="T22" fmla="*/ 1136 w 2547"/>
                <a:gd name="T23" fmla="*/ 2579 h 3272"/>
                <a:gd name="T24" fmla="*/ 1060 w 2547"/>
                <a:gd name="T25" fmla="*/ 2468 h 3272"/>
                <a:gd name="T26" fmla="*/ 953 w 2547"/>
                <a:gd name="T27" fmla="*/ 2428 h 3272"/>
                <a:gd name="T28" fmla="*/ 860 w 2547"/>
                <a:gd name="T29" fmla="*/ 2365 h 3272"/>
                <a:gd name="T30" fmla="*/ 769 w 2547"/>
                <a:gd name="T31" fmla="*/ 2356 h 3272"/>
                <a:gd name="T32" fmla="*/ 704 w 2547"/>
                <a:gd name="T33" fmla="*/ 2336 h 3272"/>
                <a:gd name="T34" fmla="*/ 590 w 2547"/>
                <a:gd name="T35" fmla="*/ 2333 h 3272"/>
                <a:gd name="T36" fmla="*/ 374 w 2547"/>
                <a:gd name="T37" fmla="*/ 2071 h 3272"/>
                <a:gd name="T38" fmla="*/ 101 w 2547"/>
                <a:gd name="T39" fmla="*/ 1185 h 3272"/>
                <a:gd name="T40" fmla="*/ 54 w 2547"/>
                <a:gd name="T41" fmla="*/ 859 h 3272"/>
                <a:gd name="T42" fmla="*/ 740 w 2547"/>
                <a:gd name="T43" fmla="*/ 159 h 3272"/>
                <a:gd name="T44" fmla="*/ 1011 w 2547"/>
                <a:gd name="T45" fmla="*/ 68 h 3272"/>
                <a:gd name="T46" fmla="*/ 1127 w 2547"/>
                <a:gd name="T47" fmla="*/ 85 h 3272"/>
                <a:gd name="T48" fmla="*/ 1217 w 2547"/>
                <a:gd name="T49" fmla="*/ 152 h 3272"/>
                <a:gd name="T50" fmla="*/ 1317 w 2547"/>
                <a:gd name="T51" fmla="*/ 152 h 3272"/>
                <a:gd name="T52" fmla="*/ 1388 w 2547"/>
                <a:gd name="T53" fmla="*/ 214 h 3272"/>
                <a:gd name="T54" fmla="*/ 1479 w 2547"/>
                <a:gd name="T55" fmla="*/ 166 h 3272"/>
                <a:gd name="T56" fmla="*/ 1571 w 2547"/>
                <a:gd name="T57" fmla="*/ 143 h 3272"/>
                <a:gd name="T58" fmla="*/ 1530 w 2547"/>
                <a:gd name="T59" fmla="*/ 245 h 3272"/>
                <a:gd name="T60" fmla="*/ 1630 w 2547"/>
                <a:gd name="T61" fmla="*/ 607 h 3272"/>
                <a:gd name="T62" fmla="*/ 1635 w 2547"/>
                <a:gd name="T63" fmla="*/ 677 h 3272"/>
                <a:gd name="T64" fmla="*/ 1659 w 2547"/>
                <a:gd name="T65" fmla="*/ 776 h 3272"/>
                <a:gd name="T66" fmla="*/ 1666 w 2547"/>
                <a:gd name="T67" fmla="*/ 864 h 3272"/>
                <a:gd name="T68" fmla="*/ 1609 w 2547"/>
                <a:gd name="T69" fmla="*/ 904 h 3272"/>
                <a:gd name="T70" fmla="*/ 1583 w 2547"/>
                <a:gd name="T71" fmla="*/ 989 h 3272"/>
                <a:gd name="T72" fmla="*/ 1609 w 2547"/>
                <a:gd name="T73" fmla="*/ 1054 h 3272"/>
                <a:gd name="T74" fmla="*/ 1723 w 2547"/>
                <a:gd name="T75" fmla="*/ 1121 h 3272"/>
                <a:gd name="T76" fmla="*/ 1769 w 2547"/>
                <a:gd name="T77" fmla="*/ 1202 h 3272"/>
                <a:gd name="T78" fmla="*/ 1898 w 2547"/>
                <a:gd name="T79" fmla="*/ 1307 h 3272"/>
                <a:gd name="T80" fmla="*/ 1916 w 2547"/>
                <a:gd name="T81" fmla="*/ 1373 h 3272"/>
                <a:gd name="T82" fmla="*/ 1976 w 2547"/>
                <a:gd name="T83" fmla="*/ 1426 h 3272"/>
                <a:gd name="T84" fmla="*/ 2025 w 2547"/>
                <a:gd name="T85" fmla="*/ 1498 h 3272"/>
                <a:gd name="T86" fmla="*/ 2044 w 2547"/>
                <a:gd name="T87" fmla="*/ 1555 h 3272"/>
                <a:gd name="T88" fmla="*/ 2064 w 2547"/>
                <a:gd name="T89" fmla="*/ 1618 h 3272"/>
                <a:gd name="T90" fmla="*/ 2050 w 2547"/>
                <a:gd name="T91" fmla="*/ 1640 h 3272"/>
                <a:gd name="T92" fmla="*/ 2055 w 2547"/>
                <a:gd name="T93" fmla="*/ 1693 h 3272"/>
                <a:gd name="T94" fmla="*/ 2078 w 2547"/>
                <a:gd name="T95" fmla="*/ 1748 h 3272"/>
                <a:gd name="T96" fmla="*/ 2117 w 2547"/>
                <a:gd name="T97" fmla="*/ 1780 h 3272"/>
                <a:gd name="T98" fmla="*/ 2114 w 2547"/>
                <a:gd name="T99" fmla="*/ 1813 h 3272"/>
                <a:gd name="T100" fmla="*/ 2094 w 2547"/>
                <a:gd name="T101" fmla="*/ 1870 h 3272"/>
                <a:gd name="T102" fmla="*/ 2119 w 2547"/>
                <a:gd name="T103" fmla="*/ 1901 h 3272"/>
                <a:gd name="T104" fmla="*/ 2114 w 2547"/>
                <a:gd name="T105" fmla="*/ 1940 h 3272"/>
                <a:gd name="T106" fmla="*/ 2108 w 2547"/>
                <a:gd name="T107" fmla="*/ 2010 h 3272"/>
                <a:gd name="T108" fmla="*/ 2119 w 2547"/>
                <a:gd name="T109" fmla="*/ 2049 h 3272"/>
                <a:gd name="T110" fmla="*/ 2108 w 2547"/>
                <a:gd name="T111" fmla="*/ 2103 h 3272"/>
                <a:gd name="T112" fmla="*/ 2104 w 2547"/>
                <a:gd name="T113" fmla="*/ 2163 h 3272"/>
                <a:gd name="T114" fmla="*/ 2144 w 2547"/>
                <a:gd name="T115" fmla="*/ 2219 h 3272"/>
                <a:gd name="T116" fmla="*/ 2307 w 2547"/>
                <a:gd name="T117" fmla="*/ 2580 h 3272"/>
                <a:gd name="T118" fmla="*/ 2418 w 2547"/>
                <a:gd name="T119" fmla="*/ 2552 h 3272"/>
                <a:gd name="T120" fmla="*/ 2498 w 2547"/>
                <a:gd name="T121" fmla="*/ 2638 h 327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547"/>
                <a:gd name="T184" fmla="*/ 0 h 3272"/>
                <a:gd name="T185" fmla="*/ 2547 w 2547"/>
                <a:gd name="T186" fmla="*/ 3272 h 327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547" h="3272">
                  <a:moveTo>
                    <a:pt x="2489" y="2875"/>
                  </a:moveTo>
                  <a:lnTo>
                    <a:pt x="2475" y="2880"/>
                  </a:lnTo>
                  <a:lnTo>
                    <a:pt x="2468" y="2885"/>
                  </a:lnTo>
                  <a:lnTo>
                    <a:pt x="2438" y="2897"/>
                  </a:lnTo>
                  <a:lnTo>
                    <a:pt x="2423" y="2902"/>
                  </a:lnTo>
                  <a:lnTo>
                    <a:pt x="2412" y="2907"/>
                  </a:lnTo>
                  <a:lnTo>
                    <a:pt x="2377" y="2916"/>
                  </a:lnTo>
                  <a:lnTo>
                    <a:pt x="2365" y="2916"/>
                  </a:lnTo>
                  <a:lnTo>
                    <a:pt x="2356" y="2917"/>
                  </a:lnTo>
                  <a:lnTo>
                    <a:pt x="2253" y="2958"/>
                  </a:lnTo>
                  <a:lnTo>
                    <a:pt x="2210" y="2971"/>
                  </a:lnTo>
                  <a:lnTo>
                    <a:pt x="2188" y="2981"/>
                  </a:lnTo>
                  <a:lnTo>
                    <a:pt x="2176" y="2984"/>
                  </a:lnTo>
                  <a:lnTo>
                    <a:pt x="2163" y="2992"/>
                  </a:lnTo>
                  <a:lnTo>
                    <a:pt x="2144" y="2995"/>
                  </a:lnTo>
                  <a:lnTo>
                    <a:pt x="2133" y="2999"/>
                  </a:lnTo>
                  <a:lnTo>
                    <a:pt x="2121" y="3001"/>
                  </a:lnTo>
                  <a:lnTo>
                    <a:pt x="2078" y="3014"/>
                  </a:lnTo>
                  <a:lnTo>
                    <a:pt x="2057" y="3021"/>
                  </a:lnTo>
                  <a:lnTo>
                    <a:pt x="2039" y="3029"/>
                  </a:lnTo>
                  <a:lnTo>
                    <a:pt x="2003" y="3041"/>
                  </a:lnTo>
                  <a:lnTo>
                    <a:pt x="1969" y="3054"/>
                  </a:lnTo>
                  <a:lnTo>
                    <a:pt x="1957" y="3056"/>
                  </a:lnTo>
                  <a:lnTo>
                    <a:pt x="1939" y="3065"/>
                  </a:lnTo>
                  <a:lnTo>
                    <a:pt x="1904" y="3079"/>
                  </a:lnTo>
                  <a:lnTo>
                    <a:pt x="1878" y="3093"/>
                  </a:lnTo>
                  <a:lnTo>
                    <a:pt x="1848" y="3104"/>
                  </a:lnTo>
                  <a:lnTo>
                    <a:pt x="1818" y="3113"/>
                  </a:lnTo>
                  <a:lnTo>
                    <a:pt x="1797" y="3124"/>
                  </a:lnTo>
                  <a:lnTo>
                    <a:pt x="1769" y="3135"/>
                  </a:lnTo>
                  <a:lnTo>
                    <a:pt x="1764" y="3137"/>
                  </a:lnTo>
                  <a:lnTo>
                    <a:pt x="1730" y="3149"/>
                  </a:lnTo>
                  <a:lnTo>
                    <a:pt x="1689" y="3168"/>
                  </a:lnTo>
                  <a:lnTo>
                    <a:pt x="1648" y="3183"/>
                  </a:lnTo>
                  <a:lnTo>
                    <a:pt x="1630" y="3193"/>
                  </a:lnTo>
                  <a:lnTo>
                    <a:pt x="1591" y="3210"/>
                  </a:lnTo>
                  <a:lnTo>
                    <a:pt x="1560" y="3227"/>
                  </a:lnTo>
                  <a:lnTo>
                    <a:pt x="1558" y="3227"/>
                  </a:lnTo>
                  <a:lnTo>
                    <a:pt x="1552" y="3227"/>
                  </a:lnTo>
                  <a:lnTo>
                    <a:pt x="1538" y="3233"/>
                  </a:lnTo>
                  <a:lnTo>
                    <a:pt x="1470" y="3272"/>
                  </a:lnTo>
                  <a:lnTo>
                    <a:pt x="1470" y="3235"/>
                  </a:lnTo>
                  <a:lnTo>
                    <a:pt x="1473" y="3205"/>
                  </a:lnTo>
                  <a:lnTo>
                    <a:pt x="1470" y="3191"/>
                  </a:lnTo>
                  <a:lnTo>
                    <a:pt x="1469" y="3170"/>
                  </a:lnTo>
                  <a:lnTo>
                    <a:pt x="1466" y="3163"/>
                  </a:lnTo>
                  <a:lnTo>
                    <a:pt x="1457" y="3149"/>
                  </a:lnTo>
                  <a:lnTo>
                    <a:pt x="1442" y="3127"/>
                  </a:lnTo>
                  <a:lnTo>
                    <a:pt x="1355" y="3129"/>
                  </a:lnTo>
                  <a:lnTo>
                    <a:pt x="1355" y="3124"/>
                  </a:lnTo>
                  <a:lnTo>
                    <a:pt x="1359" y="3123"/>
                  </a:lnTo>
                  <a:lnTo>
                    <a:pt x="1359" y="3120"/>
                  </a:lnTo>
                  <a:lnTo>
                    <a:pt x="1362" y="3112"/>
                  </a:lnTo>
                  <a:lnTo>
                    <a:pt x="1360" y="3111"/>
                  </a:lnTo>
                  <a:lnTo>
                    <a:pt x="1357" y="3110"/>
                  </a:lnTo>
                  <a:lnTo>
                    <a:pt x="1357" y="3108"/>
                  </a:lnTo>
                  <a:lnTo>
                    <a:pt x="1359" y="3108"/>
                  </a:lnTo>
                  <a:lnTo>
                    <a:pt x="1357" y="3104"/>
                  </a:lnTo>
                  <a:lnTo>
                    <a:pt x="1362" y="3100"/>
                  </a:lnTo>
                  <a:lnTo>
                    <a:pt x="1364" y="3099"/>
                  </a:lnTo>
                  <a:lnTo>
                    <a:pt x="1366" y="3094"/>
                  </a:lnTo>
                  <a:lnTo>
                    <a:pt x="1370" y="3091"/>
                  </a:lnTo>
                  <a:lnTo>
                    <a:pt x="1371" y="3088"/>
                  </a:lnTo>
                  <a:lnTo>
                    <a:pt x="1370" y="3082"/>
                  </a:lnTo>
                  <a:lnTo>
                    <a:pt x="1371" y="3079"/>
                  </a:lnTo>
                  <a:lnTo>
                    <a:pt x="1369" y="3073"/>
                  </a:lnTo>
                  <a:lnTo>
                    <a:pt x="1364" y="3073"/>
                  </a:lnTo>
                  <a:lnTo>
                    <a:pt x="1359" y="3075"/>
                  </a:lnTo>
                  <a:lnTo>
                    <a:pt x="1353" y="3068"/>
                  </a:lnTo>
                  <a:lnTo>
                    <a:pt x="1349" y="3066"/>
                  </a:lnTo>
                  <a:lnTo>
                    <a:pt x="1348" y="3065"/>
                  </a:lnTo>
                  <a:lnTo>
                    <a:pt x="1348" y="3063"/>
                  </a:lnTo>
                  <a:lnTo>
                    <a:pt x="1350" y="3062"/>
                  </a:lnTo>
                  <a:lnTo>
                    <a:pt x="1349" y="3056"/>
                  </a:lnTo>
                  <a:lnTo>
                    <a:pt x="1353" y="3056"/>
                  </a:lnTo>
                  <a:lnTo>
                    <a:pt x="1353" y="3053"/>
                  </a:lnTo>
                  <a:lnTo>
                    <a:pt x="1355" y="3049"/>
                  </a:lnTo>
                  <a:lnTo>
                    <a:pt x="1355" y="3046"/>
                  </a:lnTo>
                  <a:lnTo>
                    <a:pt x="1357" y="3045"/>
                  </a:lnTo>
                  <a:lnTo>
                    <a:pt x="1359" y="3040"/>
                  </a:lnTo>
                  <a:lnTo>
                    <a:pt x="1360" y="3041"/>
                  </a:lnTo>
                  <a:lnTo>
                    <a:pt x="1363" y="3038"/>
                  </a:lnTo>
                  <a:lnTo>
                    <a:pt x="1363" y="3037"/>
                  </a:lnTo>
                  <a:lnTo>
                    <a:pt x="1360" y="3033"/>
                  </a:lnTo>
                  <a:lnTo>
                    <a:pt x="1357" y="3033"/>
                  </a:lnTo>
                  <a:lnTo>
                    <a:pt x="1355" y="3033"/>
                  </a:lnTo>
                  <a:lnTo>
                    <a:pt x="1352" y="3033"/>
                  </a:lnTo>
                  <a:lnTo>
                    <a:pt x="1348" y="3032"/>
                  </a:lnTo>
                  <a:lnTo>
                    <a:pt x="1344" y="3032"/>
                  </a:lnTo>
                  <a:lnTo>
                    <a:pt x="1341" y="3031"/>
                  </a:lnTo>
                  <a:lnTo>
                    <a:pt x="1334" y="3032"/>
                  </a:lnTo>
                  <a:lnTo>
                    <a:pt x="1330" y="3029"/>
                  </a:lnTo>
                  <a:lnTo>
                    <a:pt x="1322" y="3028"/>
                  </a:lnTo>
                  <a:lnTo>
                    <a:pt x="1321" y="3025"/>
                  </a:lnTo>
                  <a:lnTo>
                    <a:pt x="1317" y="3025"/>
                  </a:lnTo>
                  <a:lnTo>
                    <a:pt x="1316" y="3023"/>
                  </a:lnTo>
                  <a:lnTo>
                    <a:pt x="1313" y="3021"/>
                  </a:lnTo>
                  <a:lnTo>
                    <a:pt x="1302" y="3021"/>
                  </a:lnTo>
                  <a:lnTo>
                    <a:pt x="1300" y="3017"/>
                  </a:lnTo>
                  <a:lnTo>
                    <a:pt x="1303" y="3013"/>
                  </a:lnTo>
                  <a:lnTo>
                    <a:pt x="1303" y="3009"/>
                  </a:lnTo>
                  <a:lnTo>
                    <a:pt x="1296" y="3003"/>
                  </a:lnTo>
                  <a:lnTo>
                    <a:pt x="1295" y="3000"/>
                  </a:lnTo>
                  <a:lnTo>
                    <a:pt x="1295" y="2998"/>
                  </a:lnTo>
                  <a:lnTo>
                    <a:pt x="1300" y="2975"/>
                  </a:lnTo>
                  <a:lnTo>
                    <a:pt x="1299" y="2972"/>
                  </a:lnTo>
                  <a:lnTo>
                    <a:pt x="1295" y="2969"/>
                  </a:lnTo>
                  <a:lnTo>
                    <a:pt x="1296" y="2967"/>
                  </a:lnTo>
                  <a:lnTo>
                    <a:pt x="1300" y="2967"/>
                  </a:lnTo>
                  <a:lnTo>
                    <a:pt x="1302" y="2964"/>
                  </a:lnTo>
                  <a:lnTo>
                    <a:pt x="1302" y="2961"/>
                  </a:lnTo>
                  <a:lnTo>
                    <a:pt x="1297" y="2958"/>
                  </a:lnTo>
                  <a:lnTo>
                    <a:pt x="1299" y="2955"/>
                  </a:lnTo>
                  <a:lnTo>
                    <a:pt x="1302" y="2954"/>
                  </a:lnTo>
                  <a:lnTo>
                    <a:pt x="1303" y="2950"/>
                  </a:lnTo>
                  <a:lnTo>
                    <a:pt x="1302" y="2946"/>
                  </a:lnTo>
                  <a:lnTo>
                    <a:pt x="1295" y="2945"/>
                  </a:lnTo>
                  <a:lnTo>
                    <a:pt x="1286" y="2939"/>
                  </a:lnTo>
                  <a:lnTo>
                    <a:pt x="1285" y="2936"/>
                  </a:lnTo>
                  <a:lnTo>
                    <a:pt x="1286" y="2922"/>
                  </a:lnTo>
                  <a:lnTo>
                    <a:pt x="1289" y="2917"/>
                  </a:lnTo>
                  <a:lnTo>
                    <a:pt x="1294" y="2913"/>
                  </a:lnTo>
                  <a:lnTo>
                    <a:pt x="1295" y="2911"/>
                  </a:lnTo>
                  <a:lnTo>
                    <a:pt x="1295" y="2907"/>
                  </a:lnTo>
                  <a:lnTo>
                    <a:pt x="1296" y="2905"/>
                  </a:lnTo>
                  <a:lnTo>
                    <a:pt x="1300" y="2908"/>
                  </a:lnTo>
                  <a:lnTo>
                    <a:pt x="1302" y="2907"/>
                  </a:lnTo>
                  <a:lnTo>
                    <a:pt x="1299" y="2907"/>
                  </a:lnTo>
                  <a:lnTo>
                    <a:pt x="1300" y="2904"/>
                  </a:lnTo>
                  <a:lnTo>
                    <a:pt x="1306" y="2902"/>
                  </a:lnTo>
                  <a:lnTo>
                    <a:pt x="1306" y="2900"/>
                  </a:lnTo>
                  <a:lnTo>
                    <a:pt x="1309" y="2900"/>
                  </a:lnTo>
                  <a:lnTo>
                    <a:pt x="1309" y="2899"/>
                  </a:lnTo>
                  <a:lnTo>
                    <a:pt x="1311" y="2897"/>
                  </a:lnTo>
                  <a:lnTo>
                    <a:pt x="1313" y="2899"/>
                  </a:lnTo>
                  <a:lnTo>
                    <a:pt x="1316" y="2897"/>
                  </a:lnTo>
                  <a:lnTo>
                    <a:pt x="1317" y="2899"/>
                  </a:lnTo>
                  <a:lnTo>
                    <a:pt x="1319" y="2897"/>
                  </a:lnTo>
                  <a:lnTo>
                    <a:pt x="1317" y="2894"/>
                  </a:lnTo>
                  <a:lnTo>
                    <a:pt x="1314" y="2891"/>
                  </a:lnTo>
                  <a:lnTo>
                    <a:pt x="1316" y="2889"/>
                  </a:lnTo>
                  <a:lnTo>
                    <a:pt x="1316" y="2888"/>
                  </a:lnTo>
                  <a:lnTo>
                    <a:pt x="1316" y="2885"/>
                  </a:lnTo>
                  <a:lnTo>
                    <a:pt x="1314" y="2884"/>
                  </a:lnTo>
                  <a:lnTo>
                    <a:pt x="1313" y="2885"/>
                  </a:lnTo>
                  <a:lnTo>
                    <a:pt x="1306" y="2884"/>
                  </a:lnTo>
                  <a:lnTo>
                    <a:pt x="1305" y="2885"/>
                  </a:lnTo>
                  <a:lnTo>
                    <a:pt x="1302" y="2885"/>
                  </a:lnTo>
                  <a:lnTo>
                    <a:pt x="1296" y="2883"/>
                  </a:lnTo>
                  <a:lnTo>
                    <a:pt x="1297" y="2880"/>
                  </a:lnTo>
                  <a:lnTo>
                    <a:pt x="1295" y="2879"/>
                  </a:lnTo>
                  <a:lnTo>
                    <a:pt x="1297" y="2877"/>
                  </a:lnTo>
                  <a:lnTo>
                    <a:pt x="1295" y="2876"/>
                  </a:lnTo>
                  <a:lnTo>
                    <a:pt x="1297" y="2874"/>
                  </a:lnTo>
                  <a:lnTo>
                    <a:pt x="1296" y="2872"/>
                  </a:lnTo>
                  <a:lnTo>
                    <a:pt x="1294" y="2872"/>
                  </a:lnTo>
                  <a:lnTo>
                    <a:pt x="1292" y="2871"/>
                  </a:lnTo>
                  <a:lnTo>
                    <a:pt x="1292" y="2867"/>
                  </a:lnTo>
                  <a:lnTo>
                    <a:pt x="1294" y="2866"/>
                  </a:lnTo>
                  <a:lnTo>
                    <a:pt x="1292" y="2864"/>
                  </a:lnTo>
                  <a:lnTo>
                    <a:pt x="1294" y="2863"/>
                  </a:lnTo>
                  <a:lnTo>
                    <a:pt x="1286" y="2860"/>
                  </a:lnTo>
                  <a:lnTo>
                    <a:pt x="1288" y="2858"/>
                  </a:lnTo>
                  <a:lnTo>
                    <a:pt x="1291" y="2857"/>
                  </a:lnTo>
                  <a:lnTo>
                    <a:pt x="1289" y="2854"/>
                  </a:lnTo>
                  <a:lnTo>
                    <a:pt x="1291" y="2854"/>
                  </a:lnTo>
                  <a:lnTo>
                    <a:pt x="1291" y="2852"/>
                  </a:lnTo>
                  <a:lnTo>
                    <a:pt x="1291" y="2851"/>
                  </a:lnTo>
                  <a:lnTo>
                    <a:pt x="1285" y="2851"/>
                  </a:lnTo>
                  <a:lnTo>
                    <a:pt x="1285" y="2850"/>
                  </a:lnTo>
                  <a:lnTo>
                    <a:pt x="1296" y="2834"/>
                  </a:lnTo>
                  <a:lnTo>
                    <a:pt x="1306" y="2824"/>
                  </a:lnTo>
                  <a:lnTo>
                    <a:pt x="1327" y="2775"/>
                  </a:lnTo>
                  <a:lnTo>
                    <a:pt x="1288" y="2775"/>
                  </a:lnTo>
                  <a:lnTo>
                    <a:pt x="1272" y="2775"/>
                  </a:lnTo>
                  <a:lnTo>
                    <a:pt x="1260" y="2785"/>
                  </a:lnTo>
                  <a:lnTo>
                    <a:pt x="1256" y="2787"/>
                  </a:lnTo>
                  <a:lnTo>
                    <a:pt x="1256" y="2782"/>
                  </a:lnTo>
                  <a:lnTo>
                    <a:pt x="1260" y="2779"/>
                  </a:lnTo>
                  <a:lnTo>
                    <a:pt x="1259" y="2775"/>
                  </a:lnTo>
                  <a:lnTo>
                    <a:pt x="1261" y="2772"/>
                  </a:lnTo>
                  <a:lnTo>
                    <a:pt x="1263" y="2766"/>
                  </a:lnTo>
                  <a:lnTo>
                    <a:pt x="1259" y="2763"/>
                  </a:lnTo>
                  <a:lnTo>
                    <a:pt x="1256" y="2764"/>
                  </a:lnTo>
                  <a:lnTo>
                    <a:pt x="1252" y="2762"/>
                  </a:lnTo>
                  <a:lnTo>
                    <a:pt x="1252" y="2760"/>
                  </a:lnTo>
                  <a:lnTo>
                    <a:pt x="1250" y="2758"/>
                  </a:lnTo>
                  <a:lnTo>
                    <a:pt x="1250" y="2755"/>
                  </a:lnTo>
                  <a:lnTo>
                    <a:pt x="1241" y="2750"/>
                  </a:lnTo>
                  <a:lnTo>
                    <a:pt x="1239" y="2750"/>
                  </a:lnTo>
                  <a:lnTo>
                    <a:pt x="1234" y="2745"/>
                  </a:lnTo>
                  <a:lnTo>
                    <a:pt x="1232" y="2742"/>
                  </a:lnTo>
                  <a:lnTo>
                    <a:pt x="1235" y="2737"/>
                  </a:lnTo>
                  <a:lnTo>
                    <a:pt x="1234" y="2730"/>
                  </a:lnTo>
                  <a:lnTo>
                    <a:pt x="1235" y="2726"/>
                  </a:lnTo>
                  <a:lnTo>
                    <a:pt x="1236" y="2726"/>
                  </a:lnTo>
                  <a:lnTo>
                    <a:pt x="1234" y="2722"/>
                  </a:lnTo>
                  <a:lnTo>
                    <a:pt x="1238" y="2721"/>
                  </a:lnTo>
                  <a:lnTo>
                    <a:pt x="1239" y="2718"/>
                  </a:lnTo>
                  <a:lnTo>
                    <a:pt x="1236" y="2716"/>
                  </a:lnTo>
                  <a:lnTo>
                    <a:pt x="1236" y="2713"/>
                  </a:lnTo>
                  <a:lnTo>
                    <a:pt x="1232" y="2711"/>
                  </a:lnTo>
                  <a:lnTo>
                    <a:pt x="1232" y="2706"/>
                  </a:lnTo>
                  <a:lnTo>
                    <a:pt x="1230" y="2701"/>
                  </a:lnTo>
                  <a:lnTo>
                    <a:pt x="1227" y="2700"/>
                  </a:lnTo>
                  <a:lnTo>
                    <a:pt x="1222" y="2700"/>
                  </a:lnTo>
                  <a:lnTo>
                    <a:pt x="1221" y="2700"/>
                  </a:lnTo>
                  <a:lnTo>
                    <a:pt x="1211" y="2684"/>
                  </a:lnTo>
                  <a:lnTo>
                    <a:pt x="1213" y="2681"/>
                  </a:lnTo>
                  <a:lnTo>
                    <a:pt x="1211" y="2677"/>
                  </a:lnTo>
                  <a:lnTo>
                    <a:pt x="1209" y="2677"/>
                  </a:lnTo>
                  <a:lnTo>
                    <a:pt x="1206" y="2675"/>
                  </a:lnTo>
                  <a:lnTo>
                    <a:pt x="1206" y="2671"/>
                  </a:lnTo>
                  <a:lnTo>
                    <a:pt x="1200" y="2664"/>
                  </a:lnTo>
                  <a:lnTo>
                    <a:pt x="1197" y="2661"/>
                  </a:lnTo>
                  <a:lnTo>
                    <a:pt x="1196" y="2659"/>
                  </a:lnTo>
                  <a:lnTo>
                    <a:pt x="1191" y="2655"/>
                  </a:lnTo>
                  <a:lnTo>
                    <a:pt x="1189" y="2651"/>
                  </a:lnTo>
                  <a:lnTo>
                    <a:pt x="1185" y="2648"/>
                  </a:lnTo>
                  <a:lnTo>
                    <a:pt x="1184" y="2644"/>
                  </a:lnTo>
                  <a:lnTo>
                    <a:pt x="1182" y="2642"/>
                  </a:lnTo>
                  <a:lnTo>
                    <a:pt x="1181" y="2633"/>
                  </a:lnTo>
                  <a:lnTo>
                    <a:pt x="1178" y="2627"/>
                  </a:lnTo>
                  <a:lnTo>
                    <a:pt x="1178" y="2626"/>
                  </a:lnTo>
                  <a:lnTo>
                    <a:pt x="1174" y="2624"/>
                  </a:lnTo>
                  <a:lnTo>
                    <a:pt x="1175" y="2619"/>
                  </a:lnTo>
                  <a:lnTo>
                    <a:pt x="1174" y="2617"/>
                  </a:lnTo>
                  <a:lnTo>
                    <a:pt x="1174" y="2616"/>
                  </a:lnTo>
                  <a:lnTo>
                    <a:pt x="1167" y="2610"/>
                  </a:lnTo>
                  <a:lnTo>
                    <a:pt x="1163" y="2610"/>
                  </a:lnTo>
                  <a:lnTo>
                    <a:pt x="1160" y="2605"/>
                  </a:lnTo>
                  <a:lnTo>
                    <a:pt x="1161" y="2599"/>
                  </a:lnTo>
                  <a:lnTo>
                    <a:pt x="1157" y="2597"/>
                  </a:lnTo>
                  <a:lnTo>
                    <a:pt x="1155" y="2596"/>
                  </a:lnTo>
                  <a:lnTo>
                    <a:pt x="1152" y="2597"/>
                  </a:lnTo>
                  <a:lnTo>
                    <a:pt x="1150" y="2597"/>
                  </a:lnTo>
                  <a:lnTo>
                    <a:pt x="1150" y="2594"/>
                  </a:lnTo>
                  <a:lnTo>
                    <a:pt x="1142" y="2588"/>
                  </a:lnTo>
                  <a:lnTo>
                    <a:pt x="1142" y="2581"/>
                  </a:lnTo>
                  <a:lnTo>
                    <a:pt x="1136" y="2579"/>
                  </a:lnTo>
                  <a:lnTo>
                    <a:pt x="1135" y="2576"/>
                  </a:lnTo>
                  <a:lnTo>
                    <a:pt x="1135" y="2564"/>
                  </a:lnTo>
                  <a:lnTo>
                    <a:pt x="1138" y="2559"/>
                  </a:lnTo>
                  <a:lnTo>
                    <a:pt x="1138" y="2555"/>
                  </a:lnTo>
                  <a:lnTo>
                    <a:pt x="1145" y="2547"/>
                  </a:lnTo>
                  <a:lnTo>
                    <a:pt x="1145" y="2534"/>
                  </a:lnTo>
                  <a:lnTo>
                    <a:pt x="1143" y="2532"/>
                  </a:lnTo>
                  <a:lnTo>
                    <a:pt x="1145" y="2526"/>
                  </a:lnTo>
                  <a:lnTo>
                    <a:pt x="1142" y="2512"/>
                  </a:lnTo>
                  <a:lnTo>
                    <a:pt x="1143" y="2501"/>
                  </a:lnTo>
                  <a:lnTo>
                    <a:pt x="1141" y="2489"/>
                  </a:lnTo>
                  <a:lnTo>
                    <a:pt x="1127" y="2481"/>
                  </a:lnTo>
                  <a:lnTo>
                    <a:pt x="1122" y="2481"/>
                  </a:lnTo>
                  <a:lnTo>
                    <a:pt x="1118" y="2478"/>
                  </a:lnTo>
                  <a:lnTo>
                    <a:pt x="1120" y="2477"/>
                  </a:lnTo>
                  <a:lnTo>
                    <a:pt x="1100" y="2474"/>
                  </a:lnTo>
                  <a:lnTo>
                    <a:pt x="1088" y="2467"/>
                  </a:lnTo>
                  <a:lnTo>
                    <a:pt x="1084" y="2467"/>
                  </a:lnTo>
                  <a:lnTo>
                    <a:pt x="1075" y="2465"/>
                  </a:lnTo>
                  <a:lnTo>
                    <a:pt x="1060" y="2468"/>
                  </a:lnTo>
                  <a:lnTo>
                    <a:pt x="1054" y="2467"/>
                  </a:lnTo>
                  <a:lnTo>
                    <a:pt x="1050" y="2468"/>
                  </a:lnTo>
                  <a:lnTo>
                    <a:pt x="1046" y="2462"/>
                  </a:lnTo>
                  <a:lnTo>
                    <a:pt x="1040" y="2457"/>
                  </a:lnTo>
                  <a:lnTo>
                    <a:pt x="1039" y="2452"/>
                  </a:lnTo>
                  <a:lnTo>
                    <a:pt x="1036" y="2449"/>
                  </a:lnTo>
                  <a:lnTo>
                    <a:pt x="1035" y="2445"/>
                  </a:lnTo>
                  <a:lnTo>
                    <a:pt x="1032" y="2444"/>
                  </a:lnTo>
                  <a:lnTo>
                    <a:pt x="1031" y="2442"/>
                  </a:lnTo>
                  <a:lnTo>
                    <a:pt x="1020" y="2435"/>
                  </a:lnTo>
                  <a:lnTo>
                    <a:pt x="1010" y="2431"/>
                  </a:lnTo>
                  <a:lnTo>
                    <a:pt x="1000" y="2440"/>
                  </a:lnTo>
                  <a:lnTo>
                    <a:pt x="995" y="2442"/>
                  </a:lnTo>
                  <a:lnTo>
                    <a:pt x="987" y="2439"/>
                  </a:lnTo>
                  <a:lnTo>
                    <a:pt x="983" y="2431"/>
                  </a:lnTo>
                  <a:lnTo>
                    <a:pt x="979" y="2432"/>
                  </a:lnTo>
                  <a:lnTo>
                    <a:pt x="970" y="2428"/>
                  </a:lnTo>
                  <a:lnTo>
                    <a:pt x="960" y="2430"/>
                  </a:lnTo>
                  <a:lnTo>
                    <a:pt x="957" y="2428"/>
                  </a:lnTo>
                  <a:lnTo>
                    <a:pt x="953" y="2428"/>
                  </a:lnTo>
                  <a:lnTo>
                    <a:pt x="949" y="2427"/>
                  </a:lnTo>
                  <a:lnTo>
                    <a:pt x="946" y="2427"/>
                  </a:lnTo>
                  <a:lnTo>
                    <a:pt x="943" y="2425"/>
                  </a:lnTo>
                  <a:lnTo>
                    <a:pt x="931" y="2408"/>
                  </a:lnTo>
                  <a:lnTo>
                    <a:pt x="926" y="2408"/>
                  </a:lnTo>
                  <a:lnTo>
                    <a:pt x="922" y="2407"/>
                  </a:lnTo>
                  <a:lnTo>
                    <a:pt x="921" y="2399"/>
                  </a:lnTo>
                  <a:lnTo>
                    <a:pt x="917" y="2397"/>
                  </a:lnTo>
                  <a:lnTo>
                    <a:pt x="912" y="2385"/>
                  </a:lnTo>
                  <a:lnTo>
                    <a:pt x="906" y="2387"/>
                  </a:lnTo>
                  <a:lnTo>
                    <a:pt x="898" y="2381"/>
                  </a:lnTo>
                  <a:lnTo>
                    <a:pt x="896" y="2377"/>
                  </a:lnTo>
                  <a:lnTo>
                    <a:pt x="892" y="2373"/>
                  </a:lnTo>
                  <a:lnTo>
                    <a:pt x="889" y="2373"/>
                  </a:lnTo>
                  <a:lnTo>
                    <a:pt x="887" y="2369"/>
                  </a:lnTo>
                  <a:lnTo>
                    <a:pt x="885" y="2368"/>
                  </a:lnTo>
                  <a:lnTo>
                    <a:pt x="882" y="2368"/>
                  </a:lnTo>
                  <a:lnTo>
                    <a:pt x="881" y="2370"/>
                  </a:lnTo>
                  <a:lnTo>
                    <a:pt x="871" y="2365"/>
                  </a:lnTo>
                  <a:lnTo>
                    <a:pt x="860" y="2365"/>
                  </a:lnTo>
                  <a:lnTo>
                    <a:pt x="853" y="2361"/>
                  </a:lnTo>
                  <a:lnTo>
                    <a:pt x="844" y="2361"/>
                  </a:lnTo>
                  <a:lnTo>
                    <a:pt x="840" y="2358"/>
                  </a:lnTo>
                  <a:lnTo>
                    <a:pt x="835" y="2360"/>
                  </a:lnTo>
                  <a:lnTo>
                    <a:pt x="830" y="2358"/>
                  </a:lnTo>
                  <a:lnTo>
                    <a:pt x="829" y="2358"/>
                  </a:lnTo>
                  <a:lnTo>
                    <a:pt x="829" y="2360"/>
                  </a:lnTo>
                  <a:lnTo>
                    <a:pt x="823" y="2361"/>
                  </a:lnTo>
                  <a:lnTo>
                    <a:pt x="819" y="2365"/>
                  </a:lnTo>
                  <a:lnTo>
                    <a:pt x="814" y="2363"/>
                  </a:lnTo>
                  <a:lnTo>
                    <a:pt x="810" y="2365"/>
                  </a:lnTo>
                  <a:lnTo>
                    <a:pt x="805" y="2363"/>
                  </a:lnTo>
                  <a:lnTo>
                    <a:pt x="803" y="2362"/>
                  </a:lnTo>
                  <a:lnTo>
                    <a:pt x="797" y="2362"/>
                  </a:lnTo>
                  <a:lnTo>
                    <a:pt x="793" y="2363"/>
                  </a:lnTo>
                  <a:lnTo>
                    <a:pt x="790" y="2368"/>
                  </a:lnTo>
                  <a:lnTo>
                    <a:pt x="787" y="2368"/>
                  </a:lnTo>
                  <a:lnTo>
                    <a:pt x="782" y="2365"/>
                  </a:lnTo>
                  <a:lnTo>
                    <a:pt x="780" y="2362"/>
                  </a:lnTo>
                  <a:lnTo>
                    <a:pt x="769" y="2356"/>
                  </a:lnTo>
                  <a:lnTo>
                    <a:pt x="761" y="2350"/>
                  </a:lnTo>
                  <a:lnTo>
                    <a:pt x="758" y="2352"/>
                  </a:lnTo>
                  <a:lnTo>
                    <a:pt x="750" y="2348"/>
                  </a:lnTo>
                  <a:lnTo>
                    <a:pt x="748" y="2350"/>
                  </a:lnTo>
                  <a:lnTo>
                    <a:pt x="747" y="2349"/>
                  </a:lnTo>
                  <a:lnTo>
                    <a:pt x="743" y="2357"/>
                  </a:lnTo>
                  <a:lnTo>
                    <a:pt x="740" y="2352"/>
                  </a:lnTo>
                  <a:lnTo>
                    <a:pt x="735" y="2350"/>
                  </a:lnTo>
                  <a:lnTo>
                    <a:pt x="729" y="2350"/>
                  </a:lnTo>
                  <a:lnTo>
                    <a:pt x="725" y="2345"/>
                  </a:lnTo>
                  <a:lnTo>
                    <a:pt x="721" y="2344"/>
                  </a:lnTo>
                  <a:lnTo>
                    <a:pt x="721" y="2341"/>
                  </a:lnTo>
                  <a:lnTo>
                    <a:pt x="718" y="2343"/>
                  </a:lnTo>
                  <a:lnTo>
                    <a:pt x="718" y="2338"/>
                  </a:lnTo>
                  <a:lnTo>
                    <a:pt x="715" y="2336"/>
                  </a:lnTo>
                  <a:lnTo>
                    <a:pt x="711" y="2336"/>
                  </a:lnTo>
                  <a:lnTo>
                    <a:pt x="710" y="2337"/>
                  </a:lnTo>
                  <a:lnTo>
                    <a:pt x="708" y="2336"/>
                  </a:lnTo>
                  <a:lnTo>
                    <a:pt x="707" y="2337"/>
                  </a:lnTo>
                  <a:lnTo>
                    <a:pt x="704" y="2336"/>
                  </a:lnTo>
                  <a:lnTo>
                    <a:pt x="702" y="2337"/>
                  </a:lnTo>
                  <a:lnTo>
                    <a:pt x="698" y="2337"/>
                  </a:lnTo>
                  <a:lnTo>
                    <a:pt x="696" y="2336"/>
                  </a:lnTo>
                  <a:lnTo>
                    <a:pt x="693" y="2337"/>
                  </a:lnTo>
                  <a:lnTo>
                    <a:pt x="690" y="2333"/>
                  </a:lnTo>
                  <a:lnTo>
                    <a:pt x="686" y="2333"/>
                  </a:lnTo>
                  <a:lnTo>
                    <a:pt x="682" y="2335"/>
                  </a:lnTo>
                  <a:lnTo>
                    <a:pt x="677" y="2333"/>
                  </a:lnTo>
                  <a:lnTo>
                    <a:pt x="675" y="2337"/>
                  </a:lnTo>
                  <a:lnTo>
                    <a:pt x="669" y="2335"/>
                  </a:lnTo>
                  <a:lnTo>
                    <a:pt x="655" y="2335"/>
                  </a:lnTo>
                  <a:lnTo>
                    <a:pt x="654" y="2330"/>
                  </a:lnTo>
                  <a:lnTo>
                    <a:pt x="647" y="2330"/>
                  </a:lnTo>
                  <a:lnTo>
                    <a:pt x="644" y="2330"/>
                  </a:lnTo>
                  <a:lnTo>
                    <a:pt x="622" y="2325"/>
                  </a:lnTo>
                  <a:lnTo>
                    <a:pt x="616" y="2325"/>
                  </a:lnTo>
                  <a:lnTo>
                    <a:pt x="612" y="2328"/>
                  </a:lnTo>
                  <a:lnTo>
                    <a:pt x="612" y="2330"/>
                  </a:lnTo>
                  <a:lnTo>
                    <a:pt x="598" y="2330"/>
                  </a:lnTo>
                  <a:lnTo>
                    <a:pt x="590" y="2333"/>
                  </a:lnTo>
                  <a:lnTo>
                    <a:pt x="588" y="2336"/>
                  </a:lnTo>
                  <a:lnTo>
                    <a:pt x="584" y="2336"/>
                  </a:lnTo>
                  <a:lnTo>
                    <a:pt x="583" y="2338"/>
                  </a:lnTo>
                  <a:lnTo>
                    <a:pt x="580" y="2338"/>
                  </a:lnTo>
                  <a:lnTo>
                    <a:pt x="571" y="2345"/>
                  </a:lnTo>
                  <a:lnTo>
                    <a:pt x="561" y="2347"/>
                  </a:lnTo>
                  <a:lnTo>
                    <a:pt x="559" y="2349"/>
                  </a:lnTo>
                  <a:lnTo>
                    <a:pt x="545" y="2355"/>
                  </a:lnTo>
                  <a:lnTo>
                    <a:pt x="541" y="2358"/>
                  </a:lnTo>
                  <a:lnTo>
                    <a:pt x="522" y="2363"/>
                  </a:lnTo>
                  <a:lnTo>
                    <a:pt x="486" y="2307"/>
                  </a:lnTo>
                  <a:lnTo>
                    <a:pt x="465" y="2136"/>
                  </a:lnTo>
                  <a:lnTo>
                    <a:pt x="463" y="2133"/>
                  </a:lnTo>
                  <a:lnTo>
                    <a:pt x="463" y="2129"/>
                  </a:lnTo>
                  <a:lnTo>
                    <a:pt x="463" y="2127"/>
                  </a:lnTo>
                  <a:lnTo>
                    <a:pt x="463" y="2125"/>
                  </a:lnTo>
                  <a:lnTo>
                    <a:pt x="459" y="2122"/>
                  </a:lnTo>
                  <a:lnTo>
                    <a:pt x="458" y="2120"/>
                  </a:lnTo>
                  <a:lnTo>
                    <a:pt x="456" y="2120"/>
                  </a:lnTo>
                  <a:lnTo>
                    <a:pt x="374" y="2071"/>
                  </a:lnTo>
                  <a:lnTo>
                    <a:pt x="316" y="1938"/>
                  </a:lnTo>
                  <a:lnTo>
                    <a:pt x="312" y="1861"/>
                  </a:lnTo>
                  <a:lnTo>
                    <a:pt x="298" y="1843"/>
                  </a:lnTo>
                  <a:lnTo>
                    <a:pt x="291" y="1831"/>
                  </a:lnTo>
                  <a:lnTo>
                    <a:pt x="221" y="1760"/>
                  </a:lnTo>
                  <a:lnTo>
                    <a:pt x="207" y="1746"/>
                  </a:lnTo>
                  <a:lnTo>
                    <a:pt x="199" y="1688"/>
                  </a:lnTo>
                  <a:lnTo>
                    <a:pt x="203" y="1573"/>
                  </a:lnTo>
                  <a:lnTo>
                    <a:pt x="206" y="1543"/>
                  </a:lnTo>
                  <a:lnTo>
                    <a:pt x="206" y="1541"/>
                  </a:lnTo>
                  <a:lnTo>
                    <a:pt x="206" y="1539"/>
                  </a:lnTo>
                  <a:lnTo>
                    <a:pt x="209" y="1508"/>
                  </a:lnTo>
                  <a:lnTo>
                    <a:pt x="173" y="1402"/>
                  </a:lnTo>
                  <a:lnTo>
                    <a:pt x="170" y="1394"/>
                  </a:lnTo>
                  <a:lnTo>
                    <a:pt x="162" y="1366"/>
                  </a:lnTo>
                  <a:lnTo>
                    <a:pt x="159" y="1358"/>
                  </a:lnTo>
                  <a:lnTo>
                    <a:pt x="148" y="1325"/>
                  </a:lnTo>
                  <a:lnTo>
                    <a:pt x="129" y="1274"/>
                  </a:lnTo>
                  <a:lnTo>
                    <a:pt x="124" y="1258"/>
                  </a:lnTo>
                  <a:lnTo>
                    <a:pt x="101" y="1185"/>
                  </a:lnTo>
                  <a:lnTo>
                    <a:pt x="81" y="1126"/>
                  </a:lnTo>
                  <a:lnTo>
                    <a:pt x="74" y="1108"/>
                  </a:lnTo>
                  <a:lnTo>
                    <a:pt x="51" y="1037"/>
                  </a:lnTo>
                  <a:lnTo>
                    <a:pt x="34" y="988"/>
                  </a:lnTo>
                  <a:lnTo>
                    <a:pt x="34" y="984"/>
                  </a:lnTo>
                  <a:lnTo>
                    <a:pt x="29" y="972"/>
                  </a:lnTo>
                  <a:lnTo>
                    <a:pt x="23" y="954"/>
                  </a:lnTo>
                  <a:lnTo>
                    <a:pt x="17" y="934"/>
                  </a:lnTo>
                  <a:lnTo>
                    <a:pt x="16" y="931"/>
                  </a:lnTo>
                  <a:lnTo>
                    <a:pt x="10" y="914"/>
                  </a:lnTo>
                  <a:lnTo>
                    <a:pt x="9" y="910"/>
                  </a:lnTo>
                  <a:lnTo>
                    <a:pt x="4" y="899"/>
                  </a:lnTo>
                  <a:lnTo>
                    <a:pt x="4" y="896"/>
                  </a:lnTo>
                  <a:lnTo>
                    <a:pt x="3" y="896"/>
                  </a:lnTo>
                  <a:lnTo>
                    <a:pt x="2" y="896"/>
                  </a:lnTo>
                  <a:lnTo>
                    <a:pt x="2" y="894"/>
                  </a:lnTo>
                  <a:lnTo>
                    <a:pt x="0" y="894"/>
                  </a:lnTo>
                  <a:lnTo>
                    <a:pt x="23" y="880"/>
                  </a:lnTo>
                  <a:lnTo>
                    <a:pt x="43" y="867"/>
                  </a:lnTo>
                  <a:lnTo>
                    <a:pt x="54" y="859"/>
                  </a:lnTo>
                  <a:lnTo>
                    <a:pt x="63" y="854"/>
                  </a:lnTo>
                  <a:lnTo>
                    <a:pt x="143" y="772"/>
                  </a:lnTo>
                  <a:lnTo>
                    <a:pt x="162" y="757"/>
                  </a:lnTo>
                  <a:lnTo>
                    <a:pt x="181" y="731"/>
                  </a:lnTo>
                  <a:lnTo>
                    <a:pt x="234" y="678"/>
                  </a:lnTo>
                  <a:lnTo>
                    <a:pt x="245" y="670"/>
                  </a:lnTo>
                  <a:lnTo>
                    <a:pt x="269" y="645"/>
                  </a:lnTo>
                  <a:lnTo>
                    <a:pt x="303" y="608"/>
                  </a:lnTo>
                  <a:lnTo>
                    <a:pt x="341" y="570"/>
                  </a:lnTo>
                  <a:lnTo>
                    <a:pt x="372" y="539"/>
                  </a:lnTo>
                  <a:lnTo>
                    <a:pt x="380" y="529"/>
                  </a:lnTo>
                  <a:lnTo>
                    <a:pt x="394" y="514"/>
                  </a:lnTo>
                  <a:lnTo>
                    <a:pt x="477" y="430"/>
                  </a:lnTo>
                  <a:lnTo>
                    <a:pt x="484" y="424"/>
                  </a:lnTo>
                  <a:lnTo>
                    <a:pt x="517" y="390"/>
                  </a:lnTo>
                  <a:lnTo>
                    <a:pt x="531" y="375"/>
                  </a:lnTo>
                  <a:lnTo>
                    <a:pt x="641" y="259"/>
                  </a:lnTo>
                  <a:lnTo>
                    <a:pt x="648" y="253"/>
                  </a:lnTo>
                  <a:lnTo>
                    <a:pt x="661" y="241"/>
                  </a:lnTo>
                  <a:lnTo>
                    <a:pt x="740" y="159"/>
                  </a:lnTo>
                  <a:lnTo>
                    <a:pt x="766" y="131"/>
                  </a:lnTo>
                  <a:lnTo>
                    <a:pt x="796" y="101"/>
                  </a:lnTo>
                  <a:lnTo>
                    <a:pt x="870" y="26"/>
                  </a:lnTo>
                  <a:lnTo>
                    <a:pt x="890" y="5"/>
                  </a:lnTo>
                  <a:lnTo>
                    <a:pt x="903" y="1"/>
                  </a:lnTo>
                  <a:lnTo>
                    <a:pt x="914" y="0"/>
                  </a:lnTo>
                  <a:lnTo>
                    <a:pt x="923" y="1"/>
                  </a:lnTo>
                  <a:lnTo>
                    <a:pt x="946" y="14"/>
                  </a:lnTo>
                  <a:lnTo>
                    <a:pt x="956" y="19"/>
                  </a:lnTo>
                  <a:lnTo>
                    <a:pt x="961" y="26"/>
                  </a:lnTo>
                  <a:lnTo>
                    <a:pt x="965" y="27"/>
                  </a:lnTo>
                  <a:lnTo>
                    <a:pt x="971" y="31"/>
                  </a:lnTo>
                  <a:lnTo>
                    <a:pt x="974" y="31"/>
                  </a:lnTo>
                  <a:lnTo>
                    <a:pt x="975" y="38"/>
                  </a:lnTo>
                  <a:lnTo>
                    <a:pt x="981" y="46"/>
                  </a:lnTo>
                  <a:lnTo>
                    <a:pt x="992" y="50"/>
                  </a:lnTo>
                  <a:lnTo>
                    <a:pt x="997" y="56"/>
                  </a:lnTo>
                  <a:lnTo>
                    <a:pt x="1003" y="59"/>
                  </a:lnTo>
                  <a:lnTo>
                    <a:pt x="1007" y="64"/>
                  </a:lnTo>
                  <a:lnTo>
                    <a:pt x="1011" y="68"/>
                  </a:lnTo>
                  <a:lnTo>
                    <a:pt x="1015" y="68"/>
                  </a:lnTo>
                  <a:lnTo>
                    <a:pt x="1021" y="68"/>
                  </a:lnTo>
                  <a:lnTo>
                    <a:pt x="1025" y="67"/>
                  </a:lnTo>
                  <a:lnTo>
                    <a:pt x="1031" y="67"/>
                  </a:lnTo>
                  <a:lnTo>
                    <a:pt x="1039" y="64"/>
                  </a:lnTo>
                  <a:lnTo>
                    <a:pt x="1059" y="71"/>
                  </a:lnTo>
                  <a:lnTo>
                    <a:pt x="1067" y="68"/>
                  </a:lnTo>
                  <a:lnTo>
                    <a:pt x="1082" y="65"/>
                  </a:lnTo>
                  <a:lnTo>
                    <a:pt x="1085" y="65"/>
                  </a:lnTo>
                  <a:lnTo>
                    <a:pt x="1086" y="72"/>
                  </a:lnTo>
                  <a:lnTo>
                    <a:pt x="1089" y="75"/>
                  </a:lnTo>
                  <a:lnTo>
                    <a:pt x="1093" y="76"/>
                  </a:lnTo>
                  <a:lnTo>
                    <a:pt x="1099" y="79"/>
                  </a:lnTo>
                  <a:lnTo>
                    <a:pt x="1103" y="79"/>
                  </a:lnTo>
                  <a:lnTo>
                    <a:pt x="1104" y="79"/>
                  </a:lnTo>
                  <a:lnTo>
                    <a:pt x="1106" y="76"/>
                  </a:lnTo>
                  <a:lnTo>
                    <a:pt x="1107" y="80"/>
                  </a:lnTo>
                  <a:lnTo>
                    <a:pt x="1113" y="79"/>
                  </a:lnTo>
                  <a:lnTo>
                    <a:pt x="1121" y="81"/>
                  </a:lnTo>
                  <a:lnTo>
                    <a:pt x="1127" y="85"/>
                  </a:lnTo>
                  <a:lnTo>
                    <a:pt x="1134" y="89"/>
                  </a:lnTo>
                  <a:lnTo>
                    <a:pt x="1134" y="93"/>
                  </a:lnTo>
                  <a:lnTo>
                    <a:pt x="1132" y="94"/>
                  </a:lnTo>
                  <a:lnTo>
                    <a:pt x="1132" y="97"/>
                  </a:lnTo>
                  <a:lnTo>
                    <a:pt x="1138" y="104"/>
                  </a:lnTo>
                  <a:lnTo>
                    <a:pt x="1150" y="107"/>
                  </a:lnTo>
                  <a:lnTo>
                    <a:pt x="1157" y="107"/>
                  </a:lnTo>
                  <a:lnTo>
                    <a:pt x="1163" y="109"/>
                  </a:lnTo>
                  <a:lnTo>
                    <a:pt x="1182" y="119"/>
                  </a:lnTo>
                  <a:lnTo>
                    <a:pt x="1188" y="129"/>
                  </a:lnTo>
                  <a:lnTo>
                    <a:pt x="1186" y="131"/>
                  </a:lnTo>
                  <a:lnTo>
                    <a:pt x="1186" y="134"/>
                  </a:lnTo>
                  <a:lnTo>
                    <a:pt x="1194" y="137"/>
                  </a:lnTo>
                  <a:lnTo>
                    <a:pt x="1199" y="135"/>
                  </a:lnTo>
                  <a:lnTo>
                    <a:pt x="1203" y="138"/>
                  </a:lnTo>
                  <a:lnTo>
                    <a:pt x="1205" y="139"/>
                  </a:lnTo>
                  <a:lnTo>
                    <a:pt x="1209" y="143"/>
                  </a:lnTo>
                  <a:lnTo>
                    <a:pt x="1211" y="147"/>
                  </a:lnTo>
                  <a:lnTo>
                    <a:pt x="1217" y="150"/>
                  </a:lnTo>
                  <a:lnTo>
                    <a:pt x="1217" y="152"/>
                  </a:lnTo>
                  <a:lnTo>
                    <a:pt x="1222" y="156"/>
                  </a:lnTo>
                  <a:lnTo>
                    <a:pt x="1227" y="158"/>
                  </a:lnTo>
                  <a:lnTo>
                    <a:pt x="1231" y="154"/>
                  </a:lnTo>
                  <a:lnTo>
                    <a:pt x="1236" y="155"/>
                  </a:lnTo>
                  <a:lnTo>
                    <a:pt x="1239" y="151"/>
                  </a:lnTo>
                  <a:lnTo>
                    <a:pt x="1245" y="150"/>
                  </a:lnTo>
                  <a:lnTo>
                    <a:pt x="1252" y="152"/>
                  </a:lnTo>
                  <a:lnTo>
                    <a:pt x="1259" y="156"/>
                  </a:lnTo>
                  <a:lnTo>
                    <a:pt x="1266" y="156"/>
                  </a:lnTo>
                  <a:lnTo>
                    <a:pt x="1269" y="155"/>
                  </a:lnTo>
                  <a:lnTo>
                    <a:pt x="1277" y="143"/>
                  </a:lnTo>
                  <a:lnTo>
                    <a:pt x="1278" y="142"/>
                  </a:lnTo>
                  <a:lnTo>
                    <a:pt x="1282" y="143"/>
                  </a:lnTo>
                  <a:lnTo>
                    <a:pt x="1286" y="138"/>
                  </a:lnTo>
                  <a:lnTo>
                    <a:pt x="1289" y="138"/>
                  </a:lnTo>
                  <a:lnTo>
                    <a:pt x="1294" y="143"/>
                  </a:lnTo>
                  <a:lnTo>
                    <a:pt x="1305" y="150"/>
                  </a:lnTo>
                  <a:lnTo>
                    <a:pt x="1309" y="150"/>
                  </a:lnTo>
                  <a:lnTo>
                    <a:pt x="1313" y="152"/>
                  </a:lnTo>
                  <a:lnTo>
                    <a:pt x="1317" y="152"/>
                  </a:lnTo>
                  <a:lnTo>
                    <a:pt x="1325" y="159"/>
                  </a:lnTo>
                  <a:lnTo>
                    <a:pt x="1327" y="161"/>
                  </a:lnTo>
                  <a:lnTo>
                    <a:pt x="1325" y="162"/>
                  </a:lnTo>
                  <a:lnTo>
                    <a:pt x="1325" y="166"/>
                  </a:lnTo>
                  <a:lnTo>
                    <a:pt x="1331" y="174"/>
                  </a:lnTo>
                  <a:lnTo>
                    <a:pt x="1332" y="178"/>
                  </a:lnTo>
                  <a:lnTo>
                    <a:pt x="1334" y="180"/>
                  </a:lnTo>
                  <a:lnTo>
                    <a:pt x="1327" y="192"/>
                  </a:lnTo>
                  <a:lnTo>
                    <a:pt x="1327" y="194"/>
                  </a:lnTo>
                  <a:lnTo>
                    <a:pt x="1330" y="200"/>
                  </a:lnTo>
                  <a:lnTo>
                    <a:pt x="1332" y="200"/>
                  </a:lnTo>
                  <a:lnTo>
                    <a:pt x="1334" y="203"/>
                  </a:lnTo>
                  <a:lnTo>
                    <a:pt x="1344" y="203"/>
                  </a:lnTo>
                  <a:lnTo>
                    <a:pt x="1346" y="206"/>
                  </a:lnTo>
                  <a:lnTo>
                    <a:pt x="1348" y="209"/>
                  </a:lnTo>
                  <a:lnTo>
                    <a:pt x="1352" y="211"/>
                  </a:lnTo>
                  <a:lnTo>
                    <a:pt x="1367" y="211"/>
                  </a:lnTo>
                  <a:lnTo>
                    <a:pt x="1374" y="213"/>
                  </a:lnTo>
                  <a:lnTo>
                    <a:pt x="1380" y="211"/>
                  </a:lnTo>
                  <a:lnTo>
                    <a:pt x="1388" y="214"/>
                  </a:lnTo>
                  <a:lnTo>
                    <a:pt x="1395" y="214"/>
                  </a:lnTo>
                  <a:lnTo>
                    <a:pt x="1402" y="218"/>
                  </a:lnTo>
                  <a:lnTo>
                    <a:pt x="1410" y="218"/>
                  </a:lnTo>
                  <a:lnTo>
                    <a:pt x="1419" y="217"/>
                  </a:lnTo>
                  <a:lnTo>
                    <a:pt x="1419" y="209"/>
                  </a:lnTo>
                  <a:lnTo>
                    <a:pt x="1420" y="206"/>
                  </a:lnTo>
                  <a:lnTo>
                    <a:pt x="1426" y="206"/>
                  </a:lnTo>
                  <a:lnTo>
                    <a:pt x="1430" y="203"/>
                  </a:lnTo>
                  <a:lnTo>
                    <a:pt x="1431" y="199"/>
                  </a:lnTo>
                  <a:lnTo>
                    <a:pt x="1435" y="196"/>
                  </a:lnTo>
                  <a:lnTo>
                    <a:pt x="1435" y="192"/>
                  </a:lnTo>
                  <a:lnTo>
                    <a:pt x="1438" y="188"/>
                  </a:lnTo>
                  <a:lnTo>
                    <a:pt x="1452" y="184"/>
                  </a:lnTo>
                  <a:lnTo>
                    <a:pt x="1459" y="175"/>
                  </a:lnTo>
                  <a:lnTo>
                    <a:pt x="1463" y="172"/>
                  </a:lnTo>
                  <a:lnTo>
                    <a:pt x="1463" y="168"/>
                  </a:lnTo>
                  <a:lnTo>
                    <a:pt x="1467" y="168"/>
                  </a:lnTo>
                  <a:lnTo>
                    <a:pt x="1470" y="169"/>
                  </a:lnTo>
                  <a:lnTo>
                    <a:pt x="1476" y="169"/>
                  </a:lnTo>
                  <a:lnTo>
                    <a:pt x="1479" y="166"/>
                  </a:lnTo>
                  <a:lnTo>
                    <a:pt x="1479" y="164"/>
                  </a:lnTo>
                  <a:lnTo>
                    <a:pt x="1480" y="162"/>
                  </a:lnTo>
                  <a:lnTo>
                    <a:pt x="1484" y="162"/>
                  </a:lnTo>
                  <a:lnTo>
                    <a:pt x="1487" y="162"/>
                  </a:lnTo>
                  <a:lnTo>
                    <a:pt x="1490" y="162"/>
                  </a:lnTo>
                  <a:lnTo>
                    <a:pt x="1494" y="155"/>
                  </a:lnTo>
                  <a:lnTo>
                    <a:pt x="1499" y="151"/>
                  </a:lnTo>
                  <a:lnTo>
                    <a:pt x="1502" y="147"/>
                  </a:lnTo>
                  <a:lnTo>
                    <a:pt x="1510" y="143"/>
                  </a:lnTo>
                  <a:lnTo>
                    <a:pt x="1510" y="139"/>
                  </a:lnTo>
                  <a:lnTo>
                    <a:pt x="1517" y="135"/>
                  </a:lnTo>
                  <a:lnTo>
                    <a:pt x="1537" y="131"/>
                  </a:lnTo>
                  <a:lnTo>
                    <a:pt x="1540" y="133"/>
                  </a:lnTo>
                  <a:lnTo>
                    <a:pt x="1544" y="133"/>
                  </a:lnTo>
                  <a:lnTo>
                    <a:pt x="1551" y="129"/>
                  </a:lnTo>
                  <a:lnTo>
                    <a:pt x="1554" y="129"/>
                  </a:lnTo>
                  <a:lnTo>
                    <a:pt x="1559" y="131"/>
                  </a:lnTo>
                  <a:lnTo>
                    <a:pt x="1563" y="131"/>
                  </a:lnTo>
                  <a:lnTo>
                    <a:pt x="1570" y="138"/>
                  </a:lnTo>
                  <a:lnTo>
                    <a:pt x="1571" y="143"/>
                  </a:lnTo>
                  <a:lnTo>
                    <a:pt x="1577" y="146"/>
                  </a:lnTo>
                  <a:lnTo>
                    <a:pt x="1580" y="147"/>
                  </a:lnTo>
                  <a:lnTo>
                    <a:pt x="1583" y="150"/>
                  </a:lnTo>
                  <a:lnTo>
                    <a:pt x="1587" y="147"/>
                  </a:lnTo>
                  <a:lnTo>
                    <a:pt x="1596" y="155"/>
                  </a:lnTo>
                  <a:lnTo>
                    <a:pt x="1601" y="155"/>
                  </a:lnTo>
                  <a:lnTo>
                    <a:pt x="1583" y="178"/>
                  </a:lnTo>
                  <a:lnTo>
                    <a:pt x="1577" y="178"/>
                  </a:lnTo>
                  <a:lnTo>
                    <a:pt x="1576" y="172"/>
                  </a:lnTo>
                  <a:lnTo>
                    <a:pt x="1569" y="176"/>
                  </a:lnTo>
                  <a:lnTo>
                    <a:pt x="1555" y="176"/>
                  </a:lnTo>
                  <a:lnTo>
                    <a:pt x="1552" y="180"/>
                  </a:lnTo>
                  <a:lnTo>
                    <a:pt x="1551" y="187"/>
                  </a:lnTo>
                  <a:lnTo>
                    <a:pt x="1556" y="200"/>
                  </a:lnTo>
                  <a:lnTo>
                    <a:pt x="1558" y="206"/>
                  </a:lnTo>
                  <a:lnTo>
                    <a:pt x="1552" y="214"/>
                  </a:lnTo>
                  <a:lnTo>
                    <a:pt x="1535" y="218"/>
                  </a:lnTo>
                  <a:lnTo>
                    <a:pt x="1531" y="222"/>
                  </a:lnTo>
                  <a:lnTo>
                    <a:pt x="1527" y="231"/>
                  </a:lnTo>
                  <a:lnTo>
                    <a:pt x="1530" y="245"/>
                  </a:lnTo>
                  <a:lnTo>
                    <a:pt x="1527" y="249"/>
                  </a:lnTo>
                  <a:lnTo>
                    <a:pt x="1524" y="250"/>
                  </a:lnTo>
                  <a:lnTo>
                    <a:pt x="1519" y="246"/>
                  </a:lnTo>
                  <a:lnTo>
                    <a:pt x="1513" y="248"/>
                  </a:lnTo>
                  <a:lnTo>
                    <a:pt x="1492" y="301"/>
                  </a:lnTo>
                  <a:lnTo>
                    <a:pt x="1499" y="312"/>
                  </a:lnTo>
                  <a:lnTo>
                    <a:pt x="1516" y="346"/>
                  </a:lnTo>
                  <a:lnTo>
                    <a:pt x="1499" y="378"/>
                  </a:lnTo>
                  <a:lnTo>
                    <a:pt x="1498" y="386"/>
                  </a:lnTo>
                  <a:lnTo>
                    <a:pt x="1520" y="441"/>
                  </a:lnTo>
                  <a:lnTo>
                    <a:pt x="1562" y="504"/>
                  </a:lnTo>
                  <a:lnTo>
                    <a:pt x="1567" y="514"/>
                  </a:lnTo>
                  <a:lnTo>
                    <a:pt x="1596" y="539"/>
                  </a:lnTo>
                  <a:lnTo>
                    <a:pt x="1638" y="556"/>
                  </a:lnTo>
                  <a:lnTo>
                    <a:pt x="1631" y="577"/>
                  </a:lnTo>
                  <a:lnTo>
                    <a:pt x="1626" y="583"/>
                  </a:lnTo>
                  <a:lnTo>
                    <a:pt x="1624" y="587"/>
                  </a:lnTo>
                  <a:lnTo>
                    <a:pt x="1626" y="598"/>
                  </a:lnTo>
                  <a:lnTo>
                    <a:pt x="1624" y="602"/>
                  </a:lnTo>
                  <a:lnTo>
                    <a:pt x="1630" y="607"/>
                  </a:lnTo>
                  <a:lnTo>
                    <a:pt x="1629" y="611"/>
                  </a:lnTo>
                  <a:lnTo>
                    <a:pt x="1627" y="615"/>
                  </a:lnTo>
                  <a:lnTo>
                    <a:pt x="1629" y="620"/>
                  </a:lnTo>
                  <a:lnTo>
                    <a:pt x="1633" y="624"/>
                  </a:lnTo>
                  <a:lnTo>
                    <a:pt x="1643" y="626"/>
                  </a:lnTo>
                  <a:lnTo>
                    <a:pt x="1645" y="629"/>
                  </a:lnTo>
                  <a:lnTo>
                    <a:pt x="1647" y="633"/>
                  </a:lnTo>
                  <a:lnTo>
                    <a:pt x="1649" y="636"/>
                  </a:lnTo>
                  <a:lnTo>
                    <a:pt x="1649" y="638"/>
                  </a:lnTo>
                  <a:lnTo>
                    <a:pt x="1652" y="641"/>
                  </a:lnTo>
                  <a:lnTo>
                    <a:pt x="1651" y="648"/>
                  </a:lnTo>
                  <a:lnTo>
                    <a:pt x="1654" y="653"/>
                  </a:lnTo>
                  <a:lnTo>
                    <a:pt x="1655" y="656"/>
                  </a:lnTo>
                  <a:lnTo>
                    <a:pt x="1654" y="660"/>
                  </a:lnTo>
                  <a:lnTo>
                    <a:pt x="1655" y="664"/>
                  </a:lnTo>
                  <a:lnTo>
                    <a:pt x="1654" y="669"/>
                  </a:lnTo>
                  <a:lnTo>
                    <a:pt x="1652" y="673"/>
                  </a:lnTo>
                  <a:lnTo>
                    <a:pt x="1649" y="676"/>
                  </a:lnTo>
                  <a:lnTo>
                    <a:pt x="1637" y="676"/>
                  </a:lnTo>
                  <a:lnTo>
                    <a:pt x="1635" y="677"/>
                  </a:lnTo>
                  <a:lnTo>
                    <a:pt x="1635" y="685"/>
                  </a:lnTo>
                  <a:lnTo>
                    <a:pt x="1638" y="694"/>
                  </a:lnTo>
                  <a:lnTo>
                    <a:pt x="1635" y="699"/>
                  </a:lnTo>
                  <a:lnTo>
                    <a:pt x="1634" y="705"/>
                  </a:lnTo>
                  <a:lnTo>
                    <a:pt x="1635" y="708"/>
                  </a:lnTo>
                  <a:lnTo>
                    <a:pt x="1633" y="713"/>
                  </a:lnTo>
                  <a:lnTo>
                    <a:pt x="1631" y="722"/>
                  </a:lnTo>
                  <a:lnTo>
                    <a:pt x="1626" y="727"/>
                  </a:lnTo>
                  <a:lnTo>
                    <a:pt x="1626" y="733"/>
                  </a:lnTo>
                  <a:lnTo>
                    <a:pt x="1627" y="735"/>
                  </a:lnTo>
                  <a:lnTo>
                    <a:pt x="1627" y="743"/>
                  </a:lnTo>
                  <a:lnTo>
                    <a:pt x="1629" y="744"/>
                  </a:lnTo>
                  <a:lnTo>
                    <a:pt x="1627" y="747"/>
                  </a:lnTo>
                  <a:lnTo>
                    <a:pt x="1629" y="750"/>
                  </a:lnTo>
                  <a:lnTo>
                    <a:pt x="1637" y="753"/>
                  </a:lnTo>
                  <a:lnTo>
                    <a:pt x="1648" y="763"/>
                  </a:lnTo>
                  <a:lnTo>
                    <a:pt x="1658" y="764"/>
                  </a:lnTo>
                  <a:lnTo>
                    <a:pt x="1662" y="770"/>
                  </a:lnTo>
                  <a:lnTo>
                    <a:pt x="1662" y="775"/>
                  </a:lnTo>
                  <a:lnTo>
                    <a:pt x="1659" y="776"/>
                  </a:lnTo>
                  <a:lnTo>
                    <a:pt x="1662" y="778"/>
                  </a:lnTo>
                  <a:lnTo>
                    <a:pt x="1662" y="780"/>
                  </a:lnTo>
                  <a:lnTo>
                    <a:pt x="1659" y="782"/>
                  </a:lnTo>
                  <a:lnTo>
                    <a:pt x="1656" y="785"/>
                  </a:lnTo>
                  <a:lnTo>
                    <a:pt x="1656" y="788"/>
                  </a:lnTo>
                  <a:lnTo>
                    <a:pt x="1648" y="802"/>
                  </a:lnTo>
                  <a:lnTo>
                    <a:pt x="1648" y="809"/>
                  </a:lnTo>
                  <a:lnTo>
                    <a:pt x="1649" y="812"/>
                  </a:lnTo>
                  <a:lnTo>
                    <a:pt x="1652" y="813"/>
                  </a:lnTo>
                  <a:lnTo>
                    <a:pt x="1652" y="818"/>
                  </a:lnTo>
                  <a:lnTo>
                    <a:pt x="1652" y="825"/>
                  </a:lnTo>
                  <a:lnTo>
                    <a:pt x="1654" y="832"/>
                  </a:lnTo>
                  <a:lnTo>
                    <a:pt x="1658" y="838"/>
                  </a:lnTo>
                  <a:lnTo>
                    <a:pt x="1656" y="842"/>
                  </a:lnTo>
                  <a:lnTo>
                    <a:pt x="1663" y="847"/>
                  </a:lnTo>
                  <a:lnTo>
                    <a:pt x="1665" y="855"/>
                  </a:lnTo>
                  <a:lnTo>
                    <a:pt x="1672" y="859"/>
                  </a:lnTo>
                  <a:lnTo>
                    <a:pt x="1672" y="860"/>
                  </a:lnTo>
                  <a:lnTo>
                    <a:pt x="1670" y="863"/>
                  </a:lnTo>
                  <a:lnTo>
                    <a:pt x="1666" y="864"/>
                  </a:lnTo>
                  <a:lnTo>
                    <a:pt x="1662" y="860"/>
                  </a:lnTo>
                  <a:lnTo>
                    <a:pt x="1655" y="860"/>
                  </a:lnTo>
                  <a:lnTo>
                    <a:pt x="1647" y="855"/>
                  </a:lnTo>
                  <a:lnTo>
                    <a:pt x="1644" y="855"/>
                  </a:lnTo>
                  <a:lnTo>
                    <a:pt x="1640" y="856"/>
                  </a:lnTo>
                  <a:lnTo>
                    <a:pt x="1629" y="864"/>
                  </a:lnTo>
                  <a:lnTo>
                    <a:pt x="1626" y="864"/>
                  </a:lnTo>
                  <a:lnTo>
                    <a:pt x="1621" y="860"/>
                  </a:lnTo>
                  <a:lnTo>
                    <a:pt x="1617" y="862"/>
                  </a:lnTo>
                  <a:lnTo>
                    <a:pt x="1617" y="863"/>
                  </a:lnTo>
                  <a:lnTo>
                    <a:pt x="1619" y="865"/>
                  </a:lnTo>
                  <a:lnTo>
                    <a:pt x="1616" y="868"/>
                  </a:lnTo>
                  <a:lnTo>
                    <a:pt x="1617" y="869"/>
                  </a:lnTo>
                  <a:lnTo>
                    <a:pt x="1612" y="877"/>
                  </a:lnTo>
                  <a:lnTo>
                    <a:pt x="1612" y="881"/>
                  </a:lnTo>
                  <a:lnTo>
                    <a:pt x="1608" y="885"/>
                  </a:lnTo>
                  <a:lnTo>
                    <a:pt x="1613" y="892"/>
                  </a:lnTo>
                  <a:lnTo>
                    <a:pt x="1615" y="894"/>
                  </a:lnTo>
                  <a:lnTo>
                    <a:pt x="1609" y="902"/>
                  </a:lnTo>
                  <a:lnTo>
                    <a:pt x="1609" y="904"/>
                  </a:lnTo>
                  <a:lnTo>
                    <a:pt x="1609" y="907"/>
                  </a:lnTo>
                  <a:lnTo>
                    <a:pt x="1613" y="912"/>
                  </a:lnTo>
                  <a:lnTo>
                    <a:pt x="1609" y="914"/>
                  </a:lnTo>
                  <a:lnTo>
                    <a:pt x="1610" y="917"/>
                  </a:lnTo>
                  <a:lnTo>
                    <a:pt x="1608" y="918"/>
                  </a:lnTo>
                  <a:lnTo>
                    <a:pt x="1609" y="922"/>
                  </a:lnTo>
                  <a:lnTo>
                    <a:pt x="1606" y="927"/>
                  </a:lnTo>
                  <a:lnTo>
                    <a:pt x="1605" y="937"/>
                  </a:lnTo>
                  <a:lnTo>
                    <a:pt x="1602" y="939"/>
                  </a:lnTo>
                  <a:lnTo>
                    <a:pt x="1601" y="944"/>
                  </a:lnTo>
                  <a:lnTo>
                    <a:pt x="1596" y="952"/>
                  </a:lnTo>
                  <a:lnTo>
                    <a:pt x="1598" y="956"/>
                  </a:lnTo>
                  <a:lnTo>
                    <a:pt x="1596" y="960"/>
                  </a:lnTo>
                  <a:lnTo>
                    <a:pt x="1592" y="963"/>
                  </a:lnTo>
                  <a:lnTo>
                    <a:pt x="1594" y="971"/>
                  </a:lnTo>
                  <a:lnTo>
                    <a:pt x="1590" y="975"/>
                  </a:lnTo>
                  <a:lnTo>
                    <a:pt x="1591" y="980"/>
                  </a:lnTo>
                  <a:lnTo>
                    <a:pt x="1585" y="984"/>
                  </a:lnTo>
                  <a:lnTo>
                    <a:pt x="1588" y="989"/>
                  </a:lnTo>
                  <a:lnTo>
                    <a:pt x="1583" y="989"/>
                  </a:lnTo>
                  <a:lnTo>
                    <a:pt x="1580" y="996"/>
                  </a:lnTo>
                  <a:lnTo>
                    <a:pt x="1581" y="1000"/>
                  </a:lnTo>
                  <a:lnTo>
                    <a:pt x="1577" y="1003"/>
                  </a:lnTo>
                  <a:lnTo>
                    <a:pt x="1584" y="1008"/>
                  </a:lnTo>
                  <a:lnTo>
                    <a:pt x="1590" y="1012"/>
                  </a:lnTo>
                  <a:lnTo>
                    <a:pt x="1588" y="1019"/>
                  </a:lnTo>
                  <a:lnTo>
                    <a:pt x="1590" y="1025"/>
                  </a:lnTo>
                  <a:lnTo>
                    <a:pt x="1592" y="1025"/>
                  </a:lnTo>
                  <a:lnTo>
                    <a:pt x="1594" y="1025"/>
                  </a:lnTo>
                  <a:lnTo>
                    <a:pt x="1592" y="1028"/>
                  </a:lnTo>
                  <a:lnTo>
                    <a:pt x="1596" y="1028"/>
                  </a:lnTo>
                  <a:lnTo>
                    <a:pt x="1596" y="1031"/>
                  </a:lnTo>
                  <a:lnTo>
                    <a:pt x="1599" y="1033"/>
                  </a:lnTo>
                  <a:lnTo>
                    <a:pt x="1599" y="1038"/>
                  </a:lnTo>
                  <a:lnTo>
                    <a:pt x="1602" y="1042"/>
                  </a:lnTo>
                  <a:lnTo>
                    <a:pt x="1604" y="1046"/>
                  </a:lnTo>
                  <a:lnTo>
                    <a:pt x="1606" y="1047"/>
                  </a:lnTo>
                  <a:lnTo>
                    <a:pt x="1606" y="1054"/>
                  </a:lnTo>
                  <a:lnTo>
                    <a:pt x="1609" y="1055"/>
                  </a:lnTo>
                  <a:lnTo>
                    <a:pt x="1609" y="1054"/>
                  </a:lnTo>
                  <a:lnTo>
                    <a:pt x="1610" y="1054"/>
                  </a:lnTo>
                  <a:lnTo>
                    <a:pt x="1612" y="1056"/>
                  </a:lnTo>
                  <a:lnTo>
                    <a:pt x="1615" y="1059"/>
                  </a:lnTo>
                  <a:lnTo>
                    <a:pt x="1617" y="1063"/>
                  </a:lnTo>
                  <a:lnTo>
                    <a:pt x="1617" y="1066"/>
                  </a:lnTo>
                  <a:lnTo>
                    <a:pt x="1621" y="1072"/>
                  </a:lnTo>
                  <a:lnTo>
                    <a:pt x="1623" y="1083"/>
                  </a:lnTo>
                  <a:lnTo>
                    <a:pt x="1626" y="1090"/>
                  </a:lnTo>
                  <a:lnTo>
                    <a:pt x="1629" y="1090"/>
                  </a:lnTo>
                  <a:lnTo>
                    <a:pt x="1634" y="1085"/>
                  </a:lnTo>
                  <a:lnTo>
                    <a:pt x="1651" y="1083"/>
                  </a:lnTo>
                  <a:lnTo>
                    <a:pt x="1655" y="1093"/>
                  </a:lnTo>
                  <a:lnTo>
                    <a:pt x="1666" y="1096"/>
                  </a:lnTo>
                  <a:lnTo>
                    <a:pt x="1675" y="1100"/>
                  </a:lnTo>
                  <a:lnTo>
                    <a:pt x="1681" y="1105"/>
                  </a:lnTo>
                  <a:lnTo>
                    <a:pt x="1689" y="1108"/>
                  </a:lnTo>
                  <a:lnTo>
                    <a:pt x="1695" y="1113"/>
                  </a:lnTo>
                  <a:lnTo>
                    <a:pt x="1701" y="1120"/>
                  </a:lnTo>
                  <a:lnTo>
                    <a:pt x="1711" y="1121"/>
                  </a:lnTo>
                  <a:lnTo>
                    <a:pt x="1723" y="1121"/>
                  </a:lnTo>
                  <a:lnTo>
                    <a:pt x="1729" y="1124"/>
                  </a:lnTo>
                  <a:lnTo>
                    <a:pt x="1730" y="1128"/>
                  </a:lnTo>
                  <a:lnTo>
                    <a:pt x="1729" y="1132"/>
                  </a:lnTo>
                  <a:lnTo>
                    <a:pt x="1733" y="1141"/>
                  </a:lnTo>
                  <a:lnTo>
                    <a:pt x="1733" y="1143"/>
                  </a:lnTo>
                  <a:lnTo>
                    <a:pt x="1739" y="1150"/>
                  </a:lnTo>
                  <a:lnTo>
                    <a:pt x="1740" y="1153"/>
                  </a:lnTo>
                  <a:lnTo>
                    <a:pt x="1744" y="1154"/>
                  </a:lnTo>
                  <a:lnTo>
                    <a:pt x="1756" y="1158"/>
                  </a:lnTo>
                  <a:lnTo>
                    <a:pt x="1761" y="1162"/>
                  </a:lnTo>
                  <a:lnTo>
                    <a:pt x="1758" y="1166"/>
                  </a:lnTo>
                  <a:lnTo>
                    <a:pt x="1753" y="1171"/>
                  </a:lnTo>
                  <a:lnTo>
                    <a:pt x="1753" y="1179"/>
                  </a:lnTo>
                  <a:lnTo>
                    <a:pt x="1755" y="1183"/>
                  </a:lnTo>
                  <a:lnTo>
                    <a:pt x="1764" y="1180"/>
                  </a:lnTo>
                  <a:lnTo>
                    <a:pt x="1766" y="1184"/>
                  </a:lnTo>
                  <a:lnTo>
                    <a:pt x="1769" y="1188"/>
                  </a:lnTo>
                  <a:lnTo>
                    <a:pt x="1766" y="1193"/>
                  </a:lnTo>
                  <a:lnTo>
                    <a:pt x="1766" y="1196"/>
                  </a:lnTo>
                  <a:lnTo>
                    <a:pt x="1769" y="1202"/>
                  </a:lnTo>
                  <a:lnTo>
                    <a:pt x="1786" y="1215"/>
                  </a:lnTo>
                  <a:lnTo>
                    <a:pt x="1794" y="1215"/>
                  </a:lnTo>
                  <a:lnTo>
                    <a:pt x="1804" y="1225"/>
                  </a:lnTo>
                  <a:lnTo>
                    <a:pt x="1822" y="1233"/>
                  </a:lnTo>
                  <a:lnTo>
                    <a:pt x="1830" y="1246"/>
                  </a:lnTo>
                  <a:lnTo>
                    <a:pt x="1829" y="1252"/>
                  </a:lnTo>
                  <a:lnTo>
                    <a:pt x="1830" y="1255"/>
                  </a:lnTo>
                  <a:lnTo>
                    <a:pt x="1843" y="1263"/>
                  </a:lnTo>
                  <a:lnTo>
                    <a:pt x="1848" y="1274"/>
                  </a:lnTo>
                  <a:lnTo>
                    <a:pt x="1865" y="1278"/>
                  </a:lnTo>
                  <a:lnTo>
                    <a:pt x="1869" y="1277"/>
                  </a:lnTo>
                  <a:lnTo>
                    <a:pt x="1879" y="1270"/>
                  </a:lnTo>
                  <a:lnTo>
                    <a:pt x="1880" y="1270"/>
                  </a:lnTo>
                  <a:lnTo>
                    <a:pt x="1883" y="1270"/>
                  </a:lnTo>
                  <a:lnTo>
                    <a:pt x="1886" y="1278"/>
                  </a:lnTo>
                  <a:lnTo>
                    <a:pt x="1883" y="1282"/>
                  </a:lnTo>
                  <a:lnTo>
                    <a:pt x="1881" y="1286"/>
                  </a:lnTo>
                  <a:lnTo>
                    <a:pt x="1884" y="1291"/>
                  </a:lnTo>
                  <a:lnTo>
                    <a:pt x="1894" y="1296"/>
                  </a:lnTo>
                  <a:lnTo>
                    <a:pt x="1898" y="1307"/>
                  </a:lnTo>
                  <a:lnTo>
                    <a:pt x="1904" y="1314"/>
                  </a:lnTo>
                  <a:lnTo>
                    <a:pt x="1909" y="1315"/>
                  </a:lnTo>
                  <a:lnTo>
                    <a:pt x="1911" y="1317"/>
                  </a:lnTo>
                  <a:lnTo>
                    <a:pt x="1911" y="1319"/>
                  </a:lnTo>
                  <a:lnTo>
                    <a:pt x="1908" y="1322"/>
                  </a:lnTo>
                  <a:lnTo>
                    <a:pt x="1909" y="1328"/>
                  </a:lnTo>
                  <a:lnTo>
                    <a:pt x="1911" y="1329"/>
                  </a:lnTo>
                  <a:lnTo>
                    <a:pt x="1915" y="1331"/>
                  </a:lnTo>
                  <a:lnTo>
                    <a:pt x="1915" y="1333"/>
                  </a:lnTo>
                  <a:lnTo>
                    <a:pt x="1912" y="1340"/>
                  </a:lnTo>
                  <a:lnTo>
                    <a:pt x="1914" y="1341"/>
                  </a:lnTo>
                  <a:lnTo>
                    <a:pt x="1916" y="1345"/>
                  </a:lnTo>
                  <a:lnTo>
                    <a:pt x="1919" y="1348"/>
                  </a:lnTo>
                  <a:lnTo>
                    <a:pt x="1921" y="1354"/>
                  </a:lnTo>
                  <a:lnTo>
                    <a:pt x="1923" y="1358"/>
                  </a:lnTo>
                  <a:lnTo>
                    <a:pt x="1921" y="1359"/>
                  </a:lnTo>
                  <a:lnTo>
                    <a:pt x="1919" y="1361"/>
                  </a:lnTo>
                  <a:lnTo>
                    <a:pt x="1918" y="1367"/>
                  </a:lnTo>
                  <a:lnTo>
                    <a:pt x="1919" y="1370"/>
                  </a:lnTo>
                  <a:lnTo>
                    <a:pt x="1916" y="1373"/>
                  </a:lnTo>
                  <a:lnTo>
                    <a:pt x="1916" y="1376"/>
                  </a:lnTo>
                  <a:lnTo>
                    <a:pt x="1919" y="1379"/>
                  </a:lnTo>
                  <a:lnTo>
                    <a:pt x="1923" y="1379"/>
                  </a:lnTo>
                  <a:lnTo>
                    <a:pt x="1930" y="1384"/>
                  </a:lnTo>
                  <a:lnTo>
                    <a:pt x="1936" y="1386"/>
                  </a:lnTo>
                  <a:lnTo>
                    <a:pt x="1939" y="1389"/>
                  </a:lnTo>
                  <a:lnTo>
                    <a:pt x="1941" y="1393"/>
                  </a:lnTo>
                  <a:lnTo>
                    <a:pt x="1941" y="1398"/>
                  </a:lnTo>
                  <a:lnTo>
                    <a:pt x="1943" y="1399"/>
                  </a:lnTo>
                  <a:lnTo>
                    <a:pt x="1944" y="1403"/>
                  </a:lnTo>
                  <a:lnTo>
                    <a:pt x="1955" y="1408"/>
                  </a:lnTo>
                  <a:lnTo>
                    <a:pt x="1954" y="1412"/>
                  </a:lnTo>
                  <a:lnTo>
                    <a:pt x="1954" y="1416"/>
                  </a:lnTo>
                  <a:lnTo>
                    <a:pt x="1957" y="1419"/>
                  </a:lnTo>
                  <a:lnTo>
                    <a:pt x="1955" y="1424"/>
                  </a:lnTo>
                  <a:lnTo>
                    <a:pt x="1957" y="1428"/>
                  </a:lnTo>
                  <a:lnTo>
                    <a:pt x="1961" y="1431"/>
                  </a:lnTo>
                  <a:lnTo>
                    <a:pt x="1966" y="1427"/>
                  </a:lnTo>
                  <a:lnTo>
                    <a:pt x="1972" y="1424"/>
                  </a:lnTo>
                  <a:lnTo>
                    <a:pt x="1976" y="1426"/>
                  </a:lnTo>
                  <a:lnTo>
                    <a:pt x="1982" y="1423"/>
                  </a:lnTo>
                  <a:lnTo>
                    <a:pt x="1985" y="1424"/>
                  </a:lnTo>
                  <a:lnTo>
                    <a:pt x="1990" y="1433"/>
                  </a:lnTo>
                  <a:lnTo>
                    <a:pt x="1989" y="1437"/>
                  </a:lnTo>
                  <a:lnTo>
                    <a:pt x="1983" y="1443"/>
                  </a:lnTo>
                  <a:lnTo>
                    <a:pt x="1985" y="1446"/>
                  </a:lnTo>
                  <a:lnTo>
                    <a:pt x="1988" y="1448"/>
                  </a:lnTo>
                  <a:lnTo>
                    <a:pt x="2007" y="1456"/>
                  </a:lnTo>
                  <a:lnTo>
                    <a:pt x="2007" y="1460"/>
                  </a:lnTo>
                  <a:lnTo>
                    <a:pt x="2008" y="1464"/>
                  </a:lnTo>
                  <a:lnTo>
                    <a:pt x="2007" y="1469"/>
                  </a:lnTo>
                  <a:lnTo>
                    <a:pt x="2013" y="1476"/>
                  </a:lnTo>
                  <a:lnTo>
                    <a:pt x="2016" y="1477"/>
                  </a:lnTo>
                  <a:lnTo>
                    <a:pt x="2028" y="1480"/>
                  </a:lnTo>
                  <a:lnTo>
                    <a:pt x="2029" y="1483"/>
                  </a:lnTo>
                  <a:lnTo>
                    <a:pt x="2032" y="1486"/>
                  </a:lnTo>
                  <a:lnTo>
                    <a:pt x="2032" y="1489"/>
                  </a:lnTo>
                  <a:lnTo>
                    <a:pt x="2028" y="1491"/>
                  </a:lnTo>
                  <a:lnTo>
                    <a:pt x="2025" y="1495"/>
                  </a:lnTo>
                  <a:lnTo>
                    <a:pt x="2025" y="1498"/>
                  </a:lnTo>
                  <a:lnTo>
                    <a:pt x="2025" y="1502"/>
                  </a:lnTo>
                  <a:lnTo>
                    <a:pt x="2032" y="1505"/>
                  </a:lnTo>
                  <a:lnTo>
                    <a:pt x="2035" y="1506"/>
                  </a:lnTo>
                  <a:lnTo>
                    <a:pt x="2038" y="1506"/>
                  </a:lnTo>
                  <a:lnTo>
                    <a:pt x="2040" y="1505"/>
                  </a:lnTo>
                  <a:lnTo>
                    <a:pt x="2044" y="1505"/>
                  </a:lnTo>
                  <a:lnTo>
                    <a:pt x="2046" y="1506"/>
                  </a:lnTo>
                  <a:lnTo>
                    <a:pt x="2041" y="1510"/>
                  </a:lnTo>
                  <a:lnTo>
                    <a:pt x="2046" y="1516"/>
                  </a:lnTo>
                  <a:lnTo>
                    <a:pt x="2043" y="1519"/>
                  </a:lnTo>
                  <a:lnTo>
                    <a:pt x="2043" y="1522"/>
                  </a:lnTo>
                  <a:lnTo>
                    <a:pt x="2047" y="1522"/>
                  </a:lnTo>
                  <a:lnTo>
                    <a:pt x="2047" y="1523"/>
                  </a:lnTo>
                  <a:lnTo>
                    <a:pt x="2043" y="1527"/>
                  </a:lnTo>
                  <a:lnTo>
                    <a:pt x="2043" y="1535"/>
                  </a:lnTo>
                  <a:lnTo>
                    <a:pt x="2046" y="1539"/>
                  </a:lnTo>
                  <a:lnTo>
                    <a:pt x="2043" y="1545"/>
                  </a:lnTo>
                  <a:lnTo>
                    <a:pt x="2040" y="1548"/>
                  </a:lnTo>
                  <a:lnTo>
                    <a:pt x="2041" y="1551"/>
                  </a:lnTo>
                  <a:lnTo>
                    <a:pt x="2044" y="1555"/>
                  </a:lnTo>
                  <a:lnTo>
                    <a:pt x="2049" y="1555"/>
                  </a:lnTo>
                  <a:lnTo>
                    <a:pt x="2053" y="1555"/>
                  </a:lnTo>
                  <a:lnTo>
                    <a:pt x="2055" y="1555"/>
                  </a:lnTo>
                  <a:lnTo>
                    <a:pt x="2057" y="1558"/>
                  </a:lnTo>
                  <a:lnTo>
                    <a:pt x="2060" y="1561"/>
                  </a:lnTo>
                  <a:lnTo>
                    <a:pt x="2063" y="1568"/>
                  </a:lnTo>
                  <a:lnTo>
                    <a:pt x="2068" y="1573"/>
                  </a:lnTo>
                  <a:lnTo>
                    <a:pt x="2066" y="1577"/>
                  </a:lnTo>
                  <a:lnTo>
                    <a:pt x="2063" y="1577"/>
                  </a:lnTo>
                  <a:lnTo>
                    <a:pt x="2063" y="1581"/>
                  </a:lnTo>
                  <a:lnTo>
                    <a:pt x="2064" y="1585"/>
                  </a:lnTo>
                  <a:lnTo>
                    <a:pt x="2060" y="1589"/>
                  </a:lnTo>
                  <a:lnTo>
                    <a:pt x="2058" y="1594"/>
                  </a:lnTo>
                  <a:lnTo>
                    <a:pt x="2060" y="1599"/>
                  </a:lnTo>
                  <a:lnTo>
                    <a:pt x="2064" y="1603"/>
                  </a:lnTo>
                  <a:lnTo>
                    <a:pt x="2063" y="1611"/>
                  </a:lnTo>
                  <a:lnTo>
                    <a:pt x="2066" y="1614"/>
                  </a:lnTo>
                  <a:lnTo>
                    <a:pt x="2066" y="1615"/>
                  </a:lnTo>
                  <a:lnTo>
                    <a:pt x="2064" y="1615"/>
                  </a:lnTo>
                  <a:lnTo>
                    <a:pt x="2064" y="1618"/>
                  </a:lnTo>
                  <a:lnTo>
                    <a:pt x="2069" y="1622"/>
                  </a:lnTo>
                  <a:lnTo>
                    <a:pt x="2076" y="1620"/>
                  </a:lnTo>
                  <a:lnTo>
                    <a:pt x="2083" y="1619"/>
                  </a:lnTo>
                  <a:lnTo>
                    <a:pt x="2086" y="1619"/>
                  </a:lnTo>
                  <a:lnTo>
                    <a:pt x="2088" y="1620"/>
                  </a:lnTo>
                  <a:lnTo>
                    <a:pt x="2086" y="1630"/>
                  </a:lnTo>
                  <a:lnTo>
                    <a:pt x="2079" y="1635"/>
                  </a:lnTo>
                  <a:lnTo>
                    <a:pt x="2075" y="1636"/>
                  </a:lnTo>
                  <a:lnTo>
                    <a:pt x="2068" y="1634"/>
                  </a:lnTo>
                  <a:lnTo>
                    <a:pt x="2065" y="1632"/>
                  </a:lnTo>
                  <a:lnTo>
                    <a:pt x="2064" y="1632"/>
                  </a:lnTo>
                  <a:lnTo>
                    <a:pt x="2061" y="1638"/>
                  </a:lnTo>
                  <a:lnTo>
                    <a:pt x="2066" y="1640"/>
                  </a:lnTo>
                  <a:lnTo>
                    <a:pt x="2066" y="1642"/>
                  </a:lnTo>
                  <a:lnTo>
                    <a:pt x="2064" y="1643"/>
                  </a:lnTo>
                  <a:lnTo>
                    <a:pt x="2063" y="1647"/>
                  </a:lnTo>
                  <a:lnTo>
                    <a:pt x="2061" y="1648"/>
                  </a:lnTo>
                  <a:lnTo>
                    <a:pt x="2054" y="1648"/>
                  </a:lnTo>
                  <a:lnTo>
                    <a:pt x="2053" y="1643"/>
                  </a:lnTo>
                  <a:lnTo>
                    <a:pt x="2050" y="1640"/>
                  </a:lnTo>
                  <a:lnTo>
                    <a:pt x="2044" y="1640"/>
                  </a:lnTo>
                  <a:lnTo>
                    <a:pt x="2041" y="1643"/>
                  </a:lnTo>
                  <a:lnTo>
                    <a:pt x="2040" y="1644"/>
                  </a:lnTo>
                  <a:lnTo>
                    <a:pt x="2040" y="1648"/>
                  </a:lnTo>
                  <a:lnTo>
                    <a:pt x="2041" y="1654"/>
                  </a:lnTo>
                  <a:lnTo>
                    <a:pt x="2044" y="1656"/>
                  </a:lnTo>
                  <a:lnTo>
                    <a:pt x="2043" y="1659"/>
                  </a:lnTo>
                  <a:lnTo>
                    <a:pt x="2044" y="1661"/>
                  </a:lnTo>
                  <a:lnTo>
                    <a:pt x="2040" y="1670"/>
                  </a:lnTo>
                  <a:lnTo>
                    <a:pt x="2039" y="1674"/>
                  </a:lnTo>
                  <a:lnTo>
                    <a:pt x="2041" y="1677"/>
                  </a:lnTo>
                  <a:lnTo>
                    <a:pt x="2051" y="1677"/>
                  </a:lnTo>
                  <a:lnTo>
                    <a:pt x="2054" y="1680"/>
                  </a:lnTo>
                  <a:lnTo>
                    <a:pt x="2061" y="1682"/>
                  </a:lnTo>
                  <a:lnTo>
                    <a:pt x="2061" y="1684"/>
                  </a:lnTo>
                  <a:lnTo>
                    <a:pt x="2061" y="1685"/>
                  </a:lnTo>
                  <a:lnTo>
                    <a:pt x="2058" y="1686"/>
                  </a:lnTo>
                  <a:lnTo>
                    <a:pt x="2058" y="1688"/>
                  </a:lnTo>
                  <a:lnTo>
                    <a:pt x="2060" y="1690"/>
                  </a:lnTo>
                  <a:lnTo>
                    <a:pt x="2055" y="1693"/>
                  </a:lnTo>
                  <a:lnTo>
                    <a:pt x="2055" y="1697"/>
                  </a:lnTo>
                  <a:lnTo>
                    <a:pt x="2058" y="1699"/>
                  </a:lnTo>
                  <a:lnTo>
                    <a:pt x="2057" y="1704"/>
                  </a:lnTo>
                  <a:lnTo>
                    <a:pt x="2057" y="1705"/>
                  </a:lnTo>
                  <a:lnTo>
                    <a:pt x="2060" y="1709"/>
                  </a:lnTo>
                  <a:lnTo>
                    <a:pt x="2064" y="1709"/>
                  </a:lnTo>
                  <a:lnTo>
                    <a:pt x="2065" y="1711"/>
                  </a:lnTo>
                  <a:lnTo>
                    <a:pt x="2066" y="1711"/>
                  </a:lnTo>
                  <a:lnTo>
                    <a:pt x="2069" y="1709"/>
                  </a:lnTo>
                  <a:lnTo>
                    <a:pt x="2072" y="1711"/>
                  </a:lnTo>
                  <a:lnTo>
                    <a:pt x="2072" y="1715"/>
                  </a:lnTo>
                  <a:lnTo>
                    <a:pt x="2075" y="1715"/>
                  </a:lnTo>
                  <a:lnTo>
                    <a:pt x="2074" y="1719"/>
                  </a:lnTo>
                  <a:lnTo>
                    <a:pt x="2078" y="1726"/>
                  </a:lnTo>
                  <a:lnTo>
                    <a:pt x="2078" y="1729"/>
                  </a:lnTo>
                  <a:lnTo>
                    <a:pt x="2075" y="1731"/>
                  </a:lnTo>
                  <a:lnTo>
                    <a:pt x="2076" y="1738"/>
                  </a:lnTo>
                  <a:lnTo>
                    <a:pt x="2078" y="1741"/>
                  </a:lnTo>
                  <a:lnTo>
                    <a:pt x="2076" y="1742"/>
                  </a:lnTo>
                  <a:lnTo>
                    <a:pt x="2078" y="1748"/>
                  </a:lnTo>
                  <a:lnTo>
                    <a:pt x="2083" y="1749"/>
                  </a:lnTo>
                  <a:lnTo>
                    <a:pt x="2090" y="1748"/>
                  </a:lnTo>
                  <a:lnTo>
                    <a:pt x="2090" y="1747"/>
                  </a:lnTo>
                  <a:lnTo>
                    <a:pt x="2090" y="1746"/>
                  </a:lnTo>
                  <a:lnTo>
                    <a:pt x="2093" y="1744"/>
                  </a:lnTo>
                  <a:lnTo>
                    <a:pt x="2097" y="1747"/>
                  </a:lnTo>
                  <a:lnTo>
                    <a:pt x="2101" y="1746"/>
                  </a:lnTo>
                  <a:lnTo>
                    <a:pt x="2107" y="1748"/>
                  </a:lnTo>
                  <a:lnTo>
                    <a:pt x="2110" y="1757"/>
                  </a:lnTo>
                  <a:lnTo>
                    <a:pt x="2108" y="1759"/>
                  </a:lnTo>
                  <a:lnTo>
                    <a:pt x="2105" y="1760"/>
                  </a:lnTo>
                  <a:lnTo>
                    <a:pt x="2105" y="1764"/>
                  </a:lnTo>
                  <a:lnTo>
                    <a:pt x="2107" y="1767"/>
                  </a:lnTo>
                  <a:lnTo>
                    <a:pt x="2111" y="1768"/>
                  </a:lnTo>
                  <a:lnTo>
                    <a:pt x="2113" y="1774"/>
                  </a:lnTo>
                  <a:lnTo>
                    <a:pt x="2111" y="1777"/>
                  </a:lnTo>
                  <a:lnTo>
                    <a:pt x="2113" y="1777"/>
                  </a:lnTo>
                  <a:lnTo>
                    <a:pt x="2115" y="1776"/>
                  </a:lnTo>
                  <a:lnTo>
                    <a:pt x="2115" y="1779"/>
                  </a:lnTo>
                  <a:lnTo>
                    <a:pt x="2117" y="1780"/>
                  </a:lnTo>
                  <a:lnTo>
                    <a:pt x="2115" y="1784"/>
                  </a:lnTo>
                  <a:lnTo>
                    <a:pt x="2114" y="1784"/>
                  </a:lnTo>
                  <a:lnTo>
                    <a:pt x="2113" y="1784"/>
                  </a:lnTo>
                  <a:lnTo>
                    <a:pt x="2111" y="1783"/>
                  </a:lnTo>
                  <a:lnTo>
                    <a:pt x="2110" y="1785"/>
                  </a:lnTo>
                  <a:lnTo>
                    <a:pt x="2111" y="1786"/>
                  </a:lnTo>
                  <a:lnTo>
                    <a:pt x="2113" y="1786"/>
                  </a:lnTo>
                  <a:lnTo>
                    <a:pt x="2114" y="1789"/>
                  </a:lnTo>
                  <a:lnTo>
                    <a:pt x="2114" y="1791"/>
                  </a:lnTo>
                  <a:lnTo>
                    <a:pt x="2117" y="1791"/>
                  </a:lnTo>
                  <a:lnTo>
                    <a:pt x="2121" y="1797"/>
                  </a:lnTo>
                  <a:lnTo>
                    <a:pt x="2125" y="1797"/>
                  </a:lnTo>
                  <a:lnTo>
                    <a:pt x="2126" y="1799"/>
                  </a:lnTo>
                  <a:lnTo>
                    <a:pt x="2126" y="1801"/>
                  </a:lnTo>
                  <a:lnTo>
                    <a:pt x="2122" y="1804"/>
                  </a:lnTo>
                  <a:lnTo>
                    <a:pt x="2122" y="1808"/>
                  </a:lnTo>
                  <a:lnTo>
                    <a:pt x="2119" y="1809"/>
                  </a:lnTo>
                  <a:lnTo>
                    <a:pt x="2115" y="1811"/>
                  </a:lnTo>
                  <a:lnTo>
                    <a:pt x="2114" y="1811"/>
                  </a:lnTo>
                  <a:lnTo>
                    <a:pt x="2114" y="1813"/>
                  </a:lnTo>
                  <a:lnTo>
                    <a:pt x="2108" y="1818"/>
                  </a:lnTo>
                  <a:lnTo>
                    <a:pt x="2107" y="1823"/>
                  </a:lnTo>
                  <a:lnTo>
                    <a:pt x="2111" y="1823"/>
                  </a:lnTo>
                  <a:lnTo>
                    <a:pt x="2114" y="1827"/>
                  </a:lnTo>
                  <a:lnTo>
                    <a:pt x="2121" y="1827"/>
                  </a:lnTo>
                  <a:lnTo>
                    <a:pt x="2124" y="1827"/>
                  </a:lnTo>
                  <a:lnTo>
                    <a:pt x="2122" y="1831"/>
                  </a:lnTo>
                  <a:lnTo>
                    <a:pt x="2117" y="1838"/>
                  </a:lnTo>
                  <a:lnTo>
                    <a:pt x="2110" y="1841"/>
                  </a:lnTo>
                  <a:lnTo>
                    <a:pt x="2108" y="1844"/>
                  </a:lnTo>
                  <a:lnTo>
                    <a:pt x="2108" y="1851"/>
                  </a:lnTo>
                  <a:lnTo>
                    <a:pt x="2113" y="1855"/>
                  </a:lnTo>
                  <a:lnTo>
                    <a:pt x="2110" y="1856"/>
                  </a:lnTo>
                  <a:lnTo>
                    <a:pt x="2110" y="1860"/>
                  </a:lnTo>
                  <a:lnTo>
                    <a:pt x="2105" y="1861"/>
                  </a:lnTo>
                  <a:lnTo>
                    <a:pt x="2103" y="1864"/>
                  </a:lnTo>
                  <a:lnTo>
                    <a:pt x="2101" y="1866"/>
                  </a:lnTo>
                  <a:lnTo>
                    <a:pt x="2100" y="1864"/>
                  </a:lnTo>
                  <a:lnTo>
                    <a:pt x="2099" y="1867"/>
                  </a:lnTo>
                  <a:lnTo>
                    <a:pt x="2094" y="1870"/>
                  </a:lnTo>
                  <a:lnTo>
                    <a:pt x="2096" y="1872"/>
                  </a:lnTo>
                  <a:lnTo>
                    <a:pt x="2093" y="1876"/>
                  </a:lnTo>
                  <a:lnTo>
                    <a:pt x="2096" y="1876"/>
                  </a:lnTo>
                  <a:lnTo>
                    <a:pt x="2096" y="1880"/>
                  </a:lnTo>
                  <a:lnTo>
                    <a:pt x="2093" y="1880"/>
                  </a:lnTo>
                  <a:lnTo>
                    <a:pt x="2090" y="1880"/>
                  </a:lnTo>
                  <a:lnTo>
                    <a:pt x="2089" y="1880"/>
                  </a:lnTo>
                  <a:lnTo>
                    <a:pt x="2089" y="1884"/>
                  </a:lnTo>
                  <a:lnTo>
                    <a:pt x="2086" y="1886"/>
                  </a:lnTo>
                  <a:lnTo>
                    <a:pt x="2085" y="1888"/>
                  </a:lnTo>
                  <a:lnTo>
                    <a:pt x="2079" y="1889"/>
                  </a:lnTo>
                  <a:lnTo>
                    <a:pt x="2079" y="1892"/>
                  </a:lnTo>
                  <a:lnTo>
                    <a:pt x="2086" y="1893"/>
                  </a:lnTo>
                  <a:lnTo>
                    <a:pt x="2088" y="1896"/>
                  </a:lnTo>
                  <a:lnTo>
                    <a:pt x="2091" y="1896"/>
                  </a:lnTo>
                  <a:lnTo>
                    <a:pt x="2101" y="1892"/>
                  </a:lnTo>
                  <a:lnTo>
                    <a:pt x="2107" y="1884"/>
                  </a:lnTo>
                  <a:lnTo>
                    <a:pt x="2113" y="1884"/>
                  </a:lnTo>
                  <a:lnTo>
                    <a:pt x="2114" y="1895"/>
                  </a:lnTo>
                  <a:lnTo>
                    <a:pt x="2119" y="1901"/>
                  </a:lnTo>
                  <a:lnTo>
                    <a:pt x="2118" y="1903"/>
                  </a:lnTo>
                  <a:lnTo>
                    <a:pt x="2117" y="1909"/>
                  </a:lnTo>
                  <a:lnTo>
                    <a:pt x="2121" y="1910"/>
                  </a:lnTo>
                  <a:lnTo>
                    <a:pt x="2126" y="1909"/>
                  </a:lnTo>
                  <a:lnTo>
                    <a:pt x="2126" y="1914"/>
                  </a:lnTo>
                  <a:lnTo>
                    <a:pt x="2125" y="1917"/>
                  </a:lnTo>
                  <a:lnTo>
                    <a:pt x="2124" y="1917"/>
                  </a:lnTo>
                  <a:lnTo>
                    <a:pt x="2122" y="1920"/>
                  </a:lnTo>
                  <a:lnTo>
                    <a:pt x="2124" y="1920"/>
                  </a:lnTo>
                  <a:lnTo>
                    <a:pt x="2125" y="1921"/>
                  </a:lnTo>
                  <a:lnTo>
                    <a:pt x="2129" y="1922"/>
                  </a:lnTo>
                  <a:lnTo>
                    <a:pt x="2130" y="1923"/>
                  </a:lnTo>
                  <a:lnTo>
                    <a:pt x="2130" y="1926"/>
                  </a:lnTo>
                  <a:lnTo>
                    <a:pt x="2128" y="1928"/>
                  </a:lnTo>
                  <a:lnTo>
                    <a:pt x="2121" y="1928"/>
                  </a:lnTo>
                  <a:lnTo>
                    <a:pt x="2118" y="1929"/>
                  </a:lnTo>
                  <a:lnTo>
                    <a:pt x="2118" y="1933"/>
                  </a:lnTo>
                  <a:lnTo>
                    <a:pt x="2113" y="1934"/>
                  </a:lnTo>
                  <a:lnTo>
                    <a:pt x="2110" y="1937"/>
                  </a:lnTo>
                  <a:lnTo>
                    <a:pt x="2114" y="1940"/>
                  </a:lnTo>
                  <a:lnTo>
                    <a:pt x="2113" y="1946"/>
                  </a:lnTo>
                  <a:lnTo>
                    <a:pt x="2115" y="1950"/>
                  </a:lnTo>
                  <a:lnTo>
                    <a:pt x="2110" y="1955"/>
                  </a:lnTo>
                  <a:lnTo>
                    <a:pt x="2108" y="1960"/>
                  </a:lnTo>
                  <a:lnTo>
                    <a:pt x="2110" y="1963"/>
                  </a:lnTo>
                  <a:lnTo>
                    <a:pt x="2110" y="1966"/>
                  </a:lnTo>
                  <a:lnTo>
                    <a:pt x="2107" y="1968"/>
                  </a:lnTo>
                  <a:lnTo>
                    <a:pt x="2107" y="1973"/>
                  </a:lnTo>
                  <a:lnTo>
                    <a:pt x="2100" y="1980"/>
                  </a:lnTo>
                  <a:lnTo>
                    <a:pt x="2100" y="1982"/>
                  </a:lnTo>
                  <a:lnTo>
                    <a:pt x="2100" y="1984"/>
                  </a:lnTo>
                  <a:lnTo>
                    <a:pt x="2104" y="1985"/>
                  </a:lnTo>
                  <a:lnTo>
                    <a:pt x="2105" y="1990"/>
                  </a:lnTo>
                  <a:lnTo>
                    <a:pt x="2107" y="1991"/>
                  </a:lnTo>
                  <a:lnTo>
                    <a:pt x="2107" y="1993"/>
                  </a:lnTo>
                  <a:lnTo>
                    <a:pt x="2110" y="1996"/>
                  </a:lnTo>
                  <a:lnTo>
                    <a:pt x="2108" y="2000"/>
                  </a:lnTo>
                  <a:lnTo>
                    <a:pt x="2111" y="2004"/>
                  </a:lnTo>
                  <a:lnTo>
                    <a:pt x="2108" y="2008"/>
                  </a:lnTo>
                  <a:lnTo>
                    <a:pt x="2108" y="2010"/>
                  </a:lnTo>
                  <a:lnTo>
                    <a:pt x="2105" y="2013"/>
                  </a:lnTo>
                  <a:lnTo>
                    <a:pt x="2108" y="2016"/>
                  </a:lnTo>
                  <a:lnTo>
                    <a:pt x="2110" y="2015"/>
                  </a:lnTo>
                  <a:lnTo>
                    <a:pt x="2110" y="2017"/>
                  </a:lnTo>
                  <a:lnTo>
                    <a:pt x="2111" y="2018"/>
                  </a:lnTo>
                  <a:lnTo>
                    <a:pt x="2107" y="2020"/>
                  </a:lnTo>
                  <a:lnTo>
                    <a:pt x="2105" y="2025"/>
                  </a:lnTo>
                  <a:lnTo>
                    <a:pt x="2103" y="2027"/>
                  </a:lnTo>
                  <a:lnTo>
                    <a:pt x="2101" y="2025"/>
                  </a:lnTo>
                  <a:lnTo>
                    <a:pt x="2099" y="2029"/>
                  </a:lnTo>
                  <a:lnTo>
                    <a:pt x="2103" y="2034"/>
                  </a:lnTo>
                  <a:lnTo>
                    <a:pt x="2104" y="2034"/>
                  </a:lnTo>
                  <a:lnTo>
                    <a:pt x="2107" y="2037"/>
                  </a:lnTo>
                  <a:lnTo>
                    <a:pt x="2104" y="2040"/>
                  </a:lnTo>
                  <a:lnTo>
                    <a:pt x="2104" y="2044"/>
                  </a:lnTo>
                  <a:lnTo>
                    <a:pt x="2108" y="2044"/>
                  </a:lnTo>
                  <a:lnTo>
                    <a:pt x="2110" y="2045"/>
                  </a:lnTo>
                  <a:lnTo>
                    <a:pt x="2114" y="2047"/>
                  </a:lnTo>
                  <a:lnTo>
                    <a:pt x="2114" y="2049"/>
                  </a:lnTo>
                  <a:lnTo>
                    <a:pt x="2119" y="2049"/>
                  </a:lnTo>
                  <a:lnTo>
                    <a:pt x="2121" y="2054"/>
                  </a:lnTo>
                  <a:lnTo>
                    <a:pt x="2118" y="2057"/>
                  </a:lnTo>
                  <a:lnTo>
                    <a:pt x="2113" y="2059"/>
                  </a:lnTo>
                  <a:lnTo>
                    <a:pt x="2103" y="2062"/>
                  </a:lnTo>
                  <a:lnTo>
                    <a:pt x="2103" y="2065"/>
                  </a:lnTo>
                  <a:lnTo>
                    <a:pt x="2099" y="2063"/>
                  </a:lnTo>
                  <a:lnTo>
                    <a:pt x="2097" y="2065"/>
                  </a:lnTo>
                  <a:lnTo>
                    <a:pt x="2099" y="2066"/>
                  </a:lnTo>
                  <a:lnTo>
                    <a:pt x="2097" y="2067"/>
                  </a:lnTo>
                  <a:lnTo>
                    <a:pt x="2096" y="2067"/>
                  </a:lnTo>
                  <a:lnTo>
                    <a:pt x="2094" y="2067"/>
                  </a:lnTo>
                  <a:lnTo>
                    <a:pt x="2097" y="2071"/>
                  </a:lnTo>
                  <a:lnTo>
                    <a:pt x="2097" y="2077"/>
                  </a:lnTo>
                  <a:lnTo>
                    <a:pt x="2101" y="2079"/>
                  </a:lnTo>
                  <a:lnTo>
                    <a:pt x="2104" y="2079"/>
                  </a:lnTo>
                  <a:lnTo>
                    <a:pt x="2103" y="2083"/>
                  </a:lnTo>
                  <a:lnTo>
                    <a:pt x="2100" y="2087"/>
                  </a:lnTo>
                  <a:lnTo>
                    <a:pt x="2103" y="2092"/>
                  </a:lnTo>
                  <a:lnTo>
                    <a:pt x="2111" y="2099"/>
                  </a:lnTo>
                  <a:lnTo>
                    <a:pt x="2108" y="2103"/>
                  </a:lnTo>
                  <a:lnTo>
                    <a:pt x="2107" y="2104"/>
                  </a:lnTo>
                  <a:lnTo>
                    <a:pt x="2104" y="2107"/>
                  </a:lnTo>
                  <a:lnTo>
                    <a:pt x="2105" y="2109"/>
                  </a:lnTo>
                  <a:lnTo>
                    <a:pt x="2103" y="2112"/>
                  </a:lnTo>
                  <a:lnTo>
                    <a:pt x="2107" y="2115"/>
                  </a:lnTo>
                  <a:lnTo>
                    <a:pt x="2110" y="2116"/>
                  </a:lnTo>
                  <a:lnTo>
                    <a:pt x="2110" y="2124"/>
                  </a:lnTo>
                  <a:lnTo>
                    <a:pt x="2113" y="2132"/>
                  </a:lnTo>
                  <a:lnTo>
                    <a:pt x="2110" y="2138"/>
                  </a:lnTo>
                  <a:lnTo>
                    <a:pt x="2105" y="2142"/>
                  </a:lnTo>
                  <a:lnTo>
                    <a:pt x="2104" y="2145"/>
                  </a:lnTo>
                  <a:lnTo>
                    <a:pt x="2105" y="2149"/>
                  </a:lnTo>
                  <a:lnTo>
                    <a:pt x="2108" y="2150"/>
                  </a:lnTo>
                  <a:lnTo>
                    <a:pt x="2111" y="2150"/>
                  </a:lnTo>
                  <a:lnTo>
                    <a:pt x="2114" y="2149"/>
                  </a:lnTo>
                  <a:lnTo>
                    <a:pt x="2117" y="2152"/>
                  </a:lnTo>
                  <a:lnTo>
                    <a:pt x="2113" y="2158"/>
                  </a:lnTo>
                  <a:lnTo>
                    <a:pt x="2111" y="2159"/>
                  </a:lnTo>
                  <a:lnTo>
                    <a:pt x="2107" y="2161"/>
                  </a:lnTo>
                  <a:lnTo>
                    <a:pt x="2104" y="2163"/>
                  </a:lnTo>
                  <a:lnTo>
                    <a:pt x="2105" y="2165"/>
                  </a:lnTo>
                  <a:lnTo>
                    <a:pt x="2107" y="2169"/>
                  </a:lnTo>
                  <a:lnTo>
                    <a:pt x="2111" y="2170"/>
                  </a:lnTo>
                  <a:lnTo>
                    <a:pt x="2113" y="2174"/>
                  </a:lnTo>
                  <a:lnTo>
                    <a:pt x="2110" y="2179"/>
                  </a:lnTo>
                  <a:lnTo>
                    <a:pt x="2104" y="2179"/>
                  </a:lnTo>
                  <a:lnTo>
                    <a:pt x="2104" y="2183"/>
                  </a:lnTo>
                  <a:lnTo>
                    <a:pt x="2107" y="2187"/>
                  </a:lnTo>
                  <a:lnTo>
                    <a:pt x="2108" y="2195"/>
                  </a:lnTo>
                  <a:lnTo>
                    <a:pt x="2114" y="2206"/>
                  </a:lnTo>
                  <a:lnTo>
                    <a:pt x="2113" y="2208"/>
                  </a:lnTo>
                  <a:lnTo>
                    <a:pt x="2115" y="2209"/>
                  </a:lnTo>
                  <a:lnTo>
                    <a:pt x="2115" y="2213"/>
                  </a:lnTo>
                  <a:lnTo>
                    <a:pt x="2117" y="2213"/>
                  </a:lnTo>
                  <a:lnTo>
                    <a:pt x="2117" y="2221"/>
                  </a:lnTo>
                  <a:lnTo>
                    <a:pt x="2118" y="2224"/>
                  </a:lnTo>
                  <a:lnTo>
                    <a:pt x="2124" y="2224"/>
                  </a:lnTo>
                  <a:lnTo>
                    <a:pt x="2129" y="2220"/>
                  </a:lnTo>
                  <a:lnTo>
                    <a:pt x="2136" y="2223"/>
                  </a:lnTo>
                  <a:lnTo>
                    <a:pt x="2144" y="2219"/>
                  </a:lnTo>
                  <a:lnTo>
                    <a:pt x="2153" y="2224"/>
                  </a:lnTo>
                  <a:lnTo>
                    <a:pt x="2155" y="2232"/>
                  </a:lnTo>
                  <a:lnTo>
                    <a:pt x="2163" y="2234"/>
                  </a:lnTo>
                  <a:lnTo>
                    <a:pt x="2165" y="2320"/>
                  </a:lnTo>
                  <a:lnTo>
                    <a:pt x="2167" y="2362"/>
                  </a:lnTo>
                  <a:lnTo>
                    <a:pt x="2165" y="2445"/>
                  </a:lnTo>
                  <a:lnTo>
                    <a:pt x="2182" y="2464"/>
                  </a:lnTo>
                  <a:lnTo>
                    <a:pt x="2200" y="2490"/>
                  </a:lnTo>
                  <a:lnTo>
                    <a:pt x="2207" y="2497"/>
                  </a:lnTo>
                  <a:lnTo>
                    <a:pt x="2208" y="2502"/>
                  </a:lnTo>
                  <a:lnTo>
                    <a:pt x="2214" y="2509"/>
                  </a:lnTo>
                  <a:lnTo>
                    <a:pt x="2227" y="2524"/>
                  </a:lnTo>
                  <a:lnTo>
                    <a:pt x="2243" y="2539"/>
                  </a:lnTo>
                  <a:lnTo>
                    <a:pt x="2281" y="2593"/>
                  </a:lnTo>
                  <a:lnTo>
                    <a:pt x="2282" y="2594"/>
                  </a:lnTo>
                  <a:lnTo>
                    <a:pt x="2286" y="2591"/>
                  </a:lnTo>
                  <a:lnTo>
                    <a:pt x="2290" y="2588"/>
                  </a:lnTo>
                  <a:lnTo>
                    <a:pt x="2298" y="2588"/>
                  </a:lnTo>
                  <a:lnTo>
                    <a:pt x="2304" y="2584"/>
                  </a:lnTo>
                  <a:lnTo>
                    <a:pt x="2307" y="2580"/>
                  </a:lnTo>
                  <a:lnTo>
                    <a:pt x="2315" y="2580"/>
                  </a:lnTo>
                  <a:lnTo>
                    <a:pt x="2317" y="2579"/>
                  </a:lnTo>
                  <a:lnTo>
                    <a:pt x="2323" y="2577"/>
                  </a:lnTo>
                  <a:lnTo>
                    <a:pt x="2325" y="2580"/>
                  </a:lnTo>
                  <a:lnTo>
                    <a:pt x="2329" y="2580"/>
                  </a:lnTo>
                  <a:lnTo>
                    <a:pt x="2331" y="2577"/>
                  </a:lnTo>
                  <a:lnTo>
                    <a:pt x="2339" y="2576"/>
                  </a:lnTo>
                  <a:lnTo>
                    <a:pt x="2340" y="2571"/>
                  </a:lnTo>
                  <a:lnTo>
                    <a:pt x="2343" y="2568"/>
                  </a:lnTo>
                  <a:lnTo>
                    <a:pt x="2364" y="2561"/>
                  </a:lnTo>
                  <a:lnTo>
                    <a:pt x="2371" y="2560"/>
                  </a:lnTo>
                  <a:lnTo>
                    <a:pt x="2381" y="2554"/>
                  </a:lnTo>
                  <a:lnTo>
                    <a:pt x="2385" y="2554"/>
                  </a:lnTo>
                  <a:lnTo>
                    <a:pt x="2390" y="2556"/>
                  </a:lnTo>
                  <a:lnTo>
                    <a:pt x="2393" y="2556"/>
                  </a:lnTo>
                  <a:lnTo>
                    <a:pt x="2402" y="2551"/>
                  </a:lnTo>
                  <a:lnTo>
                    <a:pt x="2409" y="2549"/>
                  </a:lnTo>
                  <a:lnTo>
                    <a:pt x="2413" y="2549"/>
                  </a:lnTo>
                  <a:lnTo>
                    <a:pt x="2417" y="2552"/>
                  </a:lnTo>
                  <a:lnTo>
                    <a:pt x="2418" y="2552"/>
                  </a:lnTo>
                  <a:lnTo>
                    <a:pt x="2429" y="2549"/>
                  </a:lnTo>
                  <a:lnTo>
                    <a:pt x="2431" y="2547"/>
                  </a:lnTo>
                  <a:lnTo>
                    <a:pt x="2434" y="2543"/>
                  </a:lnTo>
                  <a:lnTo>
                    <a:pt x="2445" y="2537"/>
                  </a:lnTo>
                  <a:lnTo>
                    <a:pt x="2457" y="2536"/>
                  </a:lnTo>
                  <a:lnTo>
                    <a:pt x="2464" y="2536"/>
                  </a:lnTo>
                  <a:lnTo>
                    <a:pt x="2474" y="2532"/>
                  </a:lnTo>
                  <a:lnTo>
                    <a:pt x="2485" y="2532"/>
                  </a:lnTo>
                  <a:lnTo>
                    <a:pt x="2499" y="2526"/>
                  </a:lnTo>
                  <a:lnTo>
                    <a:pt x="2508" y="2527"/>
                  </a:lnTo>
                  <a:lnTo>
                    <a:pt x="2510" y="2530"/>
                  </a:lnTo>
                  <a:lnTo>
                    <a:pt x="2510" y="2532"/>
                  </a:lnTo>
                  <a:lnTo>
                    <a:pt x="2449" y="2594"/>
                  </a:lnTo>
                  <a:lnTo>
                    <a:pt x="2449" y="2596"/>
                  </a:lnTo>
                  <a:lnTo>
                    <a:pt x="2464" y="2597"/>
                  </a:lnTo>
                  <a:lnTo>
                    <a:pt x="2468" y="2601"/>
                  </a:lnTo>
                  <a:lnTo>
                    <a:pt x="2473" y="2610"/>
                  </a:lnTo>
                  <a:lnTo>
                    <a:pt x="2477" y="2617"/>
                  </a:lnTo>
                  <a:lnTo>
                    <a:pt x="2488" y="2630"/>
                  </a:lnTo>
                  <a:lnTo>
                    <a:pt x="2498" y="2638"/>
                  </a:lnTo>
                  <a:lnTo>
                    <a:pt x="2527" y="2672"/>
                  </a:lnTo>
                  <a:lnTo>
                    <a:pt x="2406" y="2733"/>
                  </a:lnTo>
                  <a:lnTo>
                    <a:pt x="2407" y="2758"/>
                  </a:lnTo>
                  <a:lnTo>
                    <a:pt x="2407" y="2801"/>
                  </a:lnTo>
                  <a:lnTo>
                    <a:pt x="2516" y="2810"/>
                  </a:lnTo>
                  <a:lnTo>
                    <a:pt x="2547" y="2855"/>
                  </a:lnTo>
                  <a:lnTo>
                    <a:pt x="2539" y="2855"/>
                  </a:lnTo>
                  <a:lnTo>
                    <a:pt x="2489" y="287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07" name="Freeform 306"/>
            <p:cNvSpPr>
              <a:spLocks/>
            </p:cNvSpPr>
            <p:nvPr/>
          </p:nvSpPr>
          <p:spPr bwMode="auto">
            <a:xfrm>
              <a:off x="7577881" y="2929609"/>
              <a:ext cx="348490" cy="1126469"/>
            </a:xfrm>
            <a:custGeom>
              <a:avLst/>
              <a:gdLst>
                <a:gd name="T0" fmla="*/ 1527 w 1748"/>
                <a:gd name="T1" fmla="*/ 539 h 4174"/>
                <a:gd name="T2" fmla="*/ 1461 w 1748"/>
                <a:gd name="T3" fmla="*/ 888 h 4174"/>
                <a:gd name="T4" fmla="*/ 1481 w 1748"/>
                <a:gd name="T5" fmla="*/ 1191 h 4174"/>
                <a:gd name="T6" fmla="*/ 1535 w 1748"/>
                <a:gd name="T7" fmla="*/ 1228 h 4174"/>
                <a:gd name="T8" fmla="*/ 1499 w 1748"/>
                <a:gd name="T9" fmla="*/ 1464 h 4174"/>
                <a:gd name="T10" fmla="*/ 1364 w 1748"/>
                <a:gd name="T11" fmla="*/ 1476 h 4174"/>
                <a:gd name="T12" fmla="*/ 1335 w 1748"/>
                <a:gd name="T13" fmla="*/ 1399 h 4174"/>
                <a:gd name="T14" fmla="*/ 1167 w 1748"/>
                <a:gd name="T15" fmla="*/ 1515 h 4174"/>
                <a:gd name="T16" fmla="*/ 1181 w 1748"/>
                <a:gd name="T17" fmla="*/ 1597 h 4174"/>
                <a:gd name="T18" fmla="*/ 1204 w 1748"/>
                <a:gd name="T19" fmla="*/ 1657 h 4174"/>
                <a:gd name="T20" fmla="*/ 1192 w 1748"/>
                <a:gd name="T21" fmla="*/ 1707 h 4174"/>
                <a:gd name="T22" fmla="*/ 1090 w 1748"/>
                <a:gd name="T23" fmla="*/ 1846 h 4174"/>
                <a:gd name="T24" fmla="*/ 1214 w 1748"/>
                <a:gd name="T25" fmla="*/ 1928 h 4174"/>
                <a:gd name="T26" fmla="*/ 1304 w 1748"/>
                <a:gd name="T27" fmla="*/ 2028 h 4174"/>
                <a:gd name="T28" fmla="*/ 1263 w 1748"/>
                <a:gd name="T29" fmla="*/ 2388 h 4174"/>
                <a:gd name="T30" fmla="*/ 1122 w 1748"/>
                <a:gd name="T31" fmla="*/ 2617 h 4174"/>
                <a:gd name="T32" fmla="*/ 1175 w 1748"/>
                <a:gd name="T33" fmla="*/ 2750 h 4174"/>
                <a:gd name="T34" fmla="*/ 1103 w 1748"/>
                <a:gd name="T35" fmla="*/ 2896 h 4174"/>
                <a:gd name="T36" fmla="*/ 990 w 1748"/>
                <a:gd name="T37" fmla="*/ 2843 h 4174"/>
                <a:gd name="T38" fmla="*/ 944 w 1748"/>
                <a:gd name="T39" fmla="*/ 2887 h 4174"/>
                <a:gd name="T40" fmla="*/ 883 w 1748"/>
                <a:gd name="T41" fmla="*/ 2924 h 4174"/>
                <a:gd name="T42" fmla="*/ 821 w 1748"/>
                <a:gd name="T43" fmla="*/ 2971 h 4174"/>
                <a:gd name="T44" fmla="*/ 891 w 1748"/>
                <a:gd name="T45" fmla="*/ 3141 h 4174"/>
                <a:gd name="T46" fmla="*/ 1054 w 1748"/>
                <a:gd name="T47" fmla="*/ 3404 h 4174"/>
                <a:gd name="T48" fmla="*/ 1171 w 1748"/>
                <a:gd name="T49" fmla="*/ 3497 h 4174"/>
                <a:gd name="T50" fmla="*/ 1342 w 1748"/>
                <a:gd name="T51" fmla="*/ 3882 h 4174"/>
                <a:gd name="T52" fmla="*/ 1263 w 1748"/>
                <a:gd name="T53" fmla="*/ 3995 h 4174"/>
                <a:gd name="T54" fmla="*/ 1209 w 1748"/>
                <a:gd name="T55" fmla="*/ 4037 h 4174"/>
                <a:gd name="T56" fmla="*/ 1124 w 1748"/>
                <a:gd name="T57" fmla="*/ 4036 h 4174"/>
                <a:gd name="T58" fmla="*/ 1014 w 1748"/>
                <a:gd name="T59" fmla="*/ 4021 h 4174"/>
                <a:gd name="T60" fmla="*/ 908 w 1748"/>
                <a:gd name="T61" fmla="*/ 4023 h 4174"/>
                <a:gd name="T62" fmla="*/ 812 w 1748"/>
                <a:gd name="T63" fmla="*/ 4083 h 4174"/>
                <a:gd name="T64" fmla="*/ 709 w 1748"/>
                <a:gd name="T65" fmla="*/ 4087 h 4174"/>
                <a:gd name="T66" fmla="*/ 616 w 1748"/>
                <a:gd name="T67" fmla="*/ 4125 h 4174"/>
                <a:gd name="T68" fmla="*/ 520 w 1748"/>
                <a:gd name="T69" fmla="*/ 4169 h 4174"/>
                <a:gd name="T70" fmla="*/ 455 w 1748"/>
                <a:gd name="T71" fmla="*/ 4106 h 4174"/>
                <a:gd name="T72" fmla="*/ 357 w 1748"/>
                <a:gd name="T73" fmla="*/ 4103 h 4174"/>
                <a:gd name="T74" fmla="*/ 259 w 1748"/>
                <a:gd name="T75" fmla="*/ 4035 h 4174"/>
                <a:gd name="T76" fmla="*/ 149 w 1748"/>
                <a:gd name="T77" fmla="*/ 4015 h 4174"/>
                <a:gd name="T78" fmla="*/ 13 w 1748"/>
                <a:gd name="T79" fmla="*/ 3792 h 4174"/>
                <a:gd name="T80" fmla="*/ 225 w 1748"/>
                <a:gd name="T81" fmla="*/ 3354 h 4174"/>
                <a:gd name="T82" fmla="*/ 405 w 1748"/>
                <a:gd name="T83" fmla="*/ 3048 h 4174"/>
                <a:gd name="T84" fmla="*/ 553 w 1748"/>
                <a:gd name="T85" fmla="*/ 2741 h 4174"/>
                <a:gd name="T86" fmla="*/ 391 w 1748"/>
                <a:gd name="T87" fmla="*/ 2542 h 4174"/>
                <a:gd name="T88" fmla="*/ 390 w 1748"/>
                <a:gd name="T89" fmla="*/ 2277 h 4174"/>
                <a:gd name="T90" fmla="*/ 271 w 1748"/>
                <a:gd name="T91" fmla="*/ 2048 h 4174"/>
                <a:gd name="T92" fmla="*/ 473 w 1748"/>
                <a:gd name="T93" fmla="*/ 1856 h 4174"/>
                <a:gd name="T94" fmla="*/ 547 w 1748"/>
                <a:gd name="T95" fmla="*/ 1601 h 4174"/>
                <a:gd name="T96" fmla="*/ 485 w 1748"/>
                <a:gd name="T97" fmla="*/ 1399 h 4174"/>
                <a:gd name="T98" fmla="*/ 522 w 1748"/>
                <a:gd name="T99" fmla="*/ 1120 h 4174"/>
                <a:gd name="T100" fmla="*/ 477 w 1748"/>
                <a:gd name="T101" fmla="*/ 907 h 4174"/>
                <a:gd name="T102" fmla="*/ 569 w 1748"/>
                <a:gd name="T103" fmla="*/ 696 h 4174"/>
                <a:gd name="T104" fmla="*/ 611 w 1748"/>
                <a:gd name="T105" fmla="*/ 598 h 4174"/>
                <a:gd name="T106" fmla="*/ 637 w 1748"/>
                <a:gd name="T107" fmla="*/ 514 h 4174"/>
                <a:gd name="T108" fmla="*/ 704 w 1748"/>
                <a:gd name="T109" fmla="*/ 412 h 4174"/>
                <a:gd name="T110" fmla="*/ 759 w 1748"/>
                <a:gd name="T111" fmla="*/ 283 h 4174"/>
                <a:gd name="T112" fmla="*/ 827 w 1748"/>
                <a:gd name="T113" fmla="*/ 212 h 4174"/>
                <a:gd name="T114" fmla="*/ 876 w 1748"/>
                <a:gd name="T115" fmla="*/ 105 h 4174"/>
                <a:gd name="T116" fmla="*/ 1004 w 1748"/>
                <a:gd name="T117" fmla="*/ 34 h 4174"/>
                <a:gd name="T118" fmla="*/ 1125 w 1748"/>
                <a:gd name="T119" fmla="*/ 6 h 4174"/>
                <a:gd name="T120" fmla="*/ 1303 w 1748"/>
                <a:gd name="T121" fmla="*/ 149 h 4174"/>
                <a:gd name="T122" fmla="*/ 1483 w 1748"/>
                <a:gd name="T123" fmla="*/ 262 h 4174"/>
                <a:gd name="T124" fmla="*/ 1713 w 1748"/>
                <a:gd name="T125" fmla="*/ 315 h 417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748"/>
                <a:gd name="T190" fmla="*/ 0 h 4174"/>
                <a:gd name="T191" fmla="*/ 1748 w 1748"/>
                <a:gd name="T192" fmla="*/ 4174 h 417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748" h="4174">
                  <a:moveTo>
                    <a:pt x="1743" y="341"/>
                  </a:moveTo>
                  <a:lnTo>
                    <a:pt x="1741" y="348"/>
                  </a:lnTo>
                  <a:lnTo>
                    <a:pt x="1731" y="360"/>
                  </a:lnTo>
                  <a:lnTo>
                    <a:pt x="1729" y="362"/>
                  </a:lnTo>
                  <a:lnTo>
                    <a:pt x="1723" y="363"/>
                  </a:lnTo>
                  <a:lnTo>
                    <a:pt x="1720" y="371"/>
                  </a:lnTo>
                  <a:lnTo>
                    <a:pt x="1721" y="385"/>
                  </a:lnTo>
                  <a:lnTo>
                    <a:pt x="1729" y="386"/>
                  </a:lnTo>
                  <a:lnTo>
                    <a:pt x="1744" y="386"/>
                  </a:lnTo>
                  <a:lnTo>
                    <a:pt x="1743" y="388"/>
                  </a:lnTo>
                  <a:lnTo>
                    <a:pt x="1731" y="407"/>
                  </a:lnTo>
                  <a:lnTo>
                    <a:pt x="1727" y="416"/>
                  </a:lnTo>
                  <a:lnTo>
                    <a:pt x="1724" y="423"/>
                  </a:lnTo>
                  <a:lnTo>
                    <a:pt x="1719" y="431"/>
                  </a:lnTo>
                  <a:lnTo>
                    <a:pt x="1691" y="482"/>
                  </a:lnTo>
                  <a:lnTo>
                    <a:pt x="1638" y="498"/>
                  </a:lnTo>
                  <a:lnTo>
                    <a:pt x="1616" y="504"/>
                  </a:lnTo>
                  <a:lnTo>
                    <a:pt x="1591" y="510"/>
                  </a:lnTo>
                  <a:lnTo>
                    <a:pt x="1563" y="514"/>
                  </a:lnTo>
                  <a:lnTo>
                    <a:pt x="1527" y="539"/>
                  </a:lnTo>
                  <a:lnTo>
                    <a:pt x="1453" y="673"/>
                  </a:lnTo>
                  <a:lnTo>
                    <a:pt x="1470" y="681"/>
                  </a:lnTo>
                  <a:lnTo>
                    <a:pt x="1483" y="685"/>
                  </a:lnTo>
                  <a:lnTo>
                    <a:pt x="1484" y="689"/>
                  </a:lnTo>
                  <a:lnTo>
                    <a:pt x="1485" y="693"/>
                  </a:lnTo>
                  <a:lnTo>
                    <a:pt x="1486" y="693"/>
                  </a:lnTo>
                  <a:lnTo>
                    <a:pt x="1491" y="693"/>
                  </a:lnTo>
                  <a:lnTo>
                    <a:pt x="1496" y="697"/>
                  </a:lnTo>
                  <a:lnTo>
                    <a:pt x="1498" y="701"/>
                  </a:lnTo>
                  <a:lnTo>
                    <a:pt x="1499" y="705"/>
                  </a:lnTo>
                  <a:lnTo>
                    <a:pt x="1492" y="715"/>
                  </a:lnTo>
                  <a:lnTo>
                    <a:pt x="1478" y="730"/>
                  </a:lnTo>
                  <a:lnTo>
                    <a:pt x="1477" y="746"/>
                  </a:lnTo>
                  <a:lnTo>
                    <a:pt x="1467" y="786"/>
                  </a:lnTo>
                  <a:lnTo>
                    <a:pt x="1463" y="798"/>
                  </a:lnTo>
                  <a:lnTo>
                    <a:pt x="1463" y="801"/>
                  </a:lnTo>
                  <a:lnTo>
                    <a:pt x="1469" y="815"/>
                  </a:lnTo>
                  <a:lnTo>
                    <a:pt x="1475" y="826"/>
                  </a:lnTo>
                  <a:lnTo>
                    <a:pt x="1474" y="839"/>
                  </a:lnTo>
                  <a:lnTo>
                    <a:pt x="1461" y="888"/>
                  </a:lnTo>
                  <a:lnTo>
                    <a:pt x="1453" y="910"/>
                  </a:lnTo>
                  <a:lnTo>
                    <a:pt x="1424" y="970"/>
                  </a:lnTo>
                  <a:lnTo>
                    <a:pt x="1444" y="1000"/>
                  </a:lnTo>
                  <a:lnTo>
                    <a:pt x="1445" y="1007"/>
                  </a:lnTo>
                  <a:lnTo>
                    <a:pt x="1442" y="1047"/>
                  </a:lnTo>
                  <a:lnTo>
                    <a:pt x="1442" y="1051"/>
                  </a:lnTo>
                  <a:lnTo>
                    <a:pt x="1445" y="1053"/>
                  </a:lnTo>
                  <a:lnTo>
                    <a:pt x="1475" y="1071"/>
                  </a:lnTo>
                  <a:lnTo>
                    <a:pt x="1477" y="1075"/>
                  </a:lnTo>
                  <a:lnTo>
                    <a:pt x="1477" y="1082"/>
                  </a:lnTo>
                  <a:lnTo>
                    <a:pt x="1481" y="1092"/>
                  </a:lnTo>
                  <a:lnTo>
                    <a:pt x="1478" y="1104"/>
                  </a:lnTo>
                  <a:lnTo>
                    <a:pt x="1480" y="1114"/>
                  </a:lnTo>
                  <a:lnTo>
                    <a:pt x="1477" y="1124"/>
                  </a:lnTo>
                  <a:lnTo>
                    <a:pt x="1475" y="1137"/>
                  </a:lnTo>
                  <a:lnTo>
                    <a:pt x="1471" y="1151"/>
                  </a:lnTo>
                  <a:lnTo>
                    <a:pt x="1470" y="1165"/>
                  </a:lnTo>
                  <a:lnTo>
                    <a:pt x="1461" y="1191"/>
                  </a:lnTo>
                  <a:lnTo>
                    <a:pt x="1471" y="1193"/>
                  </a:lnTo>
                  <a:lnTo>
                    <a:pt x="1481" y="1191"/>
                  </a:lnTo>
                  <a:lnTo>
                    <a:pt x="1484" y="1191"/>
                  </a:lnTo>
                  <a:lnTo>
                    <a:pt x="1484" y="1195"/>
                  </a:lnTo>
                  <a:lnTo>
                    <a:pt x="1488" y="1196"/>
                  </a:lnTo>
                  <a:lnTo>
                    <a:pt x="1491" y="1200"/>
                  </a:lnTo>
                  <a:lnTo>
                    <a:pt x="1498" y="1198"/>
                  </a:lnTo>
                  <a:lnTo>
                    <a:pt x="1506" y="1199"/>
                  </a:lnTo>
                  <a:lnTo>
                    <a:pt x="1508" y="1201"/>
                  </a:lnTo>
                  <a:lnTo>
                    <a:pt x="1506" y="1204"/>
                  </a:lnTo>
                  <a:lnTo>
                    <a:pt x="1506" y="1205"/>
                  </a:lnTo>
                  <a:lnTo>
                    <a:pt x="1508" y="1205"/>
                  </a:lnTo>
                  <a:lnTo>
                    <a:pt x="1513" y="1213"/>
                  </a:lnTo>
                  <a:lnTo>
                    <a:pt x="1517" y="1213"/>
                  </a:lnTo>
                  <a:lnTo>
                    <a:pt x="1523" y="1217"/>
                  </a:lnTo>
                  <a:lnTo>
                    <a:pt x="1525" y="1224"/>
                  </a:lnTo>
                  <a:lnTo>
                    <a:pt x="1530" y="1224"/>
                  </a:lnTo>
                  <a:lnTo>
                    <a:pt x="1531" y="1224"/>
                  </a:lnTo>
                  <a:lnTo>
                    <a:pt x="1536" y="1227"/>
                  </a:lnTo>
                  <a:lnTo>
                    <a:pt x="1536" y="1228"/>
                  </a:lnTo>
                  <a:lnTo>
                    <a:pt x="1534" y="1228"/>
                  </a:lnTo>
                  <a:lnTo>
                    <a:pt x="1535" y="1228"/>
                  </a:lnTo>
                  <a:lnTo>
                    <a:pt x="1535" y="1236"/>
                  </a:lnTo>
                  <a:lnTo>
                    <a:pt x="1541" y="1242"/>
                  </a:lnTo>
                  <a:lnTo>
                    <a:pt x="1544" y="1243"/>
                  </a:lnTo>
                  <a:lnTo>
                    <a:pt x="1545" y="1246"/>
                  </a:lnTo>
                  <a:lnTo>
                    <a:pt x="1548" y="1246"/>
                  </a:lnTo>
                  <a:lnTo>
                    <a:pt x="1524" y="1277"/>
                  </a:lnTo>
                  <a:lnTo>
                    <a:pt x="1530" y="1280"/>
                  </a:lnTo>
                  <a:lnTo>
                    <a:pt x="1539" y="1299"/>
                  </a:lnTo>
                  <a:lnTo>
                    <a:pt x="1538" y="1307"/>
                  </a:lnTo>
                  <a:lnTo>
                    <a:pt x="1541" y="1322"/>
                  </a:lnTo>
                  <a:lnTo>
                    <a:pt x="1544" y="1340"/>
                  </a:lnTo>
                  <a:lnTo>
                    <a:pt x="1546" y="1354"/>
                  </a:lnTo>
                  <a:lnTo>
                    <a:pt x="1542" y="1361"/>
                  </a:lnTo>
                  <a:lnTo>
                    <a:pt x="1517" y="1471"/>
                  </a:lnTo>
                  <a:lnTo>
                    <a:pt x="1516" y="1471"/>
                  </a:lnTo>
                  <a:lnTo>
                    <a:pt x="1513" y="1464"/>
                  </a:lnTo>
                  <a:lnTo>
                    <a:pt x="1509" y="1462"/>
                  </a:lnTo>
                  <a:lnTo>
                    <a:pt x="1503" y="1462"/>
                  </a:lnTo>
                  <a:lnTo>
                    <a:pt x="1502" y="1464"/>
                  </a:lnTo>
                  <a:lnTo>
                    <a:pt x="1499" y="1464"/>
                  </a:lnTo>
                  <a:lnTo>
                    <a:pt x="1496" y="1460"/>
                  </a:lnTo>
                  <a:lnTo>
                    <a:pt x="1492" y="1460"/>
                  </a:lnTo>
                  <a:lnTo>
                    <a:pt x="1489" y="1460"/>
                  </a:lnTo>
                  <a:lnTo>
                    <a:pt x="1485" y="1456"/>
                  </a:lnTo>
                  <a:lnTo>
                    <a:pt x="1485" y="1453"/>
                  </a:lnTo>
                  <a:lnTo>
                    <a:pt x="1478" y="1449"/>
                  </a:lnTo>
                  <a:lnTo>
                    <a:pt x="1474" y="1449"/>
                  </a:lnTo>
                  <a:lnTo>
                    <a:pt x="1470" y="1448"/>
                  </a:lnTo>
                  <a:lnTo>
                    <a:pt x="1464" y="1449"/>
                  </a:lnTo>
                  <a:lnTo>
                    <a:pt x="1456" y="1459"/>
                  </a:lnTo>
                  <a:lnTo>
                    <a:pt x="1434" y="1502"/>
                  </a:lnTo>
                  <a:lnTo>
                    <a:pt x="1420" y="1507"/>
                  </a:lnTo>
                  <a:lnTo>
                    <a:pt x="1411" y="1507"/>
                  </a:lnTo>
                  <a:lnTo>
                    <a:pt x="1406" y="1504"/>
                  </a:lnTo>
                  <a:lnTo>
                    <a:pt x="1395" y="1497"/>
                  </a:lnTo>
                  <a:lnTo>
                    <a:pt x="1392" y="1490"/>
                  </a:lnTo>
                  <a:lnTo>
                    <a:pt x="1384" y="1486"/>
                  </a:lnTo>
                  <a:lnTo>
                    <a:pt x="1374" y="1472"/>
                  </a:lnTo>
                  <a:lnTo>
                    <a:pt x="1370" y="1471"/>
                  </a:lnTo>
                  <a:lnTo>
                    <a:pt x="1364" y="1476"/>
                  </a:lnTo>
                  <a:lnTo>
                    <a:pt x="1361" y="1474"/>
                  </a:lnTo>
                  <a:lnTo>
                    <a:pt x="1360" y="1472"/>
                  </a:lnTo>
                  <a:lnTo>
                    <a:pt x="1360" y="1464"/>
                  </a:lnTo>
                  <a:lnTo>
                    <a:pt x="1356" y="1460"/>
                  </a:lnTo>
                  <a:lnTo>
                    <a:pt x="1354" y="1457"/>
                  </a:lnTo>
                  <a:lnTo>
                    <a:pt x="1353" y="1449"/>
                  </a:lnTo>
                  <a:lnTo>
                    <a:pt x="1352" y="1448"/>
                  </a:lnTo>
                  <a:lnTo>
                    <a:pt x="1348" y="1448"/>
                  </a:lnTo>
                  <a:lnTo>
                    <a:pt x="1348" y="1445"/>
                  </a:lnTo>
                  <a:lnTo>
                    <a:pt x="1349" y="1441"/>
                  </a:lnTo>
                  <a:lnTo>
                    <a:pt x="1353" y="1437"/>
                  </a:lnTo>
                  <a:lnTo>
                    <a:pt x="1352" y="1429"/>
                  </a:lnTo>
                  <a:lnTo>
                    <a:pt x="1338" y="1426"/>
                  </a:lnTo>
                  <a:lnTo>
                    <a:pt x="1336" y="1423"/>
                  </a:lnTo>
                  <a:lnTo>
                    <a:pt x="1336" y="1422"/>
                  </a:lnTo>
                  <a:lnTo>
                    <a:pt x="1339" y="1415"/>
                  </a:lnTo>
                  <a:lnTo>
                    <a:pt x="1338" y="1411"/>
                  </a:lnTo>
                  <a:lnTo>
                    <a:pt x="1334" y="1410"/>
                  </a:lnTo>
                  <a:lnTo>
                    <a:pt x="1336" y="1403"/>
                  </a:lnTo>
                  <a:lnTo>
                    <a:pt x="1335" y="1399"/>
                  </a:lnTo>
                  <a:lnTo>
                    <a:pt x="1324" y="1395"/>
                  </a:lnTo>
                  <a:lnTo>
                    <a:pt x="1320" y="1395"/>
                  </a:lnTo>
                  <a:lnTo>
                    <a:pt x="1317" y="1397"/>
                  </a:lnTo>
                  <a:lnTo>
                    <a:pt x="1313" y="1403"/>
                  </a:lnTo>
                  <a:lnTo>
                    <a:pt x="1304" y="1401"/>
                  </a:lnTo>
                  <a:lnTo>
                    <a:pt x="1296" y="1401"/>
                  </a:lnTo>
                  <a:lnTo>
                    <a:pt x="1274" y="1397"/>
                  </a:lnTo>
                  <a:lnTo>
                    <a:pt x="1272" y="1392"/>
                  </a:lnTo>
                  <a:lnTo>
                    <a:pt x="1265" y="1410"/>
                  </a:lnTo>
                  <a:lnTo>
                    <a:pt x="1250" y="1432"/>
                  </a:lnTo>
                  <a:lnTo>
                    <a:pt x="1235" y="1466"/>
                  </a:lnTo>
                  <a:lnTo>
                    <a:pt x="1229" y="1471"/>
                  </a:lnTo>
                  <a:lnTo>
                    <a:pt x="1211" y="1472"/>
                  </a:lnTo>
                  <a:lnTo>
                    <a:pt x="1203" y="1478"/>
                  </a:lnTo>
                  <a:lnTo>
                    <a:pt x="1193" y="1482"/>
                  </a:lnTo>
                  <a:lnTo>
                    <a:pt x="1187" y="1486"/>
                  </a:lnTo>
                  <a:lnTo>
                    <a:pt x="1185" y="1502"/>
                  </a:lnTo>
                  <a:lnTo>
                    <a:pt x="1179" y="1511"/>
                  </a:lnTo>
                  <a:lnTo>
                    <a:pt x="1174" y="1513"/>
                  </a:lnTo>
                  <a:lnTo>
                    <a:pt x="1167" y="1515"/>
                  </a:lnTo>
                  <a:lnTo>
                    <a:pt x="1162" y="1516"/>
                  </a:lnTo>
                  <a:lnTo>
                    <a:pt x="1162" y="1521"/>
                  </a:lnTo>
                  <a:lnTo>
                    <a:pt x="1157" y="1524"/>
                  </a:lnTo>
                  <a:lnTo>
                    <a:pt x="1157" y="1527"/>
                  </a:lnTo>
                  <a:lnTo>
                    <a:pt x="1162" y="1534"/>
                  </a:lnTo>
                  <a:lnTo>
                    <a:pt x="1170" y="1531"/>
                  </a:lnTo>
                  <a:lnTo>
                    <a:pt x="1171" y="1531"/>
                  </a:lnTo>
                  <a:lnTo>
                    <a:pt x="1174" y="1535"/>
                  </a:lnTo>
                  <a:lnTo>
                    <a:pt x="1175" y="1539"/>
                  </a:lnTo>
                  <a:lnTo>
                    <a:pt x="1175" y="1546"/>
                  </a:lnTo>
                  <a:lnTo>
                    <a:pt x="1172" y="1549"/>
                  </a:lnTo>
                  <a:lnTo>
                    <a:pt x="1172" y="1553"/>
                  </a:lnTo>
                  <a:lnTo>
                    <a:pt x="1168" y="1560"/>
                  </a:lnTo>
                  <a:lnTo>
                    <a:pt x="1170" y="1561"/>
                  </a:lnTo>
                  <a:lnTo>
                    <a:pt x="1174" y="1565"/>
                  </a:lnTo>
                  <a:lnTo>
                    <a:pt x="1174" y="1575"/>
                  </a:lnTo>
                  <a:lnTo>
                    <a:pt x="1172" y="1580"/>
                  </a:lnTo>
                  <a:lnTo>
                    <a:pt x="1175" y="1584"/>
                  </a:lnTo>
                  <a:lnTo>
                    <a:pt x="1175" y="1590"/>
                  </a:lnTo>
                  <a:lnTo>
                    <a:pt x="1181" y="1597"/>
                  </a:lnTo>
                  <a:lnTo>
                    <a:pt x="1187" y="1597"/>
                  </a:lnTo>
                  <a:lnTo>
                    <a:pt x="1189" y="1598"/>
                  </a:lnTo>
                  <a:lnTo>
                    <a:pt x="1181" y="1606"/>
                  </a:lnTo>
                  <a:lnTo>
                    <a:pt x="1182" y="1618"/>
                  </a:lnTo>
                  <a:lnTo>
                    <a:pt x="1181" y="1623"/>
                  </a:lnTo>
                  <a:lnTo>
                    <a:pt x="1178" y="1625"/>
                  </a:lnTo>
                  <a:lnTo>
                    <a:pt x="1178" y="1627"/>
                  </a:lnTo>
                  <a:lnTo>
                    <a:pt x="1182" y="1632"/>
                  </a:lnTo>
                  <a:lnTo>
                    <a:pt x="1186" y="1632"/>
                  </a:lnTo>
                  <a:lnTo>
                    <a:pt x="1192" y="1631"/>
                  </a:lnTo>
                  <a:lnTo>
                    <a:pt x="1193" y="1623"/>
                  </a:lnTo>
                  <a:lnTo>
                    <a:pt x="1197" y="1621"/>
                  </a:lnTo>
                  <a:lnTo>
                    <a:pt x="1200" y="1622"/>
                  </a:lnTo>
                  <a:lnTo>
                    <a:pt x="1203" y="1627"/>
                  </a:lnTo>
                  <a:lnTo>
                    <a:pt x="1197" y="1632"/>
                  </a:lnTo>
                  <a:lnTo>
                    <a:pt x="1201" y="1636"/>
                  </a:lnTo>
                  <a:lnTo>
                    <a:pt x="1197" y="1640"/>
                  </a:lnTo>
                  <a:lnTo>
                    <a:pt x="1199" y="1651"/>
                  </a:lnTo>
                  <a:lnTo>
                    <a:pt x="1195" y="1655"/>
                  </a:lnTo>
                  <a:lnTo>
                    <a:pt x="1204" y="1657"/>
                  </a:lnTo>
                  <a:lnTo>
                    <a:pt x="1206" y="1665"/>
                  </a:lnTo>
                  <a:lnTo>
                    <a:pt x="1210" y="1668"/>
                  </a:lnTo>
                  <a:lnTo>
                    <a:pt x="1206" y="1672"/>
                  </a:lnTo>
                  <a:lnTo>
                    <a:pt x="1207" y="1677"/>
                  </a:lnTo>
                  <a:lnTo>
                    <a:pt x="1206" y="1681"/>
                  </a:lnTo>
                  <a:lnTo>
                    <a:pt x="1209" y="1685"/>
                  </a:lnTo>
                  <a:lnTo>
                    <a:pt x="1207" y="1694"/>
                  </a:lnTo>
                  <a:lnTo>
                    <a:pt x="1211" y="1696"/>
                  </a:lnTo>
                  <a:lnTo>
                    <a:pt x="1214" y="1704"/>
                  </a:lnTo>
                  <a:lnTo>
                    <a:pt x="1220" y="1707"/>
                  </a:lnTo>
                  <a:lnTo>
                    <a:pt x="1221" y="1712"/>
                  </a:lnTo>
                  <a:lnTo>
                    <a:pt x="1215" y="1714"/>
                  </a:lnTo>
                  <a:lnTo>
                    <a:pt x="1214" y="1715"/>
                  </a:lnTo>
                  <a:lnTo>
                    <a:pt x="1212" y="1717"/>
                  </a:lnTo>
                  <a:lnTo>
                    <a:pt x="1211" y="1714"/>
                  </a:lnTo>
                  <a:lnTo>
                    <a:pt x="1210" y="1710"/>
                  </a:lnTo>
                  <a:lnTo>
                    <a:pt x="1206" y="1712"/>
                  </a:lnTo>
                  <a:lnTo>
                    <a:pt x="1200" y="1704"/>
                  </a:lnTo>
                  <a:lnTo>
                    <a:pt x="1193" y="1707"/>
                  </a:lnTo>
                  <a:lnTo>
                    <a:pt x="1192" y="1707"/>
                  </a:lnTo>
                  <a:lnTo>
                    <a:pt x="1179" y="1714"/>
                  </a:lnTo>
                  <a:lnTo>
                    <a:pt x="1162" y="1718"/>
                  </a:lnTo>
                  <a:lnTo>
                    <a:pt x="1149" y="1718"/>
                  </a:lnTo>
                  <a:lnTo>
                    <a:pt x="1136" y="1713"/>
                  </a:lnTo>
                  <a:lnTo>
                    <a:pt x="1134" y="1713"/>
                  </a:lnTo>
                  <a:lnTo>
                    <a:pt x="1134" y="1729"/>
                  </a:lnTo>
                  <a:lnTo>
                    <a:pt x="1132" y="1740"/>
                  </a:lnTo>
                  <a:lnTo>
                    <a:pt x="1134" y="1771"/>
                  </a:lnTo>
                  <a:lnTo>
                    <a:pt x="1132" y="1775"/>
                  </a:lnTo>
                  <a:lnTo>
                    <a:pt x="1131" y="1777"/>
                  </a:lnTo>
                  <a:lnTo>
                    <a:pt x="1125" y="1779"/>
                  </a:lnTo>
                  <a:lnTo>
                    <a:pt x="1100" y="1782"/>
                  </a:lnTo>
                  <a:lnTo>
                    <a:pt x="1096" y="1785"/>
                  </a:lnTo>
                  <a:lnTo>
                    <a:pt x="1100" y="1806"/>
                  </a:lnTo>
                  <a:lnTo>
                    <a:pt x="1103" y="1812"/>
                  </a:lnTo>
                  <a:lnTo>
                    <a:pt x="1103" y="1816"/>
                  </a:lnTo>
                  <a:lnTo>
                    <a:pt x="1099" y="1826"/>
                  </a:lnTo>
                  <a:lnTo>
                    <a:pt x="1099" y="1830"/>
                  </a:lnTo>
                  <a:lnTo>
                    <a:pt x="1092" y="1841"/>
                  </a:lnTo>
                  <a:lnTo>
                    <a:pt x="1090" y="1846"/>
                  </a:lnTo>
                  <a:lnTo>
                    <a:pt x="1099" y="1861"/>
                  </a:lnTo>
                  <a:lnTo>
                    <a:pt x="1104" y="1863"/>
                  </a:lnTo>
                  <a:lnTo>
                    <a:pt x="1109" y="1868"/>
                  </a:lnTo>
                  <a:lnTo>
                    <a:pt x="1115" y="1871"/>
                  </a:lnTo>
                  <a:lnTo>
                    <a:pt x="1117" y="1868"/>
                  </a:lnTo>
                  <a:lnTo>
                    <a:pt x="1120" y="1868"/>
                  </a:lnTo>
                  <a:lnTo>
                    <a:pt x="1134" y="1879"/>
                  </a:lnTo>
                  <a:lnTo>
                    <a:pt x="1136" y="1880"/>
                  </a:lnTo>
                  <a:lnTo>
                    <a:pt x="1139" y="1883"/>
                  </a:lnTo>
                  <a:lnTo>
                    <a:pt x="1159" y="1894"/>
                  </a:lnTo>
                  <a:lnTo>
                    <a:pt x="1157" y="1897"/>
                  </a:lnTo>
                  <a:lnTo>
                    <a:pt x="1157" y="1903"/>
                  </a:lnTo>
                  <a:lnTo>
                    <a:pt x="1159" y="1905"/>
                  </a:lnTo>
                  <a:lnTo>
                    <a:pt x="1167" y="1913"/>
                  </a:lnTo>
                  <a:lnTo>
                    <a:pt x="1178" y="1917"/>
                  </a:lnTo>
                  <a:lnTo>
                    <a:pt x="1185" y="1928"/>
                  </a:lnTo>
                  <a:lnTo>
                    <a:pt x="1193" y="1928"/>
                  </a:lnTo>
                  <a:lnTo>
                    <a:pt x="1199" y="1921"/>
                  </a:lnTo>
                  <a:lnTo>
                    <a:pt x="1207" y="1926"/>
                  </a:lnTo>
                  <a:lnTo>
                    <a:pt x="1214" y="1928"/>
                  </a:lnTo>
                  <a:lnTo>
                    <a:pt x="1217" y="1928"/>
                  </a:lnTo>
                  <a:lnTo>
                    <a:pt x="1221" y="1924"/>
                  </a:lnTo>
                  <a:lnTo>
                    <a:pt x="1222" y="1925"/>
                  </a:lnTo>
                  <a:lnTo>
                    <a:pt x="1225" y="1929"/>
                  </a:lnTo>
                  <a:lnTo>
                    <a:pt x="1231" y="1931"/>
                  </a:lnTo>
                  <a:lnTo>
                    <a:pt x="1236" y="1949"/>
                  </a:lnTo>
                  <a:lnTo>
                    <a:pt x="1239" y="1950"/>
                  </a:lnTo>
                  <a:lnTo>
                    <a:pt x="1243" y="1951"/>
                  </a:lnTo>
                  <a:lnTo>
                    <a:pt x="1250" y="1965"/>
                  </a:lnTo>
                  <a:lnTo>
                    <a:pt x="1251" y="1970"/>
                  </a:lnTo>
                  <a:lnTo>
                    <a:pt x="1251" y="1979"/>
                  </a:lnTo>
                  <a:lnTo>
                    <a:pt x="1256" y="1991"/>
                  </a:lnTo>
                  <a:lnTo>
                    <a:pt x="1257" y="1992"/>
                  </a:lnTo>
                  <a:lnTo>
                    <a:pt x="1267" y="1996"/>
                  </a:lnTo>
                  <a:lnTo>
                    <a:pt x="1267" y="2001"/>
                  </a:lnTo>
                  <a:lnTo>
                    <a:pt x="1271" y="2007"/>
                  </a:lnTo>
                  <a:lnTo>
                    <a:pt x="1278" y="2009"/>
                  </a:lnTo>
                  <a:lnTo>
                    <a:pt x="1292" y="2018"/>
                  </a:lnTo>
                  <a:lnTo>
                    <a:pt x="1295" y="2018"/>
                  </a:lnTo>
                  <a:lnTo>
                    <a:pt x="1304" y="2028"/>
                  </a:lnTo>
                  <a:lnTo>
                    <a:pt x="1313" y="2032"/>
                  </a:lnTo>
                  <a:lnTo>
                    <a:pt x="1317" y="2037"/>
                  </a:lnTo>
                  <a:lnTo>
                    <a:pt x="1320" y="2041"/>
                  </a:lnTo>
                  <a:lnTo>
                    <a:pt x="1322" y="2043"/>
                  </a:lnTo>
                  <a:lnTo>
                    <a:pt x="1325" y="2041"/>
                  </a:lnTo>
                  <a:lnTo>
                    <a:pt x="1325" y="2037"/>
                  </a:lnTo>
                  <a:lnTo>
                    <a:pt x="1327" y="2036"/>
                  </a:lnTo>
                  <a:lnTo>
                    <a:pt x="1332" y="2036"/>
                  </a:lnTo>
                  <a:lnTo>
                    <a:pt x="1334" y="2037"/>
                  </a:lnTo>
                  <a:lnTo>
                    <a:pt x="1336" y="2041"/>
                  </a:lnTo>
                  <a:lnTo>
                    <a:pt x="1339" y="2036"/>
                  </a:lnTo>
                  <a:lnTo>
                    <a:pt x="1352" y="2045"/>
                  </a:lnTo>
                  <a:lnTo>
                    <a:pt x="1354" y="2048"/>
                  </a:lnTo>
                  <a:lnTo>
                    <a:pt x="1356" y="2052"/>
                  </a:lnTo>
                  <a:lnTo>
                    <a:pt x="1360" y="2055"/>
                  </a:lnTo>
                  <a:lnTo>
                    <a:pt x="1354" y="2055"/>
                  </a:lnTo>
                  <a:lnTo>
                    <a:pt x="1350" y="2060"/>
                  </a:lnTo>
                  <a:lnTo>
                    <a:pt x="1304" y="2190"/>
                  </a:lnTo>
                  <a:lnTo>
                    <a:pt x="1263" y="2303"/>
                  </a:lnTo>
                  <a:lnTo>
                    <a:pt x="1263" y="2388"/>
                  </a:lnTo>
                  <a:lnTo>
                    <a:pt x="1267" y="2389"/>
                  </a:lnTo>
                  <a:lnTo>
                    <a:pt x="1261" y="2415"/>
                  </a:lnTo>
                  <a:lnTo>
                    <a:pt x="1261" y="2580"/>
                  </a:lnTo>
                  <a:lnTo>
                    <a:pt x="1234" y="2580"/>
                  </a:lnTo>
                  <a:lnTo>
                    <a:pt x="1111" y="2579"/>
                  </a:lnTo>
                  <a:lnTo>
                    <a:pt x="1111" y="2582"/>
                  </a:lnTo>
                  <a:lnTo>
                    <a:pt x="1109" y="2582"/>
                  </a:lnTo>
                  <a:lnTo>
                    <a:pt x="1109" y="2581"/>
                  </a:lnTo>
                  <a:lnTo>
                    <a:pt x="1106" y="2582"/>
                  </a:lnTo>
                  <a:lnTo>
                    <a:pt x="1106" y="2588"/>
                  </a:lnTo>
                  <a:lnTo>
                    <a:pt x="1101" y="2590"/>
                  </a:lnTo>
                  <a:lnTo>
                    <a:pt x="1104" y="2593"/>
                  </a:lnTo>
                  <a:lnTo>
                    <a:pt x="1110" y="2593"/>
                  </a:lnTo>
                  <a:lnTo>
                    <a:pt x="1110" y="2594"/>
                  </a:lnTo>
                  <a:lnTo>
                    <a:pt x="1106" y="2594"/>
                  </a:lnTo>
                  <a:lnTo>
                    <a:pt x="1106" y="2597"/>
                  </a:lnTo>
                  <a:lnTo>
                    <a:pt x="1107" y="2601"/>
                  </a:lnTo>
                  <a:lnTo>
                    <a:pt x="1112" y="2601"/>
                  </a:lnTo>
                  <a:lnTo>
                    <a:pt x="1115" y="2612"/>
                  </a:lnTo>
                  <a:lnTo>
                    <a:pt x="1122" y="2617"/>
                  </a:lnTo>
                  <a:lnTo>
                    <a:pt x="1128" y="2625"/>
                  </a:lnTo>
                  <a:lnTo>
                    <a:pt x="1128" y="2629"/>
                  </a:lnTo>
                  <a:lnTo>
                    <a:pt x="1125" y="2632"/>
                  </a:lnTo>
                  <a:lnTo>
                    <a:pt x="1128" y="2638"/>
                  </a:lnTo>
                  <a:lnTo>
                    <a:pt x="1139" y="2643"/>
                  </a:lnTo>
                  <a:lnTo>
                    <a:pt x="1147" y="2646"/>
                  </a:lnTo>
                  <a:lnTo>
                    <a:pt x="1151" y="2647"/>
                  </a:lnTo>
                  <a:lnTo>
                    <a:pt x="1160" y="2651"/>
                  </a:lnTo>
                  <a:lnTo>
                    <a:pt x="1162" y="2655"/>
                  </a:lnTo>
                  <a:lnTo>
                    <a:pt x="1165" y="2664"/>
                  </a:lnTo>
                  <a:lnTo>
                    <a:pt x="1170" y="2672"/>
                  </a:lnTo>
                  <a:lnTo>
                    <a:pt x="1178" y="2681"/>
                  </a:lnTo>
                  <a:lnTo>
                    <a:pt x="1178" y="2696"/>
                  </a:lnTo>
                  <a:lnTo>
                    <a:pt x="1178" y="2699"/>
                  </a:lnTo>
                  <a:lnTo>
                    <a:pt x="1192" y="2718"/>
                  </a:lnTo>
                  <a:lnTo>
                    <a:pt x="1189" y="2722"/>
                  </a:lnTo>
                  <a:lnTo>
                    <a:pt x="1187" y="2728"/>
                  </a:lnTo>
                  <a:lnTo>
                    <a:pt x="1179" y="2739"/>
                  </a:lnTo>
                  <a:lnTo>
                    <a:pt x="1178" y="2745"/>
                  </a:lnTo>
                  <a:lnTo>
                    <a:pt x="1175" y="2750"/>
                  </a:lnTo>
                  <a:lnTo>
                    <a:pt x="1168" y="2781"/>
                  </a:lnTo>
                  <a:lnTo>
                    <a:pt x="1170" y="2792"/>
                  </a:lnTo>
                  <a:lnTo>
                    <a:pt x="1168" y="2806"/>
                  </a:lnTo>
                  <a:lnTo>
                    <a:pt x="1172" y="2820"/>
                  </a:lnTo>
                  <a:lnTo>
                    <a:pt x="1175" y="2837"/>
                  </a:lnTo>
                  <a:lnTo>
                    <a:pt x="1175" y="2845"/>
                  </a:lnTo>
                  <a:lnTo>
                    <a:pt x="1174" y="2847"/>
                  </a:lnTo>
                  <a:lnTo>
                    <a:pt x="1167" y="2849"/>
                  </a:lnTo>
                  <a:lnTo>
                    <a:pt x="1161" y="2855"/>
                  </a:lnTo>
                  <a:lnTo>
                    <a:pt x="1151" y="2857"/>
                  </a:lnTo>
                  <a:lnTo>
                    <a:pt x="1147" y="2859"/>
                  </a:lnTo>
                  <a:lnTo>
                    <a:pt x="1140" y="2868"/>
                  </a:lnTo>
                  <a:lnTo>
                    <a:pt x="1131" y="2875"/>
                  </a:lnTo>
                  <a:lnTo>
                    <a:pt x="1128" y="2883"/>
                  </a:lnTo>
                  <a:lnTo>
                    <a:pt x="1128" y="2887"/>
                  </a:lnTo>
                  <a:lnTo>
                    <a:pt x="1125" y="2893"/>
                  </a:lnTo>
                  <a:lnTo>
                    <a:pt x="1122" y="2896"/>
                  </a:lnTo>
                  <a:lnTo>
                    <a:pt x="1120" y="2897"/>
                  </a:lnTo>
                  <a:lnTo>
                    <a:pt x="1111" y="2897"/>
                  </a:lnTo>
                  <a:lnTo>
                    <a:pt x="1103" y="2896"/>
                  </a:lnTo>
                  <a:lnTo>
                    <a:pt x="1093" y="2888"/>
                  </a:lnTo>
                  <a:lnTo>
                    <a:pt x="1086" y="2885"/>
                  </a:lnTo>
                  <a:lnTo>
                    <a:pt x="1081" y="2878"/>
                  </a:lnTo>
                  <a:lnTo>
                    <a:pt x="1064" y="2866"/>
                  </a:lnTo>
                  <a:lnTo>
                    <a:pt x="1053" y="2851"/>
                  </a:lnTo>
                  <a:lnTo>
                    <a:pt x="1047" y="2849"/>
                  </a:lnTo>
                  <a:lnTo>
                    <a:pt x="1039" y="2853"/>
                  </a:lnTo>
                  <a:lnTo>
                    <a:pt x="1037" y="2851"/>
                  </a:lnTo>
                  <a:lnTo>
                    <a:pt x="1036" y="2849"/>
                  </a:lnTo>
                  <a:lnTo>
                    <a:pt x="1032" y="2849"/>
                  </a:lnTo>
                  <a:lnTo>
                    <a:pt x="1030" y="2849"/>
                  </a:lnTo>
                  <a:lnTo>
                    <a:pt x="1026" y="2857"/>
                  </a:lnTo>
                  <a:lnTo>
                    <a:pt x="1024" y="2859"/>
                  </a:lnTo>
                  <a:lnTo>
                    <a:pt x="1016" y="2860"/>
                  </a:lnTo>
                  <a:lnTo>
                    <a:pt x="1012" y="2860"/>
                  </a:lnTo>
                  <a:lnTo>
                    <a:pt x="1004" y="2857"/>
                  </a:lnTo>
                  <a:lnTo>
                    <a:pt x="1000" y="2853"/>
                  </a:lnTo>
                  <a:lnTo>
                    <a:pt x="994" y="2841"/>
                  </a:lnTo>
                  <a:lnTo>
                    <a:pt x="991" y="2841"/>
                  </a:lnTo>
                  <a:lnTo>
                    <a:pt x="990" y="2843"/>
                  </a:lnTo>
                  <a:lnTo>
                    <a:pt x="991" y="2849"/>
                  </a:lnTo>
                  <a:lnTo>
                    <a:pt x="989" y="2853"/>
                  </a:lnTo>
                  <a:lnTo>
                    <a:pt x="987" y="2860"/>
                  </a:lnTo>
                  <a:lnTo>
                    <a:pt x="986" y="2863"/>
                  </a:lnTo>
                  <a:lnTo>
                    <a:pt x="982" y="2865"/>
                  </a:lnTo>
                  <a:lnTo>
                    <a:pt x="977" y="2868"/>
                  </a:lnTo>
                  <a:lnTo>
                    <a:pt x="966" y="2871"/>
                  </a:lnTo>
                  <a:lnTo>
                    <a:pt x="962" y="2871"/>
                  </a:lnTo>
                  <a:lnTo>
                    <a:pt x="958" y="2870"/>
                  </a:lnTo>
                  <a:lnTo>
                    <a:pt x="957" y="2868"/>
                  </a:lnTo>
                  <a:lnTo>
                    <a:pt x="955" y="2868"/>
                  </a:lnTo>
                  <a:lnTo>
                    <a:pt x="955" y="2871"/>
                  </a:lnTo>
                  <a:lnTo>
                    <a:pt x="952" y="2874"/>
                  </a:lnTo>
                  <a:lnTo>
                    <a:pt x="952" y="2871"/>
                  </a:lnTo>
                  <a:lnTo>
                    <a:pt x="951" y="2871"/>
                  </a:lnTo>
                  <a:lnTo>
                    <a:pt x="951" y="2875"/>
                  </a:lnTo>
                  <a:lnTo>
                    <a:pt x="949" y="2878"/>
                  </a:lnTo>
                  <a:lnTo>
                    <a:pt x="949" y="2879"/>
                  </a:lnTo>
                  <a:lnTo>
                    <a:pt x="943" y="2883"/>
                  </a:lnTo>
                  <a:lnTo>
                    <a:pt x="944" y="2887"/>
                  </a:lnTo>
                  <a:lnTo>
                    <a:pt x="941" y="2890"/>
                  </a:lnTo>
                  <a:lnTo>
                    <a:pt x="940" y="2893"/>
                  </a:lnTo>
                  <a:lnTo>
                    <a:pt x="930" y="2896"/>
                  </a:lnTo>
                  <a:lnTo>
                    <a:pt x="929" y="2892"/>
                  </a:lnTo>
                  <a:lnTo>
                    <a:pt x="926" y="2893"/>
                  </a:lnTo>
                  <a:lnTo>
                    <a:pt x="921" y="2893"/>
                  </a:lnTo>
                  <a:lnTo>
                    <a:pt x="921" y="2897"/>
                  </a:lnTo>
                  <a:lnTo>
                    <a:pt x="921" y="2902"/>
                  </a:lnTo>
                  <a:lnTo>
                    <a:pt x="919" y="2905"/>
                  </a:lnTo>
                  <a:lnTo>
                    <a:pt x="911" y="2905"/>
                  </a:lnTo>
                  <a:lnTo>
                    <a:pt x="910" y="2902"/>
                  </a:lnTo>
                  <a:lnTo>
                    <a:pt x="907" y="2897"/>
                  </a:lnTo>
                  <a:lnTo>
                    <a:pt x="900" y="2900"/>
                  </a:lnTo>
                  <a:lnTo>
                    <a:pt x="896" y="2902"/>
                  </a:lnTo>
                  <a:lnTo>
                    <a:pt x="893" y="2902"/>
                  </a:lnTo>
                  <a:lnTo>
                    <a:pt x="889" y="2905"/>
                  </a:lnTo>
                  <a:lnTo>
                    <a:pt x="889" y="2910"/>
                  </a:lnTo>
                  <a:lnTo>
                    <a:pt x="886" y="2912"/>
                  </a:lnTo>
                  <a:lnTo>
                    <a:pt x="886" y="2920"/>
                  </a:lnTo>
                  <a:lnTo>
                    <a:pt x="883" y="2924"/>
                  </a:lnTo>
                  <a:lnTo>
                    <a:pt x="883" y="2930"/>
                  </a:lnTo>
                  <a:lnTo>
                    <a:pt x="882" y="2934"/>
                  </a:lnTo>
                  <a:lnTo>
                    <a:pt x="874" y="2940"/>
                  </a:lnTo>
                  <a:lnTo>
                    <a:pt x="875" y="2942"/>
                  </a:lnTo>
                  <a:lnTo>
                    <a:pt x="871" y="2942"/>
                  </a:lnTo>
                  <a:lnTo>
                    <a:pt x="868" y="2942"/>
                  </a:lnTo>
                  <a:lnTo>
                    <a:pt x="865" y="2941"/>
                  </a:lnTo>
                  <a:lnTo>
                    <a:pt x="861" y="2942"/>
                  </a:lnTo>
                  <a:lnTo>
                    <a:pt x="857" y="2942"/>
                  </a:lnTo>
                  <a:lnTo>
                    <a:pt x="852" y="2945"/>
                  </a:lnTo>
                  <a:lnTo>
                    <a:pt x="850" y="2945"/>
                  </a:lnTo>
                  <a:lnTo>
                    <a:pt x="847" y="2946"/>
                  </a:lnTo>
                  <a:lnTo>
                    <a:pt x="844" y="2950"/>
                  </a:lnTo>
                  <a:lnTo>
                    <a:pt x="840" y="2954"/>
                  </a:lnTo>
                  <a:lnTo>
                    <a:pt x="840" y="2958"/>
                  </a:lnTo>
                  <a:lnTo>
                    <a:pt x="836" y="2959"/>
                  </a:lnTo>
                  <a:lnTo>
                    <a:pt x="833" y="2962"/>
                  </a:lnTo>
                  <a:lnTo>
                    <a:pt x="823" y="2963"/>
                  </a:lnTo>
                  <a:lnTo>
                    <a:pt x="821" y="2965"/>
                  </a:lnTo>
                  <a:lnTo>
                    <a:pt x="821" y="2971"/>
                  </a:lnTo>
                  <a:lnTo>
                    <a:pt x="818" y="2977"/>
                  </a:lnTo>
                  <a:lnTo>
                    <a:pt x="819" y="2980"/>
                  </a:lnTo>
                  <a:lnTo>
                    <a:pt x="823" y="2986"/>
                  </a:lnTo>
                  <a:lnTo>
                    <a:pt x="832" y="2987"/>
                  </a:lnTo>
                  <a:lnTo>
                    <a:pt x="833" y="2995"/>
                  </a:lnTo>
                  <a:lnTo>
                    <a:pt x="877" y="3039"/>
                  </a:lnTo>
                  <a:lnTo>
                    <a:pt x="882" y="3054"/>
                  </a:lnTo>
                  <a:lnTo>
                    <a:pt x="891" y="3062"/>
                  </a:lnTo>
                  <a:lnTo>
                    <a:pt x="904" y="3093"/>
                  </a:lnTo>
                  <a:lnTo>
                    <a:pt x="904" y="3102"/>
                  </a:lnTo>
                  <a:lnTo>
                    <a:pt x="907" y="3106"/>
                  </a:lnTo>
                  <a:lnTo>
                    <a:pt x="910" y="3111"/>
                  </a:lnTo>
                  <a:lnTo>
                    <a:pt x="918" y="3115"/>
                  </a:lnTo>
                  <a:lnTo>
                    <a:pt x="922" y="3119"/>
                  </a:lnTo>
                  <a:lnTo>
                    <a:pt x="918" y="3121"/>
                  </a:lnTo>
                  <a:lnTo>
                    <a:pt x="908" y="3123"/>
                  </a:lnTo>
                  <a:lnTo>
                    <a:pt x="900" y="3128"/>
                  </a:lnTo>
                  <a:lnTo>
                    <a:pt x="897" y="3137"/>
                  </a:lnTo>
                  <a:lnTo>
                    <a:pt x="889" y="3137"/>
                  </a:lnTo>
                  <a:lnTo>
                    <a:pt x="891" y="3141"/>
                  </a:lnTo>
                  <a:lnTo>
                    <a:pt x="889" y="3145"/>
                  </a:lnTo>
                  <a:lnTo>
                    <a:pt x="889" y="3148"/>
                  </a:lnTo>
                  <a:lnTo>
                    <a:pt x="887" y="3149"/>
                  </a:lnTo>
                  <a:lnTo>
                    <a:pt x="887" y="3151"/>
                  </a:lnTo>
                  <a:lnTo>
                    <a:pt x="886" y="3152"/>
                  </a:lnTo>
                  <a:lnTo>
                    <a:pt x="908" y="3182"/>
                  </a:lnTo>
                  <a:lnTo>
                    <a:pt x="904" y="3186"/>
                  </a:lnTo>
                  <a:lnTo>
                    <a:pt x="889" y="3238"/>
                  </a:lnTo>
                  <a:lnTo>
                    <a:pt x="926" y="3269"/>
                  </a:lnTo>
                  <a:lnTo>
                    <a:pt x="977" y="3315"/>
                  </a:lnTo>
                  <a:lnTo>
                    <a:pt x="996" y="3331"/>
                  </a:lnTo>
                  <a:lnTo>
                    <a:pt x="1043" y="3334"/>
                  </a:lnTo>
                  <a:lnTo>
                    <a:pt x="1036" y="3347"/>
                  </a:lnTo>
                  <a:lnTo>
                    <a:pt x="1029" y="3381"/>
                  </a:lnTo>
                  <a:lnTo>
                    <a:pt x="1033" y="3386"/>
                  </a:lnTo>
                  <a:lnTo>
                    <a:pt x="1036" y="3388"/>
                  </a:lnTo>
                  <a:lnTo>
                    <a:pt x="1036" y="3390"/>
                  </a:lnTo>
                  <a:lnTo>
                    <a:pt x="1036" y="3392"/>
                  </a:lnTo>
                  <a:lnTo>
                    <a:pt x="1046" y="3399"/>
                  </a:lnTo>
                  <a:lnTo>
                    <a:pt x="1054" y="3404"/>
                  </a:lnTo>
                  <a:lnTo>
                    <a:pt x="1055" y="3406"/>
                  </a:lnTo>
                  <a:lnTo>
                    <a:pt x="1061" y="3407"/>
                  </a:lnTo>
                  <a:lnTo>
                    <a:pt x="1072" y="3414"/>
                  </a:lnTo>
                  <a:lnTo>
                    <a:pt x="1089" y="3421"/>
                  </a:lnTo>
                  <a:lnTo>
                    <a:pt x="1092" y="3469"/>
                  </a:lnTo>
                  <a:lnTo>
                    <a:pt x="1096" y="3473"/>
                  </a:lnTo>
                  <a:lnTo>
                    <a:pt x="1100" y="3474"/>
                  </a:lnTo>
                  <a:lnTo>
                    <a:pt x="1103" y="3479"/>
                  </a:lnTo>
                  <a:lnTo>
                    <a:pt x="1107" y="3479"/>
                  </a:lnTo>
                  <a:lnTo>
                    <a:pt x="1109" y="3480"/>
                  </a:lnTo>
                  <a:lnTo>
                    <a:pt x="1115" y="3481"/>
                  </a:lnTo>
                  <a:lnTo>
                    <a:pt x="1124" y="3484"/>
                  </a:lnTo>
                  <a:lnTo>
                    <a:pt x="1125" y="3485"/>
                  </a:lnTo>
                  <a:lnTo>
                    <a:pt x="1134" y="3488"/>
                  </a:lnTo>
                  <a:lnTo>
                    <a:pt x="1135" y="3489"/>
                  </a:lnTo>
                  <a:lnTo>
                    <a:pt x="1147" y="3489"/>
                  </a:lnTo>
                  <a:lnTo>
                    <a:pt x="1153" y="3492"/>
                  </a:lnTo>
                  <a:lnTo>
                    <a:pt x="1156" y="3496"/>
                  </a:lnTo>
                  <a:lnTo>
                    <a:pt x="1161" y="3497"/>
                  </a:lnTo>
                  <a:lnTo>
                    <a:pt x="1171" y="3497"/>
                  </a:lnTo>
                  <a:lnTo>
                    <a:pt x="1176" y="3493"/>
                  </a:lnTo>
                  <a:lnTo>
                    <a:pt x="1179" y="3493"/>
                  </a:lnTo>
                  <a:lnTo>
                    <a:pt x="1187" y="3497"/>
                  </a:lnTo>
                  <a:lnTo>
                    <a:pt x="1190" y="3499"/>
                  </a:lnTo>
                  <a:lnTo>
                    <a:pt x="1195" y="3508"/>
                  </a:lnTo>
                  <a:lnTo>
                    <a:pt x="1210" y="3518"/>
                  </a:lnTo>
                  <a:lnTo>
                    <a:pt x="1211" y="3525"/>
                  </a:lnTo>
                  <a:lnTo>
                    <a:pt x="1220" y="3530"/>
                  </a:lnTo>
                  <a:lnTo>
                    <a:pt x="1222" y="3538"/>
                  </a:lnTo>
                  <a:lnTo>
                    <a:pt x="1225" y="3541"/>
                  </a:lnTo>
                  <a:lnTo>
                    <a:pt x="1231" y="3542"/>
                  </a:lnTo>
                  <a:lnTo>
                    <a:pt x="1235" y="3597"/>
                  </a:lnTo>
                  <a:lnTo>
                    <a:pt x="1226" y="3707"/>
                  </a:lnTo>
                  <a:lnTo>
                    <a:pt x="1297" y="3707"/>
                  </a:lnTo>
                  <a:lnTo>
                    <a:pt x="1306" y="3707"/>
                  </a:lnTo>
                  <a:lnTo>
                    <a:pt x="1403" y="3766"/>
                  </a:lnTo>
                  <a:lnTo>
                    <a:pt x="1394" y="3809"/>
                  </a:lnTo>
                  <a:lnTo>
                    <a:pt x="1348" y="3837"/>
                  </a:lnTo>
                  <a:lnTo>
                    <a:pt x="1342" y="3870"/>
                  </a:lnTo>
                  <a:lnTo>
                    <a:pt x="1342" y="3882"/>
                  </a:lnTo>
                  <a:lnTo>
                    <a:pt x="1332" y="3890"/>
                  </a:lnTo>
                  <a:lnTo>
                    <a:pt x="1327" y="3899"/>
                  </a:lnTo>
                  <a:lnTo>
                    <a:pt x="1322" y="3911"/>
                  </a:lnTo>
                  <a:lnTo>
                    <a:pt x="1320" y="3952"/>
                  </a:lnTo>
                  <a:lnTo>
                    <a:pt x="1321" y="3956"/>
                  </a:lnTo>
                  <a:lnTo>
                    <a:pt x="1314" y="3957"/>
                  </a:lnTo>
                  <a:lnTo>
                    <a:pt x="1290" y="3957"/>
                  </a:lnTo>
                  <a:lnTo>
                    <a:pt x="1286" y="3953"/>
                  </a:lnTo>
                  <a:lnTo>
                    <a:pt x="1284" y="3953"/>
                  </a:lnTo>
                  <a:lnTo>
                    <a:pt x="1281" y="3953"/>
                  </a:lnTo>
                  <a:lnTo>
                    <a:pt x="1276" y="3957"/>
                  </a:lnTo>
                  <a:lnTo>
                    <a:pt x="1270" y="3960"/>
                  </a:lnTo>
                  <a:lnTo>
                    <a:pt x="1268" y="3965"/>
                  </a:lnTo>
                  <a:lnTo>
                    <a:pt x="1263" y="3966"/>
                  </a:lnTo>
                  <a:lnTo>
                    <a:pt x="1261" y="3969"/>
                  </a:lnTo>
                  <a:lnTo>
                    <a:pt x="1261" y="3975"/>
                  </a:lnTo>
                  <a:lnTo>
                    <a:pt x="1263" y="3979"/>
                  </a:lnTo>
                  <a:lnTo>
                    <a:pt x="1263" y="3983"/>
                  </a:lnTo>
                  <a:lnTo>
                    <a:pt x="1264" y="3987"/>
                  </a:lnTo>
                  <a:lnTo>
                    <a:pt x="1263" y="3995"/>
                  </a:lnTo>
                  <a:lnTo>
                    <a:pt x="1260" y="3998"/>
                  </a:lnTo>
                  <a:lnTo>
                    <a:pt x="1259" y="4004"/>
                  </a:lnTo>
                  <a:lnTo>
                    <a:pt x="1256" y="4006"/>
                  </a:lnTo>
                  <a:lnTo>
                    <a:pt x="1251" y="4006"/>
                  </a:lnTo>
                  <a:lnTo>
                    <a:pt x="1250" y="4008"/>
                  </a:lnTo>
                  <a:lnTo>
                    <a:pt x="1250" y="4012"/>
                  </a:lnTo>
                  <a:lnTo>
                    <a:pt x="1253" y="4013"/>
                  </a:lnTo>
                  <a:lnTo>
                    <a:pt x="1254" y="4015"/>
                  </a:lnTo>
                  <a:lnTo>
                    <a:pt x="1253" y="4016"/>
                  </a:lnTo>
                  <a:lnTo>
                    <a:pt x="1250" y="4019"/>
                  </a:lnTo>
                  <a:lnTo>
                    <a:pt x="1250" y="4023"/>
                  </a:lnTo>
                  <a:lnTo>
                    <a:pt x="1246" y="4024"/>
                  </a:lnTo>
                  <a:lnTo>
                    <a:pt x="1243" y="4028"/>
                  </a:lnTo>
                  <a:lnTo>
                    <a:pt x="1240" y="4028"/>
                  </a:lnTo>
                  <a:lnTo>
                    <a:pt x="1237" y="4027"/>
                  </a:lnTo>
                  <a:lnTo>
                    <a:pt x="1234" y="4027"/>
                  </a:lnTo>
                  <a:lnTo>
                    <a:pt x="1229" y="4032"/>
                  </a:lnTo>
                  <a:lnTo>
                    <a:pt x="1222" y="4032"/>
                  </a:lnTo>
                  <a:lnTo>
                    <a:pt x="1218" y="4035"/>
                  </a:lnTo>
                  <a:lnTo>
                    <a:pt x="1209" y="4037"/>
                  </a:lnTo>
                  <a:lnTo>
                    <a:pt x="1204" y="4040"/>
                  </a:lnTo>
                  <a:lnTo>
                    <a:pt x="1199" y="4037"/>
                  </a:lnTo>
                  <a:lnTo>
                    <a:pt x="1199" y="4035"/>
                  </a:lnTo>
                  <a:lnTo>
                    <a:pt x="1190" y="4032"/>
                  </a:lnTo>
                  <a:lnTo>
                    <a:pt x="1182" y="4024"/>
                  </a:lnTo>
                  <a:lnTo>
                    <a:pt x="1176" y="4024"/>
                  </a:lnTo>
                  <a:lnTo>
                    <a:pt x="1175" y="4020"/>
                  </a:lnTo>
                  <a:lnTo>
                    <a:pt x="1170" y="4020"/>
                  </a:lnTo>
                  <a:lnTo>
                    <a:pt x="1168" y="4021"/>
                  </a:lnTo>
                  <a:lnTo>
                    <a:pt x="1167" y="4021"/>
                  </a:lnTo>
                  <a:lnTo>
                    <a:pt x="1161" y="4018"/>
                  </a:lnTo>
                  <a:lnTo>
                    <a:pt x="1154" y="4019"/>
                  </a:lnTo>
                  <a:lnTo>
                    <a:pt x="1146" y="4018"/>
                  </a:lnTo>
                  <a:lnTo>
                    <a:pt x="1145" y="4015"/>
                  </a:lnTo>
                  <a:lnTo>
                    <a:pt x="1139" y="4016"/>
                  </a:lnTo>
                  <a:lnTo>
                    <a:pt x="1137" y="4021"/>
                  </a:lnTo>
                  <a:lnTo>
                    <a:pt x="1128" y="4024"/>
                  </a:lnTo>
                  <a:lnTo>
                    <a:pt x="1128" y="4027"/>
                  </a:lnTo>
                  <a:lnTo>
                    <a:pt x="1128" y="4032"/>
                  </a:lnTo>
                  <a:lnTo>
                    <a:pt x="1124" y="4036"/>
                  </a:lnTo>
                  <a:lnTo>
                    <a:pt x="1117" y="4040"/>
                  </a:lnTo>
                  <a:lnTo>
                    <a:pt x="1112" y="4038"/>
                  </a:lnTo>
                  <a:lnTo>
                    <a:pt x="1104" y="4045"/>
                  </a:lnTo>
                  <a:lnTo>
                    <a:pt x="1101" y="4047"/>
                  </a:lnTo>
                  <a:lnTo>
                    <a:pt x="1096" y="4043"/>
                  </a:lnTo>
                  <a:lnTo>
                    <a:pt x="1090" y="4041"/>
                  </a:lnTo>
                  <a:lnTo>
                    <a:pt x="1083" y="4036"/>
                  </a:lnTo>
                  <a:lnTo>
                    <a:pt x="1078" y="4037"/>
                  </a:lnTo>
                  <a:lnTo>
                    <a:pt x="1075" y="4032"/>
                  </a:lnTo>
                  <a:lnTo>
                    <a:pt x="1069" y="4032"/>
                  </a:lnTo>
                  <a:lnTo>
                    <a:pt x="1065" y="4035"/>
                  </a:lnTo>
                  <a:lnTo>
                    <a:pt x="1060" y="4027"/>
                  </a:lnTo>
                  <a:lnTo>
                    <a:pt x="1053" y="4024"/>
                  </a:lnTo>
                  <a:lnTo>
                    <a:pt x="1044" y="4021"/>
                  </a:lnTo>
                  <a:lnTo>
                    <a:pt x="1043" y="4020"/>
                  </a:lnTo>
                  <a:lnTo>
                    <a:pt x="1044" y="4015"/>
                  </a:lnTo>
                  <a:lnTo>
                    <a:pt x="1039" y="4012"/>
                  </a:lnTo>
                  <a:lnTo>
                    <a:pt x="1029" y="4012"/>
                  </a:lnTo>
                  <a:lnTo>
                    <a:pt x="1024" y="4019"/>
                  </a:lnTo>
                  <a:lnTo>
                    <a:pt x="1014" y="4021"/>
                  </a:lnTo>
                  <a:lnTo>
                    <a:pt x="1012" y="4021"/>
                  </a:lnTo>
                  <a:lnTo>
                    <a:pt x="1008" y="4019"/>
                  </a:lnTo>
                  <a:lnTo>
                    <a:pt x="1005" y="4018"/>
                  </a:lnTo>
                  <a:lnTo>
                    <a:pt x="1002" y="4019"/>
                  </a:lnTo>
                  <a:lnTo>
                    <a:pt x="999" y="4021"/>
                  </a:lnTo>
                  <a:lnTo>
                    <a:pt x="987" y="4021"/>
                  </a:lnTo>
                  <a:lnTo>
                    <a:pt x="983" y="4020"/>
                  </a:lnTo>
                  <a:lnTo>
                    <a:pt x="975" y="4019"/>
                  </a:lnTo>
                  <a:lnTo>
                    <a:pt x="969" y="4013"/>
                  </a:lnTo>
                  <a:lnTo>
                    <a:pt x="957" y="4015"/>
                  </a:lnTo>
                  <a:lnTo>
                    <a:pt x="954" y="4013"/>
                  </a:lnTo>
                  <a:lnTo>
                    <a:pt x="951" y="4010"/>
                  </a:lnTo>
                  <a:lnTo>
                    <a:pt x="944" y="4010"/>
                  </a:lnTo>
                  <a:lnTo>
                    <a:pt x="941" y="4008"/>
                  </a:lnTo>
                  <a:lnTo>
                    <a:pt x="940" y="4008"/>
                  </a:lnTo>
                  <a:lnTo>
                    <a:pt x="929" y="4010"/>
                  </a:lnTo>
                  <a:lnTo>
                    <a:pt x="927" y="4012"/>
                  </a:lnTo>
                  <a:lnTo>
                    <a:pt x="921" y="4013"/>
                  </a:lnTo>
                  <a:lnTo>
                    <a:pt x="910" y="4019"/>
                  </a:lnTo>
                  <a:lnTo>
                    <a:pt x="908" y="4023"/>
                  </a:lnTo>
                  <a:lnTo>
                    <a:pt x="904" y="4024"/>
                  </a:lnTo>
                  <a:lnTo>
                    <a:pt x="899" y="4035"/>
                  </a:lnTo>
                  <a:lnTo>
                    <a:pt x="893" y="4038"/>
                  </a:lnTo>
                  <a:lnTo>
                    <a:pt x="887" y="4038"/>
                  </a:lnTo>
                  <a:lnTo>
                    <a:pt x="882" y="4044"/>
                  </a:lnTo>
                  <a:lnTo>
                    <a:pt x="880" y="4047"/>
                  </a:lnTo>
                  <a:lnTo>
                    <a:pt x="882" y="4050"/>
                  </a:lnTo>
                  <a:lnTo>
                    <a:pt x="877" y="4062"/>
                  </a:lnTo>
                  <a:lnTo>
                    <a:pt x="875" y="4062"/>
                  </a:lnTo>
                  <a:lnTo>
                    <a:pt x="872" y="4061"/>
                  </a:lnTo>
                  <a:lnTo>
                    <a:pt x="862" y="4069"/>
                  </a:lnTo>
                  <a:lnTo>
                    <a:pt x="861" y="4069"/>
                  </a:lnTo>
                  <a:lnTo>
                    <a:pt x="858" y="4066"/>
                  </a:lnTo>
                  <a:lnTo>
                    <a:pt x="857" y="4068"/>
                  </a:lnTo>
                  <a:lnTo>
                    <a:pt x="847" y="4073"/>
                  </a:lnTo>
                  <a:lnTo>
                    <a:pt x="841" y="4075"/>
                  </a:lnTo>
                  <a:lnTo>
                    <a:pt x="832" y="4080"/>
                  </a:lnTo>
                  <a:lnTo>
                    <a:pt x="822" y="4087"/>
                  </a:lnTo>
                  <a:lnTo>
                    <a:pt x="818" y="4087"/>
                  </a:lnTo>
                  <a:lnTo>
                    <a:pt x="812" y="4083"/>
                  </a:lnTo>
                  <a:lnTo>
                    <a:pt x="808" y="4086"/>
                  </a:lnTo>
                  <a:lnTo>
                    <a:pt x="802" y="4087"/>
                  </a:lnTo>
                  <a:lnTo>
                    <a:pt x="800" y="4087"/>
                  </a:lnTo>
                  <a:lnTo>
                    <a:pt x="797" y="4085"/>
                  </a:lnTo>
                  <a:lnTo>
                    <a:pt x="794" y="4083"/>
                  </a:lnTo>
                  <a:lnTo>
                    <a:pt x="790" y="4083"/>
                  </a:lnTo>
                  <a:lnTo>
                    <a:pt x="786" y="4085"/>
                  </a:lnTo>
                  <a:lnTo>
                    <a:pt x="775" y="4090"/>
                  </a:lnTo>
                  <a:lnTo>
                    <a:pt x="770" y="4102"/>
                  </a:lnTo>
                  <a:lnTo>
                    <a:pt x="767" y="4103"/>
                  </a:lnTo>
                  <a:lnTo>
                    <a:pt x="759" y="4108"/>
                  </a:lnTo>
                  <a:lnTo>
                    <a:pt x="747" y="4111"/>
                  </a:lnTo>
                  <a:lnTo>
                    <a:pt x="742" y="4111"/>
                  </a:lnTo>
                  <a:lnTo>
                    <a:pt x="733" y="4103"/>
                  </a:lnTo>
                  <a:lnTo>
                    <a:pt x="729" y="4106"/>
                  </a:lnTo>
                  <a:lnTo>
                    <a:pt x="726" y="4103"/>
                  </a:lnTo>
                  <a:lnTo>
                    <a:pt x="723" y="4102"/>
                  </a:lnTo>
                  <a:lnTo>
                    <a:pt x="717" y="4099"/>
                  </a:lnTo>
                  <a:lnTo>
                    <a:pt x="716" y="4094"/>
                  </a:lnTo>
                  <a:lnTo>
                    <a:pt x="709" y="4087"/>
                  </a:lnTo>
                  <a:lnTo>
                    <a:pt x="705" y="4087"/>
                  </a:lnTo>
                  <a:lnTo>
                    <a:pt x="700" y="4085"/>
                  </a:lnTo>
                  <a:lnTo>
                    <a:pt x="697" y="4085"/>
                  </a:lnTo>
                  <a:lnTo>
                    <a:pt x="690" y="4089"/>
                  </a:lnTo>
                  <a:lnTo>
                    <a:pt x="686" y="4089"/>
                  </a:lnTo>
                  <a:lnTo>
                    <a:pt x="683" y="4087"/>
                  </a:lnTo>
                  <a:lnTo>
                    <a:pt x="663" y="4091"/>
                  </a:lnTo>
                  <a:lnTo>
                    <a:pt x="656" y="4095"/>
                  </a:lnTo>
                  <a:lnTo>
                    <a:pt x="656" y="4099"/>
                  </a:lnTo>
                  <a:lnTo>
                    <a:pt x="648" y="4103"/>
                  </a:lnTo>
                  <a:lnTo>
                    <a:pt x="645" y="4107"/>
                  </a:lnTo>
                  <a:lnTo>
                    <a:pt x="640" y="4111"/>
                  </a:lnTo>
                  <a:lnTo>
                    <a:pt x="636" y="4118"/>
                  </a:lnTo>
                  <a:lnTo>
                    <a:pt x="633" y="4118"/>
                  </a:lnTo>
                  <a:lnTo>
                    <a:pt x="630" y="4118"/>
                  </a:lnTo>
                  <a:lnTo>
                    <a:pt x="626" y="4118"/>
                  </a:lnTo>
                  <a:lnTo>
                    <a:pt x="625" y="4120"/>
                  </a:lnTo>
                  <a:lnTo>
                    <a:pt x="625" y="4122"/>
                  </a:lnTo>
                  <a:lnTo>
                    <a:pt x="622" y="4125"/>
                  </a:lnTo>
                  <a:lnTo>
                    <a:pt x="616" y="4125"/>
                  </a:lnTo>
                  <a:lnTo>
                    <a:pt x="613" y="4124"/>
                  </a:lnTo>
                  <a:lnTo>
                    <a:pt x="609" y="4124"/>
                  </a:lnTo>
                  <a:lnTo>
                    <a:pt x="609" y="4128"/>
                  </a:lnTo>
                  <a:lnTo>
                    <a:pt x="605" y="4131"/>
                  </a:lnTo>
                  <a:lnTo>
                    <a:pt x="598" y="4140"/>
                  </a:lnTo>
                  <a:lnTo>
                    <a:pt x="584" y="4144"/>
                  </a:lnTo>
                  <a:lnTo>
                    <a:pt x="581" y="4148"/>
                  </a:lnTo>
                  <a:lnTo>
                    <a:pt x="581" y="4152"/>
                  </a:lnTo>
                  <a:lnTo>
                    <a:pt x="577" y="4155"/>
                  </a:lnTo>
                  <a:lnTo>
                    <a:pt x="576" y="4159"/>
                  </a:lnTo>
                  <a:lnTo>
                    <a:pt x="572" y="4162"/>
                  </a:lnTo>
                  <a:lnTo>
                    <a:pt x="566" y="4162"/>
                  </a:lnTo>
                  <a:lnTo>
                    <a:pt x="565" y="4165"/>
                  </a:lnTo>
                  <a:lnTo>
                    <a:pt x="565" y="4173"/>
                  </a:lnTo>
                  <a:lnTo>
                    <a:pt x="556" y="4174"/>
                  </a:lnTo>
                  <a:lnTo>
                    <a:pt x="548" y="4174"/>
                  </a:lnTo>
                  <a:lnTo>
                    <a:pt x="541" y="4170"/>
                  </a:lnTo>
                  <a:lnTo>
                    <a:pt x="534" y="4170"/>
                  </a:lnTo>
                  <a:lnTo>
                    <a:pt x="526" y="4167"/>
                  </a:lnTo>
                  <a:lnTo>
                    <a:pt x="520" y="4169"/>
                  </a:lnTo>
                  <a:lnTo>
                    <a:pt x="513" y="4167"/>
                  </a:lnTo>
                  <a:lnTo>
                    <a:pt x="498" y="4167"/>
                  </a:lnTo>
                  <a:lnTo>
                    <a:pt x="494" y="4165"/>
                  </a:lnTo>
                  <a:lnTo>
                    <a:pt x="492" y="4162"/>
                  </a:lnTo>
                  <a:lnTo>
                    <a:pt x="490" y="4159"/>
                  </a:lnTo>
                  <a:lnTo>
                    <a:pt x="480" y="4159"/>
                  </a:lnTo>
                  <a:lnTo>
                    <a:pt x="478" y="4156"/>
                  </a:lnTo>
                  <a:lnTo>
                    <a:pt x="476" y="4156"/>
                  </a:lnTo>
                  <a:lnTo>
                    <a:pt x="473" y="4150"/>
                  </a:lnTo>
                  <a:lnTo>
                    <a:pt x="473" y="4148"/>
                  </a:lnTo>
                  <a:lnTo>
                    <a:pt x="480" y="4136"/>
                  </a:lnTo>
                  <a:lnTo>
                    <a:pt x="478" y="4134"/>
                  </a:lnTo>
                  <a:lnTo>
                    <a:pt x="477" y="4130"/>
                  </a:lnTo>
                  <a:lnTo>
                    <a:pt x="471" y="4122"/>
                  </a:lnTo>
                  <a:lnTo>
                    <a:pt x="471" y="4118"/>
                  </a:lnTo>
                  <a:lnTo>
                    <a:pt x="473" y="4117"/>
                  </a:lnTo>
                  <a:lnTo>
                    <a:pt x="471" y="4115"/>
                  </a:lnTo>
                  <a:lnTo>
                    <a:pt x="463" y="4108"/>
                  </a:lnTo>
                  <a:lnTo>
                    <a:pt x="459" y="4108"/>
                  </a:lnTo>
                  <a:lnTo>
                    <a:pt x="455" y="4106"/>
                  </a:lnTo>
                  <a:lnTo>
                    <a:pt x="451" y="4106"/>
                  </a:lnTo>
                  <a:lnTo>
                    <a:pt x="440" y="4099"/>
                  </a:lnTo>
                  <a:lnTo>
                    <a:pt x="435" y="4094"/>
                  </a:lnTo>
                  <a:lnTo>
                    <a:pt x="432" y="4094"/>
                  </a:lnTo>
                  <a:lnTo>
                    <a:pt x="428" y="4099"/>
                  </a:lnTo>
                  <a:lnTo>
                    <a:pt x="424" y="4098"/>
                  </a:lnTo>
                  <a:lnTo>
                    <a:pt x="423" y="4099"/>
                  </a:lnTo>
                  <a:lnTo>
                    <a:pt x="415" y="4111"/>
                  </a:lnTo>
                  <a:lnTo>
                    <a:pt x="412" y="4112"/>
                  </a:lnTo>
                  <a:lnTo>
                    <a:pt x="405" y="4112"/>
                  </a:lnTo>
                  <a:lnTo>
                    <a:pt x="398" y="4108"/>
                  </a:lnTo>
                  <a:lnTo>
                    <a:pt x="391" y="4106"/>
                  </a:lnTo>
                  <a:lnTo>
                    <a:pt x="385" y="4107"/>
                  </a:lnTo>
                  <a:lnTo>
                    <a:pt x="382" y="4111"/>
                  </a:lnTo>
                  <a:lnTo>
                    <a:pt x="377" y="4110"/>
                  </a:lnTo>
                  <a:lnTo>
                    <a:pt x="373" y="4114"/>
                  </a:lnTo>
                  <a:lnTo>
                    <a:pt x="368" y="4112"/>
                  </a:lnTo>
                  <a:lnTo>
                    <a:pt x="363" y="4108"/>
                  </a:lnTo>
                  <a:lnTo>
                    <a:pt x="363" y="4106"/>
                  </a:lnTo>
                  <a:lnTo>
                    <a:pt x="357" y="4103"/>
                  </a:lnTo>
                  <a:lnTo>
                    <a:pt x="355" y="4099"/>
                  </a:lnTo>
                  <a:lnTo>
                    <a:pt x="351" y="4095"/>
                  </a:lnTo>
                  <a:lnTo>
                    <a:pt x="349" y="4094"/>
                  </a:lnTo>
                  <a:lnTo>
                    <a:pt x="345" y="4091"/>
                  </a:lnTo>
                  <a:lnTo>
                    <a:pt x="340" y="4093"/>
                  </a:lnTo>
                  <a:lnTo>
                    <a:pt x="332" y="4090"/>
                  </a:lnTo>
                  <a:lnTo>
                    <a:pt x="332" y="4087"/>
                  </a:lnTo>
                  <a:lnTo>
                    <a:pt x="334" y="4085"/>
                  </a:lnTo>
                  <a:lnTo>
                    <a:pt x="328" y="4075"/>
                  </a:lnTo>
                  <a:lnTo>
                    <a:pt x="309" y="4065"/>
                  </a:lnTo>
                  <a:lnTo>
                    <a:pt x="303" y="4063"/>
                  </a:lnTo>
                  <a:lnTo>
                    <a:pt x="296" y="4063"/>
                  </a:lnTo>
                  <a:lnTo>
                    <a:pt x="284" y="4060"/>
                  </a:lnTo>
                  <a:lnTo>
                    <a:pt x="278" y="4053"/>
                  </a:lnTo>
                  <a:lnTo>
                    <a:pt x="278" y="4050"/>
                  </a:lnTo>
                  <a:lnTo>
                    <a:pt x="280" y="4049"/>
                  </a:lnTo>
                  <a:lnTo>
                    <a:pt x="280" y="4045"/>
                  </a:lnTo>
                  <a:lnTo>
                    <a:pt x="273" y="4041"/>
                  </a:lnTo>
                  <a:lnTo>
                    <a:pt x="267" y="4037"/>
                  </a:lnTo>
                  <a:lnTo>
                    <a:pt x="259" y="4035"/>
                  </a:lnTo>
                  <a:lnTo>
                    <a:pt x="253" y="4036"/>
                  </a:lnTo>
                  <a:lnTo>
                    <a:pt x="252" y="4032"/>
                  </a:lnTo>
                  <a:lnTo>
                    <a:pt x="250" y="4035"/>
                  </a:lnTo>
                  <a:lnTo>
                    <a:pt x="249" y="4035"/>
                  </a:lnTo>
                  <a:lnTo>
                    <a:pt x="245" y="4035"/>
                  </a:lnTo>
                  <a:lnTo>
                    <a:pt x="239" y="4032"/>
                  </a:lnTo>
                  <a:lnTo>
                    <a:pt x="235" y="4031"/>
                  </a:lnTo>
                  <a:lnTo>
                    <a:pt x="232" y="4028"/>
                  </a:lnTo>
                  <a:lnTo>
                    <a:pt x="231" y="4021"/>
                  </a:lnTo>
                  <a:lnTo>
                    <a:pt x="228" y="4021"/>
                  </a:lnTo>
                  <a:lnTo>
                    <a:pt x="213" y="4024"/>
                  </a:lnTo>
                  <a:lnTo>
                    <a:pt x="205" y="4027"/>
                  </a:lnTo>
                  <a:lnTo>
                    <a:pt x="185" y="4020"/>
                  </a:lnTo>
                  <a:lnTo>
                    <a:pt x="177" y="4023"/>
                  </a:lnTo>
                  <a:lnTo>
                    <a:pt x="171" y="4023"/>
                  </a:lnTo>
                  <a:lnTo>
                    <a:pt x="167" y="4024"/>
                  </a:lnTo>
                  <a:lnTo>
                    <a:pt x="161" y="4024"/>
                  </a:lnTo>
                  <a:lnTo>
                    <a:pt x="157" y="4024"/>
                  </a:lnTo>
                  <a:lnTo>
                    <a:pt x="153" y="4020"/>
                  </a:lnTo>
                  <a:lnTo>
                    <a:pt x="149" y="4015"/>
                  </a:lnTo>
                  <a:lnTo>
                    <a:pt x="143" y="4012"/>
                  </a:lnTo>
                  <a:lnTo>
                    <a:pt x="138" y="4006"/>
                  </a:lnTo>
                  <a:lnTo>
                    <a:pt x="127" y="4002"/>
                  </a:lnTo>
                  <a:lnTo>
                    <a:pt x="121" y="3994"/>
                  </a:lnTo>
                  <a:lnTo>
                    <a:pt x="120" y="3987"/>
                  </a:lnTo>
                  <a:lnTo>
                    <a:pt x="117" y="3987"/>
                  </a:lnTo>
                  <a:lnTo>
                    <a:pt x="111" y="3983"/>
                  </a:lnTo>
                  <a:lnTo>
                    <a:pt x="107" y="3982"/>
                  </a:lnTo>
                  <a:lnTo>
                    <a:pt x="102" y="3975"/>
                  </a:lnTo>
                  <a:lnTo>
                    <a:pt x="92" y="3970"/>
                  </a:lnTo>
                  <a:lnTo>
                    <a:pt x="88" y="3957"/>
                  </a:lnTo>
                  <a:lnTo>
                    <a:pt x="68" y="3928"/>
                  </a:lnTo>
                  <a:lnTo>
                    <a:pt x="53" y="3908"/>
                  </a:lnTo>
                  <a:lnTo>
                    <a:pt x="44" y="3890"/>
                  </a:lnTo>
                  <a:lnTo>
                    <a:pt x="27" y="3873"/>
                  </a:lnTo>
                  <a:lnTo>
                    <a:pt x="22" y="3862"/>
                  </a:lnTo>
                  <a:lnTo>
                    <a:pt x="32" y="3849"/>
                  </a:lnTo>
                  <a:lnTo>
                    <a:pt x="32" y="3844"/>
                  </a:lnTo>
                  <a:lnTo>
                    <a:pt x="0" y="3817"/>
                  </a:lnTo>
                  <a:lnTo>
                    <a:pt x="13" y="3792"/>
                  </a:lnTo>
                  <a:lnTo>
                    <a:pt x="29" y="3777"/>
                  </a:lnTo>
                  <a:lnTo>
                    <a:pt x="53" y="3750"/>
                  </a:lnTo>
                  <a:lnTo>
                    <a:pt x="58" y="3744"/>
                  </a:lnTo>
                  <a:lnTo>
                    <a:pt x="63" y="3740"/>
                  </a:lnTo>
                  <a:lnTo>
                    <a:pt x="92" y="3701"/>
                  </a:lnTo>
                  <a:lnTo>
                    <a:pt x="121" y="3634"/>
                  </a:lnTo>
                  <a:lnTo>
                    <a:pt x="121" y="3631"/>
                  </a:lnTo>
                  <a:lnTo>
                    <a:pt x="122" y="3618"/>
                  </a:lnTo>
                  <a:lnTo>
                    <a:pt x="122" y="3617"/>
                  </a:lnTo>
                  <a:lnTo>
                    <a:pt x="106" y="3547"/>
                  </a:lnTo>
                  <a:lnTo>
                    <a:pt x="104" y="3498"/>
                  </a:lnTo>
                  <a:lnTo>
                    <a:pt x="100" y="3459"/>
                  </a:lnTo>
                  <a:lnTo>
                    <a:pt x="96" y="3444"/>
                  </a:lnTo>
                  <a:lnTo>
                    <a:pt x="96" y="3440"/>
                  </a:lnTo>
                  <a:lnTo>
                    <a:pt x="95" y="3432"/>
                  </a:lnTo>
                  <a:lnTo>
                    <a:pt x="102" y="3399"/>
                  </a:lnTo>
                  <a:lnTo>
                    <a:pt x="153" y="3357"/>
                  </a:lnTo>
                  <a:lnTo>
                    <a:pt x="161" y="3354"/>
                  </a:lnTo>
                  <a:lnTo>
                    <a:pt x="216" y="3354"/>
                  </a:lnTo>
                  <a:lnTo>
                    <a:pt x="225" y="3354"/>
                  </a:lnTo>
                  <a:lnTo>
                    <a:pt x="234" y="3355"/>
                  </a:lnTo>
                  <a:lnTo>
                    <a:pt x="249" y="3343"/>
                  </a:lnTo>
                  <a:lnTo>
                    <a:pt x="260" y="3324"/>
                  </a:lnTo>
                  <a:lnTo>
                    <a:pt x="274" y="3298"/>
                  </a:lnTo>
                  <a:lnTo>
                    <a:pt x="298" y="3261"/>
                  </a:lnTo>
                  <a:lnTo>
                    <a:pt x="316" y="3239"/>
                  </a:lnTo>
                  <a:lnTo>
                    <a:pt x="331" y="3223"/>
                  </a:lnTo>
                  <a:lnTo>
                    <a:pt x="338" y="3215"/>
                  </a:lnTo>
                  <a:lnTo>
                    <a:pt x="346" y="3205"/>
                  </a:lnTo>
                  <a:lnTo>
                    <a:pt x="349" y="3186"/>
                  </a:lnTo>
                  <a:lnTo>
                    <a:pt x="355" y="3176"/>
                  </a:lnTo>
                  <a:lnTo>
                    <a:pt x="371" y="3160"/>
                  </a:lnTo>
                  <a:lnTo>
                    <a:pt x="399" y="3133"/>
                  </a:lnTo>
                  <a:lnTo>
                    <a:pt x="396" y="3124"/>
                  </a:lnTo>
                  <a:lnTo>
                    <a:pt x="402" y="3096"/>
                  </a:lnTo>
                  <a:lnTo>
                    <a:pt x="388" y="3089"/>
                  </a:lnTo>
                  <a:lnTo>
                    <a:pt x="380" y="3079"/>
                  </a:lnTo>
                  <a:lnTo>
                    <a:pt x="387" y="3065"/>
                  </a:lnTo>
                  <a:lnTo>
                    <a:pt x="406" y="3056"/>
                  </a:lnTo>
                  <a:lnTo>
                    <a:pt x="405" y="3048"/>
                  </a:lnTo>
                  <a:lnTo>
                    <a:pt x="393" y="3029"/>
                  </a:lnTo>
                  <a:lnTo>
                    <a:pt x="403" y="2991"/>
                  </a:lnTo>
                  <a:lnTo>
                    <a:pt x="405" y="2991"/>
                  </a:lnTo>
                  <a:lnTo>
                    <a:pt x="413" y="2986"/>
                  </a:lnTo>
                  <a:lnTo>
                    <a:pt x="418" y="2986"/>
                  </a:lnTo>
                  <a:lnTo>
                    <a:pt x="424" y="2995"/>
                  </a:lnTo>
                  <a:lnTo>
                    <a:pt x="437" y="2999"/>
                  </a:lnTo>
                  <a:lnTo>
                    <a:pt x="445" y="2995"/>
                  </a:lnTo>
                  <a:lnTo>
                    <a:pt x="443" y="2962"/>
                  </a:lnTo>
                  <a:lnTo>
                    <a:pt x="440" y="2950"/>
                  </a:lnTo>
                  <a:lnTo>
                    <a:pt x="445" y="2942"/>
                  </a:lnTo>
                  <a:lnTo>
                    <a:pt x="452" y="2938"/>
                  </a:lnTo>
                  <a:lnTo>
                    <a:pt x="473" y="2935"/>
                  </a:lnTo>
                  <a:lnTo>
                    <a:pt x="510" y="2922"/>
                  </a:lnTo>
                  <a:lnTo>
                    <a:pt x="517" y="2919"/>
                  </a:lnTo>
                  <a:lnTo>
                    <a:pt x="530" y="2871"/>
                  </a:lnTo>
                  <a:lnTo>
                    <a:pt x="531" y="2849"/>
                  </a:lnTo>
                  <a:lnTo>
                    <a:pt x="548" y="2770"/>
                  </a:lnTo>
                  <a:lnTo>
                    <a:pt x="547" y="2759"/>
                  </a:lnTo>
                  <a:lnTo>
                    <a:pt x="553" y="2741"/>
                  </a:lnTo>
                  <a:lnTo>
                    <a:pt x="552" y="2729"/>
                  </a:lnTo>
                  <a:lnTo>
                    <a:pt x="547" y="2722"/>
                  </a:lnTo>
                  <a:lnTo>
                    <a:pt x="540" y="2714"/>
                  </a:lnTo>
                  <a:lnTo>
                    <a:pt x="496" y="2696"/>
                  </a:lnTo>
                  <a:lnTo>
                    <a:pt x="476" y="2681"/>
                  </a:lnTo>
                  <a:lnTo>
                    <a:pt x="474" y="2672"/>
                  </a:lnTo>
                  <a:lnTo>
                    <a:pt x="492" y="2655"/>
                  </a:lnTo>
                  <a:lnTo>
                    <a:pt x="492" y="2639"/>
                  </a:lnTo>
                  <a:lnTo>
                    <a:pt x="484" y="2625"/>
                  </a:lnTo>
                  <a:lnTo>
                    <a:pt x="478" y="2625"/>
                  </a:lnTo>
                  <a:lnTo>
                    <a:pt x="466" y="2635"/>
                  </a:lnTo>
                  <a:lnTo>
                    <a:pt x="452" y="2639"/>
                  </a:lnTo>
                  <a:lnTo>
                    <a:pt x="420" y="2650"/>
                  </a:lnTo>
                  <a:lnTo>
                    <a:pt x="388" y="2650"/>
                  </a:lnTo>
                  <a:lnTo>
                    <a:pt x="377" y="2643"/>
                  </a:lnTo>
                  <a:lnTo>
                    <a:pt x="377" y="2635"/>
                  </a:lnTo>
                  <a:lnTo>
                    <a:pt x="390" y="2606"/>
                  </a:lnTo>
                  <a:lnTo>
                    <a:pt x="391" y="2601"/>
                  </a:lnTo>
                  <a:lnTo>
                    <a:pt x="387" y="2589"/>
                  </a:lnTo>
                  <a:lnTo>
                    <a:pt x="391" y="2542"/>
                  </a:lnTo>
                  <a:lnTo>
                    <a:pt x="390" y="2535"/>
                  </a:lnTo>
                  <a:lnTo>
                    <a:pt x="381" y="2523"/>
                  </a:lnTo>
                  <a:lnTo>
                    <a:pt x="381" y="2512"/>
                  </a:lnTo>
                  <a:lnTo>
                    <a:pt x="384" y="2490"/>
                  </a:lnTo>
                  <a:lnTo>
                    <a:pt x="384" y="2482"/>
                  </a:lnTo>
                  <a:lnTo>
                    <a:pt x="343" y="2481"/>
                  </a:lnTo>
                  <a:lnTo>
                    <a:pt x="330" y="2468"/>
                  </a:lnTo>
                  <a:lnTo>
                    <a:pt x="332" y="2445"/>
                  </a:lnTo>
                  <a:lnTo>
                    <a:pt x="331" y="2428"/>
                  </a:lnTo>
                  <a:lnTo>
                    <a:pt x="337" y="2416"/>
                  </a:lnTo>
                  <a:lnTo>
                    <a:pt x="337" y="2407"/>
                  </a:lnTo>
                  <a:lnTo>
                    <a:pt x="332" y="2402"/>
                  </a:lnTo>
                  <a:lnTo>
                    <a:pt x="331" y="2399"/>
                  </a:lnTo>
                  <a:lnTo>
                    <a:pt x="328" y="2397"/>
                  </a:lnTo>
                  <a:lnTo>
                    <a:pt x="330" y="2389"/>
                  </a:lnTo>
                  <a:lnTo>
                    <a:pt x="356" y="2369"/>
                  </a:lnTo>
                  <a:lnTo>
                    <a:pt x="388" y="2336"/>
                  </a:lnTo>
                  <a:lnTo>
                    <a:pt x="391" y="2323"/>
                  </a:lnTo>
                  <a:lnTo>
                    <a:pt x="388" y="2286"/>
                  </a:lnTo>
                  <a:lnTo>
                    <a:pt x="390" y="2277"/>
                  </a:lnTo>
                  <a:lnTo>
                    <a:pt x="391" y="2276"/>
                  </a:lnTo>
                  <a:lnTo>
                    <a:pt x="398" y="2242"/>
                  </a:lnTo>
                  <a:lnTo>
                    <a:pt x="410" y="2190"/>
                  </a:lnTo>
                  <a:lnTo>
                    <a:pt x="410" y="2178"/>
                  </a:lnTo>
                  <a:lnTo>
                    <a:pt x="406" y="2166"/>
                  </a:lnTo>
                  <a:lnTo>
                    <a:pt x="395" y="2161"/>
                  </a:lnTo>
                  <a:lnTo>
                    <a:pt x="390" y="2152"/>
                  </a:lnTo>
                  <a:lnTo>
                    <a:pt x="385" y="2119"/>
                  </a:lnTo>
                  <a:lnTo>
                    <a:pt x="376" y="2112"/>
                  </a:lnTo>
                  <a:lnTo>
                    <a:pt x="366" y="2113"/>
                  </a:lnTo>
                  <a:lnTo>
                    <a:pt x="356" y="2113"/>
                  </a:lnTo>
                  <a:lnTo>
                    <a:pt x="351" y="2113"/>
                  </a:lnTo>
                  <a:lnTo>
                    <a:pt x="342" y="2115"/>
                  </a:lnTo>
                  <a:lnTo>
                    <a:pt x="320" y="2123"/>
                  </a:lnTo>
                  <a:lnTo>
                    <a:pt x="302" y="2123"/>
                  </a:lnTo>
                  <a:lnTo>
                    <a:pt x="287" y="2119"/>
                  </a:lnTo>
                  <a:lnTo>
                    <a:pt x="281" y="2115"/>
                  </a:lnTo>
                  <a:lnTo>
                    <a:pt x="276" y="2100"/>
                  </a:lnTo>
                  <a:lnTo>
                    <a:pt x="268" y="2052"/>
                  </a:lnTo>
                  <a:lnTo>
                    <a:pt x="271" y="2048"/>
                  </a:lnTo>
                  <a:lnTo>
                    <a:pt x="273" y="2048"/>
                  </a:lnTo>
                  <a:lnTo>
                    <a:pt x="288" y="2043"/>
                  </a:lnTo>
                  <a:lnTo>
                    <a:pt x="292" y="2040"/>
                  </a:lnTo>
                  <a:lnTo>
                    <a:pt x="288" y="2011"/>
                  </a:lnTo>
                  <a:lnTo>
                    <a:pt x="271" y="1984"/>
                  </a:lnTo>
                  <a:lnTo>
                    <a:pt x="271" y="1975"/>
                  </a:lnTo>
                  <a:lnTo>
                    <a:pt x="278" y="1966"/>
                  </a:lnTo>
                  <a:lnTo>
                    <a:pt x="299" y="1953"/>
                  </a:lnTo>
                  <a:lnTo>
                    <a:pt x="306" y="1953"/>
                  </a:lnTo>
                  <a:lnTo>
                    <a:pt x="316" y="1950"/>
                  </a:lnTo>
                  <a:lnTo>
                    <a:pt x="330" y="1938"/>
                  </a:lnTo>
                  <a:lnTo>
                    <a:pt x="370" y="1921"/>
                  </a:lnTo>
                  <a:lnTo>
                    <a:pt x="382" y="1921"/>
                  </a:lnTo>
                  <a:lnTo>
                    <a:pt x="410" y="1936"/>
                  </a:lnTo>
                  <a:lnTo>
                    <a:pt x="423" y="1936"/>
                  </a:lnTo>
                  <a:lnTo>
                    <a:pt x="445" y="1920"/>
                  </a:lnTo>
                  <a:lnTo>
                    <a:pt x="451" y="1912"/>
                  </a:lnTo>
                  <a:lnTo>
                    <a:pt x="455" y="1894"/>
                  </a:lnTo>
                  <a:lnTo>
                    <a:pt x="468" y="1864"/>
                  </a:lnTo>
                  <a:lnTo>
                    <a:pt x="473" y="1856"/>
                  </a:lnTo>
                  <a:lnTo>
                    <a:pt x="471" y="1850"/>
                  </a:lnTo>
                  <a:lnTo>
                    <a:pt x="437" y="1796"/>
                  </a:lnTo>
                  <a:lnTo>
                    <a:pt x="428" y="1771"/>
                  </a:lnTo>
                  <a:lnTo>
                    <a:pt x="417" y="1762"/>
                  </a:lnTo>
                  <a:lnTo>
                    <a:pt x="426" y="1744"/>
                  </a:lnTo>
                  <a:lnTo>
                    <a:pt x="424" y="1732"/>
                  </a:lnTo>
                  <a:lnTo>
                    <a:pt x="416" y="1715"/>
                  </a:lnTo>
                  <a:lnTo>
                    <a:pt x="421" y="1704"/>
                  </a:lnTo>
                  <a:lnTo>
                    <a:pt x="428" y="1702"/>
                  </a:lnTo>
                  <a:lnTo>
                    <a:pt x="432" y="1696"/>
                  </a:lnTo>
                  <a:lnTo>
                    <a:pt x="441" y="1700"/>
                  </a:lnTo>
                  <a:lnTo>
                    <a:pt x="465" y="1690"/>
                  </a:lnTo>
                  <a:lnTo>
                    <a:pt x="477" y="1680"/>
                  </a:lnTo>
                  <a:lnTo>
                    <a:pt x="492" y="1689"/>
                  </a:lnTo>
                  <a:lnTo>
                    <a:pt x="520" y="1677"/>
                  </a:lnTo>
                  <a:lnTo>
                    <a:pt x="527" y="1663"/>
                  </a:lnTo>
                  <a:lnTo>
                    <a:pt x="527" y="1653"/>
                  </a:lnTo>
                  <a:lnTo>
                    <a:pt x="522" y="1643"/>
                  </a:lnTo>
                  <a:lnTo>
                    <a:pt x="528" y="1610"/>
                  </a:lnTo>
                  <a:lnTo>
                    <a:pt x="547" y="1601"/>
                  </a:lnTo>
                  <a:lnTo>
                    <a:pt x="548" y="1600"/>
                  </a:lnTo>
                  <a:lnTo>
                    <a:pt x="549" y="1596"/>
                  </a:lnTo>
                  <a:lnTo>
                    <a:pt x="553" y="1586"/>
                  </a:lnTo>
                  <a:lnTo>
                    <a:pt x="540" y="1572"/>
                  </a:lnTo>
                  <a:lnTo>
                    <a:pt x="541" y="1564"/>
                  </a:lnTo>
                  <a:lnTo>
                    <a:pt x="534" y="1557"/>
                  </a:lnTo>
                  <a:lnTo>
                    <a:pt x="519" y="1552"/>
                  </a:lnTo>
                  <a:lnTo>
                    <a:pt x="510" y="1539"/>
                  </a:lnTo>
                  <a:lnTo>
                    <a:pt x="508" y="1515"/>
                  </a:lnTo>
                  <a:lnTo>
                    <a:pt x="516" y="1489"/>
                  </a:lnTo>
                  <a:lnTo>
                    <a:pt x="516" y="1479"/>
                  </a:lnTo>
                  <a:lnTo>
                    <a:pt x="508" y="1460"/>
                  </a:lnTo>
                  <a:lnTo>
                    <a:pt x="508" y="1459"/>
                  </a:lnTo>
                  <a:lnTo>
                    <a:pt x="508" y="1456"/>
                  </a:lnTo>
                  <a:lnTo>
                    <a:pt x="506" y="1449"/>
                  </a:lnTo>
                  <a:lnTo>
                    <a:pt x="508" y="1434"/>
                  </a:lnTo>
                  <a:lnTo>
                    <a:pt x="499" y="1422"/>
                  </a:lnTo>
                  <a:lnTo>
                    <a:pt x="491" y="1419"/>
                  </a:lnTo>
                  <a:lnTo>
                    <a:pt x="487" y="1410"/>
                  </a:lnTo>
                  <a:lnTo>
                    <a:pt x="485" y="1399"/>
                  </a:lnTo>
                  <a:lnTo>
                    <a:pt x="488" y="1382"/>
                  </a:lnTo>
                  <a:lnTo>
                    <a:pt x="477" y="1352"/>
                  </a:lnTo>
                  <a:lnTo>
                    <a:pt x="476" y="1339"/>
                  </a:lnTo>
                  <a:lnTo>
                    <a:pt x="468" y="1322"/>
                  </a:lnTo>
                  <a:lnTo>
                    <a:pt x="463" y="1275"/>
                  </a:lnTo>
                  <a:lnTo>
                    <a:pt x="467" y="1266"/>
                  </a:lnTo>
                  <a:lnTo>
                    <a:pt x="470" y="1262"/>
                  </a:lnTo>
                  <a:lnTo>
                    <a:pt x="478" y="1266"/>
                  </a:lnTo>
                  <a:lnTo>
                    <a:pt x="484" y="1258"/>
                  </a:lnTo>
                  <a:lnTo>
                    <a:pt x="491" y="1228"/>
                  </a:lnTo>
                  <a:lnTo>
                    <a:pt x="474" y="1224"/>
                  </a:lnTo>
                  <a:lnTo>
                    <a:pt x="471" y="1213"/>
                  </a:lnTo>
                  <a:lnTo>
                    <a:pt x="471" y="1201"/>
                  </a:lnTo>
                  <a:lnTo>
                    <a:pt x="478" y="1179"/>
                  </a:lnTo>
                  <a:lnTo>
                    <a:pt x="477" y="1149"/>
                  </a:lnTo>
                  <a:lnTo>
                    <a:pt x="484" y="1137"/>
                  </a:lnTo>
                  <a:lnTo>
                    <a:pt x="501" y="1138"/>
                  </a:lnTo>
                  <a:lnTo>
                    <a:pt x="517" y="1137"/>
                  </a:lnTo>
                  <a:lnTo>
                    <a:pt x="519" y="1129"/>
                  </a:lnTo>
                  <a:lnTo>
                    <a:pt x="522" y="1120"/>
                  </a:lnTo>
                  <a:lnTo>
                    <a:pt x="520" y="1111"/>
                  </a:lnTo>
                  <a:lnTo>
                    <a:pt x="530" y="1105"/>
                  </a:lnTo>
                  <a:lnTo>
                    <a:pt x="530" y="1101"/>
                  </a:lnTo>
                  <a:lnTo>
                    <a:pt x="523" y="1096"/>
                  </a:lnTo>
                  <a:lnTo>
                    <a:pt x="510" y="1086"/>
                  </a:lnTo>
                  <a:lnTo>
                    <a:pt x="510" y="1075"/>
                  </a:lnTo>
                  <a:lnTo>
                    <a:pt x="512" y="1071"/>
                  </a:lnTo>
                  <a:lnTo>
                    <a:pt x="519" y="1074"/>
                  </a:lnTo>
                  <a:lnTo>
                    <a:pt x="526" y="1071"/>
                  </a:lnTo>
                  <a:lnTo>
                    <a:pt x="520" y="1066"/>
                  </a:lnTo>
                  <a:lnTo>
                    <a:pt x="519" y="1057"/>
                  </a:lnTo>
                  <a:lnTo>
                    <a:pt x="523" y="1030"/>
                  </a:lnTo>
                  <a:lnTo>
                    <a:pt x="530" y="1013"/>
                  </a:lnTo>
                  <a:lnTo>
                    <a:pt x="541" y="1004"/>
                  </a:lnTo>
                  <a:lnTo>
                    <a:pt x="544" y="977"/>
                  </a:lnTo>
                  <a:lnTo>
                    <a:pt x="516" y="950"/>
                  </a:lnTo>
                  <a:lnTo>
                    <a:pt x="494" y="943"/>
                  </a:lnTo>
                  <a:lnTo>
                    <a:pt x="488" y="929"/>
                  </a:lnTo>
                  <a:lnTo>
                    <a:pt x="481" y="920"/>
                  </a:lnTo>
                  <a:lnTo>
                    <a:pt x="477" y="907"/>
                  </a:lnTo>
                  <a:lnTo>
                    <a:pt x="478" y="879"/>
                  </a:lnTo>
                  <a:lnTo>
                    <a:pt x="495" y="858"/>
                  </a:lnTo>
                  <a:lnTo>
                    <a:pt x="508" y="856"/>
                  </a:lnTo>
                  <a:lnTo>
                    <a:pt x="510" y="826"/>
                  </a:lnTo>
                  <a:lnTo>
                    <a:pt x="515" y="813"/>
                  </a:lnTo>
                  <a:lnTo>
                    <a:pt x="526" y="794"/>
                  </a:lnTo>
                  <a:lnTo>
                    <a:pt x="545" y="771"/>
                  </a:lnTo>
                  <a:lnTo>
                    <a:pt x="549" y="763"/>
                  </a:lnTo>
                  <a:lnTo>
                    <a:pt x="552" y="756"/>
                  </a:lnTo>
                  <a:lnTo>
                    <a:pt x="553" y="752"/>
                  </a:lnTo>
                  <a:lnTo>
                    <a:pt x="551" y="750"/>
                  </a:lnTo>
                  <a:lnTo>
                    <a:pt x="549" y="741"/>
                  </a:lnTo>
                  <a:lnTo>
                    <a:pt x="548" y="738"/>
                  </a:lnTo>
                  <a:lnTo>
                    <a:pt x="549" y="734"/>
                  </a:lnTo>
                  <a:lnTo>
                    <a:pt x="555" y="726"/>
                  </a:lnTo>
                  <a:lnTo>
                    <a:pt x="562" y="719"/>
                  </a:lnTo>
                  <a:lnTo>
                    <a:pt x="562" y="711"/>
                  </a:lnTo>
                  <a:lnTo>
                    <a:pt x="565" y="707"/>
                  </a:lnTo>
                  <a:lnTo>
                    <a:pt x="566" y="699"/>
                  </a:lnTo>
                  <a:lnTo>
                    <a:pt x="569" y="696"/>
                  </a:lnTo>
                  <a:lnTo>
                    <a:pt x="569" y="691"/>
                  </a:lnTo>
                  <a:lnTo>
                    <a:pt x="573" y="688"/>
                  </a:lnTo>
                  <a:lnTo>
                    <a:pt x="581" y="684"/>
                  </a:lnTo>
                  <a:lnTo>
                    <a:pt x="583" y="684"/>
                  </a:lnTo>
                  <a:lnTo>
                    <a:pt x="583" y="669"/>
                  </a:lnTo>
                  <a:lnTo>
                    <a:pt x="584" y="661"/>
                  </a:lnTo>
                  <a:lnTo>
                    <a:pt x="584" y="656"/>
                  </a:lnTo>
                  <a:lnTo>
                    <a:pt x="581" y="652"/>
                  </a:lnTo>
                  <a:lnTo>
                    <a:pt x="583" y="648"/>
                  </a:lnTo>
                  <a:lnTo>
                    <a:pt x="581" y="644"/>
                  </a:lnTo>
                  <a:lnTo>
                    <a:pt x="583" y="640"/>
                  </a:lnTo>
                  <a:lnTo>
                    <a:pt x="583" y="636"/>
                  </a:lnTo>
                  <a:lnTo>
                    <a:pt x="586" y="634"/>
                  </a:lnTo>
                  <a:lnTo>
                    <a:pt x="594" y="626"/>
                  </a:lnTo>
                  <a:lnTo>
                    <a:pt x="595" y="624"/>
                  </a:lnTo>
                  <a:lnTo>
                    <a:pt x="595" y="618"/>
                  </a:lnTo>
                  <a:lnTo>
                    <a:pt x="597" y="614"/>
                  </a:lnTo>
                  <a:lnTo>
                    <a:pt x="612" y="602"/>
                  </a:lnTo>
                  <a:lnTo>
                    <a:pt x="612" y="599"/>
                  </a:lnTo>
                  <a:lnTo>
                    <a:pt x="611" y="598"/>
                  </a:lnTo>
                  <a:lnTo>
                    <a:pt x="602" y="595"/>
                  </a:lnTo>
                  <a:lnTo>
                    <a:pt x="601" y="595"/>
                  </a:lnTo>
                  <a:lnTo>
                    <a:pt x="600" y="585"/>
                  </a:lnTo>
                  <a:lnTo>
                    <a:pt x="594" y="581"/>
                  </a:lnTo>
                  <a:lnTo>
                    <a:pt x="592" y="577"/>
                  </a:lnTo>
                  <a:lnTo>
                    <a:pt x="594" y="576"/>
                  </a:lnTo>
                  <a:lnTo>
                    <a:pt x="605" y="572"/>
                  </a:lnTo>
                  <a:lnTo>
                    <a:pt x="606" y="565"/>
                  </a:lnTo>
                  <a:lnTo>
                    <a:pt x="613" y="564"/>
                  </a:lnTo>
                  <a:lnTo>
                    <a:pt x="613" y="554"/>
                  </a:lnTo>
                  <a:lnTo>
                    <a:pt x="615" y="550"/>
                  </a:lnTo>
                  <a:lnTo>
                    <a:pt x="625" y="549"/>
                  </a:lnTo>
                  <a:lnTo>
                    <a:pt x="626" y="543"/>
                  </a:lnTo>
                  <a:lnTo>
                    <a:pt x="625" y="540"/>
                  </a:lnTo>
                  <a:lnTo>
                    <a:pt x="626" y="532"/>
                  </a:lnTo>
                  <a:lnTo>
                    <a:pt x="625" y="524"/>
                  </a:lnTo>
                  <a:lnTo>
                    <a:pt x="626" y="520"/>
                  </a:lnTo>
                  <a:lnTo>
                    <a:pt x="633" y="516"/>
                  </a:lnTo>
                  <a:lnTo>
                    <a:pt x="633" y="514"/>
                  </a:lnTo>
                  <a:lnTo>
                    <a:pt x="637" y="514"/>
                  </a:lnTo>
                  <a:lnTo>
                    <a:pt x="638" y="510"/>
                  </a:lnTo>
                  <a:lnTo>
                    <a:pt x="645" y="510"/>
                  </a:lnTo>
                  <a:lnTo>
                    <a:pt x="647" y="506"/>
                  </a:lnTo>
                  <a:lnTo>
                    <a:pt x="662" y="497"/>
                  </a:lnTo>
                  <a:lnTo>
                    <a:pt x="666" y="493"/>
                  </a:lnTo>
                  <a:lnTo>
                    <a:pt x="672" y="487"/>
                  </a:lnTo>
                  <a:lnTo>
                    <a:pt x="675" y="487"/>
                  </a:lnTo>
                  <a:lnTo>
                    <a:pt x="673" y="486"/>
                  </a:lnTo>
                  <a:lnTo>
                    <a:pt x="679" y="483"/>
                  </a:lnTo>
                  <a:lnTo>
                    <a:pt x="680" y="483"/>
                  </a:lnTo>
                  <a:lnTo>
                    <a:pt x="684" y="479"/>
                  </a:lnTo>
                  <a:lnTo>
                    <a:pt x="687" y="475"/>
                  </a:lnTo>
                  <a:lnTo>
                    <a:pt x="686" y="472"/>
                  </a:lnTo>
                  <a:lnTo>
                    <a:pt x="681" y="465"/>
                  </a:lnTo>
                  <a:lnTo>
                    <a:pt x="683" y="461"/>
                  </a:lnTo>
                  <a:lnTo>
                    <a:pt x="691" y="449"/>
                  </a:lnTo>
                  <a:lnTo>
                    <a:pt x="692" y="438"/>
                  </a:lnTo>
                  <a:lnTo>
                    <a:pt x="700" y="427"/>
                  </a:lnTo>
                  <a:lnTo>
                    <a:pt x="700" y="423"/>
                  </a:lnTo>
                  <a:lnTo>
                    <a:pt x="704" y="412"/>
                  </a:lnTo>
                  <a:lnTo>
                    <a:pt x="706" y="408"/>
                  </a:lnTo>
                  <a:lnTo>
                    <a:pt x="712" y="399"/>
                  </a:lnTo>
                  <a:lnTo>
                    <a:pt x="717" y="393"/>
                  </a:lnTo>
                  <a:lnTo>
                    <a:pt x="727" y="388"/>
                  </a:lnTo>
                  <a:lnTo>
                    <a:pt x="731" y="382"/>
                  </a:lnTo>
                  <a:lnTo>
                    <a:pt x="736" y="378"/>
                  </a:lnTo>
                  <a:lnTo>
                    <a:pt x="738" y="375"/>
                  </a:lnTo>
                  <a:lnTo>
                    <a:pt x="741" y="362"/>
                  </a:lnTo>
                  <a:lnTo>
                    <a:pt x="737" y="356"/>
                  </a:lnTo>
                  <a:lnTo>
                    <a:pt x="741" y="348"/>
                  </a:lnTo>
                  <a:lnTo>
                    <a:pt x="742" y="341"/>
                  </a:lnTo>
                  <a:lnTo>
                    <a:pt x="741" y="333"/>
                  </a:lnTo>
                  <a:lnTo>
                    <a:pt x="742" y="332"/>
                  </a:lnTo>
                  <a:lnTo>
                    <a:pt x="747" y="321"/>
                  </a:lnTo>
                  <a:lnTo>
                    <a:pt x="747" y="315"/>
                  </a:lnTo>
                  <a:lnTo>
                    <a:pt x="748" y="307"/>
                  </a:lnTo>
                  <a:lnTo>
                    <a:pt x="752" y="303"/>
                  </a:lnTo>
                  <a:lnTo>
                    <a:pt x="752" y="295"/>
                  </a:lnTo>
                  <a:lnTo>
                    <a:pt x="761" y="288"/>
                  </a:lnTo>
                  <a:lnTo>
                    <a:pt x="759" y="283"/>
                  </a:lnTo>
                  <a:lnTo>
                    <a:pt x="763" y="276"/>
                  </a:lnTo>
                  <a:lnTo>
                    <a:pt x="767" y="274"/>
                  </a:lnTo>
                  <a:lnTo>
                    <a:pt x="769" y="274"/>
                  </a:lnTo>
                  <a:lnTo>
                    <a:pt x="769" y="270"/>
                  </a:lnTo>
                  <a:lnTo>
                    <a:pt x="767" y="266"/>
                  </a:lnTo>
                  <a:lnTo>
                    <a:pt x="772" y="258"/>
                  </a:lnTo>
                  <a:lnTo>
                    <a:pt x="780" y="251"/>
                  </a:lnTo>
                  <a:lnTo>
                    <a:pt x="780" y="254"/>
                  </a:lnTo>
                  <a:lnTo>
                    <a:pt x="780" y="250"/>
                  </a:lnTo>
                  <a:lnTo>
                    <a:pt x="781" y="247"/>
                  </a:lnTo>
                  <a:lnTo>
                    <a:pt x="786" y="247"/>
                  </a:lnTo>
                  <a:lnTo>
                    <a:pt x="793" y="247"/>
                  </a:lnTo>
                  <a:lnTo>
                    <a:pt x="795" y="247"/>
                  </a:lnTo>
                  <a:lnTo>
                    <a:pt x="801" y="247"/>
                  </a:lnTo>
                  <a:lnTo>
                    <a:pt x="809" y="242"/>
                  </a:lnTo>
                  <a:lnTo>
                    <a:pt x="812" y="228"/>
                  </a:lnTo>
                  <a:lnTo>
                    <a:pt x="818" y="224"/>
                  </a:lnTo>
                  <a:lnTo>
                    <a:pt x="826" y="221"/>
                  </a:lnTo>
                  <a:lnTo>
                    <a:pt x="827" y="217"/>
                  </a:lnTo>
                  <a:lnTo>
                    <a:pt x="827" y="212"/>
                  </a:lnTo>
                  <a:lnTo>
                    <a:pt x="825" y="207"/>
                  </a:lnTo>
                  <a:lnTo>
                    <a:pt x="825" y="201"/>
                  </a:lnTo>
                  <a:lnTo>
                    <a:pt x="833" y="195"/>
                  </a:lnTo>
                  <a:lnTo>
                    <a:pt x="839" y="189"/>
                  </a:lnTo>
                  <a:lnTo>
                    <a:pt x="848" y="184"/>
                  </a:lnTo>
                  <a:lnTo>
                    <a:pt x="851" y="175"/>
                  </a:lnTo>
                  <a:lnTo>
                    <a:pt x="855" y="172"/>
                  </a:lnTo>
                  <a:lnTo>
                    <a:pt x="857" y="171"/>
                  </a:lnTo>
                  <a:lnTo>
                    <a:pt x="860" y="162"/>
                  </a:lnTo>
                  <a:lnTo>
                    <a:pt x="868" y="160"/>
                  </a:lnTo>
                  <a:lnTo>
                    <a:pt x="869" y="157"/>
                  </a:lnTo>
                  <a:lnTo>
                    <a:pt x="866" y="152"/>
                  </a:lnTo>
                  <a:lnTo>
                    <a:pt x="861" y="146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58" y="120"/>
                  </a:lnTo>
                  <a:lnTo>
                    <a:pt x="858" y="113"/>
                  </a:lnTo>
                  <a:lnTo>
                    <a:pt x="860" y="112"/>
                  </a:lnTo>
                  <a:lnTo>
                    <a:pt x="868" y="112"/>
                  </a:lnTo>
                  <a:lnTo>
                    <a:pt x="876" y="105"/>
                  </a:lnTo>
                  <a:lnTo>
                    <a:pt x="877" y="101"/>
                  </a:lnTo>
                  <a:lnTo>
                    <a:pt x="885" y="90"/>
                  </a:lnTo>
                  <a:lnTo>
                    <a:pt x="886" y="79"/>
                  </a:lnTo>
                  <a:lnTo>
                    <a:pt x="887" y="77"/>
                  </a:lnTo>
                  <a:lnTo>
                    <a:pt x="893" y="73"/>
                  </a:lnTo>
                  <a:lnTo>
                    <a:pt x="901" y="75"/>
                  </a:lnTo>
                  <a:lnTo>
                    <a:pt x="912" y="71"/>
                  </a:lnTo>
                  <a:lnTo>
                    <a:pt x="919" y="56"/>
                  </a:lnTo>
                  <a:lnTo>
                    <a:pt x="925" y="48"/>
                  </a:lnTo>
                  <a:lnTo>
                    <a:pt x="930" y="46"/>
                  </a:lnTo>
                  <a:lnTo>
                    <a:pt x="944" y="42"/>
                  </a:lnTo>
                  <a:lnTo>
                    <a:pt x="952" y="34"/>
                  </a:lnTo>
                  <a:lnTo>
                    <a:pt x="957" y="30"/>
                  </a:lnTo>
                  <a:lnTo>
                    <a:pt x="961" y="30"/>
                  </a:lnTo>
                  <a:lnTo>
                    <a:pt x="968" y="34"/>
                  </a:lnTo>
                  <a:lnTo>
                    <a:pt x="974" y="30"/>
                  </a:lnTo>
                  <a:lnTo>
                    <a:pt x="982" y="29"/>
                  </a:lnTo>
                  <a:lnTo>
                    <a:pt x="991" y="33"/>
                  </a:lnTo>
                  <a:lnTo>
                    <a:pt x="994" y="34"/>
                  </a:lnTo>
                  <a:lnTo>
                    <a:pt x="1004" y="34"/>
                  </a:lnTo>
                  <a:lnTo>
                    <a:pt x="1012" y="37"/>
                  </a:lnTo>
                  <a:lnTo>
                    <a:pt x="1018" y="34"/>
                  </a:lnTo>
                  <a:lnTo>
                    <a:pt x="1021" y="34"/>
                  </a:lnTo>
                  <a:lnTo>
                    <a:pt x="1027" y="34"/>
                  </a:lnTo>
                  <a:lnTo>
                    <a:pt x="1030" y="30"/>
                  </a:lnTo>
                  <a:lnTo>
                    <a:pt x="1040" y="29"/>
                  </a:lnTo>
                  <a:lnTo>
                    <a:pt x="1053" y="26"/>
                  </a:lnTo>
                  <a:lnTo>
                    <a:pt x="1061" y="30"/>
                  </a:lnTo>
                  <a:lnTo>
                    <a:pt x="1069" y="26"/>
                  </a:lnTo>
                  <a:lnTo>
                    <a:pt x="1074" y="29"/>
                  </a:lnTo>
                  <a:lnTo>
                    <a:pt x="1078" y="34"/>
                  </a:lnTo>
                  <a:lnTo>
                    <a:pt x="1083" y="37"/>
                  </a:lnTo>
                  <a:lnTo>
                    <a:pt x="1087" y="33"/>
                  </a:lnTo>
                  <a:lnTo>
                    <a:pt x="1089" y="29"/>
                  </a:lnTo>
                  <a:lnTo>
                    <a:pt x="1092" y="26"/>
                  </a:lnTo>
                  <a:lnTo>
                    <a:pt x="1093" y="15"/>
                  </a:lnTo>
                  <a:lnTo>
                    <a:pt x="1103" y="10"/>
                  </a:lnTo>
                  <a:lnTo>
                    <a:pt x="1109" y="8"/>
                  </a:lnTo>
                  <a:lnTo>
                    <a:pt x="1112" y="10"/>
                  </a:lnTo>
                  <a:lnTo>
                    <a:pt x="1125" y="6"/>
                  </a:lnTo>
                  <a:lnTo>
                    <a:pt x="1129" y="6"/>
                  </a:lnTo>
                  <a:lnTo>
                    <a:pt x="1135" y="6"/>
                  </a:lnTo>
                  <a:lnTo>
                    <a:pt x="1146" y="0"/>
                  </a:lnTo>
                  <a:lnTo>
                    <a:pt x="1156" y="8"/>
                  </a:lnTo>
                  <a:lnTo>
                    <a:pt x="1164" y="14"/>
                  </a:lnTo>
                  <a:lnTo>
                    <a:pt x="1184" y="46"/>
                  </a:lnTo>
                  <a:lnTo>
                    <a:pt x="1190" y="60"/>
                  </a:lnTo>
                  <a:lnTo>
                    <a:pt x="1197" y="70"/>
                  </a:lnTo>
                  <a:lnTo>
                    <a:pt x="1210" y="77"/>
                  </a:lnTo>
                  <a:lnTo>
                    <a:pt x="1220" y="85"/>
                  </a:lnTo>
                  <a:lnTo>
                    <a:pt x="1229" y="97"/>
                  </a:lnTo>
                  <a:lnTo>
                    <a:pt x="1234" y="108"/>
                  </a:lnTo>
                  <a:lnTo>
                    <a:pt x="1240" y="113"/>
                  </a:lnTo>
                  <a:lnTo>
                    <a:pt x="1242" y="118"/>
                  </a:lnTo>
                  <a:lnTo>
                    <a:pt x="1246" y="122"/>
                  </a:lnTo>
                  <a:lnTo>
                    <a:pt x="1263" y="134"/>
                  </a:lnTo>
                  <a:lnTo>
                    <a:pt x="1271" y="145"/>
                  </a:lnTo>
                  <a:lnTo>
                    <a:pt x="1278" y="150"/>
                  </a:lnTo>
                  <a:lnTo>
                    <a:pt x="1285" y="150"/>
                  </a:lnTo>
                  <a:lnTo>
                    <a:pt x="1303" y="149"/>
                  </a:lnTo>
                  <a:lnTo>
                    <a:pt x="1311" y="150"/>
                  </a:lnTo>
                  <a:lnTo>
                    <a:pt x="1313" y="154"/>
                  </a:lnTo>
                  <a:lnTo>
                    <a:pt x="1310" y="169"/>
                  </a:lnTo>
                  <a:lnTo>
                    <a:pt x="1310" y="172"/>
                  </a:lnTo>
                  <a:lnTo>
                    <a:pt x="1315" y="179"/>
                  </a:lnTo>
                  <a:lnTo>
                    <a:pt x="1321" y="183"/>
                  </a:lnTo>
                  <a:lnTo>
                    <a:pt x="1328" y="184"/>
                  </a:lnTo>
                  <a:lnTo>
                    <a:pt x="1352" y="184"/>
                  </a:lnTo>
                  <a:lnTo>
                    <a:pt x="1364" y="176"/>
                  </a:lnTo>
                  <a:lnTo>
                    <a:pt x="1368" y="175"/>
                  </a:lnTo>
                  <a:lnTo>
                    <a:pt x="1381" y="184"/>
                  </a:lnTo>
                  <a:lnTo>
                    <a:pt x="1385" y="187"/>
                  </a:lnTo>
                  <a:lnTo>
                    <a:pt x="1406" y="187"/>
                  </a:lnTo>
                  <a:lnTo>
                    <a:pt x="1417" y="191"/>
                  </a:lnTo>
                  <a:lnTo>
                    <a:pt x="1424" y="202"/>
                  </a:lnTo>
                  <a:lnTo>
                    <a:pt x="1436" y="216"/>
                  </a:lnTo>
                  <a:lnTo>
                    <a:pt x="1452" y="239"/>
                  </a:lnTo>
                  <a:lnTo>
                    <a:pt x="1463" y="251"/>
                  </a:lnTo>
                  <a:lnTo>
                    <a:pt x="1477" y="258"/>
                  </a:lnTo>
                  <a:lnTo>
                    <a:pt x="1483" y="262"/>
                  </a:lnTo>
                  <a:lnTo>
                    <a:pt x="1516" y="262"/>
                  </a:lnTo>
                  <a:lnTo>
                    <a:pt x="1520" y="261"/>
                  </a:lnTo>
                  <a:lnTo>
                    <a:pt x="1523" y="254"/>
                  </a:lnTo>
                  <a:lnTo>
                    <a:pt x="1538" y="250"/>
                  </a:lnTo>
                  <a:lnTo>
                    <a:pt x="1544" y="251"/>
                  </a:lnTo>
                  <a:lnTo>
                    <a:pt x="1552" y="258"/>
                  </a:lnTo>
                  <a:lnTo>
                    <a:pt x="1573" y="261"/>
                  </a:lnTo>
                  <a:lnTo>
                    <a:pt x="1594" y="278"/>
                  </a:lnTo>
                  <a:lnTo>
                    <a:pt x="1602" y="281"/>
                  </a:lnTo>
                  <a:lnTo>
                    <a:pt x="1617" y="281"/>
                  </a:lnTo>
                  <a:lnTo>
                    <a:pt x="1671" y="270"/>
                  </a:lnTo>
                  <a:lnTo>
                    <a:pt x="1677" y="270"/>
                  </a:lnTo>
                  <a:lnTo>
                    <a:pt x="1683" y="270"/>
                  </a:lnTo>
                  <a:lnTo>
                    <a:pt x="1690" y="276"/>
                  </a:lnTo>
                  <a:lnTo>
                    <a:pt x="1698" y="284"/>
                  </a:lnTo>
                  <a:lnTo>
                    <a:pt x="1706" y="288"/>
                  </a:lnTo>
                  <a:lnTo>
                    <a:pt x="1708" y="299"/>
                  </a:lnTo>
                  <a:lnTo>
                    <a:pt x="1706" y="307"/>
                  </a:lnTo>
                  <a:lnTo>
                    <a:pt x="1709" y="313"/>
                  </a:lnTo>
                  <a:lnTo>
                    <a:pt x="1713" y="315"/>
                  </a:lnTo>
                  <a:lnTo>
                    <a:pt x="1721" y="313"/>
                  </a:lnTo>
                  <a:lnTo>
                    <a:pt x="1730" y="313"/>
                  </a:lnTo>
                  <a:lnTo>
                    <a:pt x="1745" y="326"/>
                  </a:lnTo>
                  <a:lnTo>
                    <a:pt x="1748" y="329"/>
                  </a:lnTo>
                  <a:lnTo>
                    <a:pt x="1743" y="34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08" name="Freeform 307"/>
            <p:cNvSpPr>
              <a:spLocks/>
            </p:cNvSpPr>
            <p:nvPr/>
          </p:nvSpPr>
          <p:spPr bwMode="auto">
            <a:xfrm>
              <a:off x="7233777" y="2410905"/>
              <a:ext cx="821183" cy="803425"/>
            </a:xfrm>
            <a:custGeom>
              <a:avLst/>
              <a:gdLst>
                <a:gd name="T0" fmla="*/ 4106 w 4119"/>
                <a:gd name="T1" fmla="*/ 2864 h 2977"/>
                <a:gd name="T2" fmla="*/ 4019 w 4119"/>
                <a:gd name="T3" fmla="*/ 2963 h 2977"/>
                <a:gd name="T4" fmla="*/ 3846 w 4119"/>
                <a:gd name="T5" fmla="*/ 2712 h 2977"/>
                <a:gd name="T6" fmla="*/ 3726 w 4119"/>
                <a:gd name="T7" fmla="*/ 2432 h 2977"/>
                <a:gd name="T8" fmla="*/ 3471 w 4119"/>
                <a:gd name="T9" fmla="*/ 2248 h 2977"/>
                <a:gd name="T10" fmla="*/ 3107 w 4119"/>
                <a:gd name="T11" fmla="*/ 2106 h 2977"/>
                <a:gd name="T12" fmla="*/ 2838 w 4119"/>
                <a:gd name="T13" fmla="*/ 1932 h 2977"/>
                <a:gd name="T14" fmla="*/ 2638 w 4119"/>
                <a:gd name="T15" fmla="*/ 1993 h 2977"/>
                <a:gd name="T16" fmla="*/ 2535 w 4119"/>
                <a:gd name="T17" fmla="*/ 2164 h 2977"/>
                <a:gd name="T18" fmla="*/ 2443 w 4119"/>
                <a:gd name="T19" fmla="*/ 2315 h 2977"/>
                <a:gd name="T20" fmla="*/ 2341 w 4119"/>
                <a:gd name="T21" fmla="*/ 2472 h 2977"/>
                <a:gd name="T22" fmla="*/ 2292 w 4119"/>
                <a:gd name="T23" fmla="*/ 2621 h 2977"/>
                <a:gd name="T24" fmla="*/ 2213 w 4119"/>
                <a:gd name="T25" fmla="*/ 2218 h 2977"/>
                <a:gd name="T26" fmla="*/ 1482 w 4119"/>
                <a:gd name="T27" fmla="*/ 1964 h 2977"/>
                <a:gd name="T28" fmla="*/ 1125 w 4119"/>
                <a:gd name="T29" fmla="*/ 1764 h 2977"/>
                <a:gd name="T30" fmla="*/ 686 w 4119"/>
                <a:gd name="T31" fmla="*/ 1622 h 2977"/>
                <a:gd name="T32" fmla="*/ 141 w 4119"/>
                <a:gd name="T33" fmla="*/ 1273 h 2977"/>
                <a:gd name="T34" fmla="*/ 135 w 4119"/>
                <a:gd name="T35" fmla="*/ 1210 h 2977"/>
                <a:gd name="T36" fmla="*/ 131 w 4119"/>
                <a:gd name="T37" fmla="*/ 1143 h 2977"/>
                <a:gd name="T38" fmla="*/ 120 w 4119"/>
                <a:gd name="T39" fmla="*/ 1072 h 2977"/>
                <a:gd name="T40" fmla="*/ 73 w 4119"/>
                <a:gd name="T41" fmla="*/ 1024 h 2977"/>
                <a:gd name="T42" fmla="*/ 30 w 4119"/>
                <a:gd name="T43" fmla="*/ 980 h 2977"/>
                <a:gd name="T44" fmla="*/ 10 w 4119"/>
                <a:gd name="T45" fmla="*/ 918 h 2977"/>
                <a:gd name="T46" fmla="*/ 5 w 4119"/>
                <a:gd name="T47" fmla="*/ 850 h 2977"/>
                <a:gd name="T48" fmla="*/ 18 w 4119"/>
                <a:gd name="T49" fmla="*/ 798 h 2977"/>
                <a:gd name="T50" fmla="*/ 80 w 4119"/>
                <a:gd name="T51" fmla="*/ 783 h 2977"/>
                <a:gd name="T52" fmla="*/ 146 w 4119"/>
                <a:gd name="T53" fmla="*/ 762 h 2977"/>
                <a:gd name="T54" fmla="*/ 205 w 4119"/>
                <a:gd name="T55" fmla="*/ 734 h 2977"/>
                <a:gd name="T56" fmla="*/ 266 w 4119"/>
                <a:gd name="T57" fmla="*/ 708 h 2977"/>
                <a:gd name="T58" fmla="*/ 330 w 4119"/>
                <a:gd name="T59" fmla="*/ 684 h 2977"/>
                <a:gd name="T60" fmla="*/ 394 w 4119"/>
                <a:gd name="T61" fmla="*/ 662 h 2977"/>
                <a:gd name="T62" fmla="*/ 454 w 4119"/>
                <a:gd name="T63" fmla="*/ 637 h 2977"/>
                <a:gd name="T64" fmla="*/ 520 w 4119"/>
                <a:gd name="T65" fmla="*/ 620 h 2977"/>
                <a:gd name="T66" fmla="*/ 591 w 4119"/>
                <a:gd name="T67" fmla="*/ 604 h 2977"/>
                <a:gd name="T68" fmla="*/ 660 w 4119"/>
                <a:gd name="T69" fmla="*/ 587 h 2977"/>
                <a:gd name="T70" fmla="*/ 722 w 4119"/>
                <a:gd name="T71" fmla="*/ 570 h 2977"/>
                <a:gd name="T72" fmla="*/ 789 w 4119"/>
                <a:gd name="T73" fmla="*/ 547 h 2977"/>
                <a:gd name="T74" fmla="*/ 860 w 4119"/>
                <a:gd name="T75" fmla="*/ 530 h 2977"/>
                <a:gd name="T76" fmla="*/ 921 w 4119"/>
                <a:gd name="T77" fmla="*/ 517 h 2977"/>
                <a:gd name="T78" fmla="*/ 975 w 4119"/>
                <a:gd name="T79" fmla="*/ 506 h 2977"/>
                <a:gd name="T80" fmla="*/ 1034 w 4119"/>
                <a:gd name="T81" fmla="*/ 488 h 2977"/>
                <a:gd name="T82" fmla="*/ 1093 w 4119"/>
                <a:gd name="T83" fmla="*/ 455 h 2977"/>
                <a:gd name="T84" fmla="*/ 1159 w 4119"/>
                <a:gd name="T85" fmla="*/ 419 h 2977"/>
                <a:gd name="T86" fmla="*/ 1230 w 4119"/>
                <a:gd name="T87" fmla="*/ 401 h 2977"/>
                <a:gd name="T88" fmla="*/ 1292 w 4119"/>
                <a:gd name="T89" fmla="*/ 382 h 2977"/>
                <a:gd name="T90" fmla="*/ 1355 w 4119"/>
                <a:gd name="T91" fmla="*/ 351 h 2977"/>
                <a:gd name="T92" fmla="*/ 1413 w 4119"/>
                <a:gd name="T93" fmla="*/ 329 h 2977"/>
                <a:gd name="T94" fmla="*/ 1482 w 4119"/>
                <a:gd name="T95" fmla="*/ 312 h 2977"/>
                <a:gd name="T96" fmla="*/ 1540 w 4119"/>
                <a:gd name="T97" fmla="*/ 290 h 2977"/>
                <a:gd name="T98" fmla="*/ 1608 w 4119"/>
                <a:gd name="T99" fmla="*/ 268 h 2977"/>
                <a:gd name="T100" fmla="*/ 2463 w 4119"/>
                <a:gd name="T101" fmla="*/ 22 h 2977"/>
                <a:gd name="T102" fmla="*/ 2659 w 4119"/>
                <a:gd name="T103" fmla="*/ 339 h 2977"/>
                <a:gd name="T104" fmla="*/ 2925 w 4119"/>
                <a:gd name="T105" fmla="*/ 413 h 2977"/>
                <a:gd name="T106" fmla="*/ 3354 w 4119"/>
                <a:gd name="T107" fmla="*/ 327 h 2977"/>
                <a:gd name="T108" fmla="*/ 3502 w 4119"/>
                <a:gd name="T109" fmla="*/ 707 h 2977"/>
                <a:gd name="T110" fmla="*/ 3524 w 4119"/>
                <a:gd name="T111" fmla="*/ 998 h 2977"/>
                <a:gd name="T112" fmla="*/ 3378 w 4119"/>
                <a:gd name="T113" fmla="*/ 1344 h 2977"/>
                <a:gd name="T114" fmla="*/ 3343 w 4119"/>
                <a:gd name="T115" fmla="*/ 1621 h 2977"/>
                <a:gd name="T116" fmla="*/ 3539 w 4119"/>
                <a:gd name="T117" fmla="*/ 1951 h 2977"/>
                <a:gd name="T118" fmla="*/ 3862 w 4119"/>
                <a:gd name="T119" fmla="*/ 2259 h 2977"/>
                <a:gd name="T120" fmla="*/ 3926 w 4119"/>
                <a:gd name="T121" fmla="*/ 2484 h 2977"/>
                <a:gd name="T122" fmla="*/ 4093 w 4119"/>
                <a:gd name="T123" fmla="*/ 2583 h 297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119"/>
                <a:gd name="T187" fmla="*/ 0 h 2977"/>
                <a:gd name="T188" fmla="*/ 4119 w 4119"/>
                <a:gd name="T189" fmla="*/ 2977 h 297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119" h="2977">
                  <a:moveTo>
                    <a:pt x="4115" y="2711"/>
                  </a:moveTo>
                  <a:lnTo>
                    <a:pt x="4108" y="2712"/>
                  </a:lnTo>
                  <a:lnTo>
                    <a:pt x="4101" y="2716"/>
                  </a:lnTo>
                  <a:lnTo>
                    <a:pt x="4098" y="2727"/>
                  </a:lnTo>
                  <a:lnTo>
                    <a:pt x="4094" y="2731"/>
                  </a:lnTo>
                  <a:lnTo>
                    <a:pt x="4095" y="2731"/>
                  </a:lnTo>
                  <a:lnTo>
                    <a:pt x="4098" y="2731"/>
                  </a:lnTo>
                  <a:lnTo>
                    <a:pt x="4100" y="2733"/>
                  </a:lnTo>
                  <a:lnTo>
                    <a:pt x="4097" y="2745"/>
                  </a:lnTo>
                  <a:lnTo>
                    <a:pt x="4098" y="2749"/>
                  </a:lnTo>
                  <a:lnTo>
                    <a:pt x="4101" y="2752"/>
                  </a:lnTo>
                  <a:lnTo>
                    <a:pt x="4108" y="2752"/>
                  </a:lnTo>
                  <a:lnTo>
                    <a:pt x="4112" y="2760"/>
                  </a:lnTo>
                  <a:lnTo>
                    <a:pt x="4115" y="2760"/>
                  </a:lnTo>
                  <a:lnTo>
                    <a:pt x="4118" y="2757"/>
                  </a:lnTo>
                  <a:lnTo>
                    <a:pt x="4119" y="2760"/>
                  </a:lnTo>
                  <a:lnTo>
                    <a:pt x="4115" y="2772"/>
                  </a:lnTo>
                  <a:lnTo>
                    <a:pt x="4109" y="2775"/>
                  </a:lnTo>
                  <a:lnTo>
                    <a:pt x="4114" y="2780"/>
                  </a:lnTo>
                  <a:lnTo>
                    <a:pt x="4114" y="2784"/>
                  </a:lnTo>
                  <a:lnTo>
                    <a:pt x="4109" y="2794"/>
                  </a:lnTo>
                  <a:lnTo>
                    <a:pt x="4109" y="2802"/>
                  </a:lnTo>
                  <a:lnTo>
                    <a:pt x="4112" y="2805"/>
                  </a:lnTo>
                  <a:lnTo>
                    <a:pt x="4119" y="2810"/>
                  </a:lnTo>
                  <a:lnTo>
                    <a:pt x="4119" y="2817"/>
                  </a:lnTo>
                  <a:lnTo>
                    <a:pt x="4112" y="2829"/>
                  </a:lnTo>
                  <a:lnTo>
                    <a:pt x="4111" y="2837"/>
                  </a:lnTo>
                  <a:lnTo>
                    <a:pt x="4108" y="2843"/>
                  </a:lnTo>
                  <a:lnTo>
                    <a:pt x="4106" y="2851"/>
                  </a:lnTo>
                  <a:lnTo>
                    <a:pt x="4104" y="2857"/>
                  </a:lnTo>
                  <a:lnTo>
                    <a:pt x="4104" y="2861"/>
                  </a:lnTo>
                  <a:lnTo>
                    <a:pt x="4106" y="2864"/>
                  </a:lnTo>
                  <a:lnTo>
                    <a:pt x="4109" y="2869"/>
                  </a:lnTo>
                  <a:lnTo>
                    <a:pt x="4106" y="2873"/>
                  </a:lnTo>
                  <a:lnTo>
                    <a:pt x="4098" y="2886"/>
                  </a:lnTo>
                  <a:lnTo>
                    <a:pt x="4098" y="2892"/>
                  </a:lnTo>
                  <a:lnTo>
                    <a:pt x="4101" y="2896"/>
                  </a:lnTo>
                  <a:lnTo>
                    <a:pt x="4105" y="2899"/>
                  </a:lnTo>
                  <a:lnTo>
                    <a:pt x="4105" y="2902"/>
                  </a:lnTo>
                  <a:lnTo>
                    <a:pt x="4104" y="2906"/>
                  </a:lnTo>
                  <a:lnTo>
                    <a:pt x="4098" y="2910"/>
                  </a:lnTo>
                  <a:lnTo>
                    <a:pt x="4098" y="2914"/>
                  </a:lnTo>
                  <a:lnTo>
                    <a:pt x="4105" y="2931"/>
                  </a:lnTo>
                  <a:lnTo>
                    <a:pt x="4108" y="2940"/>
                  </a:lnTo>
                  <a:lnTo>
                    <a:pt x="4112" y="2947"/>
                  </a:lnTo>
                  <a:lnTo>
                    <a:pt x="4114" y="2956"/>
                  </a:lnTo>
                  <a:lnTo>
                    <a:pt x="4112" y="2959"/>
                  </a:lnTo>
                  <a:lnTo>
                    <a:pt x="4108" y="2963"/>
                  </a:lnTo>
                  <a:lnTo>
                    <a:pt x="4104" y="2963"/>
                  </a:lnTo>
                  <a:lnTo>
                    <a:pt x="4097" y="2961"/>
                  </a:lnTo>
                  <a:lnTo>
                    <a:pt x="4094" y="2963"/>
                  </a:lnTo>
                  <a:lnTo>
                    <a:pt x="4094" y="2969"/>
                  </a:lnTo>
                  <a:lnTo>
                    <a:pt x="4097" y="2971"/>
                  </a:lnTo>
                  <a:lnTo>
                    <a:pt x="4101" y="2973"/>
                  </a:lnTo>
                  <a:lnTo>
                    <a:pt x="4095" y="2977"/>
                  </a:lnTo>
                  <a:lnTo>
                    <a:pt x="4078" y="2975"/>
                  </a:lnTo>
                  <a:lnTo>
                    <a:pt x="4070" y="2973"/>
                  </a:lnTo>
                  <a:lnTo>
                    <a:pt x="4059" y="2965"/>
                  </a:lnTo>
                  <a:lnTo>
                    <a:pt x="4054" y="2963"/>
                  </a:lnTo>
                  <a:lnTo>
                    <a:pt x="4048" y="2961"/>
                  </a:lnTo>
                  <a:lnTo>
                    <a:pt x="4041" y="2963"/>
                  </a:lnTo>
                  <a:lnTo>
                    <a:pt x="4036" y="2969"/>
                  </a:lnTo>
                  <a:lnTo>
                    <a:pt x="4031" y="2969"/>
                  </a:lnTo>
                  <a:lnTo>
                    <a:pt x="4019" y="2963"/>
                  </a:lnTo>
                  <a:lnTo>
                    <a:pt x="4009" y="2959"/>
                  </a:lnTo>
                  <a:lnTo>
                    <a:pt x="3986" y="2940"/>
                  </a:lnTo>
                  <a:lnTo>
                    <a:pt x="3984" y="2930"/>
                  </a:lnTo>
                  <a:lnTo>
                    <a:pt x="3990" y="2918"/>
                  </a:lnTo>
                  <a:lnTo>
                    <a:pt x="3990" y="2914"/>
                  </a:lnTo>
                  <a:lnTo>
                    <a:pt x="3989" y="2909"/>
                  </a:lnTo>
                  <a:lnTo>
                    <a:pt x="3981" y="2904"/>
                  </a:lnTo>
                  <a:lnTo>
                    <a:pt x="3975" y="2899"/>
                  </a:lnTo>
                  <a:lnTo>
                    <a:pt x="3970" y="2896"/>
                  </a:lnTo>
                  <a:lnTo>
                    <a:pt x="3968" y="2890"/>
                  </a:lnTo>
                  <a:lnTo>
                    <a:pt x="3962" y="2872"/>
                  </a:lnTo>
                  <a:lnTo>
                    <a:pt x="3961" y="2869"/>
                  </a:lnTo>
                  <a:lnTo>
                    <a:pt x="3958" y="2865"/>
                  </a:lnTo>
                  <a:lnTo>
                    <a:pt x="3939" y="2860"/>
                  </a:lnTo>
                  <a:lnTo>
                    <a:pt x="3934" y="2857"/>
                  </a:lnTo>
                  <a:lnTo>
                    <a:pt x="3925" y="2843"/>
                  </a:lnTo>
                  <a:lnTo>
                    <a:pt x="3922" y="2835"/>
                  </a:lnTo>
                  <a:lnTo>
                    <a:pt x="3925" y="2829"/>
                  </a:lnTo>
                  <a:lnTo>
                    <a:pt x="3926" y="2823"/>
                  </a:lnTo>
                  <a:lnTo>
                    <a:pt x="3922" y="2814"/>
                  </a:lnTo>
                  <a:lnTo>
                    <a:pt x="3918" y="2806"/>
                  </a:lnTo>
                  <a:lnTo>
                    <a:pt x="3901" y="2792"/>
                  </a:lnTo>
                  <a:lnTo>
                    <a:pt x="3898" y="2787"/>
                  </a:lnTo>
                  <a:lnTo>
                    <a:pt x="3893" y="2780"/>
                  </a:lnTo>
                  <a:lnTo>
                    <a:pt x="3891" y="2756"/>
                  </a:lnTo>
                  <a:lnTo>
                    <a:pt x="3890" y="2752"/>
                  </a:lnTo>
                  <a:lnTo>
                    <a:pt x="3884" y="2743"/>
                  </a:lnTo>
                  <a:lnTo>
                    <a:pt x="3877" y="2727"/>
                  </a:lnTo>
                  <a:lnTo>
                    <a:pt x="3872" y="2722"/>
                  </a:lnTo>
                  <a:lnTo>
                    <a:pt x="3856" y="2720"/>
                  </a:lnTo>
                  <a:lnTo>
                    <a:pt x="3852" y="2719"/>
                  </a:lnTo>
                  <a:lnTo>
                    <a:pt x="3846" y="2712"/>
                  </a:lnTo>
                  <a:lnTo>
                    <a:pt x="3844" y="2705"/>
                  </a:lnTo>
                  <a:lnTo>
                    <a:pt x="3841" y="2698"/>
                  </a:lnTo>
                  <a:lnTo>
                    <a:pt x="3833" y="2685"/>
                  </a:lnTo>
                  <a:lnTo>
                    <a:pt x="3830" y="2674"/>
                  </a:lnTo>
                  <a:lnTo>
                    <a:pt x="3826" y="2650"/>
                  </a:lnTo>
                  <a:lnTo>
                    <a:pt x="3826" y="2637"/>
                  </a:lnTo>
                  <a:lnTo>
                    <a:pt x="3824" y="2633"/>
                  </a:lnTo>
                  <a:lnTo>
                    <a:pt x="3813" y="2623"/>
                  </a:lnTo>
                  <a:lnTo>
                    <a:pt x="3808" y="2607"/>
                  </a:lnTo>
                  <a:lnTo>
                    <a:pt x="3787" y="2583"/>
                  </a:lnTo>
                  <a:lnTo>
                    <a:pt x="3787" y="2576"/>
                  </a:lnTo>
                  <a:lnTo>
                    <a:pt x="3790" y="2561"/>
                  </a:lnTo>
                  <a:lnTo>
                    <a:pt x="3790" y="2556"/>
                  </a:lnTo>
                  <a:lnTo>
                    <a:pt x="3787" y="2551"/>
                  </a:lnTo>
                  <a:lnTo>
                    <a:pt x="3779" y="2544"/>
                  </a:lnTo>
                  <a:lnTo>
                    <a:pt x="3774" y="2538"/>
                  </a:lnTo>
                  <a:lnTo>
                    <a:pt x="3773" y="2532"/>
                  </a:lnTo>
                  <a:lnTo>
                    <a:pt x="3776" y="2517"/>
                  </a:lnTo>
                  <a:lnTo>
                    <a:pt x="3773" y="2513"/>
                  </a:lnTo>
                  <a:lnTo>
                    <a:pt x="3766" y="2509"/>
                  </a:lnTo>
                  <a:lnTo>
                    <a:pt x="3763" y="2503"/>
                  </a:lnTo>
                  <a:lnTo>
                    <a:pt x="3758" y="2499"/>
                  </a:lnTo>
                  <a:lnTo>
                    <a:pt x="3756" y="2495"/>
                  </a:lnTo>
                  <a:lnTo>
                    <a:pt x="3756" y="2490"/>
                  </a:lnTo>
                  <a:lnTo>
                    <a:pt x="3762" y="2476"/>
                  </a:lnTo>
                  <a:lnTo>
                    <a:pt x="3760" y="2462"/>
                  </a:lnTo>
                  <a:lnTo>
                    <a:pt x="3759" y="2458"/>
                  </a:lnTo>
                  <a:lnTo>
                    <a:pt x="3754" y="2453"/>
                  </a:lnTo>
                  <a:lnTo>
                    <a:pt x="3737" y="2442"/>
                  </a:lnTo>
                  <a:lnTo>
                    <a:pt x="3726" y="2441"/>
                  </a:lnTo>
                  <a:lnTo>
                    <a:pt x="3724" y="2438"/>
                  </a:lnTo>
                  <a:lnTo>
                    <a:pt x="3726" y="2432"/>
                  </a:lnTo>
                  <a:lnTo>
                    <a:pt x="3724" y="2426"/>
                  </a:lnTo>
                  <a:lnTo>
                    <a:pt x="3717" y="2422"/>
                  </a:lnTo>
                  <a:lnTo>
                    <a:pt x="3710" y="2409"/>
                  </a:lnTo>
                  <a:lnTo>
                    <a:pt x="3704" y="2404"/>
                  </a:lnTo>
                  <a:lnTo>
                    <a:pt x="3701" y="2401"/>
                  </a:lnTo>
                  <a:lnTo>
                    <a:pt x="3694" y="2397"/>
                  </a:lnTo>
                  <a:lnTo>
                    <a:pt x="3691" y="2394"/>
                  </a:lnTo>
                  <a:lnTo>
                    <a:pt x="3690" y="2379"/>
                  </a:lnTo>
                  <a:lnTo>
                    <a:pt x="3688" y="2375"/>
                  </a:lnTo>
                  <a:lnTo>
                    <a:pt x="3690" y="2370"/>
                  </a:lnTo>
                  <a:lnTo>
                    <a:pt x="3688" y="2365"/>
                  </a:lnTo>
                  <a:lnTo>
                    <a:pt x="3679" y="2363"/>
                  </a:lnTo>
                  <a:lnTo>
                    <a:pt x="3673" y="2357"/>
                  </a:lnTo>
                  <a:lnTo>
                    <a:pt x="3665" y="2353"/>
                  </a:lnTo>
                  <a:lnTo>
                    <a:pt x="3656" y="2345"/>
                  </a:lnTo>
                  <a:lnTo>
                    <a:pt x="3634" y="2342"/>
                  </a:lnTo>
                  <a:lnTo>
                    <a:pt x="3621" y="2334"/>
                  </a:lnTo>
                  <a:lnTo>
                    <a:pt x="3612" y="2333"/>
                  </a:lnTo>
                  <a:lnTo>
                    <a:pt x="3594" y="2329"/>
                  </a:lnTo>
                  <a:lnTo>
                    <a:pt x="3580" y="2329"/>
                  </a:lnTo>
                  <a:lnTo>
                    <a:pt x="3552" y="2316"/>
                  </a:lnTo>
                  <a:lnTo>
                    <a:pt x="3541" y="2308"/>
                  </a:lnTo>
                  <a:lnTo>
                    <a:pt x="3534" y="2293"/>
                  </a:lnTo>
                  <a:lnTo>
                    <a:pt x="3525" y="2290"/>
                  </a:lnTo>
                  <a:lnTo>
                    <a:pt x="3521" y="2284"/>
                  </a:lnTo>
                  <a:lnTo>
                    <a:pt x="3520" y="2278"/>
                  </a:lnTo>
                  <a:lnTo>
                    <a:pt x="3516" y="2271"/>
                  </a:lnTo>
                  <a:lnTo>
                    <a:pt x="3494" y="2258"/>
                  </a:lnTo>
                  <a:lnTo>
                    <a:pt x="3480" y="2259"/>
                  </a:lnTo>
                  <a:lnTo>
                    <a:pt x="3475" y="2255"/>
                  </a:lnTo>
                  <a:lnTo>
                    <a:pt x="3474" y="2251"/>
                  </a:lnTo>
                  <a:lnTo>
                    <a:pt x="3471" y="2248"/>
                  </a:lnTo>
                  <a:lnTo>
                    <a:pt x="3456" y="2235"/>
                  </a:lnTo>
                  <a:lnTo>
                    <a:pt x="3447" y="2235"/>
                  </a:lnTo>
                  <a:lnTo>
                    <a:pt x="3439" y="2237"/>
                  </a:lnTo>
                  <a:lnTo>
                    <a:pt x="3435" y="2235"/>
                  </a:lnTo>
                  <a:lnTo>
                    <a:pt x="3432" y="2229"/>
                  </a:lnTo>
                  <a:lnTo>
                    <a:pt x="3434" y="2221"/>
                  </a:lnTo>
                  <a:lnTo>
                    <a:pt x="3432" y="2210"/>
                  </a:lnTo>
                  <a:lnTo>
                    <a:pt x="3424" y="2206"/>
                  </a:lnTo>
                  <a:lnTo>
                    <a:pt x="3416" y="2198"/>
                  </a:lnTo>
                  <a:lnTo>
                    <a:pt x="3409" y="2192"/>
                  </a:lnTo>
                  <a:lnTo>
                    <a:pt x="3403" y="2192"/>
                  </a:lnTo>
                  <a:lnTo>
                    <a:pt x="3397" y="2192"/>
                  </a:lnTo>
                  <a:lnTo>
                    <a:pt x="3343" y="2203"/>
                  </a:lnTo>
                  <a:lnTo>
                    <a:pt x="3328" y="2203"/>
                  </a:lnTo>
                  <a:lnTo>
                    <a:pt x="3320" y="2200"/>
                  </a:lnTo>
                  <a:lnTo>
                    <a:pt x="3299" y="2183"/>
                  </a:lnTo>
                  <a:lnTo>
                    <a:pt x="3278" y="2180"/>
                  </a:lnTo>
                  <a:lnTo>
                    <a:pt x="3270" y="2173"/>
                  </a:lnTo>
                  <a:lnTo>
                    <a:pt x="3264" y="2172"/>
                  </a:lnTo>
                  <a:lnTo>
                    <a:pt x="3249" y="2176"/>
                  </a:lnTo>
                  <a:lnTo>
                    <a:pt x="3246" y="2183"/>
                  </a:lnTo>
                  <a:lnTo>
                    <a:pt x="3242" y="2184"/>
                  </a:lnTo>
                  <a:lnTo>
                    <a:pt x="3209" y="2184"/>
                  </a:lnTo>
                  <a:lnTo>
                    <a:pt x="3203" y="2180"/>
                  </a:lnTo>
                  <a:lnTo>
                    <a:pt x="3189" y="2173"/>
                  </a:lnTo>
                  <a:lnTo>
                    <a:pt x="3178" y="2161"/>
                  </a:lnTo>
                  <a:lnTo>
                    <a:pt x="3162" y="2138"/>
                  </a:lnTo>
                  <a:lnTo>
                    <a:pt x="3150" y="2124"/>
                  </a:lnTo>
                  <a:lnTo>
                    <a:pt x="3143" y="2113"/>
                  </a:lnTo>
                  <a:lnTo>
                    <a:pt x="3132" y="2109"/>
                  </a:lnTo>
                  <a:lnTo>
                    <a:pt x="3111" y="2109"/>
                  </a:lnTo>
                  <a:lnTo>
                    <a:pt x="3107" y="2106"/>
                  </a:lnTo>
                  <a:lnTo>
                    <a:pt x="3094" y="2097"/>
                  </a:lnTo>
                  <a:lnTo>
                    <a:pt x="3090" y="2098"/>
                  </a:lnTo>
                  <a:lnTo>
                    <a:pt x="3078" y="2106"/>
                  </a:lnTo>
                  <a:lnTo>
                    <a:pt x="3054" y="2106"/>
                  </a:lnTo>
                  <a:lnTo>
                    <a:pt x="3047" y="2105"/>
                  </a:lnTo>
                  <a:lnTo>
                    <a:pt x="3041" y="2101"/>
                  </a:lnTo>
                  <a:lnTo>
                    <a:pt x="3036" y="2094"/>
                  </a:lnTo>
                  <a:lnTo>
                    <a:pt x="3036" y="2091"/>
                  </a:lnTo>
                  <a:lnTo>
                    <a:pt x="3039" y="2076"/>
                  </a:lnTo>
                  <a:lnTo>
                    <a:pt x="3037" y="2072"/>
                  </a:lnTo>
                  <a:lnTo>
                    <a:pt x="3029" y="2071"/>
                  </a:lnTo>
                  <a:lnTo>
                    <a:pt x="3011" y="2072"/>
                  </a:lnTo>
                  <a:lnTo>
                    <a:pt x="3004" y="2072"/>
                  </a:lnTo>
                  <a:lnTo>
                    <a:pt x="2997" y="2067"/>
                  </a:lnTo>
                  <a:lnTo>
                    <a:pt x="2989" y="2056"/>
                  </a:lnTo>
                  <a:lnTo>
                    <a:pt x="2972" y="2044"/>
                  </a:lnTo>
                  <a:lnTo>
                    <a:pt x="2968" y="2040"/>
                  </a:lnTo>
                  <a:lnTo>
                    <a:pt x="2966" y="2035"/>
                  </a:lnTo>
                  <a:lnTo>
                    <a:pt x="2960" y="2030"/>
                  </a:lnTo>
                  <a:lnTo>
                    <a:pt x="2955" y="2019"/>
                  </a:lnTo>
                  <a:lnTo>
                    <a:pt x="2946" y="2007"/>
                  </a:lnTo>
                  <a:lnTo>
                    <a:pt x="2936" y="1999"/>
                  </a:lnTo>
                  <a:lnTo>
                    <a:pt x="2923" y="1992"/>
                  </a:lnTo>
                  <a:lnTo>
                    <a:pt x="2916" y="1982"/>
                  </a:lnTo>
                  <a:lnTo>
                    <a:pt x="2910" y="1968"/>
                  </a:lnTo>
                  <a:lnTo>
                    <a:pt x="2890" y="1936"/>
                  </a:lnTo>
                  <a:lnTo>
                    <a:pt x="2882" y="1930"/>
                  </a:lnTo>
                  <a:lnTo>
                    <a:pt x="2872" y="1922"/>
                  </a:lnTo>
                  <a:lnTo>
                    <a:pt x="2861" y="1928"/>
                  </a:lnTo>
                  <a:lnTo>
                    <a:pt x="2855" y="1928"/>
                  </a:lnTo>
                  <a:lnTo>
                    <a:pt x="2851" y="1928"/>
                  </a:lnTo>
                  <a:lnTo>
                    <a:pt x="2838" y="1932"/>
                  </a:lnTo>
                  <a:lnTo>
                    <a:pt x="2835" y="1930"/>
                  </a:lnTo>
                  <a:lnTo>
                    <a:pt x="2829" y="1932"/>
                  </a:lnTo>
                  <a:lnTo>
                    <a:pt x="2819" y="1937"/>
                  </a:lnTo>
                  <a:lnTo>
                    <a:pt x="2818" y="1948"/>
                  </a:lnTo>
                  <a:lnTo>
                    <a:pt x="2815" y="1951"/>
                  </a:lnTo>
                  <a:lnTo>
                    <a:pt x="2813" y="1955"/>
                  </a:lnTo>
                  <a:lnTo>
                    <a:pt x="2809" y="1959"/>
                  </a:lnTo>
                  <a:lnTo>
                    <a:pt x="2804" y="1956"/>
                  </a:lnTo>
                  <a:lnTo>
                    <a:pt x="2800" y="1951"/>
                  </a:lnTo>
                  <a:lnTo>
                    <a:pt x="2795" y="1948"/>
                  </a:lnTo>
                  <a:lnTo>
                    <a:pt x="2787" y="1952"/>
                  </a:lnTo>
                  <a:lnTo>
                    <a:pt x="2779" y="1948"/>
                  </a:lnTo>
                  <a:lnTo>
                    <a:pt x="2766" y="1951"/>
                  </a:lnTo>
                  <a:lnTo>
                    <a:pt x="2756" y="1952"/>
                  </a:lnTo>
                  <a:lnTo>
                    <a:pt x="2753" y="1956"/>
                  </a:lnTo>
                  <a:lnTo>
                    <a:pt x="2747" y="1956"/>
                  </a:lnTo>
                  <a:lnTo>
                    <a:pt x="2744" y="1956"/>
                  </a:lnTo>
                  <a:lnTo>
                    <a:pt x="2738" y="1959"/>
                  </a:lnTo>
                  <a:lnTo>
                    <a:pt x="2730" y="1956"/>
                  </a:lnTo>
                  <a:lnTo>
                    <a:pt x="2720" y="1956"/>
                  </a:lnTo>
                  <a:lnTo>
                    <a:pt x="2717" y="1955"/>
                  </a:lnTo>
                  <a:lnTo>
                    <a:pt x="2708" y="1951"/>
                  </a:lnTo>
                  <a:lnTo>
                    <a:pt x="2700" y="1952"/>
                  </a:lnTo>
                  <a:lnTo>
                    <a:pt x="2694" y="1956"/>
                  </a:lnTo>
                  <a:lnTo>
                    <a:pt x="2687" y="1952"/>
                  </a:lnTo>
                  <a:lnTo>
                    <a:pt x="2683" y="1952"/>
                  </a:lnTo>
                  <a:lnTo>
                    <a:pt x="2678" y="1956"/>
                  </a:lnTo>
                  <a:lnTo>
                    <a:pt x="2670" y="1964"/>
                  </a:lnTo>
                  <a:lnTo>
                    <a:pt x="2656" y="1968"/>
                  </a:lnTo>
                  <a:lnTo>
                    <a:pt x="2651" y="1970"/>
                  </a:lnTo>
                  <a:lnTo>
                    <a:pt x="2645" y="1978"/>
                  </a:lnTo>
                  <a:lnTo>
                    <a:pt x="2638" y="1993"/>
                  </a:lnTo>
                  <a:lnTo>
                    <a:pt x="2627" y="1997"/>
                  </a:lnTo>
                  <a:lnTo>
                    <a:pt x="2619" y="1995"/>
                  </a:lnTo>
                  <a:lnTo>
                    <a:pt x="2613" y="1999"/>
                  </a:lnTo>
                  <a:lnTo>
                    <a:pt x="2612" y="2001"/>
                  </a:lnTo>
                  <a:lnTo>
                    <a:pt x="2611" y="2012"/>
                  </a:lnTo>
                  <a:lnTo>
                    <a:pt x="2603" y="2023"/>
                  </a:lnTo>
                  <a:lnTo>
                    <a:pt x="2602" y="2027"/>
                  </a:lnTo>
                  <a:lnTo>
                    <a:pt x="2594" y="2034"/>
                  </a:lnTo>
                  <a:lnTo>
                    <a:pt x="2586" y="2034"/>
                  </a:lnTo>
                  <a:lnTo>
                    <a:pt x="2584" y="2035"/>
                  </a:lnTo>
                  <a:lnTo>
                    <a:pt x="2584" y="2042"/>
                  </a:lnTo>
                  <a:lnTo>
                    <a:pt x="2588" y="2048"/>
                  </a:lnTo>
                  <a:lnTo>
                    <a:pt x="2590" y="2054"/>
                  </a:lnTo>
                  <a:lnTo>
                    <a:pt x="2587" y="2068"/>
                  </a:lnTo>
                  <a:lnTo>
                    <a:pt x="2592" y="2074"/>
                  </a:lnTo>
                  <a:lnTo>
                    <a:pt x="2595" y="2079"/>
                  </a:lnTo>
                  <a:lnTo>
                    <a:pt x="2594" y="2082"/>
                  </a:lnTo>
                  <a:lnTo>
                    <a:pt x="2586" y="2084"/>
                  </a:lnTo>
                  <a:lnTo>
                    <a:pt x="2583" y="2093"/>
                  </a:lnTo>
                  <a:lnTo>
                    <a:pt x="2581" y="2094"/>
                  </a:lnTo>
                  <a:lnTo>
                    <a:pt x="2577" y="2097"/>
                  </a:lnTo>
                  <a:lnTo>
                    <a:pt x="2574" y="2106"/>
                  </a:lnTo>
                  <a:lnTo>
                    <a:pt x="2565" y="2111"/>
                  </a:lnTo>
                  <a:lnTo>
                    <a:pt x="2559" y="2117"/>
                  </a:lnTo>
                  <a:lnTo>
                    <a:pt x="2551" y="2123"/>
                  </a:lnTo>
                  <a:lnTo>
                    <a:pt x="2551" y="2129"/>
                  </a:lnTo>
                  <a:lnTo>
                    <a:pt x="2553" y="2134"/>
                  </a:lnTo>
                  <a:lnTo>
                    <a:pt x="2553" y="2139"/>
                  </a:lnTo>
                  <a:lnTo>
                    <a:pt x="2552" y="2143"/>
                  </a:lnTo>
                  <a:lnTo>
                    <a:pt x="2544" y="2146"/>
                  </a:lnTo>
                  <a:lnTo>
                    <a:pt x="2538" y="2150"/>
                  </a:lnTo>
                  <a:lnTo>
                    <a:pt x="2535" y="2164"/>
                  </a:lnTo>
                  <a:lnTo>
                    <a:pt x="2527" y="2169"/>
                  </a:lnTo>
                  <a:lnTo>
                    <a:pt x="2521" y="2169"/>
                  </a:lnTo>
                  <a:lnTo>
                    <a:pt x="2519" y="2169"/>
                  </a:lnTo>
                  <a:lnTo>
                    <a:pt x="2512" y="2169"/>
                  </a:lnTo>
                  <a:lnTo>
                    <a:pt x="2507" y="2169"/>
                  </a:lnTo>
                  <a:lnTo>
                    <a:pt x="2506" y="2172"/>
                  </a:lnTo>
                  <a:lnTo>
                    <a:pt x="2506" y="2176"/>
                  </a:lnTo>
                  <a:lnTo>
                    <a:pt x="2506" y="2173"/>
                  </a:lnTo>
                  <a:lnTo>
                    <a:pt x="2498" y="2180"/>
                  </a:lnTo>
                  <a:lnTo>
                    <a:pt x="2493" y="2188"/>
                  </a:lnTo>
                  <a:lnTo>
                    <a:pt x="2495" y="2192"/>
                  </a:lnTo>
                  <a:lnTo>
                    <a:pt x="2495" y="2196"/>
                  </a:lnTo>
                  <a:lnTo>
                    <a:pt x="2493" y="2196"/>
                  </a:lnTo>
                  <a:lnTo>
                    <a:pt x="2489" y="2198"/>
                  </a:lnTo>
                  <a:lnTo>
                    <a:pt x="2485" y="2205"/>
                  </a:lnTo>
                  <a:lnTo>
                    <a:pt x="2487" y="2210"/>
                  </a:lnTo>
                  <a:lnTo>
                    <a:pt x="2478" y="2217"/>
                  </a:lnTo>
                  <a:lnTo>
                    <a:pt x="2478" y="2225"/>
                  </a:lnTo>
                  <a:lnTo>
                    <a:pt x="2474" y="2229"/>
                  </a:lnTo>
                  <a:lnTo>
                    <a:pt x="2473" y="2237"/>
                  </a:lnTo>
                  <a:lnTo>
                    <a:pt x="2473" y="2243"/>
                  </a:lnTo>
                  <a:lnTo>
                    <a:pt x="2468" y="2254"/>
                  </a:lnTo>
                  <a:lnTo>
                    <a:pt x="2467" y="2255"/>
                  </a:lnTo>
                  <a:lnTo>
                    <a:pt x="2468" y="2263"/>
                  </a:lnTo>
                  <a:lnTo>
                    <a:pt x="2467" y="2270"/>
                  </a:lnTo>
                  <a:lnTo>
                    <a:pt x="2463" y="2278"/>
                  </a:lnTo>
                  <a:lnTo>
                    <a:pt x="2467" y="2284"/>
                  </a:lnTo>
                  <a:lnTo>
                    <a:pt x="2464" y="2297"/>
                  </a:lnTo>
                  <a:lnTo>
                    <a:pt x="2462" y="2300"/>
                  </a:lnTo>
                  <a:lnTo>
                    <a:pt x="2457" y="2304"/>
                  </a:lnTo>
                  <a:lnTo>
                    <a:pt x="2453" y="2310"/>
                  </a:lnTo>
                  <a:lnTo>
                    <a:pt x="2443" y="2315"/>
                  </a:lnTo>
                  <a:lnTo>
                    <a:pt x="2438" y="2321"/>
                  </a:lnTo>
                  <a:lnTo>
                    <a:pt x="2432" y="2330"/>
                  </a:lnTo>
                  <a:lnTo>
                    <a:pt x="2430" y="2334"/>
                  </a:lnTo>
                  <a:lnTo>
                    <a:pt x="2426" y="2345"/>
                  </a:lnTo>
                  <a:lnTo>
                    <a:pt x="2426" y="2349"/>
                  </a:lnTo>
                  <a:lnTo>
                    <a:pt x="2418" y="2360"/>
                  </a:lnTo>
                  <a:lnTo>
                    <a:pt x="2417" y="2371"/>
                  </a:lnTo>
                  <a:lnTo>
                    <a:pt x="2409" y="2383"/>
                  </a:lnTo>
                  <a:lnTo>
                    <a:pt x="2407" y="2387"/>
                  </a:lnTo>
                  <a:lnTo>
                    <a:pt x="2412" y="2394"/>
                  </a:lnTo>
                  <a:lnTo>
                    <a:pt x="2413" y="2397"/>
                  </a:lnTo>
                  <a:lnTo>
                    <a:pt x="2410" y="2401"/>
                  </a:lnTo>
                  <a:lnTo>
                    <a:pt x="2406" y="2405"/>
                  </a:lnTo>
                  <a:lnTo>
                    <a:pt x="2405" y="2405"/>
                  </a:lnTo>
                  <a:lnTo>
                    <a:pt x="2399" y="2408"/>
                  </a:lnTo>
                  <a:lnTo>
                    <a:pt x="2401" y="2409"/>
                  </a:lnTo>
                  <a:lnTo>
                    <a:pt x="2398" y="2409"/>
                  </a:lnTo>
                  <a:lnTo>
                    <a:pt x="2392" y="2415"/>
                  </a:lnTo>
                  <a:lnTo>
                    <a:pt x="2388" y="2419"/>
                  </a:lnTo>
                  <a:lnTo>
                    <a:pt x="2373" y="2428"/>
                  </a:lnTo>
                  <a:lnTo>
                    <a:pt x="2371" y="2432"/>
                  </a:lnTo>
                  <a:lnTo>
                    <a:pt x="2364" y="2432"/>
                  </a:lnTo>
                  <a:lnTo>
                    <a:pt x="2363" y="2436"/>
                  </a:lnTo>
                  <a:lnTo>
                    <a:pt x="2359" y="2436"/>
                  </a:lnTo>
                  <a:lnTo>
                    <a:pt x="2359" y="2438"/>
                  </a:lnTo>
                  <a:lnTo>
                    <a:pt x="2352" y="2442"/>
                  </a:lnTo>
                  <a:lnTo>
                    <a:pt x="2351" y="2446"/>
                  </a:lnTo>
                  <a:lnTo>
                    <a:pt x="2352" y="2454"/>
                  </a:lnTo>
                  <a:lnTo>
                    <a:pt x="2351" y="2462"/>
                  </a:lnTo>
                  <a:lnTo>
                    <a:pt x="2352" y="2465"/>
                  </a:lnTo>
                  <a:lnTo>
                    <a:pt x="2351" y="2471"/>
                  </a:lnTo>
                  <a:lnTo>
                    <a:pt x="2341" y="2472"/>
                  </a:lnTo>
                  <a:lnTo>
                    <a:pt x="2339" y="2476"/>
                  </a:lnTo>
                  <a:lnTo>
                    <a:pt x="2339" y="2486"/>
                  </a:lnTo>
                  <a:lnTo>
                    <a:pt x="2332" y="2487"/>
                  </a:lnTo>
                  <a:lnTo>
                    <a:pt x="2331" y="2494"/>
                  </a:lnTo>
                  <a:lnTo>
                    <a:pt x="2320" y="2498"/>
                  </a:lnTo>
                  <a:lnTo>
                    <a:pt x="2318" y="2499"/>
                  </a:lnTo>
                  <a:lnTo>
                    <a:pt x="2320" y="2503"/>
                  </a:lnTo>
                  <a:lnTo>
                    <a:pt x="2326" y="2507"/>
                  </a:lnTo>
                  <a:lnTo>
                    <a:pt x="2327" y="2517"/>
                  </a:lnTo>
                  <a:lnTo>
                    <a:pt x="2328" y="2517"/>
                  </a:lnTo>
                  <a:lnTo>
                    <a:pt x="2337" y="2520"/>
                  </a:lnTo>
                  <a:lnTo>
                    <a:pt x="2338" y="2521"/>
                  </a:lnTo>
                  <a:lnTo>
                    <a:pt x="2338" y="2524"/>
                  </a:lnTo>
                  <a:lnTo>
                    <a:pt x="2323" y="2536"/>
                  </a:lnTo>
                  <a:lnTo>
                    <a:pt x="2321" y="2540"/>
                  </a:lnTo>
                  <a:lnTo>
                    <a:pt x="2321" y="2546"/>
                  </a:lnTo>
                  <a:lnTo>
                    <a:pt x="2320" y="2548"/>
                  </a:lnTo>
                  <a:lnTo>
                    <a:pt x="2312" y="2556"/>
                  </a:lnTo>
                  <a:lnTo>
                    <a:pt x="2309" y="2558"/>
                  </a:lnTo>
                  <a:lnTo>
                    <a:pt x="2309" y="2562"/>
                  </a:lnTo>
                  <a:lnTo>
                    <a:pt x="2307" y="2566"/>
                  </a:lnTo>
                  <a:lnTo>
                    <a:pt x="2309" y="2570"/>
                  </a:lnTo>
                  <a:lnTo>
                    <a:pt x="2307" y="2574"/>
                  </a:lnTo>
                  <a:lnTo>
                    <a:pt x="2310" y="2578"/>
                  </a:lnTo>
                  <a:lnTo>
                    <a:pt x="2310" y="2583"/>
                  </a:lnTo>
                  <a:lnTo>
                    <a:pt x="2309" y="2591"/>
                  </a:lnTo>
                  <a:lnTo>
                    <a:pt x="2309" y="2606"/>
                  </a:lnTo>
                  <a:lnTo>
                    <a:pt x="2307" y="2606"/>
                  </a:lnTo>
                  <a:lnTo>
                    <a:pt x="2299" y="2610"/>
                  </a:lnTo>
                  <a:lnTo>
                    <a:pt x="2295" y="2613"/>
                  </a:lnTo>
                  <a:lnTo>
                    <a:pt x="2295" y="2618"/>
                  </a:lnTo>
                  <a:lnTo>
                    <a:pt x="2292" y="2621"/>
                  </a:lnTo>
                  <a:lnTo>
                    <a:pt x="2291" y="2629"/>
                  </a:lnTo>
                  <a:lnTo>
                    <a:pt x="2288" y="2633"/>
                  </a:lnTo>
                  <a:lnTo>
                    <a:pt x="2288" y="2641"/>
                  </a:lnTo>
                  <a:lnTo>
                    <a:pt x="2281" y="2648"/>
                  </a:lnTo>
                  <a:lnTo>
                    <a:pt x="2275" y="2656"/>
                  </a:lnTo>
                  <a:lnTo>
                    <a:pt x="2274" y="2660"/>
                  </a:lnTo>
                  <a:lnTo>
                    <a:pt x="2275" y="2663"/>
                  </a:lnTo>
                  <a:lnTo>
                    <a:pt x="2277" y="2672"/>
                  </a:lnTo>
                  <a:lnTo>
                    <a:pt x="2279" y="2674"/>
                  </a:lnTo>
                  <a:lnTo>
                    <a:pt x="2278" y="2678"/>
                  </a:lnTo>
                  <a:lnTo>
                    <a:pt x="2275" y="2685"/>
                  </a:lnTo>
                  <a:lnTo>
                    <a:pt x="2271" y="2693"/>
                  </a:lnTo>
                  <a:lnTo>
                    <a:pt x="2262" y="2685"/>
                  </a:lnTo>
                  <a:lnTo>
                    <a:pt x="2242" y="2668"/>
                  </a:lnTo>
                  <a:lnTo>
                    <a:pt x="2235" y="2666"/>
                  </a:lnTo>
                  <a:lnTo>
                    <a:pt x="2232" y="2652"/>
                  </a:lnTo>
                  <a:lnTo>
                    <a:pt x="2232" y="2628"/>
                  </a:lnTo>
                  <a:lnTo>
                    <a:pt x="2229" y="2610"/>
                  </a:lnTo>
                  <a:lnTo>
                    <a:pt x="2224" y="2558"/>
                  </a:lnTo>
                  <a:lnTo>
                    <a:pt x="2208" y="2520"/>
                  </a:lnTo>
                  <a:lnTo>
                    <a:pt x="2185" y="2469"/>
                  </a:lnTo>
                  <a:lnTo>
                    <a:pt x="2136" y="2401"/>
                  </a:lnTo>
                  <a:lnTo>
                    <a:pt x="2133" y="2397"/>
                  </a:lnTo>
                  <a:lnTo>
                    <a:pt x="2124" y="2383"/>
                  </a:lnTo>
                  <a:lnTo>
                    <a:pt x="2117" y="2375"/>
                  </a:lnTo>
                  <a:lnTo>
                    <a:pt x="2106" y="2359"/>
                  </a:lnTo>
                  <a:lnTo>
                    <a:pt x="2103" y="2349"/>
                  </a:lnTo>
                  <a:lnTo>
                    <a:pt x="2150" y="2337"/>
                  </a:lnTo>
                  <a:lnTo>
                    <a:pt x="2166" y="2329"/>
                  </a:lnTo>
                  <a:lnTo>
                    <a:pt x="2181" y="2292"/>
                  </a:lnTo>
                  <a:lnTo>
                    <a:pt x="2199" y="2255"/>
                  </a:lnTo>
                  <a:lnTo>
                    <a:pt x="2213" y="2218"/>
                  </a:lnTo>
                  <a:lnTo>
                    <a:pt x="2218" y="2178"/>
                  </a:lnTo>
                  <a:lnTo>
                    <a:pt x="2211" y="2178"/>
                  </a:lnTo>
                  <a:lnTo>
                    <a:pt x="2196" y="2176"/>
                  </a:lnTo>
                  <a:lnTo>
                    <a:pt x="2171" y="2173"/>
                  </a:lnTo>
                  <a:lnTo>
                    <a:pt x="2156" y="2186"/>
                  </a:lnTo>
                  <a:lnTo>
                    <a:pt x="2144" y="2188"/>
                  </a:lnTo>
                  <a:lnTo>
                    <a:pt x="2132" y="2180"/>
                  </a:lnTo>
                  <a:lnTo>
                    <a:pt x="2117" y="2180"/>
                  </a:lnTo>
                  <a:lnTo>
                    <a:pt x="2108" y="2172"/>
                  </a:lnTo>
                  <a:lnTo>
                    <a:pt x="2100" y="2173"/>
                  </a:lnTo>
                  <a:lnTo>
                    <a:pt x="2094" y="2180"/>
                  </a:lnTo>
                  <a:lnTo>
                    <a:pt x="2082" y="2178"/>
                  </a:lnTo>
                  <a:lnTo>
                    <a:pt x="2049" y="2180"/>
                  </a:lnTo>
                  <a:lnTo>
                    <a:pt x="2041" y="2176"/>
                  </a:lnTo>
                  <a:lnTo>
                    <a:pt x="2035" y="2173"/>
                  </a:lnTo>
                  <a:lnTo>
                    <a:pt x="2002" y="2161"/>
                  </a:lnTo>
                  <a:lnTo>
                    <a:pt x="1996" y="2151"/>
                  </a:lnTo>
                  <a:lnTo>
                    <a:pt x="1999" y="2138"/>
                  </a:lnTo>
                  <a:lnTo>
                    <a:pt x="2003" y="2101"/>
                  </a:lnTo>
                  <a:lnTo>
                    <a:pt x="2004" y="2094"/>
                  </a:lnTo>
                  <a:lnTo>
                    <a:pt x="1994" y="2091"/>
                  </a:lnTo>
                  <a:lnTo>
                    <a:pt x="1909" y="2049"/>
                  </a:lnTo>
                  <a:lnTo>
                    <a:pt x="1897" y="2042"/>
                  </a:lnTo>
                  <a:lnTo>
                    <a:pt x="1807" y="2005"/>
                  </a:lnTo>
                  <a:lnTo>
                    <a:pt x="1790" y="1997"/>
                  </a:lnTo>
                  <a:lnTo>
                    <a:pt x="1762" y="1986"/>
                  </a:lnTo>
                  <a:lnTo>
                    <a:pt x="1687" y="1968"/>
                  </a:lnTo>
                  <a:lnTo>
                    <a:pt x="1663" y="1960"/>
                  </a:lnTo>
                  <a:lnTo>
                    <a:pt x="1659" y="1960"/>
                  </a:lnTo>
                  <a:lnTo>
                    <a:pt x="1623" y="1960"/>
                  </a:lnTo>
                  <a:lnTo>
                    <a:pt x="1495" y="1964"/>
                  </a:lnTo>
                  <a:lnTo>
                    <a:pt x="1482" y="1964"/>
                  </a:lnTo>
                  <a:lnTo>
                    <a:pt x="1462" y="1967"/>
                  </a:lnTo>
                  <a:lnTo>
                    <a:pt x="1459" y="1964"/>
                  </a:lnTo>
                  <a:lnTo>
                    <a:pt x="1449" y="1962"/>
                  </a:lnTo>
                  <a:lnTo>
                    <a:pt x="1447" y="1962"/>
                  </a:lnTo>
                  <a:lnTo>
                    <a:pt x="1437" y="1960"/>
                  </a:lnTo>
                  <a:lnTo>
                    <a:pt x="1435" y="1960"/>
                  </a:lnTo>
                  <a:lnTo>
                    <a:pt x="1422" y="1956"/>
                  </a:lnTo>
                  <a:lnTo>
                    <a:pt x="1397" y="1951"/>
                  </a:lnTo>
                  <a:lnTo>
                    <a:pt x="1362" y="1942"/>
                  </a:lnTo>
                  <a:lnTo>
                    <a:pt x="1358" y="1930"/>
                  </a:lnTo>
                  <a:lnTo>
                    <a:pt x="1360" y="1910"/>
                  </a:lnTo>
                  <a:lnTo>
                    <a:pt x="1356" y="1906"/>
                  </a:lnTo>
                  <a:lnTo>
                    <a:pt x="1353" y="1889"/>
                  </a:lnTo>
                  <a:lnTo>
                    <a:pt x="1347" y="1881"/>
                  </a:lnTo>
                  <a:lnTo>
                    <a:pt x="1313" y="1866"/>
                  </a:lnTo>
                  <a:lnTo>
                    <a:pt x="1310" y="1858"/>
                  </a:lnTo>
                  <a:lnTo>
                    <a:pt x="1303" y="1857"/>
                  </a:lnTo>
                  <a:lnTo>
                    <a:pt x="1299" y="1861"/>
                  </a:lnTo>
                  <a:lnTo>
                    <a:pt x="1291" y="1847"/>
                  </a:lnTo>
                  <a:lnTo>
                    <a:pt x="1283" y="1848"/>
                  </a:lnTo>
                  <a:lnTo>
                    <a:pt x="1284" y="1835"/>
                  </a:lnTo>
                  <a:lnTo>
                    <a:pt x="1278" y="1828"/>
                  </a:lnTo>
                  <a:lnTo>
                    <a:pt x="1273" y="1828"/>
                  </a:lnTo>
                  <a:lnTo>
                    <a:pt x="1269" y="1818"/>
                  </a:lnTo>
                  <a:lnTo>
                    <a:pt x="1259" y="1816"/>
                  </a:lnTo>
                  <a:lnTo>
                    <a:pt x="1248" y="1799"/>
                  </a:lnTo>
                  <a:lnTo>
                    <a:pt x="1237" y="1799"/>
                  </a:lnTo>
                  <a:lnTo>
                    <a:pt x="1217" y="1794"/>
                  </a:lnTo>
                  <a:lnTo>
                    <a:pt x="1192" y="1777"/>
                  </a:lnTo>
                  <a:lnTo>
                    <a:pt x="1178" y="1771"/>
                  </a:lnTo>
                  <a:lnTo>
                    <a:pt x="1138" y="1769"/>
                  </a:lnTo>
                  <a:lnTo>
                    <a:pt x="1125" y="1764"/>
                  </a:lnTo>
                  <a:lnTo>
                    <a:pt x="1100" y="1764"/>
                  </a:lnTo>
                  <a:lnTo>
                    <a:pt x="1065" y="1757"/>
                  </a:lnTo>
                  <a:lnTo>
                    <a:pt x="1029" y="1746"/>
                  </a:lnTo>
                  <a:lnTo>
                    <a:pt x="1015" y="1737"/>
                  </a:lnTo>
                  <a:lnTo>
                    <a:pt x="1003" y="1739"/>
                  </a:lnTo>
                  <a:lnTo>
                    <a:pt x="986" y="1733"/>
                  </a:lnTo>
                  <a:lnTo>
                    <a:pt x="981" y="1734"/>
                  </a:lnTo>
                  <a:lnTo>
                    <a:pt x="974" y="1734"/>
                  </a:lnTo>
                  <a:lnTo>
                    <a:pt x="973" y="1732"/>
                  </a:lnTo>
                  <a:lnTo>
                    <a:pt x="974" y="1724"/>
                  </a:lnTo>
                  <a:lnTo>
                    <a:pt x="971" y="1719"/>
                  </a:lnTo>
                  <a:lnTo>
                    <a:pt x="965" y="1716"/>
                  </a:lnTo>
                  <a:lnTo>
                    <a:pt x="953" y="1720"/>
                  </a:lnTo>
                  <a:lnTo>
                    <a:pt x="921" y="1683"/>
                  </a:lnTo>
                  <a:lnTo>
                    <a:pt x="909" y="1675"/>
                  </a:lnTo>
                  <a:lnTo>
                    <a:pt x="903" y="1666"/>
                  </a:lnTo>
                  <a:lnTo>
                    <a:pt x="900" y="1653"/>
                  </a:lnTo>
                  <a:lnTo>
                    <a:pt x="872" y="1631"/>
                  </a:lnTo>
                  <a:lnTo>
                    <a:pt x="864" y="1629"/>
                  </a:lnTo>
                  <a:lnTo>
                    <a:pt x="843" y="1619"/>
                  </a:lnTo>
                  <a:lnTo>
                    <a:pt x="826" y="1617"/>
                  </a:lnTo>
                  <a:lnTo>
                    <a:pt x="826" y="1612"/>
                  </a:lnTo>
                  <a:lnTo>
                    <a:pt x="822" y="1611"/>
                  </a:lnTo>
                  <a:lnTo>
                    <a:pt x="807" y="1615"/>
                  </a:lnTo>
                  <a:lnTo>
                    <a:pt x="780" y="1612"/>
                  </a:lnTo>
                  <a:lnTo>
                    <a:pt x="776" y="1611"/>
                  </a:lnTo>
                  <a:lnTo>
                    <a:pt x="771" y="1603"/>
                  </a:lnTo>
                  <a:lnTo>
                    <a:pt x="750" y="1602"/>
                  </a:lnTo>
                  <a:lnTo>
                    <a:pt x="741" y="1596"/>
                  </a:lnTo>
                  <a:lnTo>
                    <a:pt x="710" y="1607"/>
                  </a:lnTo>
                  <a:lnTo>
                    <a:pt x="711" y="1611"/>
                  </a:lnTo>
                  <a:lnTo>
                    <a:pt x="686" y="1622"/>
                  </a:lnTo>
                  <a:lnTo>
                    <a:pt x="680" y="1611"/>
                  </a:lnTo>
                  <a:lnTo>
                    <a:pt x="671" y="1621"/>
                  </a:lnTo>
                  <a:lnTo>
                    <a:pt x="652" y="1625"/>
                  </a:lnTo>
                  <a:lnTo>
                    <a:pt x="643" y="1647"/>
                  </a:lnTo>
                  <a:lnTo>
                    <a:pt x="629" y="1656"/>
                  </a:lnTo>
                  <a:lnTo>
                    <a:pt x="614" y="1657"/>
                  </a:lnTo>
                  <a:lnTo>
                    <a:pt x="602" y="1652"/>
                  </a:lnTo>
                  <a:lnTo>
                    <a:pt x="594" y="1641"/>
                  </a:lnTo>
                  <a:lnTo>
                    <a:pt x="587" y="1622"/>
                  </a:lnTo>
                  <a:lnTo>
                    <a:pt x="566" y="1611"/>
                  </a:lnTo>
                  <a:lnTo>
                    <a:pt x="237" y="1611"/>
                  </a:lnTo>
                  <a:lnTo>
                    <a:pt x="166" y="1611"/>
                  </a:lnTo>
                  <a:lnTo>
                    <a:pt x="166" y="1331"/>
                  </a:lnTo>
                  <a:lnTo>
                    <a:pt x="166" y="1312"/>
                  </a:lnTo>
                  <a:lnTo>
                    <a:pt x="160" y="1304"/>
                  </a:lnTo>
                  <a:lnTo>
                    <a:pt x="156" y="1308"/>
                  </a:lnTo>
                  <a:lnTo>
                    <a:pt x="160" y="1302"/>
                  </a:lnTo>
                  <a:lnTo>
                    <a:pt x="157" y="1300"/>
                  </a:lnTo>
                  <a:lnTo>
                    <a:pt x="156" y="1298"/>
                  </a:lnTo>
                  <a:lnTo>
                    <a:pt x="155" y="1296"/>
                  </a:lnTo>
                  <a:lnTo>
                    <a:pt x="153" y="1296"/>
                  </a:lnTo>
                  <a:lnTo>
                    <a:pt x="152" y="1292"/>
                  </a:lnTo>
                  <a:lnTo>
                    <a:pt x="151" y="1289"/>
                  </a:lnTo>
                  <a:lnTo>
                    <a:pt x="149" y="1287"/>
                  </a:lnTo>
                  <a:lnTo>
                    <a:pt x="149" y="1285"/>
                  </a:lnTo>
                  <a:lnTo>
                    <a:pt x="148" y="1283"/>
                  </a:lnTo>
                  <a:lnTo>
                    <a:pt x="146" y="1283"/>
                  </a:lnTo>
                  <a:lnTo>
                    <a:pt x="146" y="1281"/>
                  </a:lnTo>
                  <a:lnTo>
                    <a:pt x="145" y="1280"/>
                  </a:lnTo>
                  <a:lnTo>
                    <a:pt x="144" y="1277"/>
                  </a:lnTo>
                  <a:lnTo>
                    <a:pt x="142" y="1276"/>
                  </a:lnTo>
                  <a:lnTo>
                    <a:pt x="141" y="1273"/>
                  </a:lnTo>
                  <a:lnTo>
                    <a:pt x="140" y="1269"/>
                  </a:lnTo>
                  <a:lnTo>
                    <a:pt x="138" y="1269"/>
                  </a:lnTo>
                  <a:lnTo>
                    <a:pt x="135" y="1267"/>
                  </a:lnTo>
                  <a:lnTo>
                    <a:pt x="132" y="1264"/>
                  </a:lnTo>
                  <a:lnTo>
                    <a:pt x="131" y="1263"/>
                  </a:lnTo>
                  <a:lnTo>
                    <a:pt x="130" y="1260"/>
                  </a:lnTo>
                  <a:lnTo>
                    <a:pt x="128" y="1260"/>
                  </a:lnTo>
                  <a:lnTo>
                    <a:pt x="127" y="1259"/>
                  </a:lnTo>
                  <a:lnTo>
                    <a:pt x="124" y="1256"/>
                  </a:lnTo>
                  <a:lnTo>
                    <a:pt x="123" y="1256"/>
                  </a:lnTo>
                  <a:lnTo>
                    <a:pt x="121" y="1255"/>
                  </a:lnTo>
                  <a:lnTo>
                    <a:pt x="120" y="1252"/>
                  </a:lnTo>
                  <a:lnTo>
                    <a:pt x="119" y="1250"/>
                  </a:lnTo>
                  <a:lnTo>
                    <a:pt x="119" y="1247"/>
                  </a:lnTo>
                  <a:lnTo>
                    <a:pt x="119" y="1244"/>
                  </a:lnTo>
                  <a:lnTo>
                    <a:pt x="120" y="1242"/>
                  </a:lnTo>
                  <a:lnTo>
                    <a:pt x="120" y="1240"/>
                  </a:lnTo>
                  <a:lnTo>
                    <a:pt x="121" y="1238"/>
                  </a:lnTo>
                  <a:lnTo>
                    <a:pt x="121" y="1237"/>
                  </a:lnTo>
                  <a:lnTo>
                    <a:pt x="123" y="1234"/>
                  </a:lnTo>
                  <a:lnTo>
                    <a:pt x="124" y="1232"/>
                  </a:lnTo>
                  <a:lnTo>
                    <a:pt x="124" y="1230"/>
                  </a:lnTo>
                  <a:lnTo>
                    <a:pt x="126" y="1227"/>
                  </a:lnTo>
                  <a:lnTo>
                    <a:pt x="127" y="1227"/>
                  </a:lnTo>
                  <a:lnTo>
                    <a:pt x="128" y="1225"/>
                  </a:lnTo>
                  <a:lnTo>
                    <a:pt x="128" y="1223"/>
                  </a:lnTo>
                  <a:lnTo>
                    <a:pt x="130" y="1221"/>
                  </a:lnTo>
                  <a:lnTo>
                    <a:pt x="131" y="1219"/>
                  </a:lnTo>
                  <a:lnTo>
                    <a:pt x="132" y="1215"/>
                  </a:lnTo>
                  <a:lnTo>
                    <a:pt x="134" y="1214"/>
                  </a:lnTo>
                  <a:lnTo>
                    <a:pt x="134" y="1212"/>
                  </a:lnTo>
                  <a:lnTo>
                    <a:pt x="135" y="1210"/>
                  </a:lnTo>
                  <a:lnTo>
                    <a:pt x="137" y="1207"/>
                  </a:lnTo>
                  <a:lnTo>
                    <a:pt x="138" y="1205"/>
                  </a:lnTo>
                  <a:lnTo>
                    <a:pt x="140" y="1202"/>
                  </a:lnTo>
                  <a:lnTo>
                    <a:pt x="141" y="1201"/>
                  </a:lnTo>
                  <a:lnTo>
                    <a:pt x="142" y="1198"/>
                  </a:lnTo>
                  <a:lnTo>
                    <a:pt x="144" y="1197"/>
                  </a:lnTo>
                  <a:lnTo>
                    <a:pt x="145" y="1194"/>
                  </a:lnTo>
                  <a:lnTo>
                    <a:pt x="146" y="1193"/>
                  </a:lnTo>
                  <a:lnTo>
                    <a:pt x="146" y="1192"/>
                  </a:lnTo>
                  <a:lnTo>
                    <a:pt x="146" y="1189"/>
                  </a:lnTo>
                  <a:lnTo>
                    <a:pt x="148" y="1187"/>
                  </a:lnTo>
                  <a:lnTo>
                    <a:pt x="146" y="1185"/>
                  </a:lnTo>
                  <a:lnTo>
                    <a:pt x="145" y="1182"/>
                  </a:lnTo>
                  <a:lnTo>
                    <a:pt x="145" y="1180"/>
                  </a:lnTo>
                  <a:lnTo>
                    <a:pt x="144" y="1179"/>
                  </a:lnTo>
                  <a:lnTo>
                    <a:pt x="142" y="1176"/>
                  </a:lnTo>
                  <a:lnTo>
                    <a:pt x="142" y="1175"/>
                  </a:lnTo>
                  <a:lnTo>
                    <a:pt x="141" y="1172"/>
                  </a:lnTo>
                  <a:lnTo>
                    <a:pt x="140" y="1170"/>
                  </a:lnTo>
                  <a:lnTo>
                    <a:pt x="140" y="1169"/>
                  </a:lnTo>
                  <a:lnTo>
                    <a:pt x="138" y="1167"/>
                  </a:lnTo>
                  <a:lnTo>
                    <a:pt x="138" y="1165"/>
                  </a:lnTo>
                  <a:lnTo>
                    <a:pt x="137" y="1163"/>
                  </a:lnTo>
                  <a:lnTo>
                    <a:pt x="137" y="1162"/>
                  </a:lnTo>
                  <a:lnTo>
                    <a:pt x="135" y="1159"/>
                  </a:lnTo>
                  <a:lnTo>
                    <a:pt x="135" y="1156"/>
                  </a:lnTo>
                  <a:lnTo>
                    <a:pt x="134" y="1154"/>
                  </a:lnTo>
                  <a:lnTo>
                    <a:pt x="132" y="1151"/>
                  </a:lnTo>
                  <a:lnTo>
                    <a:pt x="132" y="1150"/>
                  </a:lnTo>
                  <a:lnTo>
                    <a:pt x="132" y="1147"/>
                  </a:lnTo>
                  <a:lnTo>
                    <a:pt x="131" y="1144"/>
                  </a:lnTo>
                  <a:lnTo>
                    <a:pt x="131" y="1143"/>
                  </a:lnTo>
                  <a:lnTo>
                    <a:pt x="132" y="1140"/>
                  </a:lnTo>
                  <a:lnTo>
                    <a:pt x="132" y="1138"/>
                  </a:lnTo>
                  <a:lnTo>
                    <a:pt x="132" y="1135"/>
                  </a:lnTo>
                  <a:lnTo>
                    <a:pt x="132" y="1134"/>
                  </a:lnTo>
                  <a:lnTo>
                    <a:pt x="132" y="1131"/>
                  </a:lnTo>
                  <a:lnTo>
                    <a:pt x="132" y="1130"/>
                  </a:lnTo>
                  <a:lnTo>
                    <a:pt x="132" y="1127"/>
                  </a:lnTo>
                  <a:lnTo>
                    <a:pt x="134" y="1126"/>
                  </a:lnTo>
                  <a:lnTo>
                    <a:pt x="134" y="1123"/>
                  </a:lnTo>
                  <a:lnTo>
                    <a:pt x="134" y="1122"/>
                  </a:lnTo>
                  <a:lnTo>
                    <a:pt x="134" y="1118"/>
                  </a:lnTo>
                  <a:lnTo>
                    <a:pt x="134" y="1117"/>
                  </a:lnTo>
                  <a:lnTo>
                    <a:pt x="134" y="1115"/>
                  </a:lnTo>
                  <a:lnTo>
                    <a:pt x="134" y="1113"/>
                  </a:lnTo>
                  <a:lnTo>
                    <a:pt x="134" y="1111"/>
                  </a:lnTo>
                  <a:lnTo>
                    <a:pt x="132" y="1109"/>
                  </a:lnTo>
                  <a:lnTo>
                    <a:pt x="132" y="1107"/>
                  </a:lnTo>
                  <a:lnTo>
                    <a:pt x="131" y="1105"/>
                  </a:lnTo>
                  <a:lnTo>
                    <a:pt x="131" y="1103"/>
                  </a:lnTo>
                  <a:lnTo>
                    <a:pt x="130" y="1102"/>
                  </a:lnTo>
                  <a:lnTo>
                    <a:pt x="130" y="1100"/>
                  </a:lnTo>
                  <a:lnTo>
                    <a:pt x="128" y="1095"/>
                  </a:lnTo>
                  <a:lnTo>
                    <a:pt x="128" y="1092"/>
                  </a:lnTo>
                  <a:lnTo>
                    <a:pt x="127" y="1089"/>
                  </a:lnTo>
                  <a:lnTo>
                    <a:pt x="127" y="1086"/>
                  </a:lnTo>
                  <a:lnTo>
                    <a:pt x="127" y="1082"/>
                  </a:lnTo>
                  <a:lnTo>
                    <a:pt x="126" y="1080"/>
                  </a:lnTo>
                  <a:lnTo>
                    <a:pt x="124" y="1078"/>
                  </a:lnTo>
                  <a:lnTo>
                    <a:pt x="124" y="1077"/>
                  </a:lnTo>
                  <a:lnTo>
                    <a:pt x="123" y="1073"/>
                  </a:lnTo>
                  <a:lnTo>
                    <a:pt x="121" y="1073"/>
                  </a:lnTo>
                  <a:lnTo>
                    <a:pt x="120" y="1072"/>
                  </a:lnTo>
                  <a:lnTo>
                    <a:pt x="119" y="1069"/>
                  </a:lnTo>
                  <a:lnTo>
                    <a:pt x="117" y="1069"/>
                  </a:lnTo>
                  <a:lnTo>
                    <a:pt x="116" y="1067"/>
                  </a:lnTo>
                  <a:lnTo>
                    <a:pt x="115" y="1065"/>
                  </a:lnTo>
                  <a:lnTo>
                    <a:pt x="113" y="1063"/>
                  </a:lnTo>
                  <a:lnTo>
                    <a:pt x="112" y="1060"/>
                  </a:lnTo>
                  <a:lnTo>
                    <a:pt x="109" y="1060"/>
                  </a:lnTo>
                  <a:lnTo>
                    <a:pt x="107" y="1058"/>
                  </a:lnTo>
                  <a:lnTo>
                    <a:pt x="106" y="1056"/>
                  </a:lnTo>
                  <a:lnTo>
                    <a:pt x="103" y="1056"/>
                  </a:lnTo>
                  <a:lnTo>
                    <a:pt x="102" y="1055"/>
                  </a:lnTo>
                  <a:lnTo>
                    <a:pt x="101" y="1053"/>
                  </a:lnTo>
                  <a:lnTo>
                    <a:pt x="98" y="1051"/>
                  </a:lnTo>
                  <a:lnTo>
                    <a:pt x="96" y="1051"/>
                  </a:lnTo>
                  <a:lnTo>
                    <a:pt x="95" y="1050"/>
                  </a:lnTo>
                  <a:lnTo>
                    <a:pt x="94" y="1047"/>
                  </a:lnTo>
                  <a:lnTo>
                    <a:pt x="92" y="1047"/>
                  </a:lnTo>
                  <a:lnTo>
                    <a:pt x="91" y="1044"/>
                  </a:lnTo>
                  <a:lnTo>
                    <a:pt x="90" y="1044"/>
                  </a:lnTo>
                  <a:lnTo>
                    <a:pt x="88" y="1043"/>
                  </a:lnTo>
                  <a:lnTo>
                    <a:pt x="87" y="1040"/>
                  </a:lnTo>
                  <a:lnTo>
                    <a:pt x="85" y="1038"/>
                  </a:lnTo>
                  <a:lnTo>
                    <a:pt x="84" y="1036"/>
                  </a:lnTo>
                  <a:lnTo>
                    <a:pt x="84" y="1033"/>
                  </a:lnTo>
                  <a:lnTo>
                    <a:pt x="82" y="1033"/>
                  </a:lnTo>
                  <a:lnTo>
                    <a:pt x="81" y="1032"/>
                  </a:lnTo>
                  <a:lnTo>
                    <a:pt x="80" y="1031"/>
                  </a:lnTo>
                  <a:lnTo>
                    <a:pt x="78" y="1030"/>
                  </a:lnTo>
                  <a:lnTo>
                    <a:pt x="77" y="1028"/>
                  </a:lnTo>
                  <a:lnTo>
                    <a:pt x="74" y="1027"/>
                  </a:lnTo>
                  <a:lnTo>
                    <a:pt x="74" y="1024"/>
                  </a:lnTo>
                  <a:lnTo>
                    <a:pt x="73" y="1024"/>
                  </a:lnTo>
                  <a:lnTo>
                    <a:pt x="71" y="1024"/>
                  </a:lnTo>
                  <a:lnTo>
                    <a:pt x="70" y="1022"/>
                  </a:lnTo>
                  <a:lnTo>
                    <a:pt x="68" y="1022"/>
                  </a:lnTo>
                  <a:lnTo>
                    <a:pt x="66" y="1020"/>
                  </a:lnTo>
                  <a:lnTo>
                    <a:pt x="64" y="1019"/>
                  </a:lnTo>
                  <a:lnTo>
                    <a:pt x="63" y="1018"/>
                  </a:lnTo>
                  <a:lnTo>
                    <a:pt x="62" y="1018"/>
                  </a:lnTo>
                  <a:lnTo>
                    <a:pt x="59" y="1015"/>
                  </a:lnTo>
                  <a:lnTo>
                    <a:pt x="57" y="1015"/>
                  </a:lnTo>
                  <a:lnTo>
                    <a:pt x="56" y="1014"/>
                  </a:lnTo>
                  <a:lnTo>
                    <a:pt x="55" y="1011"/>
                  </a:lnTo>
                  <a:lnTo>
                    <a:pt x="53" y="1011"/>
                  </a:lnTo>
                  <a:lnTo>
                    <a:pt x="52" y="1010"/>
                  </a:lnTo>
                  <a:lnTo>
                    <a:pt x="49" y="1008"/>
                  </a:lnTo>
                  <a:lnTo>
                    <a:pt x="49" y="1007"/>
                  </a:lnTo>
                  <a:lnTo>
                    <a:pt x="48" y="1005"/>
                  </a:lnTo>
                  <a:lnTo>
                    <a:pt x="46" y="1002"/>
                  </a:lnTo>
                  <a:lnTo>
                    <a:pt x="45" y="1002"/>
                  </a:lnTo>
                  <a:lnTo>
                    <a:pt x="45" y="998"/>
                  </a:lnTo>
                  <a:lnTo>
                    <a:pt x="43" y="996"/>
                  </a:lnTo>
                  <a:lnTo>
                    <a:pt x="42" y="995"/>
                  </a:lnTo>
                  <a:lnTo>
                    <a:pt x="41" y="993"/>
                  </a:lnTo>
                  <a:lnTo>
                    <a:pt x="41" y="991"/>
                  </a:lnTo>
                  <a:lnTo>
                    <a:pt x="39" y="989"/>
                  </a:lnTo>
                  <a:lnTo>
                    <a:pt x="38" y="988"/>
                  </a:lnTo>
                  <a:lnTo>
                    <a:pt x="37" y="986"/>
                  </a:lnTo>
                  <a:lnTo>
                    <a:pt x="37" y="985"/>
                  </a:lnTo>
                  <a:lnTo>
                    <a:pt x="35" y="983"/>
                  </a:lnTo>
                  <a:lnTo>
                    <a:pt x="34" y="982"/>
                  </a:lnTo>
                  <a:lnTo>
                    <a:pt x="32" y="980"/>
                  </a:lnTo>
                  <a:lnTo>
                    <a:pt x="31" y="980"/>
                  </a:lnTo>
                  <a:lnTo>
                    <a:pt x="30" y="980"/>
                  </a:lnTo>
                  <a:lnTo>
                    <a:pt x="31" y="976"/>
                  </a:lnTo>
                  <a:lnTo>
                    <a:pt x="31" y="973"/>
                  </a:lnTo>
                  <a:lnTo>
                    <a:pt x="31" y="971"/>
                  </a:lnTo>
                  <a:lnTo>
                    <a:pt x="31" y="970"/>
                  </a:lnTo>
                  <a:lnTo>
                    <a:pt x="32" y="966"/>
                  </a:lnTo>
                  <a:lnTo>
                    <a:pt x="32" y="965"/>
                  </a:lnTo>
                  <a:lnTo>
                    <a:pt x="34" y="963"/>
                  </a:lnTo>
                  <a:lnTo>
                    <a:pt x="32" y="961"/>
                  </a:lnTo>
                  <a:lnTo>
                    <a:pt x="32" y="957"/>
                  </a:lnTo>
                  <a:lnTo>
                    <a:pt x="32" y="956"/>
                  </a:lnTo>
                  <a:lnTo>
                    <a:pt x="32" y="953"/>
                  </a:lnTo>
                  <a:lnTo>
                    <a:pt x="31" y="952"/>
                  </a:lnTo>
                  <a:lnTo>
                    <a:pt x="30" y="951"/>
                  </a:lnTo>
                  <a:lnTo>
                    <a:pt x="30" y="948"/>
                  </a:lnTo>
                  <a:lnTo>
                    <a:pt x="28" y="946"/>
                  </a:lnTo>
                  <a:lnTo>
                    <a:pt x="27" y="944"/>
                  </a:lnTo>
                  <a:lnTo>
                    <a:pt x="25" y="944"/>
                  </a:lnTo>
                  <a:lnTo>
                    <a:pt x="25" y="943"/>
                  </a:lnTo>
                  <a:lnTo>
                    <a:pt x="24" y="940"/>
                  </a:lnTo>
                  <a:lnTo>
                    <a:pt x="24" y="939"/>
                  </a:lnTo>
                  <a:lnTo>
                    <a:pt x="23" y="937"/>
                  </a:lnTo>
                  <a:lnTo>
                    <a:pt x="23" y="936"/>
                  </a:lnTo>
                  <a:lnTo>
                    <a:pt x="23" y="933"/>
                  </a:lnTo>
                  <a:lnTo>
                    <a:pt x="21" y="931"/>
                  </a:lnTo>
                  <a:lnTo>
                    <a:pt x="20" y="929"/>
                  </a:lnTo>
                  <a:lnTo>
                    <a:pt x="20" y="927"/>
                  </a:lnTo>
                  <a:lnTo>
                    <a:pt x="18" y="927"/>
                  </a:lnTo>
                  <a:lnTo>
                    <a:pt x="16" y="924"/>
                  </a:lnTo>
                  <a:lnTo>
                    <a:pt x="14" y="921"/>
                  </a:lnTo>
                  <a:lnTo>
                    <a:pt x="13" y="921"/>
                  </a:lnTo>
                  <a:lnTo>
                    <a:pt x="10" y="920"/>
                  </a:lnTo>
                  <a:lnTo>
                    <a:pt x="10" y="918"/>
                  </a:lnTo>
                  <a:lnTo>
                    <a:pt x="9" y="918"/>
                  </a:lnTo>
                  <a:lnTo>
                    <a:pt x="9" y="915"/>
                  </a:lnTo>
                  <a:lnTo>
                    <a:pt x="10" y="912"/>
                  </a:lnTo>
                  <a:lnTo>
                    <a:pt x="10" y="911"/>
                  </a:lnTo>
                  <a:lnTo>
                    <a:pt x="10" y="908"/>
                  </a:lnTo>
                  <a:lnTo>
                    <a:pt x="11" y="904"/>
                  </a:lnTo>
                  <a:lnTo>
                    <a:pt x="11" y="903"/>
                  </a:lnTo>
                  <a:lnTo>
                    <a:pt x="11" y="901"/>
                  </a:lnTo>
                  <a:lnTo>
                    <a:pt x="11" y="899"/>
                  </a:lnTo>
                  <a:lnTo>
                    <a:pt x="11" y="895"/>
                  </a:lnTo>
                  <a:lnTo>
                    <a:pt x="10" y="895"/>
                  </a:lnTo>
                  <a:lnTo>
                    <a:pt x="9" y="894"/>
                  </a:lnTo>
                  <a:lnTo>
                    <a:pt x="7" y="891"/>
                  </a:lnTo>
                  <a:lnTo>
                    <a:pt x="6" y="889"/>
                  </a:lnTo>
                  <a:lnTo>
                    <a:pt x="5" y="886"/>
                  </a:lnTo>
                  <a:lnTo>
                    <a:pt x="3" y="882"/>
                  </a:lnTo>
                  <a:lnTo>
                    <a:pt x="2" y="882"/>
                  </a:lnTo>
                  <a:lnTo>
                    <a:pt x="2" y="881"/>
                  </a:lnTo>
                  <a:lnTo>
                    <a:pt x="2" y="878"/>
                  </a:lnTo>
                  <a:lnTo>
                    <a:pt x="3" y="876"/>
                  </a:lnTo>
                  <a:lnTo>
                    <a:pt x="3" y="873"/>
                  </a:lnTo>
                  <a:lnTo>
                    <a:pt x="3" y="871"/>
                  </a:lnTo>
                  <a:lnTo>
                    <a:pt x="5" y="869"/>
                  </a:lnTo>
                  <a:lnTo>
                    <a:pt x="5" y="867"/>
                  </a:lnTo>
                  <a:lnTo>
                    <a:pt x="5" y="866"/>
                  </a:lnTo>
                  <a:lnTo>
                    <a:pt x="5" y="864"/>
                  </a:lnTo>
                  <a:lnTo>
                    <a:pt x="3" y="859"/>
                  </a:lnTo>
                  <a:lnTo>
                    <a:pt x="2" y="858"/>
                  </a:lnTo>
                  <a:lnTo>
                    <a:pt x="2" y="856"/>
                  </a:lnTo>
                  <a:lnTo>
                    <a:pt x="3" y="854"/>
                  </a:lnTo>
                  <a:lnTo>
                    <a:pt x="3" y="853"/>
                  </a:lnTo>
                  <a:lnTo>
                    <a:pt x="5" y="850"/>
                  </a:lnTo>
                  <a:lnTo>
                    <a:pt x="5" y="849"/>
                  </a:lnTo>
                  <a:lnTo>
                    <a:pt x="6" y="846"/>
                  </a:lnTo>
                  <a:lnTo>
                    <a:pt x="7" y="845"/>
                  </a:lnTo>
                  <a:lnTo>
                    <a:pt x="10" y="844"/>
                  </a:lnTo>
                  <a:lnTo>
                    <a:pt x="11" y="842"/>
                  </a:lnTo>
                  <a:lnTo>
                    <a:pt x="11" y="841"/>
                  </a:lnTo>
                  <a:lnTo>
                    <a:pt x="13" y="837"/>
                  </a:lnTo>
                  <a:lnTo>
                    <a:pt x="13" y="836"/>
                  </a:lnTo>
                  <a:lnTo>
                    <a:pt x="11" y="833"/>
                  </a:lnTo>
                  <a:lnTo>
                    <a:pt x="10" y="831"/>
                  </a:lnTo>
                  <a:lnTo>
                    <a:pt x="10" y="828"/>
                  </a:lnTo>
                  <a:lnTo>
                    <a:pt x="9" y="827"/>
                  </a:lnTo>
                  <a:lnTo>
                    <a:pt x="9" y="824"/>
                  </a:lnTo>
                  <a:lnTo>
                    <a:pt x="7" y="821"/>
                  </a:lnTo>
                  <a:lnTo>
                    <a:pt x="6" y="820"/>
                  </a:lnTo>
                  <a:lnTo>
                    <a:pt x="5" y="817"/>
                  </a:lnTo>
                  <a:lnTo>
                    <a:pt x="3" y="815"/>
                  </a:lnTo>
                  <a:lnTo>
                    <a:pt x="2" y="814"/>
                  </a:lnTo>
                  <a:lnTo>
                    <a:pt x="2" y="811"/>
                  </a:lnTo>
                  <a:lnTo>
                    <a:pt x="0" y="808"/>
                  </a:lnTo>
                  <a:lnTo>
                    <a:pt x="0" y="807"/>
                  </a:lnTo>
                  <a:lnTo>
                    <a:pt x="0" y="804"/>
                  </a:lnTo>
                  <a:lnTo>
                    <a:pt x="2" y="804"/>
                  </a:lnTo>
                  <a:lnTo>
                    <a:pt x="5" y="802"/>
                  </a:lnTo>
                  <a:lnTo>
                    <a:pt x="6" y="802"/>
                  </a:lnTo>
                  <a:lnTo>
                    <a:pt x="7" y="802"/>
                  </a:lnTo>
                  <a:lnTo>
                    <a:pt x="9" y="802"/>
                  </a:lnTo>
                  <a:lnTo>
                    <a:pt x="11" y="800"/>
                  </a:lnTo>
                  <a:lnTo>
                    <a:pt x="13" y="800"/>
                  </a:lnTo>
                  <a:lnTo>
                    <a:pt x="14" y="798"/>
                  </a:lnTo>
                  <a:lnTo>
                    <a:pt x="16" y="798"/>
                  </a:lnTo>
                  <a:lnTo>
                    <a:pt x="18" y="798"/>
                  </a:lnTo>
                  <a:lnTo>
                    <a:pt x="20" y="798"/>
                  </a:lnTo>
                  <a:lnTo>
                    <a:pt x="21" y="798"/>
                  </a:lnTo>
                  <a:lnTo>
                    <a:pt x="24" y="798"/>
                  </a:lnTo>
                  <a:lnTo>
                    <a:pt x="25" y="796"/>
                  </a:lnTo>
                  <a:lnTo>
                    <a:pt x="27" y="796"/>
                  </a:lnTo>
                  <a:lnTo>
                    <a:pt x="30" y="796"/>
                  </a:lnTo>
                  <a:lnTo>
                    <a:pt x="31" y="795"/>
                  </a:lnTo>
                  <a:lnTo>
                    <a:pt x="32" y="795"/>
                  </a:lnTo>
                  <a:lnTo>
                    <a:pt x="35" y="795"/>
                  </a:lnTo>
                  <a:lnTo>
                    <a:pt x="37" y="792"/>
                  </a:lnTo>
                  <a:lnTo>
                    <a:pt x="39" y="792"/>
                  </a:lnTo>
                  <a:lnTo>
                    <a:pt x="41" y="792"/>
                  </a:lnTo>
                  <a:lnTo>
                    <a:pt x="42" y="792"/>
                  </a:lnTo>
                  <a:lnTo>
                    <a:pt x="45" y="792"/>
                  </a:lnTo>
                  <a:lnTo>
                    <a:pt x="46" y="791"/>
                  </a:lnTo>
                  <a:lnTo>
                    <a:pt x="48" y="791"/>
                  </a:lnTo>
                  <a:lnTo>
                    <a:pt x="51" y="791"/>
                  </a:lnTo>
                  <a:lnTo>
                    <a:pt x="52" y="789"/>
                  </a:lnTo>
                  <a:lnTo>
                    <a:pt x="53" y="789"/>
                  </a:lnTo>
                  <a:lnTo>
                    <a:pt x="55" y="789"/>
                  </a:lnTo>
                  <a:lnTo>
                    <a:pt x="57" y="789"/>
                  </a:lnTo>
                  <a:lnTo>
                    <a:pt x="59" y="789"/>
                  </a:lnTo>
                  <a:lnTo>
                    <a:pt x="60" y="789"/>
                  </a:lnTo>
                  <a:lnTo>
                    <a:pt x="63" y="787"/>
                  </a:lnTo>
                  <a:lnTo>
                    <a:pt x="66" y="787"/>
                  </a:lnTo>
                  <a:lnTo>
                    <a:pt x="67" y="786"/>
                  </a:lnTo>
                  <a:lnTo>
                    <a:pt x="68" y="786"/>
                  </a:lnTo>
                  <a:lnTo>
                    <a:pt x="71" y="784"/>
                  </a:lnTo>
                  <a:lnTo>
                    <a:pt x="73" y="784"/>
                  </a:lnTo>
                  <a:lnTo>
                    <a:pt x="76" y="784"/>
                  </a:lnTo>
                  <a:lnTo>
                    <a:pt x="77" y="784"/>
                  </a:lnTo>
                  <a:lnTo>
                    <a:pt x="80" y="783"/>
                  </a:lnTo>
                  <a:lnTo>
                    <a:pt x="81" y="783"/>
                  </a:lnTo>
                  <a:lnTo>
                    <a:pt x="84" y="783"/>
                  </a:lnTo>
                  <a:lnTo>
                    <a:pt x="85" y="782"/>
                  </a:lnTo>
                  <a:lnTo>
                    <a:pt x="87" y="782"/>
                  </a:lnTo>
                  <a:lnTo>
                    <a:pt x="90" y="779"/>
                  </a:lnTo>
                  <a:lnTo>
                    <a:pt x="92" y="779"/>
                  </a:lnTo>
                  <a:lnTo>
                    <a:pt x="94" y="779"/>
                  </a:lnTo>
                  <a:lnTo>
                    <a:pt x="96" y="778"/>
                  </a:lnTo>
                  <a:lnTo>
                    <a:pt x="98" y="778"/>
                  </a:lnTo>
                  <a:lnTo>
                    <a:pt x="99" y="778"/>
                  </a:lnTo>
                  <a:lnTo>
                    <a:pt x="102" y="778"/>
                  </a:lnTo>
                  <a:lnTo>
                    <a:pt x="105" y="778"/>
                  </a:lnTo>
                  <a:lnTo>
                    <a:pt x="106" y="778"/>
                  </a:lnTo>
                  <a:lnTo>
                    <a:pt x="107" y="775"/>
                  </a:lnTo>
                  <a:lnTo>
                    <a:pt x="110" y="775"/>
                  </a:lnTo>
                  <a:lnTo>
                    <a:pt x="112" y="775"/>
                  </a:lnTo>
                  <a:lnTo>
                    <a:pt x="113" y="775"/>
                  </a:lnTo>
                  <a:lnTo>
                    <a:pt x="116" y="775"/>
                  </a:lnTo>
                  <a:lnTo>
                    <a:pt x="119" y="774"/>
                  </a:lnTo>
                  <a:lnTo>
                    <a:pt x="120" y="774"/>
                  </a:lnTo>
                  <a:lnTo>
                    <a:pt x="123" y="773"/>
                  </a:lnTo>
                  <a:lnTo>
                    <a:pt x="124" y="771"/>
                  </a:lnTo>
                  <a:lnTo>
                    <a:pt x="127" y="771"/>
                  </a:lnTo>
                  <a:lnTo>
                    <a:pt x="130" y="770"/>
                  </a:lnTo>
                  <a:lnTo>
                    <a:pt x="131" y="769"/>
                  </a:lnTo>
                  <a:lnTo>
                    <a:pt x="134" y="766"/>
                  </a:lnTo>
                  <a:lnTo>
                    <a:pt x="135" y="766"/>
                  </a:lnTo>
                  <a:lnTo>
                    <a:pt x="138" y="766"/>
                  </a:lnTo>
                  <a:lnTo>
                    <a:pt x="140" y="766"/>
                  </a:lnTo>
                  <a:lnTo>
                    <a:pt x="142" y="765"/>
                  </a:lnTo>
                  <a:lnTo>
                    <a:pt x="144" y="762"/>
                  </a:lnTo>
                  <a:lnTo>
                    <a:pt x="146" y="762"/>
                  </a:lnTo>
                  <a:lnTo>
                    <a:pt x="148" y="762"/>
                  </a:lnTo>
                  <a:lnTo>
                    <a:pt x="149" y="761"/>
                  </a:lnTo>
                  <a:lnTo>
                    <a:pt x="152" y="759"/>
                  </a:lnTo>
                  <a:lnTo>
                    <a:pt x="155" y="759"/>
                  </a:lnTo>
                  <a:lnTo>
                    <a:pt x="156" y="757"/>
                  </a:lnTo>
                  <a:lnTo>
                    <a:pt x="157" y="757"/>
                  </a:lnTo>
                  <a:lnTo>
                    <a:pt x="160" y="755"/>
                  </a:lnTo>
                  <a:lnTo>
                    <a:pt x="162" y="755"/>
                  </a:lnTo>
                  <a:lnTo>
                    <a:pt x="163" y="753"/>
                  </a:lnTo>
                  <a:lnTo>
                    <a:pt x="166" y="753"/>
                  </a:lnTo>
                  <a:lnTo>
                    <a:pt x="167" y="753"/>
                  </a:lnTo>
                  <a:lnTo>
                    <a:pt x="170" y="752"/>
                  </a:lnTo>
                  <a:lnTo>
                    <a:pt x="171" y="750"/>
                  </a:lnTo>
                  <a:lnTo>
                    <a:pt x="173" y="750"/>
                  </a:lnTo>
                  <a:lnTo>
                    <a:pt x="176" y="749"/>
                  </a:lnTo>
                  <a:lnTo>
                    <a:pt x="177" y="748"/>
                  </a:lnTo>
                  <a:lnTo>
                    <a:pt x="179" y="748"/>
                  </a:lnTo>
                  <a:lnTo>
                    <a:pt x="181" y="746"/>
                  </a:lnTo>
                  <a:lnTo>
                    <a:pt x="182" y="746"/>
                  </a:lnTo>
                  <a:lnTo>
                    <a:pt x="184" y="744"/>
                  </a:lnTo>
                  <a:lnTo>
                    <a:pt x="185" y="744"/>
                  </a:lnTo>
                  <a:lnTo>
                    <a:pt x="187" y="744"/>
                  </a:lnTo>
                  <a:lnTo>
                    <a:pt x="188" y="742"/>
                  </a:lnTo>
                  <a:lnTo>
                    <a:pt x="191" y="740"/>
                  </a:lnTo>
                  <a:lnTo>
                    <a:pt x="192" y="740"/>
                  </a:lnTo>
                  <a:lnTo>
                    <a:pt x="194" y="738"/>
                  </a:lnTo>
                  <a:lnTo>
                    <a:pt x="195" y="738"/>
                  </a:lnTo>
                  <a:lnTo>
                    <a:pt x="198" y="737"/>
                  </a:lnTo>
                  <a:lnTo>
                    <a:pt x="199" y="734"/>
                  </a:lnTo>
                  <a:lnTo>
                    <a:pt x="202" y="734"/>
                  </a:lnTo>
                  <a:lnTo>
                    <a:pt x="204" y="734"/>
                  </a:lnTo>
                  <a:lnTo>
                    <a:pt x="205" y="734"/>
                  </a:lnTo>
                  <a:lnTo>
                    <a:pt x="206" y="733"/>
                  </a:lnTo>
                  <a:lnTo>
                    <a:pt x="209" y="730"/>
                  </a:lnTo>
                  <a:lnTo>
                    <a:pt x="210" y="730"/>
                  </a:lnTo>
                  <a:lnTo>
                    <a:pt x="212" y="730"/>
                  </a:lnTo>
                  <a:lnTo>
                    <a:pt x="213" y="730"/>
                  </a:lnTo>
                  <a:lnTo>
                    <a:pt x="215" y="729"/>
                  </a:lnTo>
                  <a:lnTo>
                    <a:pt x="217" y="729"/>
                  </a:lnTo>
                  <a:lnTo>
                    <a:pt x="219" y="727"/>
                  </a:lnTo>
                  <a:lnTo>
                    <a:pt x="220" y="727"/>
                  </a:lnTo>
                  <a:lnTo>
                    <a:pt x="223" y="727"/>
                  </a:lnTo>
                  <a:lnTo>
                    <a:pt x="224" y="725"/>
                  </a:lnTo>
                  <a:lnTo>
                    <a:pt x="226" y="725"/>
                  </a:lnTo>
                  <a:lnTo>
                    <a:pt x="227" y="721"/>
                  </a:lnTo>
                  <a:lnTo>
                    <a:pt x="229" y="721"/>
                  </a:lnTo>
                  <a:lnTo>
                    <a:pt x="231" y="721"/>
                  </a:lnTo>
                  <a:lnTo>
                    <a:pt x="232" y="721"/>
                  </a:lnTo>
                  <a:lnTo>
                    <a:pt x="235" y="720"/>
                  </a:lnTo>
                  <a:lnTo>
                    <a:pt x="237" y="717"/>
                  </a:lnTo>
                  <a:lnTo>
                    <a:pt x="238" y="717"/>
                  </a:lnTo>
                  <a:lnTo>
                    <a:pt x="241" y="717"/>
                  </a:lnTo>
                  <a:lnTo>
                    <a:pt x="242" y="716"/>
                  </a:lnTo>
                  <a:lnTo>
                    <a:pt x="245" y="716"/>
                  </a:lnTo>
                  <a:lnTo>
                    <a:pt x="246" y="715"/>
                  </a:lnTo>
                  <a:lnTo>
                    <a:pt x="248" y="715"/>
                  </a:lnTo>
                  <a:lnTo>
                    <a:pt x="251" y="713"/>
                  </a:lnTo>
                  <a:lnTo>
                    <a:pt x="254" y="713"/>
                  </a:lnTo>
                  <a:lnTo>
                    <a:pt x="255" y="713"/>
                  </a:lnTo>
                  <a:lnTo>
                    <a:pt x="256" y="712"/>
                  </a:lnTo>
                  <a:lnTo>
                    <a:pt x="259" y="712"/>
                  </a:lnTo>
                  <a:lnTo>
                    <a:pt x="260" y="711"/>
                  </a:lnTo>
                  <a:lnTo>
                    <a:pt x="263" y="711"/>
                  </a:lnTo>
                  <a:lnTo>
                    <a:pt x="266" y="708"/>
                  </a:lnTo>
                  <a:lnTo>
                    <a:pt x="267" y="708"/>
                  </a:lnTo>
                  <a:lnTo>
                    <a:pt x="269" y="708"/>
                  </a:lnTo>
                  <a:lnTo>
                    <a:pt x="271" y="708"/>
                  </a:lnTo>
                  <a:lnTo>
                    <a:pt x="273" y="707"/>
                  </a:lnTo>
                  <a:lnTo>
                    <a:pt x="276" y="704"/>
                  </a:lnTo>
                  <a:lnTo>
                    <a:pt x="279" y="704"/>
                  </a:lnTo>
                  <a:lnTo>
                    <a:pt x="280" y="704"/>
                  </a:lnTo>
                  <a:lnTo>
                    <a:pt x="283" y="703"/>
                  </a:lnTo>
                  <a:lnTo>
                    <a:pt x="285" y="703"/>
                  </a:lnTo>
                  <a:lnTo>
                    <a:pt x="287" y="699"/>
                  </a:lnTo>
                  <a:lnTo>
                    <a:pt x="288" y="699"/>
                  </a:lnTo>
                  <a:lnTo>
                    <a:pt x="290" y="699"/>
                  </a:lnTo>
                  <a:lnTo>
                    <a:pt x="292" y="699"/>
                  </a:lnTo>
                  <a:lnTo>
                    <a:pt x="294" y="699"/>
                  </a:lnTo>
                  <a:lnTo>
                    <a:pt x="296" y="698"/>
                  </a:lnTo>
                  <a:lnTo>
                    <a:pt x="298" y="695"/>
                  </a:lnTo>
                  <a:lnTo>
                    <a:pt x="301" y="695"/>
                  </a:lnTo>
                  <a:lnTo>
                    <a:pt x="302" y="695"/>
                  </a:lnTo>
                  <a:lnTo>
                    <a:pt x="304" y="693"/>
                  </a:lnTo>
                  <a:lnTo>
                    <a:pt x="305" y="693"/>
                  </a:lnTo>
                  <a:lnTo>
                    <a:pt x="306" y="693"/>
                  </a:lnTo>
                  <a:lnTo>
                    <a:pt x="309" y="692"/>
                  </a:lnTo>
                  <a:lnTo>
                    <a:pt x="310" y="692"/>
                  </a:lnTo>
                  <a:lnTo>
                    <a:pt x="313" y="691"/>
                  </a:lnTo>
                  <a:lnTo>
                    <a:pt x="316" y="691"/>
                  </a:lnTo>
                  <a:lnTo>
                    <a:pt x="317" y="690"/>
                  </a:lnTo>
                  <a:lnTo>
                    <a:pt x="319" y="688"/>
                  </a:lnTo>
                  <a:lnTo>
                    <a:pt x="322" y="688"/>
                  </a:lnTo>
                  <a:lnTo>
                    <a:pt x="323" y="686"/>
                  </a:lnTo>
                  <a:lnTo>
                    <a:pt x="324" y="686"/>
                  </a:lnTo>
                  <a:lnTo>
                    <a:pt x="327" y="686"/>
                  </a:lnTo>
                  <a:lnTo>
                    <a:pt x="330" y="684"/>
                  </a:lnTo>
                  <a:lnTo>
                    <a:pt x="331" y="682"/>
                  </a:lnTo>
                  <a:lnTo>
                    <a:pt x="333" y="682"/>
                  </a:lnTo>
                  <a:lnTo>
                    <a:pt x="336" y="682"/>
                  </a:lnTo>
                  <a:lnTo>
                    <a:pt x="338" y="682"/>
                  </a:lnTo>
                  <a:lnTo>
                    <a:pt x="340" y="682"/>
                  </a:lnTo>
                  <a:lnTo>
                    <a:pt x="341" y="680"/>
                  </a:lnTo>
                  <a:lnTo>
                    <a:pt x="344" y="680"/>
                  </a:lnTo>
                  <a:lnTo>
                    <a:pt x="345" y="678"/>
                  </a:lnTo>
                  <a:lnTo>
                    <a:pt x="348" y="678"/>
                  </a:lnTo>
                  <a:lnTo>
                    <a:pt x="350" y="678"/>
                  </a:lnTo>
                  <a:lnTo>
                    <a:pt x="352" y="678"/>
                  </a:lnTo>
                  <a:lnTo>
                    <a:pt x="354" y="676"/>
                  </a:lnTo>
                  <a:lnTo>
                    <a:pt x="356" y="676"/>
                  </a:lnTo>
                  <a:lnTo>
                    <a:pt x="358" y="675"/>
                  </a:lnTo>
                  <a:lnTo>
                    <a:pt x="361" y="675"/>
                  </a:lnTo>
                  <a:lnTo>
                    <a:pt x="361" y="673"/>
                  </a:lnTo>
                  <a:lnTo>
                    <a:pt x="364" y="673"/>
                  </a:lnTo>
                  <a:lnTo>
                    <a:pt x="365" y="671"/>
                  </a:lnTo>
                  <a:lnTo>
                    <a:pt x="367" y="671"/>
                  </a:lnTo>
                  <a:lnTo>
                    <a:pt x="369" y="668"/>
                  </a:lnTo>
                  <a:lnTo>
                    <a:pt x="372" y="668"/>
                  </a:lnTo>
                  <a:lnTo>
                    <a:pt x="373" y="668"/>
                  </a:lnTo>
                  <a:lnTo>
                    <a:pt x="376" y="667"/>
                  </a:lnTo>
                  <a:lnTo>
                    <a:pt x="377" y="667"/>
                  </a:lnTo>
                  <a:lnTo>
                    <a:pt x="379" y="666"/>
                  </a:lnTo>
                  <a:lnTo>
                    <a:pt x="381" y="666"/>
                  </a:lnTo>
                  <a:lnTo>
                    <a:pt x="384" y="663"/>
                  </a:lnTo>
                  <a:lnTo>
                    <a:pt x="386" y="663"/>
                  </a:lnTo>
                  <a:lnTo>
                    <a:pt x="387" y="663"/>
                  </a:lnTo>
                  <a:lnTo>
                    <a:pt x="390" y="663"/>
                  </a:lnTo>
                  <a:lnTo>
                    <a:pt x="391" y="662"/>
                  </a:lnTo>
                  <a:lnTo>
                    <a:pt x="394" y="662"/>
                  </a:lnTo>
                  <a:lnTo>
                    <a:pt x="395" y="659"/>
                  </a:lnTo>
                  <a:lnTo>
                    <a:pt x="397" y="659"/>
                  </a:lnTo>
                  <a:lnTo>
                    <a:pt x="400" y="659"/>
                  </a:lnTo>
                  <a:lnTo>
                    <a:pt x="402" y="658"/>
                  </a:lnTo>
                  <a:lnTo>
                    <a:pt x="404" y="658"/>
                  </a:lnTo>
                  <a:lnTo>
                    <a:pt x="405" y="657"/>
                  </a:lnTo>
                  <a:lnTo>
                    <a:pt x="408" y="657"/>
                  </a:lnTo>
                  <a:lnTo>
                    <a:pt x="409" y="655"/>
                  </a:lnTo>
                  <a:lnTo>
                    <a:pt x="411" y="655"/>
                  </a:lnTo>
                  <a:lnTo>
                    <a:pt x="412" y="654"/>
                  </a:lnTo>
                  <a:lnTo>
                    <a:pt x="415" y="654"/>
                  </a:lnTo>
                  <a:lnTo>
                    <a:pt x="416" y="653"/>
                  </a:lnTo>
                  <a:lnTo>
                    <a:pt x="419" y="653"/>
                  </a:lnTo>
                  <a:lnTo>
                    <a:pt x="420" y="650"/>
                  </a:lnTo>
                  <a:lnTo>
                    <a:pt x="422" y="650"/>
                  </a:lnTo>
                  <a:lnTo>
                    <a:pt x="423" y="650"/>
                  </a:lnTo>
                  <a:lnTo>
                    <a:pt x="426" y="649"/>
                  </a:lnTo>
                  <a:lnTo>
                    <a:pt x="427" y="649"/>
                  </a:lnTo>
                  <a:lnTo>
                    <a:pt x="430" y="646"/>
                  </a:lnTo>
                  <a:lnTo>
                    <a:pt x="431" y="646"/>
                  </a:lnTo>
                  <a:lnTo>
                    <a:pt x="433" y="646"/>
                  </a:lnTo>
                  <a:lnTo>
                    <a:pt x="434" y="646"/>
                  </a:lnTo>
                  <a:lnTo>
                    <a:pt x="436" y="645"/>
                  </a:lnTo>
                  <a:lnTo>
                    <a:pt x="439" y="645"/>
                  </a:lnTo>
                  <a:lnTo>
                    <a:pt x="440" y="643"/>
                  </a:lnTo>
                  <a:lnTo>
                    <a:pt x="442" y="642"/>
                  </a:lnTo>
                  <a:lnTo>
                    <a:pt x="444" y="642"/>
                  </a:lnTo>
                  <a:lnTo>
                    <a:pt x="445" y="641"/>
                  </a:lnTo>
                  <a:lnTo>
                    <a:pt x="447" y="641"/>
                  </a:lnTo>
                  <a:lnTo>
                    <a:pt x="450" y="640"/>
                  </a:lnTo>
                  <a:lnTo>
                    <a:pt x="451" y="640"/>
                  </a:lnTo>
                  <a:lnTo>
                    <a:pt x="454" y="637"/>
                  </a:lnTo>
                  <a:lnTo>
                    <a:pt x="455" y="637"/>
                  </a:lnTo>
                  <a:lnTo>
                    <a:pt x="456" y="637"/>
                  </a:lnTo>
                  <a:lnTo>
                    <a:pt x="458" y="636"/>
                  </a:lnTo>
                  <a:lnTo>
                    <a:pt x="461" y="636"/>
                  </a:lnTo>
                  <a:lnTo>
                    <a:pt x="462" y="633"/>
                  </a:lnTo>
                  <a:lnTo>
                    <a:pt x="465" y="633"/>
                  </a:lnTo>
                  <a:lnTo>
                    <a:pt x="466" y="633"/>
                  </a:lnTo>
                  <a:lnTo>
                    <a:pt x="469" y="633"/>
                  </a:lnTo>
                  <a:lnTo>
                    <a:pt x="472" y="632"/>
                  </a:lnTo>
                  <a:lnTo>
                    <a:pt x="473" y="632"/>
                  </a:lnTo>
                  <a:lnTo>
                    <a:pt x="476" y="630"/>
                  </a:lnTo>
                  <a:lnTo>
                    <a:pt x="477" y="630"/>
                  </a:lnTo>
                  <a:lnTo>
                    <a:pt x="479" y="630"/>
                  </a:lnTo>
                  <a:lnTo>
                    <a:pt x="481" y="628"/>
                  </a:lnTo>
                  <a:lnTo>
                    <a:pt x="484" y="628"/>
                  </a:lnTo>
                  <a:lnTo>
                    <a:pt x="486" y="628"/>
                  </a:lnTo>
                  <a:lnTo>
                    <a:pt x="489" y="628"/>
                  </a:lnTo>
                  <a:lnTo>
                    <a:pt x="490" y="628"/>
                  </a:lnTo>
                  <a:lnTo>
                    <a:pt x="491" y="628"/>
                  </a:lnTo>
                  <a:lnTo>
                    <a:pt x="494" y="626"/>
                  </a:lnTo>
                  <a:lnTo>
                    <a:pt x="497" y="626"/>
                  </a:lnTo>
                  <a:lnTo>
                    <a:pt x="498" y="624"/>
                  </a:lnTo>
                  <a:lnTo>
                    <a:pt x="501" y="624"/>
                  </a:lnTo>
                  <a:lnTo>
                    <a:pt x="502" y="624"/>
                  </a:lnTo>
                  <a:lnTo>
                    <a:pt x="505" y="624"/>
                  </a:lnTo>
                  <a:lnTo>
                    <a:pt x="506" y="624"/>
                  </a:lnTo>
                  <a:lnTo>
                    <a:pt x="509" y="623"/>
                  </a:lnTo>
                  <a:lnTo>
                    <a:pt x="511" y="623"/>
                  </a:lnTo>
                  <a:lnTo>
                    <a:pt x="514" y="623"/>
                  </a:lnTo>
                  <a:lnTo>
                    <a:pt x="515" y="621"/>
                  </a:lnTo>
                  <a:lnTo>
                    <a:pt x="517" y="621"/>
                  </a:lnTo>
                  <a:lnTo>
                    <a:pt x="520" y="620"/>
                  </a:lnTo>
                  <a:lnTo>
                    <a:pt x="522" y="620"/>
                  </a:lnTo>
                  <a:lnTo>
                    <a:pt x="525" y="620"/>
                  </a:lnTo>
                  <a:lnTo>
                    <a:pt x="527" y="618"/>
                  </a:lnTo>
                  <a:lnTo>
                    <a:pt x="529" y="618"/>
                  </a:lnTo>
                  <a:lnTo>
                    <a:pt x="531" y="617"/>
                  </a:lnTo>
                  <a:lnTo>
                    <a:pt x="534" y="617"/>
                  </a:lnTo>
                  <a:lnTo>
                    <a:pt x="536" y="617"/>
                  </a:lnTo>
                  <a:lnTo>
                    <a:pt x="539" y="615"/>
                  </a:lnTo>
                  <a:lnTo>
                    <a:pt x="541" y="615"/>
                  </a:lnTo>
                  <a:lnTo>
                    <a:pt x="544" y="615"/>
                  </a:lnTo>
                  <a:lnTo>
                    <a:pt x="545" y="615"/>
                  </a:lnTo>
                  <a:lnTo>
                    <a:pt x="548" y="613"/>
                  </a:lnTo>
                  <a:lnTo>
                    <a:pt x="551" y="613"/>
                  </a:lnTo>
                  <a:lnTo>
                    <a:pt x="552" y="613"/>
                  </a:lnTo>
                  <a:lnTo>
                    <a:pt x="555" y="611"/>
                  </a:lnTo>
                  <a:lnTo>
                    <a:pt x="556" y="611"/>
                  </a:lnTo>
                  <a:lnTo>
                    <a:pt x="559" y="611"/>
                  </a:lnTo>
                  <a:lnTo>
                    <a:pt x="561" y="611"/>
                  </a:lnTo>
                  <a:lnTo>
                    <a:pt x="564" y="611"/>
                  </a:lnTo>
                  <a:lnTo>
                    <a:pt x="566" y="609"/>
                  </a:lnTo>
                  <a:lnTo>
                    <a:pt x="569" y="609"/>
                  </a:lnTo>
                  <a:lnTo>
                    <a:pt x="570" y="608"/>
                  </a:lnTo>
                  <a:lnTo>
                    <a:pt x="573" y="608"/>
                  </a:lnTo>
                  <a:lnTo>
                    <a:pt x="576" y="608"/>
                  </a:lnTo>
                  <a:lnTo>
                    <a:pt x="576" y="605"/>
                  </a:lnTo>
                  <a:lnTo>
                    <a:pt x="577" y="605"/>
                  </a:lnTo>
                  <a:lnTo>
                    <a:pt x="580" y="605"/>
                  </a:lnTo>
                  <a:lnTo>
                    <a:pt x="583" y="605"/>
                  </a:lnTo>
                  <a:lnTo>
                    <a:pt x="584" y="605"/>
                  </a:lnTo>
                  <a:lnTo>
                    <a:pt x="586" y="605"/>
                  </a:lnTo>
                  <a:lnTo>
                    <a:pt x="589" y="604"/>
                  </a:lnTo>
                  <a:lnTo>
                    <a:pt x="591" y="604"/>
                  </a:lnTo>
                  <a:lnTo>
                    <a:pt x="593" y="601"/>
                  </a:lnTo>
                  <a:lnTo>
                    <a:pt x="596" y="601"/>
                  </a:lnTo>
                  <a:lnTo>
                    <a:pt x="597" y="601"/>
                  </a:lnTo>
                  <a:lnTo>
                    <a:pt x="600" y="601"/>
                  </a:lnTo>
                  <a:lnTo>
                    <a:pt x="602" y="600"/>
                  </a:lnTo>
                  <a:lnTo>
                    <a:pt x="604" y="600"/>
                  </a:lnTo>
                  <a:lnTo>
                    <a:pt x="605" y="600"/>
                  </a:lnTo>
                  <a:lnTo>
                    <a:pt x="608" y="598"/>
                  </a:lnTo>
                  <a:lnTo>
                    <a:pt x="611" y="598"/>
                  </a:lnTo>
                  <a:lnTo>
                    <a:pt x="612" y="598"/>
                  </a:lnTo>
                  <a:lnTo>
                    <a:pt x="615" y="598"/>
                  </a:lnTo>
                  <a:lnTo>
                    <a:pt x="616" y="596"/>
                  </a:lnTo>
                  <a:lnTo>
                    <a:pt x="619" y="596"/>
                  </a:lnTo>
                  <a:lnTo>
                    <a:pt x="622" y="596"/>
                  </a:lnTo>
                  <a:lnTo>
                    <a:pt x="624" y="595"/>
                  </a:lnTo>
                  <a:lnTo>
                    <a:pt x="626" y="595"/>
                  </a:lnTo>
                  <a:lnTo>
                    <a:pt x="629" y="592"/>
                  </a:lnTo>
                  <a:lnTo>
                    <a:pt x="630" y="592"/>
                  </a:lnTo>
                  <a:lnTo>
                    <a:pt x="632" y="592"/>
                  </a:lnTo>
                  <a:lnTo>
                    <a:pt x="635" y="592"/>
                  </a:lnTo>
                  <a:lnTo>
                    <a:pt x="637" y="591"/>
                  </a:lnTo>
                  <a:lnTo>
                    <a:pt x="639" y="591"/>
                  </a:lnTo>
                  <a:lnTo>
                    <a:pt x="641" y="588"/>
                  </a:lnTo>
                  <a:lnTo>
                    <a:pt x="644" y="588"/>
                  </a:lnTo>
                  <a:lnTo>
                    <a:pt x="646" y="588"/>
                  </a:lnTo>
                  <a:lnTo>
                    <a:pt x="649" y="588"/>
                  </a:lnTo>
                  <a:lnTo>
                    <a:pt x="650" y="588"/>
                  </a:lnTo>
                  <a:lnTo>
                    <a:pt x="651" y="588"/>
                  </a:lnTo>
                  <a:lnTo>
                    <a:pt x="654" y="588"/>
                  </a:lnTo>
                  <a:lnTo>
                    <a:pt x="655" y="588"/>
                  </a:lnTo>
                  <a:lnTo>
                    <a:pt x="657" y="588"/>
                  </a:lnTo>
                  <a:lnTo>
                    <a:pt x="660" y="587"/>
                  </a:lnTo>
                  <a:lnTo>
                    <a:pt x="662" y="587"/>
                  </a:lnTo>
                  <a:lnTo>
                    <a:pt x="664" y="586"/>
                  </a:lnTo>
                  <a:lnTo>
                    <a:pt x="665" y="586"/>
                  </a:lnTo>
                  <a:lnTo>
                    <a:pt x="666" y="584"/>
                  </a:lnTo>
                  <a:lnTo>
                    <a:pt x="669" y="584"/>
                  </a:lnTo>
                  <a:lnTo>
                    <a:pt x="672" y="584"/>
                  </a:lnTo>
                  <a:lnTo>
                    <a:pt x="674" y="584"/>
                  </a:lnTo>
                  <a:lnTo>
                    <a:pt x="676" y="583"/>
                  </a:lnTo>
                  <a:lnTo>
                    <a:pt x="678" y="583"/>
                  </a:lnTo>
                  <a:lnTo>
                    <a:pt x="679" y="581"/>
                  </a:lnTo>
                  <a:lnTo>
                    <a:pt x="680" y="581"/>
                  </a:lnTo>
                  <a:lnTo>
                    <a:pt x="682" y="579"/>
                  </a:lnTo>
                  <a:lnTo>
                    <a:pt x="683" y="579"/>
                  </a:lnTo>
                  <a:lnTo>
                    <a:pt x="685" y="579"/>
                  </a:lnTo>
                  <a:lnTo>
                    <a:pt x="687" y="579"/>
                  </a:lnTo>
                  <a:lnTo>
                    <a:pt x="689" y="579"/>
                  </a:lnTo>
                  <a:lnTo>
                    <a:pt x="691" y="579"/>
                  </a:lnTo>
                  <a:lnTo>
                    <a:pt x="694" y="579"/>
                  </a:lnTo>
                  <a:lnTo>
                    <a:pt x="696" y="579"/>
                  </a:lnTo>
                  <a:lnTo>
                    <a:pt x="697" y="578"/>
                  </a:lnTo>
                  <a:lnTo>
                    <a:pt x="700" y="578"/>
                  </a:lnTo>
                  <a:lnTo>
                    <a:pt x="701" y="575"/>
                  </a:lnTo>
                  <a:lnTo>
                    <a:pt x="703" y="575"/>
                  </a:lnTo>
                  <a:lnTo>
                    <a:pt x="704" y="575"/>
                  </a:lnTo>
                  <a:lnTo>
                    <a:pt x="707" y="575"/>
                  </a:lnTo>
                  <a:lnTo>
                    <a:pt x="710" y="574"/>
                  </a:lnTo>
                  <a:lnTo>
                    <a:pt x="711" y="574"/>
                  </a:lnTo>
                  <a:lnTo>
                    <a:pt x="714" y="573"/>
                  </a:lnTo>
                  <a:lnTo>
                    <a:pt x="715" y="573"/>
                  </a:lnTo>
                  <a:lnTo>
                    <a:pt x="718" y="570"/>
                  </a:lnTo>
                  <a:lnTo>
                    <a:pt x="719" y="570"/>
                  </a:lnTo>
                  <a:lnTo>
                    <a:pt x="722" y="570"/>
                  </a:lnTo>
                  <a:lnTo>
                    <a:pt x="724" y="568"/>
                  </a:lnTo>
                  <a:lnTo>
                    <a:pt x="726" y="568"/>
                  </a:lnTo>
                  <a:lnTo>
                    <a:pt x="728" y="566"/>
                  </a:lnTo>
                  <a:lnTo>
                    <a:pt x="729" y="566"/>
                  </a:lnTo>
                  <a:lnTo>
                    <a:pt x="732" y="566"/>
                  </a:lnTo>
                  <a:lnTo>
                    <a:pt x="733" y="566"/>
                  </a:lnTo>
                  <a:lnTo>
                    <a:pt x="735" y="566"/>
                  </a:lnTo>
                  <a:lnTo>
                    <a:pt x="737" y="564"/>
                  </a:lnTo>
                  <a:lnTo>
                    <a:pt x="740" y="562"/>
                  </a:lnTo>
                  <a:lnTo>
                    <a:pt x="741" y="562"/>
                  </a:lnTo>
                  <a:lnTo>
                    <a:pt x="743" y="562"/>
                  </a:lnTo>
                  <a:lnTo>
                    <a:pt x="746" y="562"/>
                  </a:lnTo>
                  <a:lnTo>
                    <a:pt x="749" y="561"/>
                  </a:lnTo>
                  <a:lnTo>
                    <a:pt x="750" y="561"/>
                  </a:lnTo>
                  <a:lnTo>
                    <a:pt x="751" y="559"/>
                  </a:lnTo>
                  <a:lnTo>
                    <a:pt x="755" y="556"/>
                  </a:lnTo>
                  <a:lnTo>
                    <a:pt x="757" y="556"/>
                  </a:lnTo>
                  <a:lnTo>
                    <a:pt x="760" y="556"/>
                  </a:lnTo>
                  <a:lnTo>
                    <a:pt x="761" y="556"/>
                  </a:lnTo>
                  <a:lnTo>
                    <a:pt x="764" y="555"/>
                  </a:lnTo>
                  <a:lnTo>
                    <a:pt x="765" y="555"/>
                  </a:lnTo>
                  <a:lnTo>
                    <a:pt x="768" y="555"/>
                  </a:lnTo>
                  <a:lnTo>
                    <a:pt x="771" y="553"/>
                  </a:lnTo>
                  <a:lnTo>
                    <a:pt x="772" y="553"/>
                  </a:lnTo>
                  <a:lnTo>
                    <a:pt x="775" y="553"/>
                  </a:lnTo>
                  <a:lnTo>
                    <a:pt x="776" y="551"/>
                  </a:lnTo>
                  <a:lnTo>
                    <a:pt x="779" y="550"/>
                  </a:lnTo>
                  <a:lnTo>
                    <a:pt x="780" y="550"/>
                  </a:lnTo>
                  <a:lnTo>
                    <a:pt x="783" y="549"/>
                  </a:lnTo>
                  <a:lnTo>
                    <a:pt x="786" y="549"/>
                  </a:lnTo>
                  <a:lnTo>
                    <a:pt x="788" y="547"/>
                  </a:lnTo>
                  <a:lnTo>
                    <a:pt x="789" y="547"/>
                  </a:lnTo>
                  <a:lnTo>
                    <a:pt x="791" y="546"/>
                  </a:lnTo>
                  <a:lnTo>
                    <a:pt x="794" y="546"/>
                  </a:lnTo>
                  <a:lnTo>
                    <a:pt x="796" y="543"/>
                  </a:lnTo>
                  <a:lnTo>
                    <a:pt x="799" y="543"/>
                  </a:lnTo>
                  <a:lnTo>
                    <a:pt x="801" y="543"/>
                  </a:lnTo>
                  <a:lnTo>
                    <a:pt x="803" y="543"/>
                  </a:lnTo>
                  <a:lnTo>
                    <a:pt x="805" y="542"/>
                  </a:lnTo>
                  <a:lnTo>
                    <a:pt x="808" y="542"/>
                  </a:lnTo>
                  <a:lnTo>
                    <a:pt x="810" y="539"/>
                  </a:lnTo>
                  <a:lnTo>
                    <a:pt x="813" y="539"/>
                  </a:lnTo>
                  <a:lnTo>
                    <a:pt x="814" y="539"/>
                  </a:lnTo>
                  <a:lnTo>
                    <a:pt x="816" y="539"/>
                  </a:lnTo>
                  <a:lnTo>
                    <a:pt x="819" y="539"/>
                  </a:lnTo>
                  <a:lnTo>
                    <a:pt x="821" y="538"/>
                  </a:lnTo>
                  <a:lnTo>
                    <a:pt x="824" y="538"/>
                  </a:lnTo>
                  <a:lnTo>
                    <a:pt x="826" y="537"/>
                  </a:lnTo>
                  <a:lnTo>
                    <a:pt x="828" y="537"/>
                  </a:lnTo>
                  <a:lnTo>
                    <a:pt x="830" y="534"/>
                  </a:lnTo>
                  <a:lnTo>
                    <a:pt x="833" y="534"/>
                  </a:lnTo>
                  <a:lnTo>
                    <a:pt x="835" y="534"/>
                  </a:lnTo>
                  <a:lnTo>
                    <a:pt x="836" y="534"/>
                  </a:lnTo>
                  <a:lnTo>
                    <a:pt x="839" y="534"/>
                  </a:lnTo>
                  <a:lnTo>
                    <a:pt x="842" y="533"/>
                  </a:lnTo>
                  <a:lnTo>
                    <a:pt x="843" y="533"/>
                  </a:lnTo>
                  <a:lnTo>
                    <a:pt x="846" y="533"/>
                  </a:lnTo>
                  <a:lnTo>
                    <a:pt x="847" y="530"/>
                  </a:lnTo>
                  <a:lnTo>
                    <a:pt x="849" y="530"/>
                  </a:lnTo>
                  <a:lnTo>
                    <a:pt x="851" y="530"/>
                  </a:lnTo>
                  <a:lnTo>
                    <a:pt x="854" y="530"/>
                  </a:lnTo>
                  <a:lnTo>
                    <a:pt x="856" y="530"/>
                  </a:lnTo>
                  <a:lnTo>
                    <a:pt x="858" y="530"/>
                  </a:lnTo>
                  <a:lnTo>
                    <a:pt x="860" y="530"/>
                  </a:lnTo>
                  <a:lnTo>
                    <a:pt x="863" y="530"/>
                  </a:lnTo>
                  <a:lnTo>
                    <a:pt x="864" y="529"/>
                  </a:lnTo>
                  <a:lnTo>
                    <a:pt x="865" y="529"/>
                  </a:lnTo>
                  <a:lnTo>
                    <a:pt x="868" y="529"/>
                  </a:lnTo>
                  <a:lnTo>
                    <a:pt x="870" y="529"/>
                  </a:lnTo>
                  <a:lnTo>
                    <a:pt x="872" y="528"/>
                  </a:lnTo>
                  <a:lnTo>
                    <a:pt x="875" y="528"/>
                  </a:lnTo>
                  <a:lnTo>
                    <a:pt x="876" y="528"/>
                  </a:lnTo>
                  <a:lnTo>
                    <a:pt x="879" y="528"/>
                  </a:lnTo>
                  <a:lnTo>
                    <a:pt x="881" y="526"/>
                  </a:lnTo>
                  <a:lnTo>
                    <a:pt x="882" y="526"/>
                  </a:lnTo>
                  <a:lnTo>
                    <a:pt x="885" y="526"/>
                  </a:lnTo>
                  <a:lnTo>
                    <a:pt x="886" y="526"/>
                  </a:lnTo>
                  <a:lnTo>
                    <a:pt x="888" y="526"/>
                  </a:lnTo>
                  <a:lnTo>
                    <a:pt x="890" y="525"/>
                  </a:lnTo>
                  <a:lnTo>
                    <a:pt x="892" y="525"/>
                  </a:lnTo>
                  <a:lnTo>
                    <a:pt x="893" y="525"/>
                  </a:lnTo>
                  <a:lnTo>
                    <a:pt x="896" y="524"/>
                  </a:lnTo>
                  <a:lnTo>
                    <a:pt x="897" y="524"/>
                  </a:lnTo>
                  <a:lnTo>
                    <a:pt x="899" y="524"/>
                  </a:lnTo>
                  <a:lnTo>
                    <a:pt x="901" y="524"/>
                  </a:lnTo>
                  <a:lnTo>
                    <a:pt x="903" y="521"/>
                  </a:lnTo>
                  <a:lnTo>
                    <a:pt x="904" y="521"/>
                  </a:lnTo>
                  <a:lnTo>
                    <a:pt x="906" y="521"/>
                  </a:lnTo>
                  <a:lnTo>
                    <a:pt x="909" y="521"/>
                  </a:lnTo>
                  <a:lnTo>
                    <a:pt x="910" y="521"/>
                  </a:lnTo>
                  <a:lnTo>
                    <a:pt x="911" y="521"/>
                  </a:lnTo>
                  <a:lnTo>
                    <a:pt x="913" y="521"/>
                  </a:lnTo>
                  <a:lnTo>
                    <a:pt x="915" y="519"/>
                  </a:lnTo>
                  <a:lnTo>
                    <a:pt x="917" y="519"/>
                  </a:lnTo>
                  <a:lnTo>
                    <a:pt x="918" y="519"/>
                  </a:lnTo>
                  <a:lnTo>
                    <a:pt x="921" y="517"/>
                  </a:lnTo>
                  <a:lnTo>
                    <a:pt x="923" y="517"/>
                  </a:lnTo>
                  <a:lnTo>
                    <a:pt x="924" y="517"/>
                  </a:lnTo>
                  <a:lnTo>
                    <a:pt x="925" y="517"/>
                  </a:lnTo>
                  <a:lnTo>
                    <a:pt x="926" y="517"/>
                  </a:lnTo>
                  <a:lnTo>
                    <a:pt x="928" y="517"/>
                  </a:lnTo>
                  <a:lnTo>
                    <a:pt x="929" y="517"/>
                  </a:lnTo>
                  <a:lnTo>
                    <a:pt x="931" y="517"/>
                  </a:lnTo>
                  <a:lnTo>
                    <a:pt x="932" y="516"/>
                  </a:lnTo>
                  <a:lnTo>
                    <a:pt x="935" y="516"/>
                  </a:lnTo>
                  <a:lnTo>
                    <a:pt x="936" y="516"/>
                  </a:lnTo>
                  <a:lnTo>
                    <a:pt x="938" y="514"/>
                  </a:lnTo>
                  <a:lnTo>
                    <a:pt x="940" y="514"/>
                  </a:lnTo>
                  <a:lnTo>
                    <a:pt x="942" y="514"/>
                  </a:lnTo>
                  <a:lnTo>
                    <a:pt x="943" y="513"/>
                  </a:lnTo>
                  <a:lnTo>
                    <a:pt x="945" y="513"/>
                  </a:lnTo>
                  <a:lnTo>
                    <a:pt x="948" y="513"/>
                  </a:lnTo>
                  <a:lnTo>
                    <a:pt x="949" y="513"/>
                  </a:lnTo>
                  <a:lnTo>
                    <a:pt x="950" y="512"/>
                  </a:lnTo>
                  <a:lnTo>
                    <a:pt x="951" y="512"/>
                  </a:lnTo>
                  <a:lnTo>
                    <a:pt x="954" y="512"/>
                  </a:lnTo>
                  <a:lnTo>
                    <a:pt x="956" y="511"/>
                  </a:lnTo>
                  <a:lnTo>
                    <a:pt x="957" y="511"/>
                  </a:lnTo>
                  <a:lnTo>
                    <a:pt x="960" y="511"/>
                  </a:lnTo>
                  <a:lnTo>
                    <a:pt x="961" y="508"/>
                  </a:lnTo>
                  <a:lnTo>
                    <a:pt x="963" y="508"/>
                  </a:lnTo>
                  <a:lnTo>
                    <a:pt x="964" y="508"/>
                  </a:lnTo>
                  <a:lnTo>
                    <a:pt x="967" y="508"/>
                  </a:lnTo>
                  <a:lnTo>
                    <a:pt x="968" y="508"/>
                  </a:lnTo>
                  <a:lnTo>
                    <a:pt x="970" y="508"/>
                  </a:lnTo>
                  <a:lnTo>
                    <a:pt x="971" y="508"/>
                  </a:lnTo>
                  <a:lnTo>
                    <a:pt x="973" y="506"/>
                  </a:lnTo>
                  <a:lnTo>
                    <a:pt x="975" y="506"/>
                  </a:lnTo>
                  <a:lnTo>
                    <a:pt x="976" y="506"/>
                  </a:lnTo>
                  <a:lnTo>
                    <a:pt x="978" y="506"/>
                  </a:lnTo>
                  <a:lnTo>
                    <a:pt x="981" y="504"/>
                  </a:lnTo>
                  <a:lnTo>
                    <a:pt x="982" y="504"/>
                  </a:lnTo>
                  <a:lnTo>
                    <a:pt x="984" y="504"/>
                  </a:lnTo>
                  <a:lnTo>
                    <a:pt x="985" y="504"/>
                  </a:lnTo>
                  <a:lnTo>
                    <a:pt x="986" y="504"/>
                  </a:lnTo>
                  <a:lnTo>
                    <a:pt x="988" y="504"/>
                  </a:lnTo>
                  <a:lnTo>
                    <a:pt x="989" y="504"/>
                  </a:lnTo>
                  <a:lnTo>
                    <a:pt x="990" y="504"/>
                  </a:lnTo>
                  <a:lnTo>
                    <a:pt x="993" y="504"/>
                  </a:lnTo>
                  <a:lnTo>
                    <a:pt x="995" y="503"/>
                  </a:lnTo>
                  <a:lnTo>
                    <a:pt x="996" y="503"/>
                  </a:lnTo>
                  <a:lnTo>
                    <a:pt x="999" y="503"/>
                  </a:lnTo>
                  <a:lnTo>
                    <a:pt x="1000" y="503"/>
                  </a:lnTo>
                  <a:lnTo>
                    <a:pt x="1001" y="501"/>
                  </a:lnTo>
                  <a:lnTo>
                    <a:pt x="1004" y="501"/>
                  </a:lnTo>
                  <a:lnTo>
                    <a:pt x="1006" y="501"/>
                  </a:lnTo>
                  <a:lnTo>
                    <a:pt x="1007" y="501"/>
                  </a:lnTo>
                  <a:lnTo>
                    <a:pt x="1010" y="501"/>
                  </a:lnTo>
                  <a:lnTo>
                    <a:pt x="1011" y="499"/>
                  </a:lnTo>
                  <a:lnTo>
                    <a:pt x="1014" y="499"/>
                  </a:lnTo>
                  <a:lnTo>
                    <a:pt x="1015" y="497"/>
                  </a:lnTo>
                  <a:lnTo>
                    <a:pt x="1018" y="497"/>
                  </a:lnTo>
                  <a:lnTo>
                    <a:pt x="1020" y="494"/>
                  </a:lnTo>
                  <a:lnTo>
                    <a:pt x="1023" y="494"/>
                  </a:lnTo>
                  <a:lnTo>
                    <a:pt x="1024" y="493"/>
                  </a:lnTo>
                  <a:lnTo>
                    <a:pt x="1026" y="492"/>
                  </a:lnTo>
                  <a:lnTo>
                    <a:pt x="1029" y="492"/>
                  </a:lnTo>
                  <a:lnTo>
                    <a:pt x="1031" y="491"/>
                  </a:lnTo>
                  <a:lnTo>
                    <a:pt x="1032" y="489"/>
                  </a:lnTo>
                  <a:lnTo>
                    <a:pt x="1034" y="488"/>
                  </a:lnTo>
                  <a:lnTo>
                    <a:pt x="1036" y="488"/>
                  </a:lnTo>
                  <a:lnTo>
                    <a:pt x="1038" y="486"/>
                  </a:lnTo>
                  <a:lnTo>
                    <a:pt x="1039" y="486"/>
                  </a:lnTo>
                  <a:lnTo>
                    <a:pt x="1040" y="486"/>
                  </a:lnTo>
                  <a:lnTo>
                    <a:pt x="1042" y="484"/>
                  </a:lnTo>
                  <a:lnTo>
                    <a:pt x="1043" y="481"/>
                  </a:lnTo>
                  <a:lnTo>
                    <a:pt x="1045" y="481"/>
                  </a:lnTo>
                  <a:lnTo>
                    <a:pt x="1048" y="481"/>
                  </a:lnTo>
                  <a:lnTo>
                    <a:pt x="1049" y="480"/>
                  </a:lnTo>
                  <a:lnTo>
                    <a:pt x="1050" y="479"/>
                  </a:lnTo>
                  <a:lnTo>
                    <a:pt x="1051" y="479"/>
                  </a:lnTo>
                  <a:lnTo>
                    <a:pt x="1054" y="476"/>
                  </a:lnTo>
                  <a:lnTo>
                    <a:pt x="1056" y="476"/>
                  </a:lnTo>
                  <a:lnTo>
                    <a:pt x="1059" y="476"/>
                  </a:lnTo>
                  <a:lnTo>
                    <a:pt x="1060" y="475"/>
                  </a:lnTo>
                  <a:lnTo>
                    <a:pt x="1061" y="472"/>
                  </a:lnTo>
                  <a:lnTo>
                    <a:pt x="1064" y="472"/>
                  </a:lnTo>
                  <a:lnTo>
                    <a:pt x="1065" y="471"/>
                  </a:lnTo>
                  <a:lnTo>
                    <a:pt x="1067" y="471"/>
                  </a:lnTo>
                  <a:lnTo>
                    <a:pt x="1068" y="469"/>
                  </a:lnTo>
                  <a:lnTo>
                    <a:pt x="1071" y="468"/>
                  </a:lnTo>
                  <a:lnTo>
                    <a:pt x="1073" y="467"/>
                  </a:lnTo>
                  <a:lnTo>
                    <a:pt x="1075" y="466"/>
                  </a:lnTo>
                  <a:lnTo>
                    <a:pt x="1076" y="463"/>
                  </a:lnTo>
                  <a:lnTo>
                    <a:pt x="1079" y="463"/>
                  </a:lnTo>
                  <a:lnTo>
                    <a:pt x="1081" y="463"/>
                  </a:lnTo>
                  <a:lnTo>
                    <a:pt x="1084" y="462"/>
                  </a:lnTo>
                  <a:lnTo>
                    <a:pt x="1085" y="459"/>
                  </a:lnTo>
                  <a:lnTo>
                    <a:pt x="1088" y="459"/>
                  </a:lnTo>
                  <a:lnTo>
                    <a:pt x="1089" y="458"/>
                  </a:lnTo>
                  <a:lnTo>
                    <a:pt x="1092" y="456"/>
                  </a:lnTo>
                  <a:lnTo>
                    <a:pt x="1093" y="455"/>
                  </a:lnTo>
                  <a:lnTo>
                    <a:pt x="1096" y="454"/>
                  </a:lnTo>
                  <a:lnTo>
                    <a:pt x="1098" y="454"/>
                  </a:lnTo>
                  <a:lnTo>
                    <a:pt x="1100" y="452"/>
                  </a:lnTo>
                  <a:lnTo>
                    <a:pt x="1103" y="450"/>
                  </a:lnTo>
                  <a:lnTo>
                    <a:pt x="1104" y="450"/>
                  </a:lnTo>
                  <a:lnTo>
                    <a:pt x="1107" y="449"/>
                  </a:lnTo>
                  <a:lnTo>
                    <a:pt x="1109" y="447"/>
                  </a:lnTo>
                  <a:lnTo>
                    <a:pt x="1110" y="447"/>
                  </a:lnTo>
                  <a:lnTo>
                    <a:pt x="1111" y="446"/>
                  </a:lnTo>
                  <a:lnTo>
                    <a:pt x="1113" y="446"/>
                  </a:lnTo>
                  <a:lnTo>
                    <a:pt x="1115" y="444"/>
                  </a:lnTo>
                  <a:lnTo>
                    <a:pt x="1117" y="443"/>
                  </a:lnTo>
                  <a:lnTo>
                    <a:pt x="1120" y="441"/>
                  </a:lnTo>
                  <a:lnTo>
                    <a:pt x="1121" y="441"/>
                  </a:lnTo>
                  <a:lnTo>
                    <a:pt x="1124" y="439"/>
                  </a:lnTo>
                  <a:lnTo>
                    <a:pt x="1125" y="437"/>
                  </a:lnTo>
                  <a:lnTo>
                    <a:pt x="1128" y="437"/>
                  </a:lnTo>
                  <a:lnTo>
                    <a:pt x="1129" y="435"/>
                  </a:lnTo>
                  <a:lnTo>
                    <a:pt x="1132" y="432"/>
                  </a:lnTo>
                  <a:lnTo>
                    <a:pt x="1134" y="432"/>
                  </a:lnTo>
                  <a:lnTo>
                    <a:pt x="1136" y="431"/>
                  </a:lnTo>
                  <a:lnTo>
                    <a:pt x="1138" y="430"/>
                  </a:lnTo>
                  <a:lnTo>
                    <a:pt x="1139" y="427"/>
                  </a:lnTo>
                  <a:lnTo>
                    <a:pt x="1142" y="427"/>
                  </a:lnTo>
                  <a:lnTo>
                    <a:pt x="1145" y="427"/>
                  </a:lnTo>
                  <a:lnTo>
                    <a:pt x="1146" y="426"/>
                  </a:lnTo>
                  <a:lnTo>
                    <a:pt x="1149" y="425"/>
                  </a:lnTo>
                  <a:lnTo>
                    <a:pt x="1150" y="424"/>
                  </a:lnTo>
                  <a:lnTo>
                    <a:pt x="1153" y="422"/>
                  </a:lnTo>
                  <a:lnTo>
                    <a:pt x="1155" y="422"/>
                  </a:lnTo>
                  <a:lnTo>
                    <a:pt x="1156" y="421"/>
                  </a:lnTo>
                  <a:lnTo>
                    <a:pt x="1159" y="419"/>
                  </a:lnTo>
                  <a:lnTo>
                    <a:pt x="1160" y="418"/>
                  </a:lnTo>
                  <a:lnTo>
                    <a:pt x="1163" y="417"/>
                  </a:lnTo>
                  <a:lnTo>
                    <a:pt x="1164" y="417"/>
                  </a:lnTo>
                  <a:lnTo>
                    <a:pt x="1167" y="414"/>
                  </a:lnTo>
                  <a:lnTo>
                    <a:pt x="1170" y="414"/>
                  </a:lnTo>
                  <a:lnTo>
                    <a:pt x="1171" y="413"/>
                  </a:lnTo>
                  <a:lnTo>
                    <a:pt x="1174" y="410"/>
                  </a:lnTo>
                  <a:lnTo>
                    <a:pt x="1175" y="410"/>
                  </a:lnTo>
                  <a:lnTo>
                    <a:pt x="1177" y="410"/>
                  </a:lnTo>
                  <a:lnTo>
                    <a:pt x="1180" y="410"/>
                  </a:lnTo>
                  <a:lnTo>
                    <a:pt x="1183" y="409"/>
                  </a:lnTo>
                  <a:lnTo>
                    <a:pt x="1184" y="409"/>
                  </a:lnTo>
                  <a:lnTo>
                    <a:pt x="1186" y="407"/>
                  </a:lnTo>
                  <a:lnTo>
                    <a:pt x="1189" y="407"/>
                  </a:lnTo>
                  <a:lnTo>
                    <a:pt x="1191" y="405"/>
                  </a:lnTo>
                  <a:lnTo>
                    <a:pt x="1194" y="405"/>
                  </a:lnTo>
                  <a:lnTo>
                    <a:pt x="1196" y="405"/>
                  </a:lnTo>
                  <a:lnTo>
                    <a:pt x="1198" y="405"/>
                  </a:lnTo>
                  <a:lnTo>
                    <a:pt x="1200" y="405"/>
                  </a:lnTo>
                  <a:lnTo>
                    <a:pt x="1203" y="404"/>
                  </a:lnTo>
                  <a:lnTo>
                    <a:pt x="1205" y="404"/>
                  </a:lnTo>
                  <a:lnTo>
                    <a:pt x="1208" y="404"/>
                  </a:lnTo>
                  <a:lnTo>
                    <a:pt x="1210" y="401"/>
                  </a:lnTo>
                  <a:lnTo>
                    <a:pt x="1213" y="401"/>
                  </a:lnTo>
                  <a:lnTo>
                    <a:pt x="1214" y="401"/>
                  </a:lnTo>
                  <a:lnTo>
                    <a:pt x="1216" y="401"/>
                  </a:lnTo>
                  <a:lnTo>
                    <a:pt x="1219" y="401"/>
                  </a:lnTo>
                  <a:lnTo>
                    <a:pt x="1221" y="400"/>
                  </a:lnTo>
                  <a:lnTo>
                    <a:pt x="1223" y="401"/>
                  </a:lnTo>
                  <a:lnTo>
                    <a:pt x="1225" y="401"/>
                  </a:lnTo>
                  <a:lnTo>
                    <a:pt x="1227" y="401"/>
                  </a:lnTo>
                  <a:lnTo>
                    <a:pt x="1230" y="401"/>
                  </a:lnTo>
                  <a:lnTo>
                    <a:pt x="1231" y="400"/>
                  </a:lnTo>
                  <a:lnTo>
                    <a:pt x="1233" y="397"/>
                  </a:lnTo>
                  <a:lnTo>
                    <a:pt x="1234" y="397"/>
                  </a:lnTo>
                  <a:lnTo>
                    <a:pt x="1237" y="397"/>
                  </a:lnTo>
                  <a:lnTo>
                    <a:pt x="1238" y="397"/>
                  </a:lnTo>
                  <a:lnTo>
                    <a:pt x="1241" y="396"/>
                  </a:lnTo>
                  <a:lnTo>
                    <a:pt x="1242" y="396"/>
                  </a:lnTo>
                  <a:lnTo>
                    <a:pt x="1245" y="396"/>
                  </a:lnTo>
                  <a:lnTo>
                    <a:pt x="1246" y="394"/>
                  </a:lnTo>
                  <a:lnTo>
                    <a:pt x="1249" y="394"/>
                  </a:lnTo>
                  <a:lnTo>
                    <a:pt x="1250" y="394"/>
                  </a:lnTo>
                  <a:lnTo>
                    <a:pt x="1252" y="392"/>
                  </a:lnTo>
                  <a:lnTo>
                    <a:pt x="1255" y="392"/>
                  </a:lnTo>
                  <a:lnTo>
                    <a:pt x="1256" y="392"/>
                  </a:lnTo>
                  <a:lnTo>
                    <a:pt x="1259" y="392"/>
                  </a:lnTo>
                  <a:lnTo>
                    <a:pt x="1260" y="392"/>
                  </a:lnTo>
                  <a:lnTo>
                    <a:pt x="1263" y="392"/>
                  </a:lnTo>
                  <a:lnTo>
                    <a:pt x="1264" y="390"/>
                  </a:lnTo>
                  <a:lnTo>
                    <a:pt x="1267" y="390"/>
                  </a:lnTo>
                  <a:lnTo>
                    <a:pt x="1269" y="390"/>
                  </a:lnTo>
                  <a:lnTo>
                    <a:pt x="1270" y="388"/>
                  </a:lnTo>
                  <a:lnTo>
                    <a:pt x="1271" y="388"/>
                  </a:lnTo>
                  <a:lnTo>
                    <a:pt x="1274" y="388"/>
                  </a:lnTo>
                  <a:lnTo>
                    <a:pt x="1275" y="388"/>
                  </a:lnTo>
                  <a:lnTo>
                    <a:pt x="1278" y="388"/>
                  </a:lnTo>
                  <a:lnTo>
                    <a:pt x="1281" y="388"/>
                  </a:lnTo>
                  <a:lnTo>
                    <a:pt x="1283" y="387"/>
                  </a:lnTo>
                  <a:lnTo>
                    <a:pt x="1284" y="387"/>
                  </a:lnTo>
                  <a:lnTo>
                    <a:pt x="1285" y="385"/>
                  </a:lnTo>
                  <a:lnTo>
                    <a:pt x="1288" y="384"/>
                  </a:lnTo>
                  <a:lnTo>
                    <a:pt x="1291" y="384"/>
                  </a:lnTo>
                  <a:lnTo>
                    <a:pt x="1292" y="382"/>
                  </a:lnTo>
                  <a:lnTo>
                    <a:pt x="1294" y="382"/>
                  </a:lnTo>
                  <a:lnTo>
                    <a:pt x="1295" y="381"/>
                  </a:lnTo>
                  <a:lnTo>
                    <a:pt x="1298" y="379"/>
                  </a:lnTo>
                  <a:lnTo>
                    <a:pt x="1299" y="379"/>
                  </a:lnTo>
                  <a:lnTo>
                    <a:pt x="1302" y="379"/>
                  </a:lnTo>
                  <a:lnTo>
                    <a:pt x="1303" y="377"/>
                  </a:lnTo>
                  <a:lnTo>
                    <a:pt x="1305" y="375"/>
                  </a:lnTo>
                  <a:lnTo>
                    <a:pt x="1308" y="375"/>
                  </a:lnTo>
                  <a:lnTo>
                    <a:pt x="1309" y="375"/>
                  </a:lnTo>
                  <a:lnTo>
                    <a:pt x="1310" y="373"/>
                  </a:lnTo>
                  <a:lnTo>
                    <a:pt x="1313" y="372"/>
                  </a:lnTo>
                  <a:lnTo>
                    <a:pt x="1314" y="372"/>
                  </a:lnTo>
                  <a:lnTo>
                    <a:pt x="1316" y="369"/>
                  </a:lnTo>
                  <a:lnTo>
                    <a:pt x="1319" y="369"/>
                  </a:lnTo>
                  <a:lnTo>
                    <a:pt x="1320" y="369"/>
                  </a:lnTo>
                  <a:lnTo>
                    <a:pt x="1321" y="368"/>
                  </a:lnTo>
                  <a:lnTo>
                    <a:pt x="1324" y="365"/>
                  </a:lnTo>
                  <a:lnTo>
                    <a:pt x="1325" y="365"/>
                  </a:lnTo>
                  <a:lnTo>
                    <a:pt x="1328" y="365"/>
                  </a:lnTo>
                  <a:lnTo>
                    <a:pt x="1330" y="364"/>
                  </a:lnTo>
                  <a:lnTo>
                    <a:pt x="1331" y="363"/>
                  </a:lnTo>
                  <a:lnTo>
                    <a:pt x="1335" y="362"/>
                  </a:lnTo>
                  <a:lnTo>
                    <a:pt x="1337" y="360"/>
                  </a:lnTo>
                  <a:lnTo>
                    <a:pt x="1339" y="359"/>
                  </a:lnTo>
                  <a:lnTo>
                    <a:pt x="1341" y="356"/>
                  </a:lnTo>
                  <a:lnTo>
                    <a:pt x="1342" y="356"/>
                  </a:lnTo>
                  <a:lnTo>
                    <a:pt x="1345" y="356"/>
                  </a:lnTo>
                  <a:lnTo>
                    <a:pt x="1347" y="355"/>
                  </a:lnTo>
                  <a:lnTo>
                    <a:pt x="1348" y="355"/>
                  </a:lnTo>
                  <a:lnTo>
                    <a:pt x="1350" y="352"/>
                  </a:lnTo>
                  <a:lnTo>
                    <a:pt x="1353" y="352"/>
                  </a:lnTo>
                  <a:lnTo>
                    <a:pt x="1355" y="351"/>
                  </a:lnTo>
                  <a:lnTo>
                    <a:pt x="1356" y="350"/>
                  </a:lnTo>
                  <a:lnTo>
                    <a:pt x="1359" y="350"/>
                  </a:lnTo>
                  <a:lnTo>
                    <a:pt x="1360" y="347"/>
                  </a:lnTo>
                  <a:lnTo>
                    <a:pt x="1362" y="347"/>
                  </a:lnTo>
                  <a:lnTo>
                    <a:pt x="1363" y="347"/>
                  </a:lnTo>
                  <a:lnTo>
                    <a:pt x="1366" y="345"/>
                  </a:lnTo>
                  <a:lnTo>
                    <a:pt x="1367" y="343"/>
                  </a:lnTo>
                  <a:lnTo>
                    <a:pt x="1369" y="343"/>
                  </a:lnTo>
                  <a:lnTo>
                    <a:pt x="1372" y="343"/>
                  </a:lnTo>
                  <a:lnTo>
                    <a:pt x="1373" y="342"/>
                  </a:lnTo>
                  <a:lnTo>
                    <a:pt x="1374" y="339"/>
                  </a:lnTo>
                  <a:lnTo>
                    <a:pt x="1377" y="339"/>
                  </a:lnTo>
                  <a:lnTo>
                    <a:pt x="1378" y="339"/>
                  </a:lnTo>
                  <a:lnTo>
                    <a:pt x="1381" y="338"/>
                  </a:lnTo>
                  <a:lnTo>
                    <a:pt x="1383" y="338"/>
                  </a:lnTo>
                  <a:lnTo>
                    <a:pt x="1384" y="337"/>
                  </a:lnTo>
                  <a:lnTo>
                    <a:pt x="1387" y="337"/>
                  </a:lnTo>
                  <a:lnTo>
                    <a:pt x="1388" y="334"/>
                  </a:lnTo>
                  <a:lnTo>
                    <a:pt x="1391" y="334"/>
                  </a:lnTo>
                  <a:lnTo>
                    <a:pt x="1392" y="334"/>
                  </a:lnTo>
                  <a:lnTo>
                    <a:pt x="1395" y="334"/>
                  </a:lnTo>
                  <a:lnTo>
                    <a:pt x="1397" y="332"/>
                  </a:lnTo>
                  <a:lnTo>
                    <a:pt x="1398" y="332"/>
                  </a:lnTo>
                  <a:lnTo>
                    <a:pt x="1399" y="332"/>
                  </a:lnTo>
                  <a:lnTo>
                    <a:pt x="1401" y="330"/>
                  </a:lnTo>
                  <a:lnTo>
                    <a:pt x="1403" y="330"/>
                  </a:lnTo>
                  <a:lnTo>
                    <a:pt x="1405" y="330"/>
                  </a:lnTo>
                  <a:lnTo>
                    <a:pt x="1406" y="330"/>
                  </a:lnTo>
                  <a:lnTo>
                    <a:pt x="1408" y="330"/>
                  </a:lnTo>
                  <a:lnTo>
                    <a:pt x="1409" y="329"/>
                  </a:lnTo>
                  <a:lnTo>
                    <a:pt x="1410" y="329"/>
                  </a:lnTo>
                  <a:lnTo>
                    <a:pt x="1413" y="329"/>
                  </a:lnTo>
                  <a:lnTo>
                    <a:pt x="1416" y="327"/>
                  </a:lnTo>
                  <a:lnTo>
                    <a:pt x="1417" y="327"/>
                  </a:lnTo>
                  <a:lnTo>
                    <a:pt x="1420" y="326"/>
                  </a:lnTo>
                  <a:lnTo>
                    <a:pt x="1423" y="326"/>
                  </a:lnTo>
                  <a:lnTo>
                    <a:pt x="1424" y="326"/>
                  </a:lnTo>
                  <a:lnTo>
                    <a:pt x="1426" y="325"/>
                  </a:lnTo>
                  <a:lnTo>
                    <a:pt x="1429" y="325"/>
                  </a:lnTo>
                  <a:lnTo>
                    <a:pt x="1431" y="325"/>
                  </a:lnTo>
                  <a:lnTo>
                    <a:pt x="1433" y="323"/>
                  </a:lnTo>
                  <a:lnTo>
                    <a:pt x="1434" y="323"/>
                  </a:lnTo>
                  <a:lnTo>
                    <a:pt x="1437" y="323"/>
                  </a:lnTo>
                  <a:lnTo>
                    <a:pt x="1438" y="320"/>
                  </a:lnTo>
                  <a:lnTo>
                    <a:pt x="1441" y="320"/>
                  </a:lnTo>
                  <a:lnTo>
                    <a:pt x="1444" y="320"/>
                  </a:lnTo>
                  <a:lnTo>
                    <a:pt x="1447" y="320"/>
                  </a:lnTo>
                  <a:lnTo>
                    <a:pt x="1448" y="320"/>
                  </a:lnTo>
                  <a:lnTo>
                    <a:pt x="1451" y="319"/>
                  </a:lnTo>
                  <a:lnTo>
                    <a:pt x="1454" y="319"/>
                  </a:lnTo>
                  <a:lnTo>
                    <a:pt x="1455" y="319"/>
                  </a:lnTo>
                  <a:lnTo>
                    <a:pt x="1456" y="319"/>
                  </a:lnTo>
                  <a:lnTo>
                    <a:pt x="1459" y="317"/>
                  </a:lnTo>
                  <a:lnTo>
                    <a:pt x="1460" y="317"/>
                  </a:lnTo>
                  <a:lnTo>
                    <a:pt x="1463" y="317"/>
                  </a:lnTo>
                  <a:lnTo>
                    <a:pt x="1466" y="317"/>
                  </a:lnTo>
                  <a:lnTo>
                    <a:pt x="1468" y="317"/>
                  </a:lnTo>
                  <a:lnTo>
                    <a:pt x="1470" y="317"/>
                  </a:lnTo>
                  <a:lnTo>
                    <a:pt x="1473" y="317"/>
                  </a:lnTo>
                  <a:lnTo>
                    <a:pt x="1474" y="315"/>
                  </a:lnTo>
                  <a:lnTo>
                    <a:pt x="1477" y="315"/>
                  </a:lnTo>
                  <a:lnTo>
                    <a:pt x="1479" y="314"/>
                  </a:lnTo>
                  <a:lnTo>
                    <a:pt x="1480" y="314"/>
                  </a:lnTo>
                  <a:lnTo>
                    <a:pt x="1482" y="312"/>
                  </a:lnTo>
                  <a:lnTo>
                    <a:pt x="1484" y="312"/>
                  </a:lnTo>
                  <a:lnTo>
                    <a:pt x="1485" y="312"/>
                  </a:lnTo>
                  <a:lnTo>
                    <a:pt x="1487" y="312"/>
                  </a:lnTo>
                  <a:lnTo>
                    <a:pt x="1488" y="310"/>
                  </a:lnTo>
                  <a:lnTo>
                    <a:pt x="1490" y="310"/>
                  </a:lnTo>
                  <a:lnTo>
                    <a:pt x="1491" y="309"/>
                  </a:lnTo>
                  <a:lnTo>
                    <a:pt x="1493" y="309"/>
                  </a:lnTo>
                  <a:lnTo>
                    <a:pt x="1494" y="307"/>
                  </a:lnTo>
                  <a:lnTo>
                    <a:pt x="1495" y="307"/>
                  </a:lnTo>
                  <a:lnTo>
                    <a:pt x="1498" y="306"/>
                  </a:lnTo>
                  <a:lnTo>
                    <a:pt x="1499" y="306"/>
                  </a:lnTo>
                  <a:lnTo>
                    <a:pt x="1501" y="303"/>
                  </a:lnTo>
                  <a:lnTo>
                    <a:pt x="1502" y="303"/>
                  </a:lnTo>
                  <a:lnTo>
                    <a:pt x="1504" y="303"/>
                  </a:lnTo>
                  <a:lnTo>
                    <a:pt x="1505" y="302"/>
                  </a:lnTo>
                  <a:lnTo>
                    <a:pt x="1507" y="302"/>
                  </a:lnTo>
                  <a:lnTo>
                    <a:pt x="1508" y="301"/>
                  </a:lnTo>
                  <a:lnTo>
                    <a:pt x="1510" y="301"/>
                  </a:lnTo>
                  <a:lnTo>
                    <a:pt x="1512" y="298"/>
                  </a:lnTo>
                  <a:lnTo>
                    <a:pt x="1515" y="298"/>
                  </a:lnTo>
                  <a:lnTo>
                    <a:pt x="1516" y="298"/>
                  </a:lnTo>
                  <a:lnTo>
                    <a:pt x="1519" y="298"/>
                  </a:lnTo>
                  <a:lnTo>
                    <a:pt x="1522" y="297"/>
                  </a:lnTo>
                  <a:lnTo>
                    <a:pt x="1523" y="294"/>
                  </a:lnTo>
                  <a:lnTo>
                    <a:pt x="1526" y="294"/>
                  </a:lnTo>
                  <a:lnTo>
                    <a:pt x="1529" y="294"/>
                  </a:lnTo>
                  <a:lnTo>
                    <a:pt x="1530" y="294"/>
                  </a:lnTo>
                  <a:lnTo>
                    <a:pt x="1532" y="293"/>
                  </a:lnTo>
                  <a:lnTo>
                    <a:pt x="1533" y="293"/>
                  </a:lnTo>
                  <a:lnTo>
                    <a:pt x="1535" y="292"/>
                  </a:lnTo>
                  <a:lnTo>
                    <a:pt x="1538" y="292"/>
                  </a:lnTo>
                  <a:lnTo>
                    <a:pt x="1540" y="290"/>
                  </a:lnTo>
                  <a:lnTo>
                    <a:pt x="1543" y="290"/>
                  </a:lnTo>
                  <a:lnTo>
                    <a:pt x="1545" y="289"/>
                  </a:lnTo>
                  <a:lnTo>
                    <a:pt x="1547" y="288"/>
                  </a:lnTo>
                  <a:lnTo>
                    <a:pt x="1548" y="288"/>
                  </a:lnTo>
                  <a:lnTo>
                    <a:pt x="1551" y="286"/>
                  </a:lnTo>
                  <a:lnTo>
                    <a:pt x="1554" y="286"/>
                  </a:lnTo>
                  <a:lnTo>
                    <a:pt x="1555" y="285"/>
                  </a:lnTo>
                  <a:lnTo>
                    <a:pt x="1558" y="285"/>
                  </a:lnTo>
                  <a:lnTo>
                    <a:pt x="1559" y="284"/>
                  </a:lnTo>
                  <a:lnTo>
                    <a:pt x="1560" y="284"/>
                  </a:lnTo>
                  <a:lnTo>
                    <a:pt x="1562" y="284"/>
                  </a:lnTo>
                  <a:lnTo>
                    <a:pt x="1563" y="284"/>
                  </a:lnTo>
                  <a:lnTo>
                    <a:pt x="1566" y="284"/>
                  </a:lnTo>
                  <a:lnTo>
                    <a:pt x="1568" y="281"/>
                  </a:lnTo>
                  <a:lnTo>
                    <a:pt x="1570" y="281"/>
                  </a:lnTo>
                  <a:lnTo>
                    <a:pt x="1572" y="281"/>
                  </a:lnTo>
                  <a:lnTo>
                    <a:pt x="1574" y="280"/>
                  </a:lnTo>
                  <a:lnTo>
                    <a:pt x="1576" y="278"/>
                  </a:lnTo>
                  <a:lnTo>
                    <a:pt x="1579" y="276"/>
                  </a:lnTo>
                  <a:lnTo>
                    <a:pt x="1582" y="276"/>
                  </a:lnTo>
                  <a:lnTo>
                    <a:pt x="1583" y="276"/>
                  </a:lnTo>
                  <a:lnTo>
                    <a:pt x="1585" y="276"/>
                  </a:lnTo>
                  <a:lnTo>
                    <a:pt x="1588" y="276"/>
                  </a:lnTo>
                  <a:lnTo>
                    <a:pt x="1590" y="275"/>
                  </a:lnTo>
                  <a:lnTo>
                    <a:pt x="1593" y="275"/>
                  </a:lnTo>
                  <a:lnTo>
                    <a:pt x="1595" y="272"/>
                  </a:lnTo>
                  <a:lnTo>
                    <a:pt x="1597" y="272"/>
                  </a:lnTo>
                  <a:lnTo>
                    <a:pt x="1599" y="272"/>
                  </a:lnTo>
                  <a:lnTo>
                    <a:pt x="1602" y="272"/>
                  </a:lnTo>
                  <a:lnTo>
                    <a:pt x="1604" y="270"/>
                  </a:lnTo>
                  <a:lnTo>
                    <a:pt x="1605" y="270"/>
                  </a:lnTo>
                  <a:lnTo>
                    <a:pt x="1608" y="268"/>
                  </a:lnTo>
                  <a:lnTo>
                    <a:pt x="1609" y="268"/>
                  </a:lnTo>
                  <a:lnTo>
                    <a:pt x="1610" y="268"/>
                  </a:lnTo>
                  <a:lnTo>
                    <a:pt x="1613" y="267"/>
                  </a:lnTo>
                  <a:lnTo>
                    <a:pt x="1616" y="267"/>
                  </a:lnTo>
                  <a:lnTo>
                    <a:pt x="1618" y="265"/>
                  </a:lnTo>
                  <a:lnTo>
                    <a:pt x="1619" y="265"/>
                  </a:lnTo>
                  <a:lnTo>
                    <a:pt x="1620" y="264"/>
                  </a:lnTo>
                  <a:lnTo>
                    <a:pt x="1622" y="264"/>
                  </a:lnTo>
                  <a:lnTo>
                    <a:pt x="1624" y="264"/>
                  </a:lnTo>
                  <a:lnTo>
                    <a:pt x="1626" y="263"/>
                  </a:lnTo>
                  <a:lnTo>
                    <a:pt x="1627" y="263"/>
                  </a:lnTo>
                  <a:lnTo>
                    <a:pt x="1630" y="261"/>
                  </a:lnTo>
                  <a:lnTo>
                    <a:pt x="1633" y="261"/>
                  </a:lnTo>
                  <a:lnTo>
                    <a:pt x="1634" y="261"/>
                  </a:lnTo>
                  <a:lnTo>
                    <a:pt x="1637" y="259"/>
                  </a:lnTo>
                  <a:lnTo>
                    <a:pt x="1638" y="259"/>
                  </a:lnTo>
                  <a:lnTo>
                    <a:pt x="1641" y="259"/>
                  </a:lnTo>
                  <a:lnTo>
                    <a:pt x="1644" y="259"/>
                  </a:lnTo>
                  <a:lnTo>
                    <a:pt x="1647" y="259"/>
                  </a:lnTo>
                  <a:lnTo>
                    <a:pt x="1648" y="259"/>
                  </a:lnTo>
                  <a:lnTo>
                    <a:pt x="1649" y="257"/>
                  </a:lnTo>
                  <a:lnTo>
                    <a:pt x="1649" y="259"/>
                  </a:lnTo>
                  <a:lnTo>
                    <a:pt x="1654" y="259"/>
                  </a:lnTo>
                  <a:lnTo>
                    <a:pt x="1793" y="232"/>
                  </a:lnTo>
                  <a:lnTo>
                    <a:pt x="1947" y="165"/>
                  </a:lnTo>
                  <a:lnTo>
                    <a:pt x="1961" y="161"/>
                  </a:lnTo>
                  <a:lnTo>
                    <a:pt x="2235" y="66"/>
                  </a:lnTo>
                  <a:lnTo>
                    <a:pt x="2407" y="9"/>
                  </a:lnTo>
                  <a:lnTo>
                    <a:pt x="2432" y="0"/>
                  </a:lnTo>
                  <a:lnTo>
                    <a:pt x="2441" y="9"/>
                  </a:lnTo>
                  <a:lnTo>
                    <a:pt x="2446" y="22"/>
                  </a:lnTo>
                  <a:lnTo>
                    <a:pt x="2463" y="22"/>
                  </a:lnTo>
                  <a:lnTo>
                    <a:pt x="2468" y="27"/>
                  </a:lnTo>
                  <a:lnTo>
                    <a:pt x="2476" y="29"/>
                  </a:lnTo>
                  <a:lnTo>
                    <a:pt x="2480" y="40"/>
                  </a:lnTo>
                  <a:lnTo>
                    <a:pt x="2478" y="45"/>
                  </a:lnTo>
                  <a:lnTo>
                    <a:pt x="2491" y="65"/>
                  </a:lnTo>
                  <a:lnTo>
                    <a:pt x="2491" y="72"/>
                  </a:lnTo>
                  <a:lnTo>
                    <a:pt x="2481" y="89"/>
                  </a:lnTo>
                  <a:lnTo>
                    <a:pt x="2485" y="98"/>
                  </a:lnTo>
                  <a:lnTo>
                    <a:pt x="2476" y="110"/>
                  </a:lnTo>
                  <a:lnTo>
                    <a:pt x="2473" y="114"/>
                  </a:lnTo>
                  <a:lnTo>
                    <a:pt x="2477" y="120"/>
                  </a:lnTo>
                  <a:lnTo>
                    <a:pt x="2484" y="126"/>
                  </a:lnTo>
                  <a:lnTo>
                    <a:pt x="2484" y="132"/>
                  </a:lnTo>
                  <a:lnTo>
                    <a:pt x="2491" y="134"/>
                  </a:lnTo>
                  <a:lnTo>
                    <a:pt x="2503" y="147"/>
                  </a:lnTo>
                  <a:lnTo>
                    <a:pt x="2509" y="174"/>
                  </a:lnTo>
                  <a:lnTo>
                    <a:pt x="2521" y="178"/>
                  </a:lnTo>
                  <a:lnTo>
                    <a:pt x="2533" y="169"/>
                  </a:lnTo>
                  <a:lnTo>
                    <a:pt x="2542" y="174"/>
                  </a:lnTo>
                  <a:lnTo>
                    <a:pt x="2545" y="194"/>
                  </a:lnTo>
                  <a:lnTo>
                    <a:pt x="2556" y="205"/>
                  </a:lnTo>
                  <a:lnTo>
                    <a:pt x="2562" y="222"/>
                  </a:lnTo>
                  <a:lnTo>
                    <a:pt x="2573" y="235"/>
                  </a:lnTo>
                  <a:lnTo>
                    <a:pt x="2581" y="255"/>
                  </a:lnTo>
                  <a:lnTo>
                    <a:pt x="2592" y="265"/>
                  </a:lnTo>
                  <a:lnTo>
                    <a:pt x="2598" y="281"/>
                  </a:lnTo>
                  <a:lnTo>
                    <a:pt x="2595" y="293"/>
                  </a:lnTo>
                  <a:lnTo>
                    <a:pt x="2613" y="312"/>
                  </a:lnTo>
                  <a:lnTo>
                    <a:pt x="2617" y="326"/>
                  </a:lnTo>
                  <a:lnTo>
                    <a:pt x="2633" y="330"/>
                  </a:lnTo>
                  <a:lnTo>
                    <a:pt x="2644" y="342"/>
                  </a:lnTo>
                  <a:lnTo>
                    <a:pt x="2659" y="339"/>
                  </a:lnTo>
                  <a:lnTo>
                    <a:pt x="2667" y="347"/>
                  </a:lnTo>
                  <a:lnTo>
                    <a:pt x="2686" y="375"/>
                  </a:lnTo>
                  <a:lnTo>
                    <a:pt x="2688" y="388"/>
                  </a:lnTo>
                  <a:lnTo>
                    <a:pt x="2702" y="388"/>
                  </a:lnTo>
                  <a:lnTo>
                    <a:pt x="2716" y="392"/>
                  </a:lnTo>
                  <a:lnTo>
                    <a:pt x="2740" y="427"/>
                  </a:lnTo>
                  <a:lnTo>
                    <a:pt x="2734" y="446"/>
                  </a:lnTo>
                  <a:lnTo>
                    <a:pt x="2750" y="481"/>
                  </a:lnTo>
                  <a:lnTo>
                    <a:pt x="2759" y="481"/>
                  </a:lnTo>
                  <a:lnTo>
                    <a:pt x="2761" y="486"/>
                  </a:lnTo>
                  <a:lnTo>
                    <a:pt x="2767" y="486"/>
                  </a:lnTo>
                  <a:lnTo>
                    <a:pt x="2773" y="497"/>
                  </a:lnTo>
                  <a:lnTo>
                    <a:pt x="2786" y="494"/>
                  </a:lnTo>
                  <a:lnTo>
                    <a:pt x="2790" y="486"/>
                  </a:lnTo>
                  <a:lnTo>
                    <a:pt x="2791" y="479"/>
                  </a:lnTo>
                  <a:lnTo>
                    <a:pt x="2812" y="463"/>
                  </a:lnTo>
                  <a:lnTo>
                    <a:pt x="2800" y="435"/>
                  </a:lnTo>
                  <a:lnTo>
                    <a:pt x="2807" y="422"/>
                  </a:lnTo>
                  <a:lnTo>
                    <a:pt x="2807" y="410"/>
                  </a:lnTo>
                  <a:lnTo>
                    <a:pt x="2811" y="405"/>
                  </a:lnTo>
                  <a:lnTo>
                    <a:pt x="2815" y="404"/>
                  </a:lnTo>
                  <a:lnTo>
                    <a:pt x="2826" y="404"/>
                  </a:lnTo>
                  <a:lnTo>
                    <a:pt x="2829" y="404"/>
                  </a:lnTo>
                  <a:lnTo>
                    <a:pt x="2843" y="419"/>
                  </a:lnTo>
                  <a:lnTo>
                    <a:pt x="2848" y="419"/>
                  </a:lnTo>
                  <a:lnTo>
                    <a:pt x="2855" y="430"/>
                  </a:lnTo>
                  <a:lnTo>
                    <a:pt x="2862" y="427"/>
                  </a:lnTo>
                  <a:lnTo>
                    <a:pt x="2873" y="435"/>
                  </a:lnTo>
                  <a:lnTo>
                    <a:pt x="2877" y="446"/>
                  </a:lnTo>
                  <a:lnTo>
                    <a:pt x="2898" y="439"/>
                  </a:lnTo>
                  <a:lnTo>
                    <a:pt x="2911" y="424"/>
                  </a:lnTo>
                  <a:lnTo>
                    <a:pt x="2925" y="413"/>
                  </a:lnTo>
                  <a:lnTo>
                    <a:pt x="2932" y="414"/>
                  </a:lnTo>
                  <a:lnTo>
                    <a:pt x="2938" y="421"/>
                  </a:lnTo>
                  <a:lnTo>
                    <a:pt x="2946" y="417"/>
                  </a:lnTo>
                  <a:lnTo>
                    <a:pt x="2944" y="404"/>
                  </a:lnTo>
                  <a:lnTo>
                    <a:pt x="2960" y="392"/>
                  </a:lnTo>
                  <a:lnTo>
                    <a:pt x="2963" y="392"/>
                  </a:lnTo>
                  <a:lnTo>
                    <a:pt x="2969" y="382"/>
                  </a:lnTo>
                  <a:lnTo>
                    <a:pt x="2976" y="388"/>
                  </a:lnTo>
                  <a:lnTo>
                    <a:pt x="2987" y="379"/>
                  </a:lnTo>
                  <a:lnTo>
                    <a:pt x="2991" y="388"/>
                  </a:lnTo>
                  <a:lnTo>
                    <a:pt x="3108" y="396"/>
                  </a:lnTo>
                  <a:lnTo>
                    <a:pt x="3107" y="369"/>
                  </a:lnTo>
                  <a:lnTo>
                    <a:pt x="3189" y="352"/>
                  </a:lnTo>
                  <a:lnTo>
                    <a:pt x="3210" y="356"/>
                  </a:lnTo>
                  <a:lnTo>
                    <a:pt x="3217" y="352"/>
                  </a:lnTo>
                  <a:lnTo>
                    <a:pt x="3218" y="347"/>
                  </a:lnTo>
                  <a:lnTo>
                    <a:pt x="3222" y="347"/>
                  </a:lnTo>
                  <a:lnTo>
                    <a:pt x="3226" y="343"/>
                  </a:lnTo>
                  <a:lnTo>
                    <a:pt x="3250" y="347"/>
                  </a:lnTo>
                  <a:lnTo>
                    <a:pt x="3257" y="343"/>
                  </a:lnTo>
                  <a:lnTo>
                    <a:pt x="3262" y="332"/>
                  </a:lnTo>
                  <a:lnTo>
                    <a:pt x="3279" y="320"/>
                  </a:lnTo>
                  <a:lnTo>
                    <a:pt x="3290" y="327"/>
                  </a:lnTo>
                  <a:lnTo>
                    <a:pt x="3300" y="320"/>
                  </a:lnTo>
                  <a:lnTo>
                    <a:pt x="3311" y="320"/>
                  </a:lnTo>
                  <a:lnTo>
                    <a:pt x="3317" y="320"/>
                  </a:lnTo>
                  <a:lnTo>
                    <a:pt x="3321" y="317"/>
                  </a:lnTo>
                  <a:lnTo>
                    <a:pt x="3324" y="312"/>
                  </a:lnTo>
                  <a:lnTo>
                    <a:pt x="3334" y="312"/>
                  </a:lnTo>
                  <a:lnTo>
                    <a:pt x="3342" y="320"/>
                  </a:lnTo>
                  <a:lnTo>
                    <a:pt x="3354" y="319"/>
                  </a:lnTo>
                  <a:lnTo>
                    <a:pt x="3354" y="327"/>
                  </a:lnTo>
                  <a:lnTo>
                    <a:pt x="3361" y="338"/>
                  </a:lnTo>
                  <a:lnTo>
                    <a:pt x="3377" y="347"/>
                  </a:lnTo>
                  <a:lnTo>
                    <a:pt x="3375" y="356"/>
                  </a:lnTo>
                  <a:lnTo>
                    <a:pt x="3384" y="372"/>
                  </a:lnTo>
                  <a:lnTo>
                    <a:pt x="3397" y="385"/>
                  </a:lnTo>
                  <a:lnTo>
                    <a:pt x="3402" y="404"/>
                  </a:lnTo>
                  <a:lnTo>
                    <a:pt x="3411" y="418"/>
                  </a:lnTo>
                  <a:lnTo>
                    <a:pt x="3421" y="431"/>
                  </a:lnTo>
                  <a:lnTo>
                    <a:pt x="3435" y="435"/>
                  </a:lnTo>
                  <a:lnTo>
                    <a:pt x="3438" y="446"/>
                  </a:lnTo>
                  <a:lnTo>
                    <a:pt x="3453" y="447"/>
                  </a:lnTo>
                  <a:lnTo>
                    <a:pt x="3460" y="458"/>
                  </a:lnTo>
                  <a:lnTo>
                    <a:pt x="3464" y="471"/>
                  </a:lnTo>
                  <a:lnTo>
                    <a:pt x="3471" y="476"/>
                  </a:lnTo>
                  <a:lnTo>
                    <a:pt x="3475" y="486"/>
                  </a:lnTo>
                  <a:lnTo>
                    <a:pt x="3474" y="511"/>
                  </a:lnTo>
                  <a:lnTo>
                    <a:pt x="3481" y="519"/>
                  </a:lnTo>
                  <a:lnTo>
                    <a:pt x="3472" y="530"/>
                  </a:lnTo>
                  <a:lnTo>
                    <a:pt x="3471" y="542"/>
                  </a:lnTo>
                  <a:lnTo>
                    <a:pt x="3463" y="547"/>
                  </a:lnTo>
                  <a:lnTo>
                    <a:pt x="3456" y="553"/>
                  </a:lnTo>
                  <a:lnTo>
                    <a:pt x="3464" y="566"/>
                  </a:lnTo>
                  <a:lnTo>
                    <a:pt x="3464" y="573"/>
                  </a:lnTo>
                  <a:lnTo>
                    <a:pt x="3475" y="588"/>
                  </a:lnTo>
                  <a:lnTo>
                    <a:pt x="3478" y="605"/>
                  </a:lnTo>
                  <a:lnTo>
                    <a:pt x="3495" y="624"/>
                  </a:lnTo>
                  <a:lnTo>
                    <a:pt x="3494" y="630"/>
                  </a:lnTo>
                  <a:lnTo>
                    <a:pt x="3500" y="637"/>
                  </a:lnTo>
                  <a:lnTo>
                    <a:pt x="3509" y="653"/>
                  </a:lnTo>
                  <a:lnTo>
                    <a:pt x="3507" y="657"/>
                  </a:lnTo>
                  <a:lnTo>
                    <a:pt x="3499" y="663"/>
                  </a:lnTo>
                  <a:lnTo>
                    <a:pt x="3502" y="707"/>
                  </a:lnTo>
                  <a:lnTo>
                    <a:pt x="3495" y="715"/>
                  </a:lnTo>
                  <a:lnTo>
                    <a:pt x="3494" y="725"/>
                  </a:lnTo>
                  <a:lnTo>
                    <a:pt x="3503" y="733"/>
                  </a:lnTo>
                  <a:lnTo>
                    <a:pt x="3513" y="755"/>
                  </a:lnTo>
                  <a:lnTo>
                    <a:pt x="3514" y="774"/>
                  </a:lnTo>
                  <a:lnTo>
                    <a:pt x="3520" y="778"/>
                  </a:lnTo>
                  <a:lnTo>
                    <a:pt x="3520" y="784"/>
                  </a:lnTo>
                  <a:lnTo>
                    <a:pt x="3534" y="789"/>
                  </a:lnTo>
                  <a:lnTo>
                    <a:pt x="3531" y="798"/>
                  </a:lnTo>
                  <a:lnTo>
                    <a:pt x="3539" y="808"/>
                  </a:lnTo>
                  <a:lnTo>
                    <a:pt x="3536" y="815"/>
                  </a:lnTo>
                  <a:lnTo>
                    <a:pt x="3525" y="824"/>
                  </a:lnTo>
                  <a:lnTo>
                    <a:pt x="3524" y="837"/>
                  </a:lnTo>
                  <a:lnTo>
                    <a:pt x="3514" y="844"/>
                  </a:lnTo>
                  <a:lnTo>
                    <a:pt x="3500" y="859"/>
                  </a:lnTo>
                  <a:lnTo>
                    <a:pt x="3499" y="871"/>
                  </a:lnTo>
                  <a:lnTo>
                    <a:pt x="3500" y="876"/>
                  </a:lnTo>
                  <a:lnTo>
                    <a:pt x="3509" y="877"/>
                  </a:lnTo>
                  <a:lnTo>
                    <a:pt x="3511" y="879"/>
                  </a:lnTo>
                  <a:lnTo>
                    <a:pt x="3513" y="882"/>
                  </a:lnTo>
                  <a:lnTo>
                    <a:pt x="3509" y="895"/>
                  </a:lnTo>
                  <a:lnTo>
                    <a:pt x="3497" y="901"/>
                  </a:lnTo>
                  <a:lnTo>
                    <a:pt x="3496" y="911"/>
                  </a:lnTo>
                  <a:lnTo>
                    <a:pt x="3507" y="937"/>
                  </a:lnTo>
                  <a:lnTo>
                    <a:pt x="3503" y="940"/>
                  </a:lnTo>
                  <a:lnTo>
                    <a:pt x="3505" y="944"/>
                  </a:lnTo>
                  <a:lnTo>
                    <a:pt x="3509" y="952"/>
                  </a:lnTo>
                  <a:lnTo>
                    <a:pt x="3505" y="966"/>
                  </a:lnTo>
                  <a:lnTo>
                    <a:pt x="3507" y="976"/>
                  </a:lnTo>
                  <a:lnTo>
                    <a:pt x="3514" y="976"/>
                  </a:lnTo>
                  <a:lnTo>
                    <a:pt x="3514" y="986"/>
                  </a:lnTo>
                  <a:lnTo>
                    <a:pt x="3524" y="998"/>
                  </a:lnTo>
                  <a:lnTo>
                    <a:pt x="3520" y="1010"/>
                  </a:lnTo>
                  <a:lnTo>
                    <a:pt x="3522" y="1028"/>
                  </a:lnTo>
                  <a:lnTo>
                    <a:pt x="3519" y="1038"/>
                  </a:lnTo>
                  <a:lnTo>
                    <a:pt x="3500" y="1056"/>
                  </a:lnTo>
                  <a:lnTo>
                    <a:pt x="3502" y="1067"/>
                  </a:lnTo>
                  <a:lnTo>
                    <a:pt x="3492" y="1072"/>
                  </a:lnTo>
                  <a:lnTo>
                    <a:pt x="3486" y="1080"/>
                  </a:lnTo>
                  <a:lnTo>
                    <a:pt x="3482" y="1080"/>
                  </a:lnTo>
                  <a:lnTo>
                    <a:pt x="3477" y="1073"/>
                  </a:lnTo>
                  <a:lnTo>
                    <a:pt x="3471" y="1073"/>
                  </a:lnTo>
                  <a:lnTo>
                    <a:pt x="3467" y="1082"/>
                  </a:lnTo>
                  <a:lnTo>
                    <a:pt x="3459" y="1090"/>
                  </a:lnTo>
                  <a:lnTo>
                    <a:pt x="3455" y="1107"/>
                  </a:lnTo>
                  <a:lnTo>
                    <a:pt x="3457" y="1117"/>
                  </a:lnTo>
                  <a:lnTo>
                    <a:pt x="3455" y="1137"/>
                  </a:lnTo>
                  <a:lnTo>
                    <a:pt x="3436" y="1139"/>
                  </a:lnTo>
                  <a:lnTo>
                    <a:pt x="3416" y="1154"/>
                  </a:lnTo>
                  <a:lnTo>
                    <a:pt x="3402" y="1151"/>
                  </a:lnTo>
                  <a:lnTo>
                    <a:pt x="3394" y="1148"/>
                  </a:lnTo>
                  <a:lnTo>
                    <a:pt x="3396" y="1172"/>
                  </a:lnTo>
                  <a:lnTo>
                    <a:pt x="3394" y="1176"/>
                  </a:lnTo>
                  <a:lnTo>
                    <a:pt x="3382" y="1192"/>
                  </a:lnTo>
                  <a:lnTo>
                    <a:pt x="3382" y="1207"/>
                  </a:lnTo>
                  <a:lnTo>
                    <a:pt x="3391" y="1223"/>
                  </a:lnTo>
                  <a:lnTo>
                    <a:pt x="3395" y="1240"/>
                  </a:lnTo>
                  <a:lnTo>
                    <a:pt x="3394" y="1256"/>
                  </a:lnTo>
                  <a:lnTo>
                    <a:pt x="3397" y="1266"/>
                  </a:lnTo>
                  <a:lnTo>
                    <a:pt x="3394" y="1273"/>
                  </a:lnTo>
                  <a:lnTo>
                    <a:pt x="3409" y="1298"/>
                  </a:lnTo>
                  <a:lnTo>
                    <a:pt x="3391" y="1301"/>
                  </a:lnTo>
                  <a:lnTo>
                    <a:pt x="3384" y="1337"/>
                  </a:lnTo>
                  <a:lnTo>
                    <a:pt x="3378" y="1344"/>
                  </a:lnTo>
                  <a:lnTo>
                    <a:pt x="3366" y="1351"/>
                  </a:lnTo>
                  <a:lnTo>
                    <a:pt x="3363" y="1358"/>
                  </a:lnTo>
                  <a:lnTo>
                    <a:pt x="3353" y="1362"/>
                  </a:lnTo>
                  <a:lnTo>
                    <a:pt x="3350" y="1379"/>
                  </a:lnTo>
                  <a:lnTo>
                    <a:pt x="3332" y="1403"/>
                  </a:lnTo>
                  <a:lnTo>
                    <a:pt x="3324" y="1408"/>
                  </a:lnTo>
                  <a:lnTo>
                    <a:pt x="3314" y="1403"/>
                  </a:lnTo>
                  <a:lnTo>
                    <a:pt x="3301" y="1405"/>
                  </a:lnTo>
                  <a:lnTo>
                    <a:pt x="3289" y="1414"/>
                  </a:lnTo>
                  <a:lnTo>
                    <a:pt x="3281" y="1417"/>
                  </a:lnTo>
                  <a:lnTo>
                    <a:pt x="3278" y="1425"/>
                  </a:lnTo>
                  <a:lnTo>
                    <a:pt x="3270" y="1438"/>
                  </a:lnTo>
                  <a:lnTo>
                    <a:pt x="3264" y="1438"/>
                  </a:lnTo>
                  <a:lnTo>
                    <a:pt x="3257" y="1446"/>
                  </a:lnTo>
                  <a:lnTo>
                    <a:pt x="3257" y="1460"/>
                  </a:lnTo>
                  <a:lnTo>
                    <a:pt x="3246" y="1467"/>
                  </a:lnTo>
                  <a:lnTo>
                    <a:pt x="3243" y="1472"/>
                  </a:lnTo>
                  <a:lnTo>
                    <a:pt x="3242" y="1483"/>
                  </a:lnTo>
                  <a:lnTo>
                    <a:pt x="3240" y="1491"/>
                  </a:lnTo>
                  <a:lnTo>
                    <a:pt x="3245" y="1500"/>
                  </a:lnTo>
                  <a:lnTo>
                    <a:pt x="3239" y="1513"/>
                  </a:lnTo>
                  <a:lnTo>
                    <a:pt x="3247" y="1518"/>
                  </a:lnTo>
                  <a:lnTo>
                    <a:pt x="3240" y="1527"/>
                  </a:lnTo>
                  <a:lnTo>
                    <a:pt x="3245" y="1544"/>
                  </a:lnTo>
                  <a:lnTo>
                    <a:pt x="3265" y="1554"/>
                  </a:lnTo>
                  <a:lnTo>
                    <a:pt x="3281" y="1554"/>
                  </a:lnTo>
                  <a:lnTo>
                    <a:pt x="3287" y="1554"/>
                  </a:lnTo>
                  <a:lnTo>
                    <a:pt x="3300" y="1574"/>
                  </a:lnTo>
                  <a:lnTo>
                    <a:pt x="3320" y="1584"/>
                  </a:lnTo>
                  <a:lnTo>
                    <a:pt x="3320" y="1596"/>
                  </a:lnTo>
                  <a:lnTo>
                    <a:pt x="3339" y="1609"/>
                  </a:lnTo>
                  <a:lnTo>
                    <a:pt x="3343" y="1621"/>
                  </a:lnTo>
                  <a:lnTo>
                    <a:pt x="3349" y="1627"/>
                  </a:lnTo>
                  <a:lnTo>
                    <a:pt x="3349" y="1634"/>
                  </a:lnTo>
                  <a:lnTo>
                    <a:pt x="3367" y="1634"/>
                  </a:lnTo>
                  <a:lnTo>
                    <a:pt x="3380" y="1644"/>
                  </a:lnTo>
                  <a:lnTo>
                    <a:pt x="3388" y="1664"/>
                  </a:lnTo>
                  <a:lnTo>
                    <a:pt x="3380" y="1671"/>
                  </a:lnTo>
                  <a:lnTo>
                    <a:pt x="3367" y="1704"/>
                  </a:lnTo>
                  <a:lnTo>
                    <a:pt x="3361" y="1712"/>
                  </a:lnTo>
                  <a:lnTo>
                    <a:pt x="3360" y="1724"/>
                  </a:lnTo>
                  <a:lnTo>
                    <a:pt x="3363" y="1741"/>
                  </a:lnTo>
                  <a:lnTo>
                    <a:pt x="3359" y="1764"/>
                  </a:lnTo>
                  <a:lnTo>
                    <a:pt x="3361" y="1773"/>
                  </a:lnTo>
                  <a:lnTo>
                    <a:pt x="3366" y="1777"/>
                  </a:lnTo>
                  <a:lnTo>
                    <a:pt x="3371" y="1779"/>
                  </a:lnTo>
                  <a:lnTo>
                    <a:pt x="3374" y="1802"/>
                  </a:lnTo>
                  <a:lnTo>
                    <a:pt x="3381" y="1818"/>
                  </a:lnTo>
                  <a:lnTo>
                    <a:pt x="3389" y="1826"/>
                  </a:lnTo>
                  <a:lnTo>
                    <a:pt x="3407" y="1832"/>
                  </a:lnTo>
                  <a:lnTo>
                    <a:pt x="3425" y="1836"/>
                  </a:lnTo>
                  <a:lnTo>
                    <a:pt x="3431" y="1847"/>
                  </a:lnTo>
                  <a:lnTo>
                    <a:pt x="3441" y="1844"/>
                  </a:lnTo>
                  <a:lnTo>
                    <a:pt x="3460" y="1835"/>
                  </a:lnTo>
                  <a:lnTo>
                    <a:pt x="3474" y="1848"/>
                  </a:lnTo>
                  <a:lnTo>
                    <a:pt x="3477" y="1855"/>
                  </a:lnTo>
                  <a:lnTo>
                    <a:pt x="3496" y="1862"/>
                  </a:lnTo>
                  <a:lnTo>
                    <a:pt x="3500" y="1870"/>
                  </a:lnTo>
                  <a:lnTo>
                    <a:pt x="3497" y="1885"/>
                  </a:lnTo>
                  <a:lnTo>
                    <a:pt x="3511" y="1903"/>
                  </a:lnTo>
                  <a:lnTo>
                    <a:pt x="3509" y="1924"/>
                  </a:lnTo>
                  <a:lnTo>
                    <a:pt x="3514" y="1942"/>
                  </a:lnTo>
                  <a:lnTo>
                    <a:pt x="3522" y="1948"/>
                  </a:lnTo>
                  <a:lnTo>
                    <a:pt x="3539" y="1951"/>
                  </a:lnTo>
                  <a:lnTo>
                    <a:pt x="3559" y="1970"/>
                  </a:lnTo>
                  <a:lnTo>
                    <a:pt x="3566" y="1970"/>
                  </a:lnTo>
                  <a:lnTo>
                    <a:pt x="3577" y="1962"/>
                  </a:lnTo>
                  <a:lnTo>
                    <a:pt x="3581" y="1964"/>
                  </a:lnTo>
                  <a:lnTo>
                    <a:pt x="3586" y="1977"/>
                  </a:lnTo>
                  <a:lnTo>
                    <a:pt x="3585" y="1997"/>
                  </a:lnTo>
                  <a:lnTo>
                    <a:pt x="3589" y="2012"/>
                  </a:lnTo>
                  <a:lnTo>
                    <a:pt x="3599" y="2015"/>
                  </a:lnTo>
                  <a:lnTo>
                    <a:pt x="3613" y="2007"/>
                  </a:lnTo>
                  <a:lnTo>
                    <a:pt x="3644" y="2026"/>
                  </a:lnTo>
                  <a:lnTo>
                    <a:pt x="3665" y="2057"/>
                  </a:lnTo>
                  <a:lnTo>
                    <a:pt x="3660" y="2072"/>
                  </a:lnTo>
                  <a:lnTo>
                    <a:pt x="3663" y="2080"/>
                  </a:lnTo>
                  <a:lnTo>
                    <a:pt x="3670" y="2084"/>
                  </a:lnTo>
                  <a:lnTo>
                    <a:pt x="3685" y="2086"/>
                  </a:lnTo>
                  <a:lnTo>
                    <a:pt x="3695" y="2094"/>
                  </a:lnTo>
                  <a:lnTo>
                    <a:pt x="3713" y="2097"/>
                  </a:lnTo>
                  <a:lnTo>
                    <a:pt x="3720" y="2106"/>
                  </a:lnTo>
                  <a:lnTo>
                    <a:pt x="3729" y="2151"/>
                  </a:lnTo>
                  <a:lnTo>
                    <a:pt x="3742" y="2161"/>
                  </a:lnTo>
                  <a:lnTo>
                    <a:pt x="3770" y="2168"/>
                  </a:lnTo>
                  <a:lnTo>
                    <a:pt x="3773" y="2200"/>
                  </a:lnTo>
                  <a:lnTo>
                    <a:pt x="3777" y="2210"/>
                  </a:lnTo>
                  <a:lnTo>
                    <a:pt x="3788" y="2210"/>
                  </a:lnTo>
                  <a:lnTo>
                    <a:pt x="3816" y="2203"/>
                  </a:lnTo>
                  <a:lnTo>
                    <a:pt x="3819" y="2210"/>
                  </a:lnTo>
                  <a:lnTo>
                    <a:pt x="3826" y="2213"/>
                  </a:lnTo>
                  <a:lnTo>
                    <a:pt x="3829" y="2217"/>
                  </a:lnTo>
                  <a:lnTo>
                    <a:pt x="3831" y="2218"/>
                  </a:lnTo>
                  <a:lnTo>
                    <a:pt x="3835" y="2245"/>
                  </a:lnTo>
                  <a:lnTo>
                    <a:pt x="3840" y="2254"/>
                  </a:lnTo>
                  <a:lnTo>
                    <a:pt x="3862" y="2259"/>
                  </a:lnTo>
                  <a:lnTo>
                    <a:pt x="3870" y="2271"/>
                  </a:lnTo>
                  <a:lnTo>
                    <a:pt x="3877" y="2276"/>
                  </a:lnTo>
                  <a:lnTo>
                    <a:pt x="3897" y="2280"/>
                  </a:lnTo>
                  <a:lnTo>
                    <a:pt x="3902" y="2267"/>
                  </a:lnTo>
                  <a:lnTo>
                    <a:pt x="3919" y="2271"/>
                  </a:lnTo>
                  <a:lnTo>
                    <a:pt x="3948" y="2267"/>
                  </a:lnTo>
                  <a:lnTo>
                    <a:pt x="3966" y="2282"/>
                  </a:lnTo>
                  <a:lnTo>
                    <a:pt x="3972" y="2300"/>
                  </a:lnTo>
                  <a:lnTo>
                    <a:pt x="3962" y="2308"/>
                  </a:lnTo>
                  <a:lnTo>
                    <a:pt x="3961" y="2315"/>
                  </a:lnTo>
                  <a:lnTo>
                    <a:pt x="3976" y="2349"/>
                  </a:lnTo>
                  <a:lnTo>
                    <a:pt x="3976" y="2365"/>
                  </a:lnTo>
                  <a:lnTo>
                    <a:pt x="3973" y="2365"/>
                  </a:lnTo>
                  <a:lnTo>
                    <a:pt x="3966" y="2363"/>
                  </a:lnTo>
                  <a:lnTo>
                    <a:pt x="3962" y="2365"/>
                  </a:lnTo>
                  <a:lnTo>
                    <a:pt x="3954" y="2378"/>
                  </a:lnTo>
                  <a:lnTo>
                    <a:pt x="3955" y="2383"/>
                  </a:lnTo>
                  <a:lnTo>
                    <a:pt x="3953" y="2390"/>
                  </a:lnTo>
                  <a:lnTo>
                    <a:pt x="3933" y="2394"/>
                  </a:lnTo>
                  <a:lnTo>
                    <a:pt x="3915" y="2401"/>
                  </a:lnTo>
                  <a:lnTo>
                    <a:pt x="3908" y="2401"/>
                  </a:lnTo>
                  <a:lnTo>
                    <a:pt x="3891" y="2409"/>
                  </a:lnTo>
                  <a:lnTo>
                    <a:pt x="3885" y="2420"/>
                  </a:lnTo>
                  <a:lnTo>
                    <a:pt x="3890" y="2424"/>
                  </a:lnTo>
                  <a:lnTo>
                    <a:pt x="3888" y="2428"/>
                  </a:lnTo>
                  <a:lnTo>
                    <a:pt x="3894" y="2432"/>
                  </a:lnTo>
                  <a:lnTo>
                    <a:pt x="3887" y="2450"/>
                  </a:lnTo>
                  <a:lnTo>
                    <a:pt x="3902" y="2465"/>
                  </a:lnTo>
                  <a:lnTo>
                    <a:pt x="3905" y="2465"/>
                  </a:lnTo>
                  <a:lnTo>
                    <a:pt x="3909" y="2471"/>
                  </a:lnTo>
                  <a:lnTo>
                    <a:pt x="3929" y="2481"/>
                  </a:lnTo>
                  <a:lnTo>
                    <a:pt x="3926" y="2484"/>
                  </a:lnTo>
                  <a:lnTo>
                    <a:pt x="3915" y="2487"/>
                  </a:lnTo>
                  <a:lnTo>
                    <a:pt x="3906" y="2499"/>
                  </a:lnTo>
                  <a:lnTo>
                    <a:pt x="3908" y="2503"/>
                  </a:lnTo>
                  <a:lnTo>
                    <a:pt x="3913" y="2506"/>
                  </a:lnTo>
                  <a:lnTo>
                    <a:pt x="3916" y="2516"/>
                  </a:lnTo>
                  <a:lnTo>
                    <a:pt x="3922" y="2517"/>
                  </a:lnTo>
                  <a:lnTo>
                    <a:pt x="4073" y="2517"/>
                  </a:lnTo>
                  <a:lnTo>
                    <a:pt x="4080" y="2517"/>
                  </a:lnTo>
                  <a:lnTo>
                    <a:pt x="4080" y="2520"/>
                  </a:lnTo>
                  <a:lnTo>
                    <a:pt x="4075" y="2525"/>
                  </a:lnTo>
                  <a:lnTo>
                    <a:pt x="4078" y="2528"/>
                  </a:lnTo>
                  <a:lnTo>
                    <a:pt x="4080" y="2528"/>
                  </a:lnTo>
                  <a:lnTo>
                    <a:pt x="4086" y="2525"/>
                  </a:lnTo>
                  <a:lnTo>
                    <a:pt x="4087" y="2525"/>
                  </a:lnTo>
                  <a:lnTo>
                    <a:pt x="4089" y="2529"/>
                  </a:lnTo>
                  <a:lnTo>
                    <a:pt x="4084" y="2536"/>
                  </a:lnTo>
                  <a:lnTo>
                    <a:pt x="4087" y="2544"/>
                  </a:lnTo>
                  <a:lnTo>
                    <a:pt x="4084" y="2548"/>
                  </a:lnTo>
                  <a:lnTo>
                    <a:pt x="4076" y="2550"/>
                  </a:lnTo>
                  <a:lnTo>
                    <a:pt x="4076" y="2551"/>
                  </a:lnTo>
                  <a:lnTo>
                    <a:pt x="4078" y="2554"/>
                  </a:lnTo>
                  <a:lnTo>
                    <a:pt x="4081" y="2554"/>
                  </a:lnTo>
                  <a:lnTo>
                    <a:pt x="4083" y="2556"/>
                  </a:lnTo>
                  <a:lnTo>
                    <a:pt x="4084" y="2566"/>
                  </a:lnTo>
                  <a:lnTo>
                    <a:pt x="4091" y="2570"/>
                  </a:lnTo>
                  <a:lnTo>
                    <a:pt x="4091" y="2573"/>
                  </a:lnTo>
                  <a:lnTo>
                    <a:pt x="4087" y="2576"/>
                  </a:lnTo>
                  <a:lnTo>
                    <a:pt x="4087" y="2578"/>
                  </a:lnTo>
                  <a:lnTo>
                    <a:pt x="4089" y="2579"/>
                  </a:lnTo>
                  <a:lnTo>
                    <a:pt x="4093" y="2579"/>
                  </a:lnTo>
                  <a:lnTo>
                    <a:pt x="4094" y="2581"/>
                  </a:lnTo>
                  <a:lnTo>
                    <a:pt x="4093" y="2583"/>
                  </a:lnTo>
                  <a:lnTo>
                    <a:pt x="4087" y="2587"/>
                  </a:lnTo>
                  <a:lnTo>
                    <a:pt x="4087" y="2593"/>
                  </a:lnTo>
                  <a:lnTo>
                    <a:pt x="4083" y="2595"/>
                  </a:lnTo>
                  <a:lnTo>
                    <a:pt x="4084" y="2599"/>
                  </a:lnTo>
                  <a:lnTo>
                    <a:pt x="4079" y="2600"/>
                  </a:lnTo>
                  <a:lnTo>
                    <a:pt x="4080" y="2603"/>
                  </a:lnTo>
                  <a:lnTo>
                    <a:pt x="4086" y="2603"/>
                  </a:lnTo>
                  <a:lnTo>
                    <a:pt x="4087" y="2606"/>
                  </a:lnTo>
                  <a:lnTo>
                    <a:pt x="4087" y="2607"/>
                  </a:lnTo>
                  <a:lnTo>
                    <a:pt x="4080" y="2607"/>
                  </a:lnTo>
                  <a:lnTo>
                    <a:pt x="4084" y="2615"/>
                  </a:lnTo>
                  <a:lnTo>
                    <a:pt x="4078" y="2618"/>
                  </a:lnTo>
                  <a:lnTo>
                    <a:pt x="4081" y="2623"/>
                  </a:lnTo>
                  <a:lnTo>
                    <a:pt x="4079" y="2632"/>
                  </a:lnTo>
                  <a:lnTo>
                    <a:pt x="4079" y="2633"/>
                  </a:lnTo>
                  <a:lnTo>
                    <a:pt x="4086" y="2632"/>
                  </a:lnTo>
                  <a:lnTo>
                    <a:pt x="4095" y="2637"/>
                  </a:lnTo>
                  <a:lnTo>
                    <a:pt x="4095" y="2648"/>
                  </a:lnTo>
                  <a:lnTo>
                    <a:pt x="4101" y="2655"/>
                  </a:lnTo>
                  <a:lnTo>
                    <a:pt x="4101" y="2660"/>
                  </a:lnTo>
                  <a:lnTo>
                    <a:pt x="4105" y="2663"/>
                  </a:lnTo>
                  <a:lnTo>
                    <a:pt x="4104" y="2670"/>
                  </a:lnTo>
                  <a:lnTo>
                    <a:pt x="4104" y="2673"/>
                  </a:lnTo>
                  <a:lnTo>
                    <a:pt x="4108" y="2678"/>
                  </a:lnTo>
                  <a:lnTo>
                    <a:pt x="4112" y="2678"/>
                  </a:lnTo>
                  <a:lnTo>
                    <a:pt x="4114" y="2682"/>
                  </a:lnTo>
                  <a:lnTo>
                    <a:pt x="4115" y="2686"/>
                  </a:lnTo>
                  <a:lnTo>
                    <a:pt x="4116" y="2690"/>
                  </a:lnTo>
                  <a:lnTo>
                    <a:pt x="4119" y="2700"/>
                  </a:lnTo>
                  <a:lnTo>
                    <a:pt x="4119" y="2705"/>
                  </a:lnTo>
                  <a:lnTo>
                    <a:pt x="4115" y="271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09" name="Freeform 308"/>
            <p:cNvSpPr>
              <a:spLocks/>
            </p:cNvSpPr>
            <p:nvPr/>
          </p:nvSpPr>
          <p:spPr bwMode="auto">
            <a:xfrm>
              <a:off x="7891909" y="1866847"/>
              <a:ext cx="661491" cy="914614"/>
            </a:xfrm>
            <a:custGeom>
              <a:avLst/>
              <a:gdLst>
                <a:gd name="T0" fmla="*/ 3256 w 3320"/>
                <a:gd name="T1" fmla="*/ 378 h 3392"/>
                <a:gd name="T2" fmla="*/ 3215 w 3320"/>
                <a:gd name="T3" fmla="*/ 686 h 3392"/>
                <a:gd name="T4" fmla="*/ 3094 w 3320"/>
                <a:gd name="T5" fmla="*/ 846 h 3392"/>
                <a:gd name="T6" fmla="*/ 2989 w 3320"/>
                <a:gd name="T7" fmla="*/ 966 h 3392"/>
                <a:gd name="T8" fmla="*/ 2957 w 3320"/>
                <a:gd name="T9" fmla="*/ 1091 h 3392"/>
                <a:gd name="T10" fmla="*/ 2970 w 3320"/>
                <a:gd name="T11" fmla="*/ 1212 h 3392"/>
                <a:gd name="T12" fmla="*/ 2930 w 3320"/>
                <a:gd name="T13" fmla="*/ 1364 h 3392"/>
                <a:gd name="T14" fmla="*/ 2995 w 3320"/>
                <a:gd name="T15" fmla="*/ 1501 h 3392"/>
                <a:gd name="T16" fmla="*/ 3107 w 3320"/>
                <a:gd name="T17" fmla="*/ 1535 h 3392"/>
                <a:gd name="T18" fmla="*/ 3076 w 3320"/>
                <a:gd name="T19" fmla="*/ 1608 h 3392"/>
                <a:gd name="T20" fmla="*/ 3006 w 3320"/>
                <a:gd name="T21" fmla="*/ 1692 h 3392"/>
                <a:gd name="T22" fmla="*/ 3057 w 3320"/>
                <a:gd name="T23" fmla="*/ 1933 h 3392"/>
                <a:gd name="T24" fmla="*/ 3099 w 3320"/>
                <a:gd name="T25" fmla="*/ 2068 h 3392"/>
                <a:gd name="T26" fmla="*/ 3163 w 3320"/>
                <a:gd name="T27" fmla="*/ 2181 h 3392"/>
                <a:gd name="T28" fmla="*/ 3240 w 3320"/>
                <a:gd name="T29" fmla="*/ 2289 h 3392"/>
                <a:gd name="T30" fmla="*/ 3096 w 3320"/>
                <a:gd name="T31" fmla="*/ 2374 h 3392"/>
                <a:gd name="T32" fmla="*/ 2878 w 3320"/>
                <a:gd name="T33" fmla="*/ 2459 h 3392"/>
                <a:gd name="T34" fmla="*/ 2686 w 3320"/>
                <a:gd name="T35" fmla="*/ 2423 h 3392"/>
                <a:gd name="T36" fmla="*/ 2575 w 3320"/>
                <a:gd name="T37" fmla="*/ 2526 h 3392"/>
                <a:gd name="T38" fmla="*/ 2423 w 3320"/>
                <a:gd name="T39" fmla="*/ 2619 h 3392"/>
                <a:gd name="T40" fmla="*/ 2254 w 3320"/>
                <a:gd name="T41" fmla="*/ 2679 h 3392"/>
                <a:gd name="T42" fmla="*/ 2066 w 3320"/>
                <a:gd name="T43" fmla="*/ 2805 h 3392"/>
                <a:gd name="T44" fmla="*/ 1969 w 3320"/>
                <a:gd name="T45" fmla="*/ 2912 h 3392"/>
                <a:gd name="T46" fmla="*/ 1888 w 3320"/>
                <a:gd name="T47" fmla="*/ 3041 h 3392"/>
                <a:gd name="T48" fmla="*/ 1821 w 3320"/>
                <a:gd name="T49" fmla="*/ 3133 h 3392"/>
                <a:gd name="T50" fmla="*/ 1710 w 3320"/>
                <a:gd name="T51" fmla="*/ 3207 h 3392"/>
                <a:gd name="T52" fmla="*/ 1652 w 3320"/>
                <a:gd name="T53" fmla="*/ 3230 h 3392"/>
                <a:gd name="T54" fmla="*/ 1616 w 3320"/>
                <a:gd name="T55" fmla="*/ 3238 h 3392"/>
                <a:gd name="T56" fmla="*/ 1606 w 3320"/>
                <a:gd name="T57" fmla="*/ 3256 h 3392"/>
                <a:gd name="T58" fmla="*/ 1588 w 3320"/>
                <a:gd name="T59" fmla="*/ 3277 h 3392"/>
                <a:gd name="T60" fmla="*/ 1577 w 3320"/>
                <a:gd name="T61" fmla="*/ 3295 h 3392"/>
                <a:gd name="T62" fmla="*/ 1558 w 3320"/>
                <a:gd name="T63" fmla="*/ 3314 h 3392"/>
                <a:gd name="T64" fmla="*/ 1540 w 3320"/>
                <a:gd name="T65" fmla="*/ 3339 h 3392"/>
                <a:gd name="T66" fmla="*/ 1557 w 3320"/>
                <a:gd name="T67" fmla="*/ 3370 h 3392"/>
                <a:gd name="T68" fmla="*/ 1458 w 3320"/>
                <a:gd name="T69" fmla="*/ 3367 h 3392"/>
                <a:gd name="T70" fmla="*/ 1429 w 3320"/>
                <a:gd name="T71" fmla="*/ 3356 h 3392"/>
                <a:gd name="T72" fmla="*/ 1141 w 3320"/>
                <a:gd name="T73" fmla="*/ 2647 h 3392"/>
                <a:gd name="T74" fmla="*/ 100 w 3320"/>
                <a:gd name="T75" fmla="*/ 1107 h 3392"/>
                <a:gd name="T76" fmla="*/ 859 w 3320"/>
                <a:gd name="T77" fmla="*/ 244 h 3392"/>
                <a:gd name="T78" fmla="*/ 926 w 3320"/>
                <a:gd name="T79" fmla="*/ 250 h 3392"/>
                <a:gd name="T80" fmla="*/ 984 w 3320"/>
                <a:gd name="T81" fmla="*/ 232 h 3392"/>
                <a:gd name="T82" fmla="*/ 1093 w 3320"/>
                <a:gd name="T83" fmla="*/ 174 h 3392"/>
                <a:gd name="T84" fmla="*/ 1168 w 3320"/>
                <a:gd name="T85" fmla="*/ 143 h 3392"/>
                <a:gd name="T86" fmla="*/ 1278 w 3320"/>
                <a:gd name="T87" fmla="*/ 133 h 3392"/>
                <a:gd name="T88" fmla="*/ 1359 w 3320"/>
                <a:gd name="T89" fmla="*/ 196 h 3392"/>
                <a:gd name="T90" fmla="*/ 1472 w 3320"/>
                <a:gd name="T91" fmla="*/ 230 h 3392"/>
                <a:gd name="T92" fmla="*/ 1489 w 3320"/>
                <a:gd name="T93" fmla="*/ 351 h 3392"/>
                <a:gd name="T94" fmla="*/ 1590 w 3320"/>
                <a:gd name="T95" fmla="*/ 360 h 3392"/>
                <a:gd name="T96" fmla="*/ 1729 w 3320"/>
                <a:gd name="T97" fmla="*/ 374 h 3392"/>
                <a:gd name="T98" fmla="*/ 1837 w 3320"/>
                <a:gd name="T99" fmla="*/ 378 h 3392"/>
                <a:gd name="T100" fmla="*/ 1985 w 3320"/>
                <a:gd name="T101" fmla="*/ 237 h 3392"/>
                <a:gd name="T102" fmla="*/ 2084 w 3320"/>
                <a:gd name="T103" fmla="*/ 267 h 3392"/>
                <a:gd name="T104" fmla="*/ 2215 w 3320"/>
                <a:gd name="T105" fmla="*/ 294 h 3392"/>
                <a:gd name="T106" fmla="*/ 2347 w 3320"/>
                <a:gd name="T107" fmla="*/ 301 h 3392"/>
                <a:gd name="T108" fmla="*/ 2465 w 3320"/>
                <a:gd name="T109" fmla="*/ 338 h 3392"/>
                <a:gd name="T110" fmla="*/ 2604 w 3320"/>
                <a:gd name="T111" fmla="*/ 289 h 3392"/>
                <a:gd name="T112" fmla="*/ 2754 w 3320"/>
                <a:gd name="T113" fmla="*/ 205 h 3392"/>
                <a:gd name="T114" fmla="*/ 2796 w 3320"/>
                <a:gd name="T115" fmla="*/ 41 h 3392"/>
                <a:gd name="T116" fmla="*/ 2909 w 3320"/>
                <a:gd name="T117" fmla="*/ 9 h 3392"/>
                <a:gd name="T118" fmla="*/ 3052 w 3320"/>
                <a:gd name="T119" fmla="*/ 22 h 3392"/>
                <a:gd name="T120" fmla="*/ 3152 w 3320"/>
                <a:gd name="T121" fmla="*/ 41 h 3392"/>
                <a:gd name="T122" fmla="*/ 3276 w 3320"/>
                <a:gd name="T123" fmla="*/ 112 h 339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20"/>
                <a:gd name="T187" fmla="*/ 0 h 3392"/>
                <a:gd name="T188" fmla="*/ 3320 w 3320"/>
                <a:gd name="T189" fmla="*/ 3392 h 339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20" h="3392">
                  <a:moveTo>
                    <a:pt x="3312" y="147"/>
                  </a:moveTo>
                  <a:lnTo>
                    <a:pt x="3309" y="150"/>
                  </a:lnTo>
                  <a:lnTo>
                    <a:pt x="3299" y="163"/>
                  </a:lnTo>
                  <a:lnTo>
                    <a:pt x="3291" y="182"/>
                  </a:lnTo>
                  <a:lnTo>
                    <a:pt x="3285" y="200"/>
                  </a:lnTo>
                  <a:lnTo>
                    <a:pt x="3280" y="217"/>
                  </a:lnTo>
                  <a:lnTo>
                    <a:pt x="3274" y="228"/>
                  </a:lnTo>
                  <a:lnTo>
                    <a:pt x="3276" y="228"/>
                  </a:lnTo>
                  <a:lnTo>
                    <a:pt x="3274" y="228"/>
                  </a:lnTo>
                  <a:lnTo>
                    <a:pt x="3274" y="230"/>
                  </a:lnTo>
                  <a:lnTo>
                    <a:pt x="3273" y="232"/>
                  </a:lnTo>
                  <a:lnTo>
                    <a:pt x="3271" y="232"/>
                  </a:lnTo>
                  <a:lnTo>
                    <a:pt x="3271" y="236"/>
                  </a:lnTo>
                  <a:lnTo>
                    <a:pt x="3271" y="237"/>
                  </a:lnTo>
                  <a:lnTo>
                    <a:pt x="3269" y="241"/>
                  </a:lnTo>
                  <a:lnTo>
                    <a:pt x="3269" y="245"/>
                  </a:lnTo>
                  <a:lnTo>
                    <a:pt x="3267" y="258"/>
                  </a:lnTo>
                  <a:lnTo>
                    <a:pt x="3265" y="273"/>
                  </a:lnTo>
                  <a:lnTo>
                    <a:pt x="3260" y="281"/>
                  </a:lnTo>
                  <a:lnTo>
                    <a:pt x="3260" y="289"/>
                  </a:lnTo>
                  <a:lnTo>
                    <a:pt x="3265" y="301"/>
                  </a:lnTo>
                  <a:lnTo>
                    <a:pt x="3265" y="308"/>
                  </a:lnTo>
                  <a:lnTo>
                    <a:pt x="3265" y="312"/>
                  </a:lnTo>
                  <a:lnTo>
                    <a:pt x="3260" y="324"/>
                  </a:lnTo>
                  <a:lnTo>
                    <a:pt x="3259" y="333"/>
                  </a:lnTo>
                  <a:lnTo>
                    <a:pt x="3260" y="346"/>
                  </a:lnTo>
                  <a:lnTo>
                    <a:pt x="3260" y="361"/>
                  </a:lnTo>
                  <a:lnTo>
                    <a:pt x="3259" y="366"/>
                  </a:lnTo>
                  <a:lnTo>
                    <a:pt x="3258" y="370"/>
                  </a:lnTo>
                  <a:lnTo>
                    <a:pt x="3256" y="374"/>
                  </a:lnTo>
                  <a:lnTo>
                    <a:pt x="3256" y="378"/>
                  </a:lnTo>
                  <a:lnTo>
                    <a:pt x="3256" y="382"/>
                  </a:lnTo>
                  <a:lnTo>
                    <a:pt x="3262" y="387"/>
                  </a:lnTo>
                  <a:lnTo>
                    <a:pt x="3263" y="395"/>
                  </a:lnTo>
                  <a:lnTo>
                    <a:pt x="3263" y="396"/>
                  </a:lnTo>
                  <a:lnTo>
                    <a:pt x="3265" y="396"/>
                  </a:lnTo>
                  <a:lnTo>
                    <a:pt x="3262" y="413"/>
                  </a:lnTo>
                  <a:lnTo>
                    <a:pt x="3263" y="421"/>
                  </a:lnTo>
                  <a:lnTo>
                    <a:pt x="3263" y="423"/>
                  </a:lnTo>
                  <a:lnTo>
                    <a:pt x="3265" y="428"/>
                  </a:lnTo>
                  <a:lnTo>
                    <a:pt x="3267" y="441"/>
                  </a:lnTo>
                  <a:lnTo>
                    <a:pt x="3273" y="453"/>
                  </a:lnTo>
                  <a:lnTo>
                    <a:pt x="3273" y="462"/>
                  </a:lnTo>
                  <a:lnTo>
                    <a:pt x="3266" y="477"/>
                  </a:lnTo>
                  <a:lnTo>
                    <a:pt x="3267" y="485"/>
                  </a:lnTo>
                  <a:lnTo>
                    <a:pt x="3273" y="507"/>
                  </a:lnTo>
                  <a:lnTo>
                    <a:pt x="3267" y="535"/>
                  </a:lnTo>
                  <a:lnTo>
                    <a:pt x="3260" y="552"/>
                  </a:lnTo>
                  <a:lnTo>
                    <a:pt x="3256" y="573"/>
                  </a:lnTo>
                  <a:lnTo>
                    <a:pt x="3254" y="587"/>
                  </a:lnTo>
                  <a:lnTo>
                    <a:pt x="3255" y="597"/>
                  </a:lnTo>
                  <a:lnTo>
                    <a:pt x="3249" y="610"/>
                  </a:lnTo>
                  <a:lnTo>
                    <a:pt x="3246" y="619"/>
                  </a:lnTo>
                  <a:lnTo>
                    <a:pt x="3248" y="632"/>
                  </a:lnTo>
                  <a:lnTo>
                    <a:pt x="3241" y="640"/>
                  </a:lnTo>
                  <a:lnTo>
                    <a:pt x="3235" y="651"/>
                  </a:lnTo>
                  <a:lnTo>
                    <a:pt x="3235" y="655"/>
                  </a:lnTo>
                  <a:lnTo>
                    <a:pt x="3238" y="659"/>
                  </a:lnTo>
                  <a:lnTo>
                    <a:pt x="3238" y="672"/>
                  </a:lnTo>
                  <a:lnTo>
                    <a:pt x="3229" y="681"/>
                  </a:lnTo>
                  <a:lnTo>
                    <a:pt x="3217" y="685"/>
                  </a:lnTo>
                  <a:lnTo>
                    <a:pt x="3215" y="686"/>
                  </a:lnTo>
                  <a:lnTo>
                    <a:pt x="3212" y="690"/>
                  </a:lnTo>
                  <a:lnTo>
                    <a:pt x="3205" y="690"/>
                  </a:lnTo>
                  <a:lnTo>
                    <a:pt x="3196" y="690"/>
                  </a:lnTo>
                  <a:lnTo>
                    <a:pt x="3180" y="702"/>
                  </a:lnTo>
                  <a:lnTo>
                    <a:pt x="3167" y="703"/>
                  </a:lnTo>
                  <a:lnTo>
                    <a:pt x="3159" y="713"/>
                  </a:lnTo>
                  <a:lnTo>
                    <a:pt x="3142" y="721"/>
                  </a:lnTo>
                  <a:lnTo>
                    <a:pt x="3119" y="740"/>
                  </a:lnTo>
                  <a:lnTo>
                    <a:pt x="3110" y="744"/>
                  </a:lnTo>
                  <a:lnTo>
                    <a:pt x="3113" y="751"/>
                  </a:lnTo>
                  <a:lnTo>
                    <a:pt x="3115" y="753"/>
                  </a:lnTo>
                  <a:lnTo>
                    <a:pt x="3115" y="756"/>
                  </a:lnTo>
                  <a:lnTo>
                    <a:pt x="3117" y="758"/>
                  </a:lnTo>
                  <a:lnTo>
                    <a:pt x="3116" y="763"/>
                  </a:lnTo>
                  <a:lnTo>
                    <a:pt x="3120" y="766"/>
                  </a:lnTo>
                  <a:lnTo>
                    <a:pt x="3120" y="771"/>
                  </a:lnTo>
                  <a:lnTo>
                    <a:pt x="3117" y="780"/>
                  </a:lnTo>
                  <a:lnTo>
                    <a:pt x="3110" y="789"/>
                  </a:lnTo>
                  <a:lnTo>
                    <a:pt x="3110" y="797"/>
                  </a:lnTo>
                  <a:lnTo>
                    <a:pt x="3113" y="797"/>
                  </a:lnTo>
                  <a:lnTo>
                    <a:pt x="3113" y="801"/>
                  </a:lnTo>
                  <a:lnTo>
                    <a:pt x="3109" y="802"/>
                  </a:lnTo>
                  <a:lnTo>
                    <a:pt x="3104" y="805"/>
                  </a:lnTo>
                  <a:lnTo>
                    <a:pt x="3102" y="814"/>
                  </a:lnTo>
                  <a:lnTo>
                    <a:pt x="3098" y="815"/>
                  </a:lnTo>
                  <a:lnTo>
                    <a:pt x="3095" y="823"/>
                  </a:lnTo>
                  <a:lnTo>
                    <a:pt x="3096" y="827"/>
                  </a:lnTo>
                  <a:lnTo>
                    <a:pt x="3094" y="831"/>
                  </a:lnTo>
                  <a:lnTo>
                    <a:pt x="3092" y="833"/>
                  </a:lnTo>
                  <a:lnTo>
                    <a:pt x="3094" y="838"/>
                  </a:lnTo>
                  <a:lnTo>
                    <a:pt x="3094" y="846"/>
                  </a:lnTo>
                  <a:lnTo>
                    <a:pt x="3095" y="847"/>
                  </a:lnTo>
                  <a:lnTo>
                    <a:pt x="3098" y="847"/>
                  </a:lnTo>
                  <a:lnTo>
                    <a:pt x="3098" y="850"/>
                  </a:lnTo>
                  <a:lnTo>
                    <a:pt x="3091" y="855"/>
                  </a:lnTo>
                  <a:lnTo>
                    <a:pt x="3088" y="864"/>
                  </a:lnTo>
                  <a:lnTo>
                    <a:pt x="3084" y="868"/>
                  </a:lnTo>
                  <a:lnTo>
                    <a:pt x="3076" y="873"/>
                  </a:lnTo>
                  <a:lnTo>
                    <a:pt x="3073" y="881"/>
                  </a:lnTo>
                  <a:lnTo>
                    <a:pt x="3070" y="883"/>
                  </a:lnTo>
                  <a:lnTo>
                    <a:pt x="3070" y="887"/>
                  </a:lnTo>
                  <a:lnTo>
                    <a:pt x="3064" y="890"/>
                  </a:lnTo>
                  <a:lnTo>
                    <a:pt x="3062" y="890"/>
                  </a:lnTo>
                  <a:lnTo>
                    <a:pt x="3057" y="898"/>
                  </a:lnTo>
                  <a:lnTo>
                    <a:pt x="3055" y="898"/>
                  </a:lnTo>
                  <a:lnTo>
                    <a:pt x="3049" y="902"/>
                  </a:lnTo>
                  <a:lnTo>
                    <a:pt x="3041" y="904"/>
                  </a:lnTo>
                  <a:lnTo>
                    <a:pt x="3038" y="912"/>
                  </a:lnTo>
                  <a:lnTo>
                    <a:pt x="3034" y="915"/>
                  </a:lnTo>
                  <a:lnTo>
                    <a:pt x="3031" y="918"/>
                  </a:lnTo>
                  <a:lnTo>
                    <a:pt x="3032" y="921"/>
                  </a:lnTo>
                  <a:lnTo>
                    <a:pt x="3024" y="926"/>
                  </a:lnTo>
                  <a:lnTo>
                    <a:pt x="3019" y="934"/>
                  </a:lnTo>
                  <a:lnTo>
                    <a:pt x="3011" y="935"/>
                  </a:lnTo>
                  <a:lnTo>
                    <a:pt x="3009" y="938"/>
                  </a:lnTo>
                  <a:lnTo>
                    <a:pt x="3000" y="939"/>
                  </a:lnTo>
                  <a:lnTo>
                    <a:pt x="2999" y="945"/>
                  </a:lnTo>
                  <a:lnTo>
                    <a:pt x="3000" y="949"/>
                  </a:lnTo>
                  <a:lnTo>
                    <a:pt x="2997" y="954"/>
                  </a:lnTo>
                  <a:lnTo>
                    <a:pt x="2997" y="957"/>
                  </a:lnTo>
                  <a:lnTo>
                    <a:pt x="2995" y="962"/>
                  </a:lnTo>
                  <a:lnTo>
                    <a:pt x="2989" y="966"/>
                  </a:lnTo>
                  <a:lnTo>
                    <a:pt x="2989" y="970"/>
                  </a:lnTo>
                  <a:lnTo>
                    <a:pt x="2992" y="970"/>
                  </a:lnTo>
                  <a:lnTo>
                    <a:pt x="2991" y="976"/>
                  </a:lnTo>
                  <a:lnTo>
                    <a:pt x="2994" y="976"/>
                  </a:lnTo>
                  <a:lnTo>
                    <a:pt x="2994" y="980"/>
                  </a:lnTo>
                  <a:lnTo>
                    <a:pt x="2996" y="979"/>
                  </a:lnTo>
                  <a:lnTo>
                    <a:pt x="2997" y="983"/>
                  </a:lnTo>
                  <a:lnTo>
                    <a:pt x="2997" y="992"/>
                  </a:lnTo>
                  <a:lnTo>
                    <a:pt x="2995" y="996"/>
                  </a:lnTo>
                  <a:lnTo>
                    <a:pt x="2996" y="997"/>
                  </a:lnTo>
                  <a:lnTo>
                    <a:pt x="2992" y="1001"/>
                  </a:lnTo>
                  <a:lnTo>
                    <a:pt x="2991" y="1011"/>
                  </a:lnTo>
                  <a:lnTo>
                    <a:pt x="2984" y="1016"/>
                  </a:lnTo>
                  <a:lnTo>
                    <a:pt x="2986" y="1020"/>
                  </a:lnTo>
                  <a:lnTo>
                    <a:pt x="2982" y="1025"/>
                  </a:lnTo>
                  <a:lnTo>
                    <a:pt x="2978" y="1032"/>
                  </a:lnTo>
                  <a:lnTo>
                    <a:pt x="2975" y="1033"/>
                  </a:lnTo>
                  <a:lnTo>
                    <a:pt x="2972" y="1033"/>
                  </a:lnTo>
                  <a:lnTo>
                    <a:pt x="2970" y="1037"/>
                  </a:lnTo>
                  <a:lnTo>
                    <a:pt x="2970" y="1045"/>
                  </a:lnTo>
                  <a:lnTo>
                    <a:pt x="2967" y="1051"/>
                  </a:lnTo>
                  <a:lnTo>
                    <a:pt x="2971" y="1059"/>
                  </a:lnTo>
                  <a:lnTo>
                    <a:pt x="2974" y="1061"/>
                  </a:lnTo>
                  <a:lnTo>
                    <a:pt x="2972" y="1064"/>
                  </a:lnTo>
                  <a:lnTo>
                    <a:pt x="2971" y="1067"/>
                  </a:lnTo>
                  <a:lnTo>
                    <a:pt x="2969" y="1069"/>
                  </a:lnTo>
                  <a:lnTo>
                    <a:pt x="2966" y="1074"/>
                  </a:lnTo>
                  <a:lnTo>
                    <a:pt x="2960" y="1078"/>
                  </a:lnTo>
                  <a:lnTo>
                    <a:pt x="2961" y="1083"/>
                  </a:lnTo>
                  <a:lnTo>
                    <a:pt x="2959" y="1084"/>
                  </a:lnTo>
                  <a:lnTo>
                    <a:pt x="2957" y="1091"/>
                  </a:lnTo>
                  <a:lnTo>
                    <a:pt x="2955" y="1096"/>
                  </a:lnTo>
                  <a:lnTo>
                    <a:pt x="2955" y="1099"/>
                  </a:lnTo>
                  <a:lnTo>
                    <a:pt x="2953" y="1100"/>
                  </a:lnTo>
                  <a:lnTo>
                    <a:pt x="2955" y="1103"/>
                  </a:lnTo>
                  <a:lnTo>
                    <a:pt x="2952" y="1113"/>
                  </a:lnTo>
                  <a:lnTo>
                    <a:pt x="2953" y="1117"/>
                  </a:lnTo>
                  <a:lnTo>
                    <a:pt x="2952" y="1119"/>
                  </a:lnTo>
                  <a:lnTo>
                    <a:pt x="2952" y="1121"/>
                  </a:lnTo>
                  <a:lnTo>
                    <a:pt x="2950" y="1125"/>
                  </a:lnTo>
                  <a:lnTo>
                    <a:pt x="2955" y="1126"/>
                  </a:lnTo>
                  <a:lnTo>
                    <a:pt x="2956" y="1125"/>
                  </a:lnTo>
                  <a:lnTo>
                    <a:pt x="2957" y="1126"/>
                  </a:lnTo>
                  <a:lnTo>
                    <a:pt x="2959" y="1129"/>
                  </a:lnTo>
                  <a:lnTo>
                    <a:pt x="2959" y="1132"/>
                  </a:lnTo>
                  <a:lnTo>
                    <a:pt x="2963" y="1136"/>
                  </a:lnTo>
                  <a:lnTo>
                    <a:pt x="2964" y="1145"/>
                  </a:lnTo>
                  <a:lnTo>
                    <a:pt x="2966" y="1148"/>
                  </a:lnTo>
                  <a:lnTo>
                    <a:pt x="2963" y="1154"/>
                  </a:lnTo>
                  <a:lnTo>
                    <a:pt x="2964" y="1158"/>
                  </a:lnTo>
                  <a:lnTo>
                    <a:pt x="2961" y="1162"/>
                  </a:lnTo>
                  <a:lnTo>
                    <a:pt x="2963" y="1166"/>
                  </a:lnTo>
                  <a:lnTo>
                    <a:pt x="2961" y="1167"/>
                  </a:lnTo>
                  <a:lnTo>
                    <a:pt x="2960" y="1171"/>
                  </a:lnTo>
                  <a:lnTo>
                    <a:pt x="2963" y="1181"/>
                  </a:lnTo>
                  <a:lnTo>
                    <a:pt x="2960" y="1184"/>
                  </a:lnTo>
                  <a:lnTo>
                    <a:pt x="2959" y="1184"/>
                  </a:lnTo>
                  <a:lnTo>
                    <a:pt x="2964" y="1194"/>
                  </a:lnTo>
                  <a:lnTo>
                    <a:pt x="2964" y="1198"/>
                  </a:lnTo>
                  <a:lnTo>
                    <a:pt x="2966" y="1203"/>
                  </a:lnTo>
                  <a:lnTo>
                    <a:pt x="2970" y="1207"/>
                  </a:lnTo>
                  <a:lnTo>
                    <a:pt x="2970" y="1212"/>
                  </a:lnTo>
                  <a:lnTo>
                    <a:pt x="2970" y="1216"/>
                  </a:lnTo>
                  <a:lnTo>
                    <a:pt x="2964" y="1225"/>
                  </a:lnTo>
                  <a:lnTo>
                    <a:pt x="2961" y="1232"/>
                  </a:lnTo>
                  <a:lnTo>
                    <a:pt x="2959" y="1235"/>
                  </a:lnTo>
                  <a:lnTo>
                    <a:pt x="2960" y="1242"/>
                  </a:lnTo>
                  <a:lnTo>
                    <a:pt x="2956" y="1246"/>
                  </a:lnTo>
                  <a:lnTo>
                    <a:pt x="2953" y="1250"/>
                  </a:lnTo>
                  <a:lnTo>
                    <a:pt x="2953" y="1252"/>
                  </a:lnTo>
                  <a:lnTo>
                    <a:pt x="2956" y="1261"/>
                  </a:lnTo>
                  <a:lnTo>
                    <a:pt x="2963" y="1260"/>
                  </a:lnTo>
                  <a:lnTo>
                    <a:pt x="2964" y="1265"/>
                  </a:lnTo>
                  <a:lnTo>
                    <a:pt x="2969" y="1267"/>
                  </a:lnTo>
                  <a:lnTo>
                    <a:pt x="2969" y="1273"/>
                  </a:lnTo>
                  <a:lnTo>
                    <a:pt x="2963" y="1278"/>
                  </a:lnTo>
                  <a:lnTo>
                    <a:pt x="2959" y="1287"/>
                  </a:lnTo>
                  <a:lnTo>
                    <a:pt x="2955" y="1291"/>
                  </a:lnTo>
                  <a:lnTo>
                    <a:pt x="2953" y="1297"/>
                  </a:lnTo>
                  <a:lnTo>
                    <a:pt x="2949" y="1299"/>
                  </a:lnTo>
                  <a:lnTo>
                    <a:pt x="2949" y="1304"/>
                  </a:lnTo>
                  <a:lnTo>
                    <a:pt x="2953" y="1306"/>
                  </a:lnTo>
                  <a:lnTo>
                    <a:pt x="2955" y="1310"/>
                  </a:lnTo>
                  <a:lnTo>
                    <a:pt x="2955" y="1314"/>
                  </a:lnTo>
                  <a:lnTo>
                    <a:pt x="2942" y="1327"/>
                  </a:lnTo>
                  <a:lnTo>
                    <a:pt x="2941" y="1335"/>
                  </a:lnTo>
                  <a:lnTo>
                    <a:pt x="2938" y="1336"/>
                  </a:lnTo>
                  <a:lnTo>
                    <a:pt x="2936" y="1341"/>
                  </a:lnTo>
                  <a:lnTo>
                    <a:pt x="2934" y="1345"/>
                  </a:lnTo>
                  <a:lnTo>
                    <a:pt x="2932" y="1349"/>
                  </a:lnTo>
                  <a:lnTo>
                    <a:pt x="2928" y="1357"/>
                  </a:lnTo>
                  <a:lnTo>
                    <a:pt x="2930" y="1358"/>
                  </a:lnTo>
                  <a:lnTo>
                    <a:pt x="2930" y="1364"/>
                  </a:lnTo>
                  <a:lnTo>
                    <a:pt x="2931" y="1367"/>
                  </a:lnTo>
                  <a:lnTo>
                    <a:pt x="2930" y="1370"/>
                  </a:lnTo>
                  <a:lnTo>
                    <a:pt x="2931" y="1375"/>
                  </a:lnTo>
                  <a:lnTo>
                    <a:pt x="2931" y="1379"/>
                  </a:lnTo>
                  <a:lnTo>
                    <a:pt x="2927" y="1381"/>
                  </a:lnTo>
                  <a:lnTo>
                    <a:pt x="2922" y="1390"/>
                  </a:lnTo>
                  <a:lnTo>
                    <a:pt x="2919" y="1394"/>
                  </a:lnTo>
                  <a:lnTo>
                    <a:pt x="2910" y="1399"/>
                  </a:lnTo>
                  <a:lnTo>
                    <a:pt x="2905" y="1406"/>
                  </a:lnTo>
                  <a:lnTo>
                    <a:pt x="2899" y="1406"/>
                  </a:lnTo>
                  <a:lnTo>
                    <a:pt x="2888" y="1419"/>
                  </a:lnTo>
                  <a:lnTo>
                    <a:pt x="2885" y="1420"/>
                  </a:lnTo>
                  <a:lnTo>
                    <a:pt x="2882" y="1429"/>
                  </a:lnTo>
                  <a:lnTo>
                    <a:pt x="2884" y="1435"/>
                  </a:lnTo>
                  <a:lnTo>
                    <a:pt x="2896" y="1443"/>
                  </a:lnTo>
                  <a:lnTo>
                    <a:pt x="2919" y="1468"/>
                  </a:lnTo>
                  <a:lnTo>
                    <a:pt x="2927" y="1471"/>
                  </a:lnTo>
                  <a:lnTo>
                    <a:pt x="2932" y="1469"/>
                  </a:lnTo>
                  <a:lnTo>
                    <a:pt x="2935" y="1471"/>
                  </a:lnTo>
                  <a:lnTo>
                    <a:pt x="2945" y="1474"/>
                  </a:lnTo>
                  <a:lnTo>
                    <a:pt x="2947" y="1477"/>
                  </a:lnTo>
                  <a:lnTo>
                    <a:pt x="2953" y="1474"/>
                  </a:lnTo>
                  <a:lnTo>
                    <a:pt x="2960" y="1477"/>
                  </a:lnTo>
                  <a:lnTo>
                    <a:pt x="2963" y="1478"/>
                  </a:lnTo>
                  <a:lnTo>
                    <a:pt x="2967" y="1482"/>
                  </a:lnTo>
                  <a:lnTo>
                    <a:pt x="2981" y="1484"/>
                  </a:lnTo>
                  <a:lnTo>
                    <a:pt x="2985" y="1488"/>
                  </a:lnTo>
                  <a:lnTo>
                    <a:pt x="2985" y="1493"/>
                  </a:lnTo>
                  <a:lnTo>
                    <a:pt x="2991" y="1493"/>
                  </a:lnTo>
                  <a:lnTo>
                    <a:pt x="2992" y="1497"/>
                  </a:lnTo>
                  <a:lnTo>
                    <a:pt x="2995" y="1501"/>
                  </a:lnTo>
                  <a:lnTo>
                    <a:pt x="3002" y="1501"/>
                  </a:lnTo>
                  <a:lnTo>
                    <a:pt x="3003" y="1501"/>
                  </a:lnTo>
                  <a:lnTo>
                    <a:pt x="3009" y="1503"/>
                  </a:lnTo>
                  <a:lnTo>
                    <a:pt x="3024" y="1510"/>
                  </a:lnTo>
                  <a:lnTo>
                    <a:pt x="3030" y="1509"/>
                  </a:lnTo>
                  <a:lnTo>
                    <a:pt x="3031" y="1510"/>
                  </a:lnTo>
                  <a:lnTo>
                    <a:pt x="3041" y="1510"/>
                  </a:lnTo>
                  <a:lnTo>
                    <a:pt x="3052" y="1506"/>
                  </a:lnTo>
                  <a:lnTo>
                    <a:pt x="3057" y="1497"/>
                  </a:lnTo>
                  <a:lnTo>
                    <a:pt x="3064" y="1493"/>
                  </a:lnTo>
                  <a:lnTo>
                    <a:pt x="3071" y="1491"/>
                  </a:lnTo>
                  <a:lnTo>
                    <a:pt x="3077" y="1493"/>
                  </a:lnTo>
                  <a:lnTo>
                    <a:pt x="3080" y="1491"/>
                  </a:lnTo>
                  <a:lnTo>
                    <a:pt x="3082" y="1488"/>
                  </a:lnTo>
                  <a:lnTo>
                    <a:pt x="3084" y="1488"/>
                  </a:lnTo>
                  <a:lnTo>
                    <a:pt x="3091" y="1490"/>
                  </a:lnTo>
                  <a:lnTo>
                    <a:pt x="3102" y="1493"/>
                  </a:lnTo>
                  <a:lnTo>
                    <a:pt x="3102" y="1496"/>
                  </a:lnTo>
                  <a:lnTo>
                    <a:pt x="3104" y="1496"/>
                  </a:lnTo>
                  <a:lnTo>
                    <a:pt x="3104" y="1497"/>
                  </a:lnTo>
                  <a:lnTo>
                    <a:pt x="3106" y="1501"/>
                  </a:lnTo>
                  <a:lnTo>
                    <a:pt x="3106" y="1503"/>
                  </a:lnTo>
                  <a:lnTo>
                    <a:pt x="3104" y="1503"/>
                  </a:lnTo>
                  <a:lnTo>
                    <a:pt x="3104" y="1504"/>
                  </a:lnTo>
                  <a:lnTo>
                    <a:pt x="3106" y="1510"/>
                  </a:lnTo>
                  <a:lnTo>
                    <a:pt x="3106" y="1514"/>
                  </a:lnTo>
                  <a:lnTo>
                    <a:pt x="3107" y="1514"/>
                  </a:lnTo>
                  <a:lnTo>
                    <a:pt x="3109" y="1514"/>
                  </a:lnTo>
                  <a:lnTo>
                    <a:pt x="3107" y="1523"/>
                  </a:lnTo>
                  <a:lnTo>
                    <a:pt x="3110" y="1528"/>
                  </a:lnTo>
                  <a:lnTo>
                    <a:pt x="3107" y="1535"/>
                  </a:lnTo>
                  <a:lnTo>
                    <a:pt x="3107" y="1536"/>
                  </a:lnTo>
                  <a:lnTo>
                    <a:pt x="3105" y="1540"/>
                  </a:lnTo>
                  <a:lnTo>
                    <a:pt x="3104" y="1541"/>
                  </a:lnTo>
                  <a:lnTo>
                    <a:pt x="3099" y="1541"/>
                  </a:lnTo>
                  <a:lnTo>
                    <a:pt x="3101" y="1546"/>
                  </a:lnTo>
                  <a:lnTo>
                    <a:pt x="3101" y="1549"/>
                  </a:lnTo>
                  <a:lnTo>
                    <a:pt x="3099" y="1549"/>
                  </a:lnTo>
                  <a:lnTo>
                    <a:pt x="3099" y="1553"/>
                  </a:lnTo>
                  <a:lnTo>
                    <a:pt x="3096" y="1555"/>
                  </a:lnTo>
                  <a:lnTo>
                    <a:pt x="3096" y="1558"/>
                  </a:lnTo>
                  <a:lnTo>
                    <a:pt x="3094" y="1559"/>
                  </a:lnTo>
                  <a:lnTo>
                    <a:pt x="3095" y="1563"/>
                  </a:lnTo>
                  <a:lnTo>
                    <a:pt x="3092" y="1564"/>
                  </a:lnTo>
                  <a:lnTo>
                    <a:pt x="3092" y="1572"/>
                  </a:lnTo>
                  <a:lnTo>
                    <a:pt x="3094" y="1576"/>
                  </a:lnTo>
                  <a:lnTo>
                    <a:pt x="3094" y="1577"/>
                  </a:lnTo>
                  <a:lnTo>
                    <a:pt x="3091" y="1581"/>
                  </a:lnTo>
                  <a:lnTo>
                    <a:pt x="3090" y="1584"/>
                  </a:lnTo>
                  <a:lnTo>
                    <a:pt x="3090" y="1585"/>
                  </a:lnTo>
                  <a:lnTo>
                    <a:pt x="3090" y="1586"/>
                  </a:lnTo>
                  <a:lnTo>
                    <a:pt x="3087" y="1586"/>
                  </a:lnTo>
                  <a:lnTo>
                    <a:pt x="3087" y="1590"/>
                  </a:lnTo>
                  <a:lnTo>
                    <a:pt x="3084" y="1590"/>
                  </a:lnTo>
                  <a:lnTo>
                    <a:pt x="3085" y="1594"/>
                  </a:lnTo>
                  <a:lnTo>
                    <a:pt x="3084" y="1600"/>
                  </a:lnTo>
                  <a:lnTo>
                    <a:pt x="3082" y="1600"/>
                  </a:lnTo>
                  <a:lnTo>
                    <a:pt x="3078" y="1600"/>
                  </a:lnTo>
                  <a:lnTo>
                    <a:pt x="3078" y="1603"/>
                  </a:lnTo>
                  <a:lnTo>
                    <a:pt x="3077" y="1603"/>
                  </a:lnTo>
                  <a:lnTo>
                    <a:pt x="3078" y="1608"/>
                  </a:lnTo>
                  <a:lnTo>
                    <a:pt x="3076" y="1608"/>
                  </a:lnTo>
                  <a:lnTo>
                    <a:pt x="3074" y="1613"/>
                  </a:lnTo>
                  <a:lnTo>
                    <a:pt x="3074" y="1617"/>
                  </a:lnTo>
                  <a:lnTo>
                    <a:pt x="3071" y="1621"/>
                  </a:lnTo>
                  <a:lnTo>
                    <a:pt x="3073" y="1622"/>
                  </a:lnTo>
                  <a:lnTo>
                    <a:pt x="3077" y="1621"/>
                  </a:lnTo>
                  <a:lnTo>
                    <a:pt x="3078" y="1622"/>
                  </a:lnTo>
                  <a:lnTo>
                    <a:pt x="3074" y="1625"/>
                  </a:lnTo>
                  <a:lnTo>
                    <a:pt x="3076" y="1630"/>
                  </a:lnTo>
                  <a:lnTo>
                    <a:pt x="3073" y="1634"/>
                  </a:lnTo>
                  <a:lnTo>
                    <a:pt x="3074" y="1635"/>
                  </a:lnTo>
                  <a:lnTo>
                    <a:pt x="3078" y="1635"/>
                  </a:lnTo>
                  <a:lnTo>
                    <a:pt x="3078" y="1639"/>
                  </a:lnTo>
                  <a:lnTo>
                    <a:pt x="3081" y="1639"/>
                  </a:lnTo>
                  <a:lnTo>
                    <a:pt x="3078" y="1642"/>
                  </a:lnTo>
                  <a:lnTo>
                    <a:pt x="3077" y="1642"/>
                  </a:lnTo>
                  <a:lnTo>
                    <a:pt x="3076" y="1643"/>
                  </a:lnTo>
                  <a:lnTo>
                    <a:pt x="3071" y="1648"/>
                  </a:lnTo>
                  <a:lnTo>
                    <a:pt x="3069" y="1652"/>
                  </a:lnTo>
                  <a:lnTo>
                    <a:pt x="3064" y="1655"/>
                  </a:lnTo>
                  <a:lnTo>
                    <a:pt x="3063" y="1658"/>
                  </a:lnTo>
                  <a:lnTo>
                    <a:pt x="3060" y="1660"/>
                  </a:lnTo>
                  <a:lnTo>
                    <a:pt x="3052" y="1670"/>
                  </a:lnTo>
                  <a:lnTo>
                    <a:pt x="3050" y="1671"/>
                  </a:lnTo>
                  <a:lnTo>
                    <a:pt x="3052" y="1677"/>
                  </a:lnTo>
                  <a:lnTo>
                    <a:pt x="3049" y="1678"/>
                  </a:lnTo>
                  <a:lnTo>
                    <a:pt x="3042" y="1684"/>
                  </a:lnTo>
                  <a:lnTo>
                    <a:pt x="3031" y="1684"/>
                  </a:lnTo>
                  <a:lnTo>
                    <a:pt x="3019" y="1687"/>
                  </a:lnTo>
                  <a:lnTo>
                    <a:pt x="3013" y="1684"/>
                  </a:lnTo>
                  <a:lnTo>
                    <a:pt x="3009" y="1684"/>
                  </a:lnTo>
                  <a:lnTo>
                    <a:pt x="3006" y="1692"/>
                  </a:lnTo>
                  <a:lnTo>
                    <a:pt x="3006" y="1696"/>
                  </a:lnTo>
                  <a:lnTo>
                    <a:pt x="3002" y="1696"/>
                  </a:lnTo>
                  <a:lnTo>
                    <a:pt x="2997" y="1701"/>
                  </a:lnTo>
                  <a:lnTo>
                    <a:pt x="2981" y="1710"/>
                  </a:lnTo>
                  <a:lnTo>
                    <a:pt x="2972" y="1720"/>
                  </a:lnTo>
                  <a:lnTo>
                    <a:pt x="2967" y="1723"/>
                  </a:lnTo>
                  <a:lnTo>
                    <a:pt x="2966" y="1729"/>
                  </a:lnTo>
                  <a:lnTo>
                    <a:pt x="2961" y="1733"/>
                  </a:lnTo>
                  <a:lnTo>
                    <a:pt x="2982" y="1806"/>
                  </a:lnTo>
                  <a:lnTo>
                    <a:pt x="2995" y="1800"/>
                  </a:lnTo>
                  <a:lnTo>
                    <a:pt x="3016" y="1795"/>
                  </a:lnTo>
                  <a:lnTo>
                    <a:pt x="3017" y="1799"/>
                  </a:lnTo>
                  <a:lnTo>
                    <a:pt x="3020" y="1806"/>
                  </a:lnTo>
                  <a:lnTo>
                    <a:pt x="3021" y="1812"/>
                  </a:lnTo>
                  <a:lnTo>
                    <a:pt x="3024" y="1812"/>
                  </a:lnTo>
                  <a:lnTo>
                    <a:pt x="3035" y="1817"/>
                  </a:lnTo>
                  <a:lnTo>
                    <a:pt x="3039" y="1821"/>
                  </a:lnTo>
                  <a:lnTo>
                    <a:pt x="3041" y="1826"/>
                  </a:lnTo>
                  <a:lnTo>
                    <a:pt x="3041" y="1830"/>
                  </a:lnTo>
                  <a:lnTo>
                    <a:pt x="3048" y="1839"/>
                  </a:lnTo>
                  <a:lnTo>
                    <a:pt x="3046" y="1856"/>
                  </a:lnTo>
                  <a:lnTo>
                    <a:pt x="3049" y="1874"/>
                  </a:lnTo>
                  <a:lnTo>
                    <a:pt x="3052" y="1875"/>
                  </a:lnTo>
                  <a:lnTo>
                    <a:pt x="3053" y="1878"/>
                  </a:lnTo>
                  <a:lnTo>
                    <a:pt x="3049" y="1905"/>
                  </a:lnTo>
                  <a:lnTo>
                    <a:pt x="3050" y="1911"/>
                  </a:lnTo>
                  <a:lnTo>
                    <a:pt x="3049" y="1918"/>
                  </a:lnTo>
                  <a:lnTo>
                    <a:pt x="3053" y="1920"/>
                  </a:lnTo>
                  <a:lnTo>
                    <a:pt x="3055" y="1924"/>
                  </a:lnTo>
                  <a:lnTo>
                    <a:pt x="3057" y="1929"/>
                  </a:lnTo>
                  <a:lnTo>
                    <a:pt x="3057" y="1933"/>
                  </a:lnTo>
                  <a:lnTo>
                    <a:pt x="3059" y="1937"/>
                  </a:lnTo>
                  <a:lnTo>
                    <a:pt x="3063" y="1937"/>
                  </a:lnTo>
                  <a:lnTo>
                    <a:pt x="3070" y="1941"/>
                  </a:lnTo>
                  <a:lnTo>
                    <a:pt x="3071" y="1945"/>
                  </a:lnTo>
                  <a:lnTo>
                    <a:pt x="3069" y="1950"/>
                  </a:lnTo>
                  <a:lnTo>
                    <a:pt x="3067" y="1951"/>
                  </a:lnTo>
                  <a:lnTo>
                    <a:pt x="3069" y="1962"/>
                  </a:lnTo>
                  <a:lnTo>
                    <a:pt x="3066" y="1968"/>
                  </a:lnTo>
                  <a:lnTo>
                    <a:pt x="3066" y="1978"/>
                  </a:lnTo>
                  <a:lnTo>
                    <a:pt x="3063" y="1981"/>
                  </a:lnTo>
                  <a:lnTo>
                    <a:pt x="3063" y="1991"/>
                  </a:lnTo>
                  <a:lnTo>
                    <a:pt x="3062" y="1998"/>
                  </a:lnTo>
                  <a:lnTo>
                    <a:pt x="3062" y="2003"/>
                  </a:lnTo>
                  <a:lnTo>
                    <a:pt x="3067" y="2004"/>
                  </a:lnTo>
                  <a:lnTo>
                    <a:pt x="3069" y="2008"/>
                  </a:lnTo>
                  <a:lnTo>
                    <a:pt x="3067" y="2020"/>
                  </a:lnTo>
                  <a:lnTo>
                    <a:pt x="3071" y="2017"/>
                  </a:lnTo>
                  <a:lnTo>
                    <a:pt x="3078" y="2023"/>
                  </a:lnTo>
                  <a:lnTo>
                    <a:pt x="3078" y="2025"/>
                  </a:lnTo>
                  <a:lnTo>
                    <a:pt x="3078" y="2030"/>
                  </a:lnTo>
                  <a:lnTo>
                    <a:pt x="3085" y="2036"/>
                  </a:lnTo>
                  <a:lnTo>
                    <a:pt x="3085" y="2038"/>
                  </a:lnTo>
                  <a:lnTo>
                    <a:pt x="3088" y="2040"/>
                  </a:lnTo>
                  <a:lnTo>
                    <a:pt x="3090" y="2042"/>
                  </a:lnTo>
                  <a:lnTo>
                    <a:pt x="3095" y="2045"/>
                  </a:lnTo>
                  <a:lnTo>
                    <a:pt x="3094" y="2055"/>
                  </a:lnTo>
                  <a:lnTo>
                    <a:pt x="3094" y="2058"/>
                  </a:lnTo>
                  <a:lnTo>
                    <a:pt x="3092" y="2062"/>
                  </a:lnTo>
                  <a:lnTo>
                    <a:pt x="3094" y="2065"/>
                  </a:lnTo>
                  <a:lnTo>
                    <a:pt x="3098" y="2066"/>
                  </a:lnTo>
                  <a:lnTo>
                    <a:pt x="3099" y="2068"/>
                  </a:lnTo>
                  <a:lnTo>
                    <a:pt x="3105" y="2070"/>
                  </a:lnTo>
                  <a:lnTo>
                    <a:pt x="3104" y="2070"/>
                  </a:lnTo>
                  <a:lnTo>
                    <a:pt x="3102" y="2074"/>
                  </a:lnTo>
                  <a:lnTo>
                    <a:pt x="3102" y="2075"/>
                  </a:lnTo>
                  <a:lnTo>
                    <a:pt x="3105" y="2078"/>
                  </a:lnTo>
                  <a:lnTo>
                    <a:pt x="3104" y="2080"/>
                  </a:lnTo>
                  <a:lnTo>
                    <a:pt x="3107" y="2085"/>
                  </a:lnTo>
                  <a:lnTo>
                    <a:pt x="3115" y="2092"/>
                  </a:lnTo>
                  <a:lnTo>
                    <a:pt x="3117" y="2092"/>
                  </a:lnTo>
                  <a:lnTo>
                    <a:pt x="3119" y="2098"/>
                  </a:lnTo>
                  <a:lnTo>
                    <a:pt x="3126" y="2103"/>
                  </a:lnTo>
                  <a:lnTo>
                    <a:pt x="3127" y="2111"/>
                  </a:lnTo>
                  <a:lnTo>
                    <a:pt x="3134" y="2116"/>
                  </a:lnTo>
                  <a:lnTo>
                    <a:pt x="3134" y="2120"/>
                  </a:lnTo>
                  <a:lnTo>
                    <a:pt x="3135" y="2127"/>
                  </a:lnTo>
                  <a:lnTo>
                    <a:pt x="3140" y="2128"/>
                  </a:lnTo>
                  <a:lnTo>
                    <a:pt x="3141" y="2133"/>
                  </a:lnTo>
                  <a:lnTo>
                    <a:pt x="3142" y="2136"/>
                  </a:lnTo>
                  <a:lnTo>
                    <a:pt x="3141" y="2141"/>
                  </a:lnTo>
                  <a:lnTo>
                    <a:pt x="3140" y="2142"/>
                  </a:lnTo>
                  <a:lnTo>
                    <a:pt x="3141" y="2149"/>
                  </a:lnTo>
                  <a:lnTo>
                    <a:pt x="3141" y="2152"/>
                  </a:lnTo>
                  <a:lnTo>
                    <a:pt x="3146" y="2155"/>
                  </a:lnTo>
                  <a:lnTo>
                    <a:pt x="3149" y="2154"/>
                  </a:lnTo>
                  <a:lnTo>
                    <a:pt x="3156" y="2160"/>
                  </a:lnTo>
                  <a:lnTo>
                    <a:pt x="3157" y="2169"/>
                  </a:lnTo>
                  <a:lnTo>
                    <a:pt x="3155" y="2169"/>
                  </a:lnTo>
                  <a:lnTo>
                    <a:pt x="3155" y="2173"/>
                  </a:lnTo>
                  <a:lnTo>
                    <a:pt x="3159" y="2173"/>
                  </a:lnTo>
                  <a:lnTo>
                    <a:pt x="3162" y="2178"/>
                  </a:lnTo>
                  <a:lnTo>
                    <a:pt x="3163" y="2181"/>
                  </a:lnTo>
                  <a:lnTo>
                    <a:pt x="3163" y="2182"/>
                  </a:lnTo>
                  <a:lnTo>
                    <a:pt x="3166" y="2185"/>
                  </a:lnTo>
                  <a:lnTo>
                    <a:pt x="3163" y="2186"/>
                  </a:lnTo>
                  <a:lnTo>
                    <a:pt x="3157" y="2199"/>
                  </a:lnTo>
                  <a:lnTo>
                    <a:pt x="3157" y="2200"/>
                  </a:lnTo>
                  <a:lnTo>
                    <a:pt x="3162" y="2207"/>
                  </a:lnTo>
                  <a:lnTo>
                    <a:pt x="3167" y="2209"/>
                  </a:lnTo>
                  <a:lnTo>
                    <a:pt x="3169" y="2214"/>
                  </a:lnTo>
                  <a:lnTo>
                    <a:pt x="3179" y="2222"/>
                  </a:lnTo>
                  <a:lnTo>
                    <a:pt x="3179" y="2223"/>
                  </a:lnTo>
                  <a:lnTo>
                    <a:pt x="3180" y="2227"/>
                  </a:lnTo>
                  <a:lnTo>
                    <a:pt x="3185" y="2234"/>
                  </a:lnTo>
                  <a:lnTo>
                    <a:pt x="3190" y="2234"/>
                  </a:lnTo>
                  <a:lnTo>
                    <a:pt x="3190" y="2236"/>
                  </a:lnTo>
                  <a:lnTo>
                    <a:pt x="3192" y="2240"/>
                  </a:lnTo>
                  <a:lnTo>
                    <a:pt x="3195" y="2244"/>
                  </a:lnTo>
                  <a:lnTo>
                    <a:pt x="3199" y="2242"/>
                  </a:lnTo>
                  <a:lnTo>
                    <a:pt x="3201" y="2244"/>
                  </a:lnTo>
                  <a:lnTo>
                    <a:pt x="3198" y="2245"/>
                  </a:lnTo>
                  <a:lnTo>
                    <a:pt x="3202" y="2249"/>
                  </a:lnTo>
                  <a:lnTo>
                    <a:pt x="3202" y="2253"/>
                  </a:lnTo>
                  <a:lnTo>
                    <a:pt x="3205" y="2253"/>
                  </a:lnTo>
                  <a:lnTo>
                    <a:pt x="3210" y="2249"/>
                  </a:lnTo>
                  <a:lnTo>
                    <a:pt x="3212" y="2252"/>
                  </a:lnTo>
                  <a:lnTo>
                    <a:pt x="3210" y="2259"/>
                  </a:lnTo>
                  <a:lnTo>
                    <a:pt x="3223" y="2276"/>
                  </a:lnTo>
                  <a:lnTo>
                    <a:pt x="3223" y="2285"/>
                  </a:lnTo>
                  <a:lnTo>
                    <a:pt x="3224" y="2289"/>
                  </a:lnTo>
                  <a:lnTo>
                    <a:pt x="3230" y="2291"/>
                  </a:lnTo>
                  <a:lnTo>
                    <a:pt x="3238" y="2289"/>
                  </a:lnTo>
                  <a:lnTo>
                    <a:pt x="3240" y="2289"/>
                  </a:lnTo>
                  <a:lnTo>
                    <a:pt x="3245" y="2294"/>
                  </a:lnTo>
                  <a:lnTo>
                    <a:pt x="3248" y="2301"/>
                  </a:lnTo>
                  <a:lnTo>
                    <a:pt x="3249" y="2303"/>
                  </a:lnTo>
                  <a:lnTo>
                    <a:pt x="3252" y="2306"/>
                  </a:lnTo>
                  <a:lnTo>
                    <a:pt x="3256" y="2306"/>
                  </a:lnTo>
                  <a:lnTo>
                    <a:pt x="3240" y="2315"/>
                  </a:lnTo>
                  <a:lnTo>
                    <a:pt x="3231" y="2316"/>
                  </a:lnTo>
                  <a:lnTo>
                    <a:pt x="3226" y="2316"/>
                  </a:lnTo>
                  <a:lnTo>
                    <a:pt x="3223" y="2319"/>
                  </a:lnTo>
                  <a:lnTo>
                    <a:pt x="3217" y="2320"/>
                  </a:lnTo>
                  <a:lnTo>
                    <a:pt x="3213" y="2324"/>
                  </a:lnTo>
                  <a:lnTo>
                    <a:pt x="3212" y="2329"/>
                  </a:lnTo>
                  <a:lnTo>
                    <a:pt x="3207" y="2334"/>
                  </a:lnTo>
                  <a:lnTo>
                    <a:pt x="3202" y="2334"/>
                  </a:lnTo>
                  <a:lnTo>
                    <a:pt x="3184" y="2323"/>
                  </a:lnTo>
                  <a:lnTo>
                    <a:pt x="3180" y="2323"/>
                  </a:lnTo>
                  <a:lnTo>
                    <a:pt x="3171" y="2329"/>
                  </a:lnTo>
                  <a:lnTo>
                    <a:pt x="3162" y="2329"/>
                  </a:lnTo>
                  <a:lnTo>
                    <a:pt x="3159" y="2329"/>
                  </a:lnTo>
                  <a:lnTo>
                    <a:pt x="3156" y="2334"/>
                  </a:lnTo>
                  <a:lnTo>
                    <a:pt x="3152" y="2338"/>
                  </a:lnTo>
                  <a:lnTo>
                    <a:pt x="3146" y="2336"/>
                  </a:lnTo>
                  <a:lnTo>
                    <a:pt x="3144" y="2338"/>
                  </a:lnTo>
                  <a:lnTo>
                    <a:pt x="3135" y="2339"/>
                  </a:lnTo>
                  <a:lnTo>
                    <a:pt x="3129" y="2343"/>
                  </a:lnTo>
                  <a:lnTo>
                    <a:pt x="3120" y="2355"/>
                  </a:lnTo>
                  <a:lnTo>
                    <a:pt x="3115" y="2355"/>
                  </a:lnTo>
                  <a:lnTo>
                    <a:pt x="3113" y="2356"/>
                  </a:lnTo>
                  <a:lnTo>
                    <a:pt x="3107" y="2361"/>
                  </a:lnTo>
                  <a:lnTo>
                    <a:pt x="3106" y="2365"/>
                  </a:lnTo>
                  <a:lnTo>
                    <a:pt x="3096" y="2374"/>
                  </a:lnTo>
                  <a:lnTo>
                    <a:pt x="3090" y="2385"/>
                  </a:lnTo>
                  <a:lnTo>
                    <a:pt x="3084" y="2388"/>
                  </a:lnTo>
                  <a:lnTo>
                    <a:pt x="3080" y="2390"/>
                  </a:lnTo>
                  <a:lnTo>
                    <a:pt x="3060" y="2391"/>
                  </a:lnTo>
                  <a:lnTo>
                    <a:pt x="3052" y="2395"/>
                  </a:lnTo>
                  <a:lnTo>
                    <a:pt x="3041" y="2403"/>
                  </a:lnTo>
                  <a:lnTo>
                    <a:pt x="3032" y="2414"/>
                  </a:lnTo>
                  <a:lnTo>
                    <a:pt x="3024" y="2413"/>
                  </a:lnTo>
                  <a:lnTo>
                    <a:pt x="3020" y="2409"/>
                  </a:lnTo>
                  <a:lnTo>
                    <a:pt x="3013" y="2405"/>
                  </a:lnTo>
                  <a:lnTo>
                    <a:pt x="3011" y="2409"/>
                  </a:lnTo>
                  <a:lnTo>
                    <a:pt x="3003" y="2414"/>
                  </a:lnTo>
                  <a:lnTo>
                    <a:pt x="2995" y="2416"/>
                  </a:lnTo>
                  <a:lnTo>
                    <a:pt x="2988" y="2414"/>
                  </a:lnTo>
                  <a:lnTo>
                    <a:pt x="2984" y="2409"/>
                  </a:lnTo>
                  <a:lnTo>
                    <a:pt x="2974" y="2409"/>
                  </a:lnTo>
                  <a:lnTo>
                    <a:pt x="2966" y="2407"/>
                  </a:lnTo>
                  <a:lnTo>
                    <a:pt x="2961" y="2405"/>
                  </a:lnTo>
                  <a:lnTo>
                    <a:pt x="2959" y="2405"/>
                  </a:lnTo>
                  <a:lnTo>
                    <a:pt x="2950" y="2405"/>
                  </a:lnTo>
                  <a:lnTo>
                    <a:pt x="2947" y="2405"/>
                  </a:lnTo>
                  <a:lnTo>
                    <a:pt x="2939" y="2410"/>
                  </a:lnTo>
                  <a:lnTo>
                    <a:pt x="2927" y="2418"/>
                  </a:lnTo>
                  <a:lnTo>
                    <a:pt x="2910" y="2427"/>
                  </a:lnTo>
                  <a:lnTo>
                    <a:pt x="2906" y="2432"/>
                  </a:lnTo>
                  <a:lnTo>
                    <a:pt x="2906" y="2436"/>
                  </a:lnTo>
                  <a:lnTo>
                    <a:pt x="2899" y="2442"/>
                  </a:lnTo>
                  <a:lnTo>
                    <a:pt x="2894" y="2448"/>
                  </a:lnTo>
                  <a:lnTo>
                    <a:pt x="2888" y="2453"/>
                  </a:lnTo>
                  <a:lnTo>
                    <a:pt x="2881" y="2456"/>
                  </a:lnTo>
                  <a:lnTo>
                    <a:pt x="2878" y="2459"/>
                  </a:lnTo>
                  <a:lnTo>
                    <a:pt x="2874" y="2459"/>
                  </a:lnTo>
                  <a:lnTo>
                    <a:pt x="2866" y="2455"/>
                  </a:lnTo>
                  <a:lnTo>
                    <a:pt x="2853" y="2443"/>
                  </a:lnTo>
                  <a:lnTo>
                    <a:pt x="2846" y="2432"/>
                  </a:lnTo>
                  <a:lnTo>
                    <a:pt x="2834" y="2427"/>
                  </a:lnTo>
                  <a:lnTo>
                    <a:pt x="2835" y="2422"/>
                  </a:lnTo>
                  <a:lnTo>
                    <a:pt x="2831" y="2416"/>
                  </a:lnTo>
                  <a:lnTo>
                    <a:pt x="2817" y="2403"/>
                  </a:lnTo>
                  <a:lnTo>
                    <a:pt x="2810" y="2405"/>
                  </a:lnTo>
                  <a:lnTo>
                    <a:pt x="2800" y="2409"/>
                  </a:lnTo>
                  <a:lnTo>
                    <a:pt x="2788" y="2405"/>
                  </a:lnTo>
                  <a:lnTo>
                    <a:pt x="2781" y="2405"/>
                  </a:lnTo>
                  <a:lnTo>
                    <a:pt x="2774" y="2403"/>
                  </a:lnTo>
                  <a:lnTo>
                    <a:pt x="2771" y="2401"/>
                  </a:lnTo>
                  <a:lnTo>
                    <a:pt x="2764" y="2401"/>
                  </a:lnTo>
                  <a:lnTo>
                    <a:pt x="2760" y="2405"/>
                  </a:lnTo>
                  <a:lnTo>
                    <a:pt x="2758" y="2410"/>
                  </a:lnTo>
                  <a:lnTo>
                    <a:pt x="2754" y="2416"/>
                  </a:lnTo>
                  <a:lnTo>
                    <a:pt x="2754" y="2418"/>
                  </a:lnTo>
                  <a:lnTo>
                    <a:pt x="2749" y="2423"/>
                  </a:lnTo>
                  <a:lnTo>
                    <a:pt x="2742" y="2423"/>
                  </a:lnTo>
                  <a:lnTo>
                    <a:pt x="2737" y="2430"/>
                  </a:lnTo>
                  <a:lnTo>
                    <a:pt x="2731" y="2430"/>
                  </a:lnTo>
                  <a:lnTo>
                    <a:pt x="2726" y="2432"/>
                  </a:lnTo>
                  <a:lnTo>
                    <a:pt x="2725" y="2436"/>
                  </a:lnTo>
                  <a:lnTo>
                    <a:pt x="2717" y="2444"/>
                  </a:lnTo>
                  <a:lnTo>
                    <a:pt x="2708" y="2444"/>
                  </a:lnTo>
                  <a:lnTo>
                    <a:pt x="2703" y="2445"/>
                  </a:lnTo>
                  <a:lnTo>
                    <a:pt x="2701" y="2444"/>
                  </a:lnTo>
                  <a:lnTo>
                    <a:pt x="2690" y="2427"/>
                  </a:lnTo>
                  <a:lnTo>
                    <a:pt x="2686" y="2423"/>
                  </a:lnTo>
                  <a:lnTo>
                    <a:pt x="2683" y="2423"/>
                  </a:lnTo>
                  <a:lnTo>
                    <a:pt x="2671" y="2423"/>
                  </a:lnTo>
                  <a:lnTo>
                    <a:pt x="2661" y="2427"/>
                  </a:lnTo>
                  <a:lnTo>
                    <a:pt x="2658" y="2427"/>
                  </a:lnTo>
                  <a:lnTo>
                    <a:pt x="2654" y="2427"/>
                  </a:lnTo>
                  <a:lnTo>
                    <a:pt x="2653" y="2431"/>
                  </a:lnTo>
                  <a:lnTo>
                    <a:pt x="2645" y="2436"/>
                  </a:lnTo>
                  <a:lnTo>
                    <a:pt x="2639" y="2436"/>
                  </a:lnTo>
                  <a:lnTo>
                    <a:pt x="2633" y="2435"/>
                  </a:lnTo>
                  <a:lnTo>
                    <a:pt x="2625" y="2432"/>
                  </a:lnTo>
                  <a:lnTo>
                    <a:pt x="2617" y="2436"/>
                  </a:lnTo>
                  <a:lnTo>
                    <a:pt x="2614" y="2440"/>
                  </a:lnTo>
                  <a:lnTo>
                    <a:pt x="2615" y="2445"/>
                  </a:lnTo>
                  <a:lnTo>
                    <a:pt x="2614" y="2450"/>
                  </a:lnTo>
                  <a:lnTo>
                    <a:pt x="2615" y="2453"/>
                  </a:lnTo>
                  <a:lnTo>
                    <a:pt x="2620" y="2461"/>
                  </a:lnTo>
                  <a:lnTo>
                    <a:pt x="2620" y="2468"/>
                  </a:lnTo>
                  <a:lnTo>
                    <a:pt x="2625" y="2478"/>
                  </a:lnTo>
                  <a:lnTo>
                    <a:pt x="2625" y="2481"/>
                  </a:lnTo>
                  <a:lnTo>
                    <a:pt x="2623" y="2485"/>
                  </a:lnTo>
                  <a:lnTo>
                    <a:pt x="2617" y="2488"/>
                  </a:lnTo>
                  <a:lnTo>
                    <a:pt x="2606" y="2497"/>
                  </a:lnTo>
                  <a:lnTo>
                    <a:pt x="2598" y="2503"/>
                  </a:lnTo>
                  <a:lnTo>
                    <a:pt x="2595" y="2503"/>
                  </a:lnTo>
                  <a:lnTo>
                    <a:pt x="2592" y="2506"/>
                  </a:lnTo>
                  <a:lnTo>
                    <a:pt x="2592" y="2509"/>
                  </a:lnTo>
                  <a:lnTo>
                    <a:pt x="2585" y="2515"/>
                  </a:lnTo>
                  <a:lnTo>
                    <a:pt x="2585" y="2519"/>
                  </a:lnTo>
                  <a:lnTo>
                    <a:pt x="2585" y="2520"/>
                  </a:lnTo>
                  <a:lnTo>
                    <a:pt x="2579" y="2520"/>
                  </a:lnTo>
                  <a:lnTo>
                    <a:pt x="2575" y="2526"/>
                  </a:lnTo>
                  <a:lnTo>
                    <a:pt x="2571" y="2527"/>
                  </a:lnTo>
                  <a:lnTo>
                    <a:pt x="2562" y="2526"/>
                  </a:lnTo>
                  <a:lnTo>
                    <a:pt x="2558" y="2525"/>
                  </a:lnTo>
                  <a:lnTo>
                    <a:pt x="2554" y="2519"/>
                  </a:lnTo>
                  <a:lnTo>
                    <a:pt x="2548" y="2515"/>
                  </a:lnTo>
                  <a:lnTo>
                    <a:pt x="2539" y="2512"/>
                  </a:lnTo>
                  <a:lnTo>
                    <a:pt x="2529" y="2512"/>
                  </a:lnTo>
                  <a:lnTo>
                    <a:pt x="2525" y="2510"/>
                  </a:lnTo>
                  <a:lnTo>
                    <a:pt x="2519" y="2512"/>
                  </a:lnTo>
                  <a:lnTo>
                    <a:pt x="2517" y="2517"/>
                  </a:lnTo>
                  <a:lnTo>
                    <a:pt x="2512" y="2517"/>
                  </a:lnTo>
                  <a:lnTo>
                    <a:pt x="2511" y="2520"/>
                  </a:lnTo>
                  <a:lnTo>
                    <a:pt x="2510" y="2527"/>
                  </a:lnTo>
                  <a:lnTo>
                    <a:pt x="2507" y="2530"/>
                  </a:lnTo>
                  <a:lnTo>
                    <a:pt x="2507" y="2537"/>
                  </a:lnTo>
                  <a:lnTo>
                    <a:pt x="2497" y="2542"/>
                  </a:lnTo>
                  <a:lnTo>
                    <a:pt x="2485" y="2547"/>
                  </a:lnTo>
                  <a:lnTo>
                    <a:pt x="2477" y="2552"/>
                  </a:lnTo>
                  <a:lnTo>
                    <a:pt x="2466" y="2563"/>
                  </a:lnTo>
                  <a:lnTo>
                    <a:pt x="2466" y="2565"/>
                  </a:lnTo>
                  <a:lnTo>
                    <a:pt x="2468" y="2569"/>
                  </a:lnTo>
                  <a:lnTo>
                    <a:pt x="2465" y="2579"/>
                  </a:lnTo>
                  <a:lnTo>
                    <a:pt x="2465" y="2587"/>
                  </a:lnTo>
                  <a:lnTo>
                    <a:pt x="2461" y="2587"/>
                  </a:lnTo>
                  <a:lnTo>
                    <a:pt x="2454" y="2592"/>
                  </a:lnTo>
                  <a:lnTo>
                    <a:pt x="2447" y="2592"/>
                  </a:lnTo>
                  <a:lnTo>
                    <a:pt x="2446" y="2596"/>
                  </a:lnTo>
                  <a:lnTo>
                    <a:pt x="2440" y="2600"/>
                  </a:lnTo>
                  <a:lnTo>
                    <a:pt x="2436" y="2605"/>
                  </a:lnTo>
                  <a:lnTo>
                    <a:pt x="2427" y="2610"/>
                  </a:lnTo>
                  <a:lnTo>
                    <a:pt x="2423" y="2619"/>
                  </a:lnTo>
                  <a:lnTo>
                    <a:pt x="2421" y="2622"/>
                  </a:lnTo>
                  <a:lnTo>
                    <a:pt x="2412" y="2625"/>
                  </a:lnTo>
                  <a:lnTo>
                    <a:pt x="2407" y="2630"/>
                  </a:lnTo>
                  <a:lnTo>
                    <a:pt x="2401" y="2632"/>
                  </a:lnTo>
                  <a:lnTo>
                    <a:pt x="2400" y="2635"/>
                  </a:lnTo>
                  <a:lnTo>
                    <a:pt x="2402" y="2637"/>
                  </a:lnTo>
                  <a:lnTo>
                    <a:pt x="2404" y="2641"/>
                  </a:lnTo>
                  <a:lnTo>
                    <a:pt x="2400" y="2646"/>
                  </a:lnTo>
                  <a:lnTo>
                    <a:pt x="2387" y="2654"/>
                  </a:lnTo>
                  <a:lnTo>
                    <a:pt x="2382" y="2655"/>
                  </a:lnTo>
                  <a:lnTo>
                    <a:pt x="2377" y="2658"/>
                  </a:lnTo>
                  <a:lnTo>
                    <a:pt x="2363" y="2663"/>
                  </a:lnTo>
                  <a:lnTo>
                    <a:pt x="2352" y="2668"/>
                  </a:lnTo>
                  <a:lnTo>
                    <a:pt x="2344" y="2669"/>
                  </a:lnTo>
                  <a:lnTo>
                    <a:pt x="2336" y="2675"/>
                  </a:lnTo>
                  <a:lnTo>
                    <a:pt x="2332" y="2680"/>
                  </a:lnTo>
                  <a:lnTo>
                    <a:pt x="2329" y="2680"/>
                  </a:lnTo>
                  <a:lnTo>
                    <a:pt x="2326" y="2681"/>
                  </a:lnTo>
                  <a:lnTo>
                    <a:pt x="2319" y="2681"/>
                  </a:lnTo>
                  <a:lnTo>
                    <a:pt x="2318" y="2689"/>
                  </a:lnTo>
                  <a:lnTo>
                    <a:pt x="2315" y="2692"/>
                  </a:lnTo>
                  <a:lnTo>
                    <a:pt x="2307" y="2689"/>
                  </a:lnTo>
                  <a:lnTo>
                    <a:pt x="2304" y="2691"/>
                  </a:lnTo>
                  <a:lnTo>
                    <a:pt x="2300" y="2694"/>
                  </a:lnTo>
                  <a:lnTo>
                    <a:pt x="2297" y="2694"/>
                  </a:lnTo>
                  <a:lnTo>
                    <a:pt x="2294" y="2694"/>
                  </a:lnTo>
                  <a:lnTo>
                    <a:pt x="2285" y="2688"/>
                  </a:lnTo>
                  <a:lnTo>
                    <a:pt x="2276" y="2676"/>
                  </a:lnTo>
                  <a:lnTo>
                    <a:pt x="2266" y="2681"/>
                  </a:lnTo>
                  <a:lnTo>
                    <a:pt x="2259" y="2681"/>
                  </a:lnTo>
                  <a:lnTo>
                    <a:pt x="2254" y="2679"/>
                  </a:lnTo>
                  <a:lnTo>
                    <a:pt x="2251" y="2679"/>
                  </a:lnTo>
                  <a:lnTo>
                    <a:pt x="2247" y="2681"/>
                  </a:lnTo>
                  <a:lnTo>
                    <a:pt x="2240" y="2691"/>
                  </a:lnTo>
                  <a:lnTo>
                    <a:pt x="2226" y="2697"/>
                  </a:lnTo>
                  <a:lnTo>
                    <a:pt x="2219" y="2704"/>
                  </a:lnTo>
                  <a:lnTo>
                    <a:pt x="2215" y="2708"/>
                  </a:lnTo>
                  <a:lnTo>
                    <a:pt x="2203" y="2717"/>
                  </a:lnTo>
                  <a:lnTo>
                    <a:pt x="2201" y="2719"/>
                  </a:lnTo>
                  <a:lnTo>
                    <a:pt x="2198" y="2719"/>
                  </a:lnTo>
                  <a:lnTo>
                    <a:pt x="2195" y="2719"/>
                  </a:lnTo>
                  <a:lnTo>
                    <a:pt x="2190" y="2721"/>
                  </a:lnTo>
                  <a:lnTo>
                    <a:pt x="2184" y="2729"/>
                  </a:lnTo>
                  <a:lnTo>
                    <a:pt x="2174" y="2734"/>
                  </a:lnTo>
                  <a:lnTo>
                    <a:pt x="2166" y="2739"/>
                  </a:lnTo>
                  <a:lnTo>
                    <a:pt x="2159" y="2739"/>
                  </a:lnTo>
                  <a:lnTo>
                    <a:pt x="2155" y="2739"/>
                  </a:lnTo>
                  <a:lnTo>
                    <a:pt x="2140" y="2746"/>
                  </a:lnTo>
                  <a:lnTo>
                    <a:pt x="2131" y="2747"/>
                  </a:lnTo>
                  <a:lnTo>
                    <a:pt x="2117" y="2762"/>
                  </a:lnTo>
                  <a:lnTo>
                    <a:pt x="2108" y="2768"/>
                  </a:lnTo>
                  <a:lnTo>
                    <a:pt x="2101" y="2770"/>
                  </a:lnTo>
                  <a:lnTo>
                    <a:pt x="2098" y="2775"/>
                  </a:lnTo>
                  <a:lnTo>
                    <a:pt x="2094" y="2774"/>
                  </a:lnTo>
                  <a:lnTo>
                    <a:pt x="2087" y="2778"/>
                  </a:lnTo>
                  <a:lnTo>
                    <a:pt x="2083" y="2784"/>
                  </a:lnTo>
                  <a:lnTo>
                    <a:pt x="2084" y="2791"/>
                  </a:lnTo>
                  <a:lnTo>
                    <a:pt x="2083" y="2792"/>
                  </a:lnTo>
                  <a:lnTo>
                    <a:pt x="2080" y="2800"/>
                  </a:lnTo>
                  <a:lnTo>
                    <a:pt x="2076" y="2801"/>
                  </a:lnTo>
                  <a:lnTo>
                    <a:pt x="2072" y="2805"/>
                  </a:lnTo>
                  <a:lnTo>
                    <a:pt x="2066" y="2805"/>
                  </a:lnTo>
                  <a:lnTo>
                    <a:pt x="2058" y="2808"/>
                  </a:lnTo>
                  <a:lnTo>
                    <a:pt x="2051" y="2815"/>
                  </a:lnTo>
                  <a:lnTo>
                    <a:pt x="2036" y="2820"/>
                  </a:lnTo>
                  <a:lnTo>
                    <a:pt x="2034" y="2824"/>
                  </a:lnTo>
                  <a:lnTo>
                    <a:pt x="2036" y="2828"/>
                  </a:lnTo>
                  <a:lnTo>
                    <a:pt x="2033" y="2830"/>
                  </a:lnTo>
                  <a:lnTo>
                    <a:pt x="2026" y="2836"/>
                  </a:lnTo>
                  <a:lnTo>
                    <a:pt x="2020" y="2837"/>
                  </a:lnTo>
                  <a:lnTo>
                    <a:pt x="2014" y="2841"/>
                  </a:lnTo>
                  <a:lnTo>
                    <a:pt x="2011" y="2843"/>
                  </a:lnTo>
                  <a:lnTo>
                    <a:pt x="2008" y="2849"/>
                  </a:lnTo>
                  <a:lnTo>
                    <a:pt x="1999" y="2858"/>
                  </a:lnTo>
                  <a:lnTo>
                    <a:pt x="1997" y="2863"/>
                  </a:lnTo>
                  <a:lnTo>
                    <a:pt x="1997" y="2868"/>
                  </a:lnTo>
                  <a:lnTo>
                    <a:pt x="2001" y="2873"/>
                  </a:lnTo>
                  <a:lnTo>
                    <a:pt x="2003" y="2871"/>
                  </a:lnTo>
                  <a:lnTo>
                    <a:pt x="2005" y="2873"/>
                  </a:lnTo>
                  <a:lnTo>
                    <a:pt x="2003" y="2876"/>
                  </a:lnTo>
                  <a:lnTo>
                    <a:pt x="2001" y="2878"/>
                  </a:lnTo>
                  <a:lnTo>
                    <a:pt x="1998" y="2878"/>
                  </a:lnTo>
                  <a:lnTo>
                    <a:pt x="1995" y="2875"/>
                  </a:lnTo>
                  <a:lnTo>
                    <a:pt x="1992" y="2876"/>
                  </a:lnTo>
                  <a:lnTo>
                    <a:pt x="1991" y="2888"/>
                  </a:lnTo>
                  <a:lnTo>
                    <a:pt x="1991" y="2891"/>
                  </a:lnTo>
                  <a:lnTo>
                    <a:pt x="1997" y="2892"/>
                  </a:lnTo>
                  <a:lnTo>
                    <a:pt x="1997" y="2895"/>
                  </a:lnTo>
                  <a:lnTo>
                    <a:pt x="1989" y="2899"/>
                  </a:lnTo>
                  <a:lnTo>
                    <a:pt x="1984" y="2899"/>
                  </a:lnTo>
                  <a:lnTo>
                    <a:pt x="1978" y="2899"/>
                  </a:lnTo>
                  <a:lnTo>
                    <a:pt x="1976" y="2904"/>
                  </a:lnTo>
                  <a:lnTo>
                    <a:pt x="1969" y="2912"/>
                  </a:lnTo>
                  <a:lnTo>
                    <a:pt x="1967" y="2917"/>
                  </a:lnTo>
                  <a:lnTo>
                    <a:pt x="1960" y="2920"/>
                  </a:lnTo>
                  <a:lnTo>
                    <a:pt x="1960" y="2921"/>
                  </a:lnTo>
                  <a:lnTo>
                    <a:pt x="1955" y="2929"/>
                  </a:lnTo>
                  <a:lnTo>
                    <a:pt x="1953" y="2929"/>
                  </a:lnTo>
                  <a:lnTo>
                    <a:pt x="1944" y="2930"/>
                  </a:lnTo>
                  <a:lnTo>
                    <a:pt x="1939" y="2933"/>
                  </a:lnTo>
                  <a:lnTo>
                    <a:pt x="1941" y="2934"/>
                  </a:lnTo>
                  <a:lnTo>
                    <a:pt x="1944" y="2938"/>
                  </a:lnTo>
                  <a:lnTo>
                    <a:pt x="1939" y="2946"/>
                  </a:lnTo>
                  <a:lnTo>
                    <a:pt x="1941" y="2952"/>
                  </a:lnTo>
                  <a:lnTo>
                    <a:pt x="1934" y="2957"/>
                  </a:lnTo>
                  <a:lnTo>
                    <a:pt x="1926" y="2962"/>
                  </a:lnTo>
                  <a:lnTo>
                    <a:pt x="1921" y="2974"/>
                  </a:lnTo>
                  <a:lnTo>
                    <a:pt x="1918" y="2978"/>
                  </a:lnTo>
                  <a:lnTo>
                    <a:pt x="1913" y="2979"/>
                  </a:lnTo>
                  <a:lnTo>
                    <a:pt x="1906" y="2989"/>
                  </a:lnTo>
                  <a:lnTo>
                    <a:pt x="1903" y="2992"/>
                  </a:lnTo>
                  <a:lnTo>
                    <a:pt x="1896" y="2998"/>
                  </a:lnTo>
                  <a:lnTo>
                    <a:pt x="1893" y="3000"/>
                  </a:lnTo>
                  <a:lnTo>
                    <a:pt x="1892" y="3002"/>
                  </a:lnTo>
                  <a:lnTo>
                    <a:pt x="1887" y="3002"/>
                  </a:lnTo>
                  <a:lnTo>
                    <a:pt x="1884" y="3007"/>
                  </a:lnTo>
                  <a:lnTo>
                    <a:pt x="1887" y="3009"/>
                  </a:lnTo>
                  <a:lnTo>
                    <a:pt x="1889" y="3011"/>
                  </a:lnTo>
                  <a:lnTo>
                    <a:pt x="1891" y="3011"/>
                  </a:lnTo>
                  <a:lnTo>
                    <a:pt x="1891" y="3015"/>
                  </a:lnTo>
                  <a:lnTo>
                    <a:pt x="1887" y="3021"/>
                  </a:lnTo>
                  <a:lnTo>
                    <a:pt x="1889" y="3024"/>
                  </a:lnTo>
                  <a:lnTo>
                    <a:pt x="1885" y="3027"/>
                  </a:lnTo>
                  <a:lnTo>
                    <a:pt x="1888" y="3041"/>
                  </a:lnTo>
                  <a:lnTo>
                    <a:pt x="1887" y="3044"/>
                  </a:lnTo>
                  <a:lnTo>
                    <a:pt x="1879" y="3046"/>
                  </a:lnTo>
                  <a:lnTo>
                    <a:pt x="1878" y="3053"/>
                  </a:lnTo>
                  <a:lnTo>
                    <a:pt x="1879" y="3056"/>
                  </a:lnTo>
                  <a:lnTo>
                    <a:pt x="1871" y="3059"/>
                  </a:lnTo>
                  <a:lnTo>
                    <a:pt x="1871" y="3066"/>
                  </a:lnTo>
                  <a:lnTo>
                    <a:pt x="1866" y="3069"/>
                  </a:lnTo>
                  <a:lnTo>
                    <a:pt x="1864" y="3067"/>
                  </a:lnTo>
                  <a:lnTo>
                    <a:pt x="1860" y="3069"/>
                  </a:lnTo>
                  <a:lnTo>
                    <a:pt x="1859" y="3077"/>
                  </a:lnTo>
                  <a:lnTo>
                    <a:pt x="1860" y="3078"/>
                  </a:lnTo>
                  <a:lnTo>
                    <a:pt x="1860" y="3081"/>
                  </a:lnTo>
                  <a:lnTo>
                    <a:pt x="1859" y="3081"/>
                  </a:lnTo>
                  <a:lnTo>
                    <a:pt x="1860" y="3082"/>
                  </a:lnTo>
                  <a:lnTo>
                    <a:pt x="1857" y="3082"/>
                  </a:lnTo>
                  <a:lnTo>
                    <a:pt x="1856" y="3094"/>
                  </a:lnTo>
                  <a:lnTo>
                    <a:pt x="1851" y="3095"/>
                  </a:lnTo>
                  <a:lnTo>
                    <a:pt x="1845" y="3091"/>
                  </a:lnTo>
                  <a:lnTo>
                    <a:pt x="1841" y="3091"/>
                  </a:lnTo>
                  <a:lnTo>
                    <a:pt x="1839" y="3091"/>
                  </a:lnTo>
                  <a:lnTo>
                    <a:pt x="1838" y="3091"/>
                  </a:lnTo>
                  <a:lnTo>
                    <a:pt x="1832" y="3101"/>
                  </a:lnTo>
                  <a:lnTo>
                    <a:pt x="1829" y="3103"/>
                  </a:lnTo>
                  <a:lnTo>
                    <a:pt x="1827" y="3112"/>
                  </a:lnTo>
                  <a:lnTo>
                    <a:pt x="1827" y="3120"/>
                  </a:lnTo>
                  <a:lnTo>
                    <a:pt x="1826" y="3124"/>
                  </a:lnTo>
                  <a:lnTo>
                    <a:pt x="1823" y="3126"/>
                  </a:lnTo>
                  <a:lnTo>
                    <a:pt x="1824" y="3129"/>
                  </a:lnTo>
                  <a:lnTo>
                    <a:pt x="1821" y="3129"/>
                  </a:lnTo>
                  <a:lnTo>
                    <a:pt x="1820" y="3131"/>
                  </a:lnTo>
                  <a:lnTo>
                    <a:pt x="1821" y="3133"/>
                  </a:lnTo>
                  <a:lnTo>
                    <a:pt x="1818" y="3135"/>
                  </a:lnTo>
                  <a:lnTo>
                    <a:pt x="1812" y="3136"/>
                  </a:lnTo>
                  <a:lnTo>
                    <a:pt x="1807" y="3144"/>
                  </a:lnTo>
                  <a:lnTo>
                    <a:pt x="1806" y="3144"/>
                  </a:lnTo>
                  <a:lnTo>
                    <a:pt x="1802" y="3144"/>
                  </a:lnTo>
                  <a:lnTo>
                    <a:pt x="1795" y="3144"/>
                  </a:lnTo>
                  <a:lnTo>
                    <a:pt x="1796" y="3148"/>
                  </a:lnTo>
                  <a:lnTo>
                    <a:pt x="1791" y="3149"/>
                  </a:lnTo>
                  <a:lnTo>
                    <a:pt x="1787" y="3157"/>
                  </a:lnTo>
                  <a:lnTo>
                    <a:pt x="1784" y="3160"/>
                  </a:lnTo>
                  <a:lnTo>
                    <a:pt x="1782" y="3169"/>
                  </a:lnTo>
                  <a:lnTo>
                    <a:pt x="1774" y="3173"/>
                  </a:lnTo>
                  <a:lnTo>
                    <a:pt x="1771" y="3178"/>
                  </a:lnTo>
                  <a:lnTo>
                    <a:pt x="1767" y="3178"/>
                  </a:lnTo>
                  <a:lnTo>
                    <a:pt x="1766" y="3178"/>
                  </a:lnTo>
                  <a:lnTo>
                    <a:pt x="1763" y="3180"/>
                  </a:lnTo>
                  <a:lnTo>
                    <a:pt x="1763" y="3176"/>
                  </a:lnTo>
                  <a:lnTo>
                    <a:pt x="1759" y="3180"/>
                  </a:lnTo>
                  <a:lnTo>
                    <a:pt x="1759" y="3186"/>
                  </a:lnTo>
                  <a:lnTo>
                    <a:pt x="1756" y="3189"/>
                  </a:lnTo>
                  <a:lnTo>
                    <a:pt x="1751" y="3189"/>
                  </a:lnTo>
                  <a:lnTo>
                    <a:pt x="1746" y="3189"/>
                  </a:lnTo>
                  <a:lnTo>
                    <a:pt x="1739" y="3191"/>
                  </a:lnTo>
                  <a:lnTo>
                    <a:pt x="1739" y="3196"/>
                  </a:lnTo>
                  <a:lnTo>
                    <a:pt x="1735" y="3198"/>
                  </a:lnTo>
                  <a:lnTo>
                    <a:pt x="1737" y="3202"/>
                  </a:lnTo>
                  <a:lnTo>
                    <a:pt x="1735" y="3205"/>
                  </a:lnTo>
                  <a:lnTo>
                    <a:pt x="1727" y="3206"/>
                  </a:lnTo>
                  <a:lnTo>
                    <a:pt x="1725" y="3205"/>
                  </a:lnTo>
                  <a:lnTo>
                    <a:pt x="1717" y="3210"/>
                  </a:lnTo>
                  <a:lnTo>
                    <a:pt x="1710" y="3207"/>
                  </a:lnTo>
                  <a:lnTo>
                    <a:pt x="1704" y="3208"/>
                  </a:lnTo>
                  <a:lnTo>
                    <a:pt x="1702" y="3210"/>
                  </a:lnTo>
                  <a:lnTo>
                    <a:pt x="1700" y="3215"/>
                  </a:lnTo>
                  <a:lnTo>
                    <a:pt x="1699" y="3220"/>
                  </a:lnTo>
                  <a:lnTo>
                    <a:pt x="1693" y="3222"/>
                  </a:lnTo>
                  <a:lnTo>
                    <a:pt x="1688" y="3224"/>
                  </a:lnTo>
                  <a:lnTo>
                    <a:pt x="1681" y="3222"/>
                  </a:lnTo>
                  <a:lnTo>
                    <a:pt x="1675" y="3224"/>
                  </a:lnTo>
                  <a:lnTo>
                    <a:pt x="1674" y="3222"/>
                  </a:lnTo>
                  <a:lnTo>
                    <a:pt x="1674" y="3224"/>
                  </a:lnTo>
                  <a:lnTo>
                    <a:pt x="1672" y="3224"/>
                  </a:lnTo>
                  <a:lnTo>
                    <a:pt x="1674" y="3224"/>
                  </a:lnTo>
                  <a:lnTo>
                    <a:pt x="1672" y="3224"/>
                  </a:lnTo>
                  <a:lnTo>
                    <a:pt x="1671" y="3224"/>
                  </a:lnTo>
                  <a:lnTo>
                    <a:pt x="1670" y="3224"/>
                  </a:lnTo>
                  <a:lnTo>
                    <a:pt x="1670" y="3227"/>
                  </a:lnTo>
                  <a:lnTo>
                    <a:pt x="1668" y="3227"/>
                  </a:lnTo>
                  <a:lnTo>
                    <a:pt x="1667" y="3227"/>
                  </a:lnTo>
                  <a:lnTo>
                    <a:pt x="1666" y="3227"/>
                  </a:lnTo>
                  <a:lnTo>
                    <a:pt x="1666" y="3228"/>
                  </a:lnTo>
                  <a:lnTo>
                    <a:pt x="1664" y="3230"/>
                  </a:lnTo>
                  <a:lnTo>
                    <a:pt x="1663" y="3230"/>
                  </a:lnTo>
                  <a:lnTo>
                    <a:pt x="1661" y="3228"/>
                  </a:lnTo>
                  <a:lnTo>
                    <a:pt x="1660" y="3228"/>
                  </a:lnTo>
                  <a:lnTo>
                    <a:pt x="1658" y="3228"/>
                  </a:lnTo>
                  <a:lnTo>
                    <a:pt x="1657" y="3228"/>
                  </a:lnTo>
                  <a:lnTo>
                    <a:pt x="1657" y="3230"/>
                  </a:lnTo>
                  <a:lnTo>
                    <a:pt x="1656" y="3230"/>
                  </a:lnTo>
                  <a:lnTo>
                    <a:pt x="1654" y="3230"/>
                  </a:lnTo>
                  <a:lnTo>
                    <a:pt x="1653" y="3230"/>
                  </a:lnTo>
                  <a:lnTo>
                    <a:pt x="1652" y="3230"/>
                  </a:lnTo>
                  <a:lnTo>
                    <a:pt x="1650" y="3230"/>
                  </a:lnTo>
                  <a:lnTo>
                    <a:pt x="1649" y="3230"/>
                  </a:lnTo>
                  <a:lnTo>
                    <a:pt x="1649" y="3231"/>
                  </a:lnTo>
                  <a:lnTo>
                    <a:pt x="1649" y="3232"/>
                  </a:lnTo>
                  <a:lnTo>
                    <a:pt x="1647" y="3232"/>
                  </a:lnTo>
                  <a:lnTo>
                    <a:pt x="1647" y="3231"/>
                  </a:lnTo>
                  <a:lnTo>
                    <a:pt x="1644" y="3231"/>
                  </a:lnTo>
                  <a:lnTo>
                    <a:pt x="1643" y="3231"/>
                  </a:lnTo>
                  <a:lnTo>
                    <a:pt x="1642" y="3232"/>
                  </a:lnTo>
                  <a:lnTo>
                    <a:pt x="1641" y="3232"/>
                  </a:lnTo>
                  <a:lnTo>
                    <a:pt x="1639" y="3232"/>
                  </a:lnTo>
                  <a:lnTo>
                    <a:pt x="1638" y="3232"/>
                  </a:lnTo>
                  <a:lnTo>
                    <a:pt x="1638" y="3233"/>
                  </a:lnTo>
                  <a:lnTo>
                    <a:pt x="1636" y="3233"/>
                  </a:lnTo>
                  <a:lnTo>
                    <a:pt x="1635" y="3233"/>
                  </a:lnTo>
                  <a:lnTo>
                    <a:pt x="1633" y="3233"/>
                  </a:lnTo>
                  <a:lnTo>
                    <a:pt x="1632" y="3233"/>
                  </a:lnTo>
                  <a:lnTo>
                    <a:pt x="1631" y="3233"/>
                  </a:lnTo>
                  <a:lnTo>
                    <a:pt x="1631" y="3236"/>
                  </a:lnTo>
                  <a:lnTo>
                    <a:pt x="1629" y="3233"/>
                  </a:lnTo>
                  <a:lnTo>
                    <a:pt x="1629" y="3236"/>
                  </a:lnTo>
                  <a:lnTo>
                    <a:pt x="1628" y="3236"/>
                  </a:lnTo>
                  <a:lnTo>
                    <a:pt x="1627" y="3236"/>
                  </a:lnTo>
                  <a:lnTo>
                    <a:pt x="1625" y="3236"/>
                  </a:lnTo>
                  <a:lnTo>
                    <a:pt x="1624" y="3236"/>
                  </a:lnTo>
                  <a:lnTo>
                    <a:pt x="1624" y="3238"/>
                  </a:lnTo>
                  <a:lnTo>
                    <a:pt x="1622" y="3238"/>
                  </a:lnTo>
                  <a:lnTo>
                    <a:pt x="1621" y="3238"/>
                  </a:lnTo>
                  <a:lnTo>
                    <a:pt x="1619" y="3238"/>
                  </a:lnTo>
                  <a:lnTo>
                    <a:pt x="1617" y="3238"/>
                  </a:lnTo>
                  <a:lnTo>
                    <a:pt x="1616" y="3238"/>
                  </a:lnTo>
                  <a:lnTo>
                    <a:pt x="1614" y="3238"/>
                  </a:lnTo>
                  <a:lnTo>
                    <a:pt x="1613" y="3238"/>
                  </a:lnTo>
                  <a:lnTo>
                    <a:pt x="1611" y="3238"/>
                  </a:lnTo>
                  <a:lnTo>
                    <a:pt x="1611" y="3240"/>
                  </a:lnTo>
                  <a:lnTo>
                    <a:pt x="1613" y="3240"/>
                  </a:lnTo>
                  <a:lnTo>
                    <a:pt x="1613" y="3241"/>
                  </a:lnTo>
                  <a:lnTo>
                    <a:pt x="1611" y="3241"/>
                  </a:lnTo>
                  <a:lnTo>
                    <a:pt x="1613" y="3241"/>
                  </a:lnTo>
                  <a:lnTo>
                    <a:pt x="1613" y="3243"/>
                  </a:lnTo>
                  <a:lnTo>
                    <a:pt x="1611" y="3243"/>
                  </a:lnTo>
                  <a:lnTo>
                    <a:pt x="1611" y="3241"/>
                  </a:lnTo>
                  <a:lnTo>
                    <a:pt x="1610" y="3241"/>
                  </a:lnTo>
                  <a:lnTo>
                    <a:pt x="1610" y="3243"/>
                  </a:lnTo>
                  <a:lnTo>
                    <a:pt x="1610" y="3244"/>
                  </a:lnTo>
                  <a:lnTo>
                    <a:pt x="1608" y="3244"/>
                  </a:lnTo>
                  <a:lnTo>
                    <a:pt x="1608" y="3243"/>
                  </a:lnTo>
                  <a:lnTo>
                    <a:pt x="1608" y="3244"/>
                  </a:lnTo>
                  <a:lnTo>
                    <a:pt x="1607" y="3244"/>
                  </a:lnTo>
                  <a:lnTo>
                    <a:pt x="1608" y="3244"/>
                  </a:lnTo>
                  <a:lnTo>
                    <a:pt x="1610" y="3244"/>
                  </a:lnTo>
                  <a:lnTo>
                    <a:pt x="1608" y="3244"/>
                  </a:lnTo>
                  <a:lnTo>
                    <a:pt x="1607" y="3244"/>
                  </a:lnTo>
                  <a:lnTo>
                    <a:pt x="1607" y="3247"/>
                  </a:lnTo>
                  <a:lnTo>
                    <a:pt x="1607" y="3250"/>
                  </a:lnTo>
                  <a:lnTo>
                    <a:pt x="1607" y="3251"/>
                  </a:lnTo>
                  <a:lnTo>
                    <a:pt x="1607" y="3253"/>
                  </a:lnTo>
                  <a:lnTo>
                    <a:pt x="1606" y="3253"/>
                  </a:lnTo>
                  <a:lnTo>
                    <a:pt x="1607" y="3253"/>
                  </a:lnTo>
                  <a:lnTo>
                    <a:pt x="1607" y="3255"/>
                  </a:lnTo>
                  <a:lnTo>
                    <a:pt x="1607" y="3256"/>
                  </a:lnTo>
                  <a:lnTo>
                    <a:pt x="1606" y="3256"/>
                  </a:lnTo>
                  <a:lnTo>
                    <a:pt x="1604" y="3256"/>
                  </a:lnTo>
                  <a:lnTo>
                    <a:pt x="1604" y="3258"/>
                  </a:lnTo>
                  <a:lnTo>
                    <a:pt x="1604" y="3256"/>
                  </a:lnTo>
                  <a:lnTo>
                    <a:pt x="1603" y="3256"/>
                  </a:lnTo>
                  <a:lnTo>
                    <a:pt x="1603" y="3258"/>
                  </a:lnTo>
                  <a:lnTo>
                    <a:pt x="1603" y="3260"/>
                  </a:lnTo>
                  <a:lnTo>
                    <a:pt x="1602" y="3258"/>
                  </a:lnTo>
                  <a:lnTo>
                    <a:pt x="1600" y="3258"/>
                  </a:lnTo>
                  <a:lnTo>
                    <a:pt x="1600" y="3260"/>
                  </a:lnTo>
                  <a:lnTo>
                    <a:pt x="1602" y="3260"/>
                  </a:lnTo>
                  <a:lnTo>
                    <a:pt x="1599" y="3260"/>
                  </a:lnTo>
                  <a:lnTo>
                    <a:pt x="1599" y="3263"/>
                  </a:lnTo>
                  <a:lnTo>
                    <a:pt x="1597" y="3263"/>
                  </a:lnTo>
                  <a:lnTo>
                    <a:pt x="1597" y="3264"/>
                  </a:lnTo>
                  <a:lnTo>
                    <a:pt x="1596" y="3265"/>
                  </a:lnTo>
                  <a:lnTo>
                    <a:pt x="1594" y="3267"/>
                  </a:lnTo>
                  <a:lnTo>
                    <a:pt x="1593" y="3267"/>
                  </a:lnTo>
                  <a:lnTo>
                    <a:pt x="1594" y="3267"/>
                  </a:lnTo>
                  <a:lnTo>
                    <a:pt x="1594" y="3269"/>
                  </a:lnTo>
                  <a:lnTo>
                    <a:pt x="1593" y="3269"/>
                  </a:lnTo>
                  <a:lnTo>
                    <a:pt x="1592" y="3269"/>
                  </a:lnTo>
                  <a:lnTo>
                    <a:pt x="1592" y="3272"/>
                  </a:lnTo>
                  <a:lnTo>
                    <a:pt x="1593" y="3272"/>
                  </a:lnTo>
                  <a:lnTo>
                    <a:pt x="1592" y="3272"/>
                  </a:lnTo>
                  <a:lnTo>
                    <a:pt x="1592" y="3273"/>
                  </a:lnTo>
                  <a:lnTo>
                    <a:pt x="1590" y="3273"/>
                  </a:lnTo>
                  <a:lnTo>
                    <a:pt x="1590" y="3276"/>
                  </a:lnTo>
                  <a:lnTo>
                    <a:pt x="1589" y="3276"/>
                  </a:lnTo>
                  <a:lnTo>
                    <a:pt x="1588" y="3276"/>
                  </a:lnTo>
                  <a:lnTo>
                    <a:pt x="1589" y="3277"/>
                  </a:lnTo>
                  <a:lnTo>
                    <a:pt x="1588" y="3277"/>
                  </a:lnTo>
                  <a:lnTo>
                    <a:pt x="1588" y="3278"/>
                  </a:lnTo>
                  <a:lnTo>
                    <a:pt x="1589" y="3278"/>
                  </a:lnTo>
                  <a:lnTo>
                    <a:pt x="1588" y="3280"/>
                  </a:lnTo>
                  <a:lnTo>
                    <a:pt x="1588" y="3281"/>
                  </a:lnTo>
                  <a:lnTo>
                    <a:pt x="1589" y="3281"/>
                  </a:lnTo>
                  <a:lnTo>
                    <a:pt x="1588" y="3281"/>
                  </a:lnTo>
                  <a:lnTo>
                    <a:pt x="1588" y="3282"/>
                  </a:lnTo>
                  <a:lnTo>
                    <a:pt x="1586" y="3282"/>
                  </a:lnTo>
                  <a:lnTo>
                    <a:pt x="1585" y="3282"/>
                  </a:lnTo>
                  <a:lnTo>
                    <a:pt x="1583" y="3282"/>
                  </a:lnTo>
                  <a:lnTo>
                    <a:pt x="1582" y="3282"/>
                  </a:lnTo>
                  <a:lnTo>
                    <a:pt x="1581" y="3282"/>
                  </a:lnTo>
                  <a:lnTo>
                    <a:pt x="1581" y="3285"/>
                  </a:lnTo>
                  <a:lnTo>
                    <a:pt x="1579" y="3285"/>
                  </a:lnTo>
                  <a:lnTo>
                    <a:pt x="1581" y="3286"/>
                  </a:lnTo>
                  <a:lnTo>
                    <a:pt x="1582" y="3286"/>
                  </a:lnTo>
                  <a:lnTo>
                    <a:pt x="1581" y="3286"/>
                  </a:lnTo>
                  <a:lnTo>
                    <a:pt x="1579" y="3286"/>
                  </a:lnTo>
                  <a:lnTo>
                    <a:pt x="1579" y="3289"/>
                  </a:lnTo>
                  <a:lnTo>
                    <a:pt x="1581" y="3289"/>
                  </a:lnTo>
                  <a:lnTo>
                    <a:pt x="1581" y="3290"/>
                  </a:lnTo>
                  <a:lnTo>
                    <a:pt x="1579" y="3290"/>
                  </a:lnTo>
                  <a:lnTo>
                    <a:pt x="1579" y="3292"/>
                  </a:lnTo>
                  <a:lnTo>
                    <a:pt x="1578" y="3292"/>
                  </a:lnTo>
                  <a:lnTo>
                    <a:pt x="1577" y="3292"/>
                  </a:lnTo>
                  <a:lnTo>
                    <a:pt x="1577" y="3294"/>
                  </a:lnTo>
                  <a:lnTo>
                    <a:pt x="1575" y="3294"/>
                  </a:lnTo>
                  <a:lnTo>
                    <a:pt x="1577" y="3294"/>
                  </a:lnTo>
                  <a:lnTo>
                    <a:pt x="1577" y="3295"/>
                  </a:lnTo>
                  <a:lnTo>
                    <a:pt x="1575" y="3295"/>
                  </a:lnTo>
                  <a:lnTo>
                    <a:pt x="1574" y="3295"/>
                  </a:lnTo>
                  <a:lnTo>
                    <a:pt x="1575" y="3295"/>
                  </a:lnTo>
                  <a:lnTo>
                    <a:pt x="1575" y="3298"/>
                  </a:lnTo>
                  <a:lnTo>
                    <a:pt x="1574" y="3298"/>
                  </a:lnTo>
                  <a:lnTo>
                    <a:pt x="1574" y="3300"/>
                  </a:lnTo>
                  <a:lnTo>
                    <a:pt x="1572" y="3300"/>
                  </a:lnTo>
                  <a:lnTo>
                    <a:pt x="1571" y="3300"/>
                  </a:lnTo>
                  <a:lnTo>
                    <a:pt x="1569" y="3300"/>
                  </a:lnTo>
                  <a:lnTo>
                    <a:pt x="1568" y="3300"/>
                  </a:lnTo>
                  <a:lnTo>
                    <a:pt x="1568" y="3301"/>
                  </a:lnTo>
                  <a:lnTo>
                    <a:pt x="1568" y="3302"/>
                  </a:lnTo>
                  <a:lnTo>
                    <a:pt x="1567" y="3302"/>
                  </a:lnTo>
                  <a:lnTo>
                    <a:pt x="1567" y="3301"/>
                  </a:lnTo>
                  <a:lnTo>
                    <a:pt x="1567" y="3302"/>
                  </a:lnTo>
                  <a:lnTo>
                    <a:pt x="1568" y="3302"/>
                  </a:lnTo>
                  <a:lnTo>
                    <a:pt x="1568" y="3303"/>
                  </a:lnTo>
                  <a:lnTo>
                    <a:pt x="1567" y="3303"/>
                  </a:lnTo>
                  <a:lnTo>
                    <a:pt x="1567" y="3302"/>
                  </a:lnTo>
                  <a:lnTo>
                    <a:pt x="1567" y="3303"/>
                  </a:lnTo>
                  <a:lnTo>
                    <a:pt x="1567" y="3305"/>
                  </a:lnTo>
                  <a:lnTo>
                    <a:pt x="1565" y="3305"/>
                  </a:lnTo>
                  <a:lnTo>
                    <a:pt x="1564" y="3305"/>
                  </a:lnTo>
                  <a:lnTo>
                    <a:pt x="1564" y="3307"/>
                  </a:lnTo>
                  <a:lnTo>
                    <a:pt x="1564" y="3309"/>
                  </a:lnTo>
                  <a:lnTo>
                    <a:pt x="1563" y="3309"/>
                  </a:lnTo>
                  <a:lnTo>
                    <a:pt x="1561" y="3309"/>
                  </a:lnTo>
                  <a:lnTo>
                    <a:pt x="1560" y="3311"/>
                  </a:lnTo>
                  <a:lnTo>
                    <a:pt x="1558" y="3313"/>
                  </a:lnTo>
                  <a:lnTo>
                    <a:pt x="1558" y="3314"/>
                  </a:lnTo>
                  <a:lnTo>
                    <a:pt x="1557" y="3315"/>
                  </a:lnTo>
                  <a:lnTo>
                    <a:pt x="1557" y="3317"/>
                  </a:lnTo>
                  <a:lnTo>
                    <a:pt x="1556" y="3317"/>
                  </a:lnTo>
                  <a:lnTo>
                    <a:pt x="1556" y="3318"/>
                  </a:lnTo>
                  <a:lnTo>
                    <a:pt x="1556" y="3320"/>
                  </a:lnTo>
                  <a:lnTo>
                    <a:pt x="1554" y="3320"/>
                  </a:lnTo>
                  <a:lnTo>
                    <a:pt x="1554" y="3322"/>
                  </a:lnTo>
                  <a:lnTo>
                    <a:pt x="1553" y="3322"/>
                  </a:lnTo>
                  <a:lnTo>
                    <a:pt x="1552" y="3322"/>
                  </a:lnTo>
                  <a:lnTo>
                    <a:pt x="1550" y="3322"/>
                  </a:lnTo>
                  <a:lnTo>
                    <a:pt x="1549" y="3322"/>
                  </a:lnTo>
                  <a:lnTo>
                    <a:pt x="1549" y="3323"/>
                  </a:lnTo>
                  <a:lnTo>
                    <a:pt x="1547" y="3323"/>
                  </a:lnTo>
                  <a:lnTo>
                    <a:pt x="1546" y="3323"/>
                  </a:lnTo>
                  <a:lnTo>
                    <a:pt x="1546" y="3322"/>
                  </a:lnTo>
                  <a:lnTo>
                    <a:pt x="1544" y="3322"/>
                  </a:lnTo>
                  <a:lnTo>
                    <a:pt x="1543" y="3322"/>
                  </a:lnTo>
                  <a:lnTo>
                    <a:pt x="1542" y="3322"/>
                  </a:lnTo>
                  <a:lnTo>
                    <a:pt x="1542" y="3323"/>
                  </a:lnTo>
                  <a:lnTo>
                    <a:pt x="1540" y="3323"/>
                  </a:lnTo>
                  <a:lnTo>
                    <a:pt x="1540" y="3322"/>
                  </a:lnTo>
                  <a:lnTo>
                    <a:pt x="1540" y="3323"/>
                  </a:lnTo>
                  <a:lnTo>
                    <a:pt x="1540" y="3326"/>
                  </a:lnTo>
                  <a:lnTo>
                    <a:pt x="1540" y="3327"/>
                  </a:lnTo>
                  <a:lnTo>
                    <a:pt x="1540" y="3330"/>
                  </a:lnTo>
                  <a:lnTo>
                    <a:pt x="1540" y="3331"/>
                  </a:lnTo>
                  <a:lnTo>
                    <a:pt x="1540" y="3334"/>
                  </a:lnTo>
                  <a:lnTo>
                    <a:pt x="1540" y="3335"/>
                  </a:lnTo>
                  <a:lnTo>
                    <a:pt x="1540" y="3337"/>
                  </a:lnTo>
                  <a:lnTo>
                    <a:pt x="1540" y="3338"/>
                  </a:lnTo>
                  <a:lnTo>
                    <a:pt x="1540" y="3339"/>
                  </a:lnTo>
                  <a:lnTo>
                    <a:pt x="1542" y="3339"/>
                  </a:lnTo>
                  <a:lnTo>
                    <a:pt x="1542" y="3340"/>
                  </a:lnTo>
                  <a:lnTo>
                    <a:pt x="1540" y="3340"/>
                  </a:lnTo>
                  <a:lnTo>
                    <a:pt x="1540" y="3343"/>
                  </a:lnTo>
                  <a:lnTo>
                    <a:pt x="1540" y="3344"/>
                  </a:lnTo>
                  <a:lnTo>
                    <a:pt x="1542" y="3344"/>
                  </a:lnTo>
                  <a:lnTo>
                    <a:pt x="1542" y="3347"/>
                  </a:lnTo>
                  <a:lnTo>
                    <a:pt x="1543" y="3347"/>
                  </a:lnTo>
                  <a:lnTo>
                    <a:pt x="1543" y="3348"/>
                  </a:lnTo>
                  <a:lnTo>
                    <a:pt x="1543" y="3350"/>
                  </a:lnTo>
                  <a:lnTo>
                    <a:pt x="1542" y="3350"/>
                  </a:lnTo>
                  <a:lnTo>
                    <a:pt x="1542" y="3351"/>
                  </a:lnTo>
                  <a:lnTo>
                    <a:pt x="1542" y="3352"/>
                  </a:lnTo>
                  <a:lnTo>
                    <a:pt x="1540" y="3352"/>
                  </a:lnTo>
                  <a:lnTo>
                    <a:pt x="1542" y="3354"/>
                  </a:lnTo>
                  <a:lnTo>
                    <a:pt x="1543" y="3357"/>
                  </a:lnTo>
                  <a:lnTo>
                    <a:pt x="1544" y="3359"/>
                  </a:lnTo>
                  <a:lnTo>
                    <a:pt x="1546" y="3359"/>
                  </a:lnTo>
                  <a:lnTo>
                    <a:pt x="1547" y="3360"/>
                  </a:lnTo>
                  <a:lnTo>
                    <a:pt x="1549" y="3360"/>
                  </a:lnTo>
                  <a:lnTo>
                    <a:pt x="1549" y="3363"/>
                  </a:lnTo>
                  <a:lnTo>
                    <a:pt x="1550" y="3363"/>
                  </a:lnTo>
                  <a:lnTo>
                    <a:pt x="1552" y="3363"/>
                  </a:lnTo>
                  <a:lnTo>
                    <a:pt x="1552" y="3365"/>
                  </a:lnTo>
                  <a:lnTo>
                    <a:pt x="1553" y="3365"/>
                  </a:lnTo>
                  <a:lnTo>
                    <a:pt x="1553" y="3367"/>
                  </a:lnTo>
                  <a:lnTo>
                    <a:pt x="1554" y="3367"/>
                  </a:lnTo>
                  <a:lnTo>
                    <a:pt x="1556" y="3367"/>
                  </a:lnTo>
                  <a:lnTo>
                    <a:pt x="1557" y="3367"/>
                  </a:lnTo>
                  <a:lnTo>
                    <a:pt x="1558" y="3369"/>
                  </a:lnTo>
                  <a:lnTo>
                    <a:pt x="1557" y="3370"/>
                  </a:lnTo>
                  <a:lnTo>
                    <a:pt x="1557" y="3372"/>
                  </a:lnTo>
                  <a:lnTo>
                    <a:pt x="1558" y="3372"/>
                  </a:lnTo>
                  <a:lnTo>
                    <a:pt x="1558" y="3373"/>
                  </a:lnTo>
                  <a:lnTo>
                    <a:pt x="1557" y="3375"/>
                  </a:lnTo>
                  <a:lnTo>
                    <a:pt x="1557" y="3376"/>
                  </a:lnTo>
                  <a:lnTo>
                    <a:pt x="1556" y="3376"/>
                  </a:lnTo>
                  <a:lnTo>
                    <a:pt x="1554" y="3376"/>
                  </a:lnTo>
                  <a:lnTo>
                    <a:pt x="1554" y="3379"/>
                  </a:lnTo>
                  <a:lnTo>
                    <a:pt x="1554" y="3380"/>
                  </a:lnTo>
                  <a:lnTo>
                    <a:pt x="1550" y="3388"/>
                  </a:lnTo>
                  <a:lnTo>
                    <a:pt x="1547" y="3392"/>
                  </a:lnTo>
                  <a:lnTo>
                    <a:pt x="1525" y="3388"/>
                  </a:lnTo>
                  <a:lnTo>
                    <a:pt x="1477" y="3370"/>
                  </a:lnTo>
                  <a:lnTo>
                    <a:pt x="1475" y="3370"/>
                  </a:lnTo>
                  <a:lnTo>
                    <a:pt x="1474" y="3372"/>
                  </a:lnTo>
                  <a:lnTo>
                    <a:pt x="1472" y="3372"/>
                  </a:lnTo>
                  <a:lnTo>
                    <a:pt x="1471" y="3372"/>
                  </a:lnTo>
                  <a:lnTo>
                    <a:pt x="1471" y="3373"/>
                  </a:lnTo>
                  <a:lnTo>
                    <a:pt x="1469" y="3373"/>
                  </a:lnTo>
                  <a:lnTo>
                    <a:pt x="1468" y="3373"/>
                  </a:lnTo>
                  <a:lnTo>
                    <a:pt x="1468" y="3372"/>
                  </a:lnTo>
                  <a:lnTo>
                    <a:pt x="1467" y="3372"/>
                  </a:lnTo>
                  <a:lnTo>
                    <a:pt x="1465" y="3372"/>
                  </a:lnTo>
                  <a:lnTo>
                    <a:pt x="1464" y="3372"/>
                  </a:lnTo>
                  <a:lnTo>
                    <a:pt x="1464" y="3370"/>
                  </a:lnTo>
                  <a:lnTo>
                    <a:pt x="1463" y="3370"/>
                  </a:lnTo>
                  <a:lnTo>
                    <a:pt x="1463" y="3369"/>
                  </a:lnTo>
                  <a:lnTo>
                    <a:pt x="1461" y="3369"/>
                  </a:lnTo>
                  <a:lnTo>
                    <a:pt x="1461" y="3367"/>
                  </a:lnTo>
                  <a:lnTo>
                    <a:pt x="1460" y="3367"/>
                  </a:lnTo>
                  <a:lnTo>
                    <a:pt x="1458" y="3367"/>
                  </a:lnTo>
                  <a:lnTo>
                    <a:pt x="1457" y="3367"/>
                  </a:lnTo>
                  <a:lnTo>
                    <a:pt x="1458" y="3365"/>
                  </a:lnTo>
                  <a:lnTo>
                    <a:pt x="1457" y="3365"/>
                  </a:lnTo>
                  <a:lnTo>
                    <a:pt x="1455" y="3365"/>
                  </a:lnTo>
                  <a:lnTo>
                    <a:pt x="1455" y="3363"/>
                  </a:lnTo>
                  <a:lnTo>
                    <a:pt x="1454" y="3363"/>
                  </a:lnTo>
                  <a:lnTo>
                    <a:pt x="1453" y="3363"/>
                  </a:lnTo>
                  <a:lnTo>
                    <a:pt x="1453" y="3362"/>
                  </a:lnTo>
                  <a:lnTo>
                    <a:pt x="1452" y="3362"/>
                  </a:lnTo>
                  <a:lnTo>
                    <a:pt x="1450" y="3362"/>
                  </a:lnTo>
                  <a:lnTo>
                    <a:pt x="1449" y="3362"/>
                  </a:lnTo>
                  <a:lnTo>
                    <a:pt x="1447" y="3362"/>
                  </a:lnTo>
                  <a:lnTo>
                    <a:pt x="1446" y="3362"/>
                  </a:lnTo>
                  <a:lnTo>
                    <a:pt x="1444" y="3362"/>
                  </a:lnTo>
                  <a:lnTo>
                    <a:pt x="1443" y="3362"/>
                  </a:lnTo>
                  <a:lnTo>
                    <a:pt x="1442" y="3362"/>
                  </a:lnTo>
                  <a:lnTo>
                    <a:pt x="1440" y="3362"/>
                  </a:lnTo>
                  <a:lnTo>
                    <a:pt x="1440" y="3363"/>
                  </a:lnTo>
                  <a:lnTo>
                    <a:pt x="1439" y="3363"/>
                  </a:lnTo>
                  <a:lnTo>
                    <a:pt x="1438" y="3363"/>
                  </a:lnTo>
                  <a:lnTo>
                    <a:pt x="1438" y="3362"/>
                  </a:lnTo>
                  <a:lnTo>
                    <a:pt x="1436" y="3362"/>
                  </a:lnTo>
                  <a:lnTo>
                    <a:pt x="1436" y="3360"/>
                  </a:lnTo>
                  <a:lnTo>
                    <a:pt x="1435" y="3360"/>
                  </a:lnTo>
                  <a:lnTo>
                    <a:pt x="1435" y="3359"/>
                  </a:lnTo>
                  <a:lnTo>
                    <a:pt x="1433" y="3359"/>
                  </a:lnTo>
                  <a:lnTo>
                    <a:pt x="1432" y="3359"/>
                  </a:lnTo>
                  <a:lnTo>
                    <a:pt x="1430" y="3359"/>
                  </a:lnTo>
                  <a:lnTo>
                    <a:pt x="1430" y="3357"/>
                  </a:lnTo>
                  <a:lnTo>
                    <a:pt x="1430" y="3356"/>
                  </a:lnTo>
                  <a:lnTo>
                    <a:pt x="1429" y="3356"/>
                  </a:lnTo>
                  <a:lnTo>
                    <a:pt x="1428" y="3356"/>
                  </a:lnTo>
                  <a:lnTo>
                    <a:pt x="1428" y="3354"/>
                  </a:lnTo>
                  <a:lnTo>
                    <a:pt x="1426" y="3356"/>
                  </a:lnTo>
                  <a:lnTo>
                    <a:pt x="1425" y="3356"/>
                  </a:lnTo>
                  <a:lnTo>
                    <a:pt x="1425" y="3354"/>
                  </a:lnTo>
                  <a:lnTo>
                    <a:pt x="1426" y="3354"/>
                  </a:lnTo>
                  <a:lnTo>
                    <a:pt x="1425" y="3354"/>
                  </a:lnTo>
                  <a:lnTo>
                    <a:pt x="1425" y="3352"/>
                  </a:lnTo>
                  <a:lnTo>
                    <a:pt x="1424" y="3352"/>
                  </a:lnTo>
                  <a:lnTo>
                    <a:pt x="1422" y="3352"/>
                  </a:lnTo>
                  <a:lnTo>
                    <a:pt x="1421" y="3352"/>
                  </a:lnTo>
                  <a:lnTo>
                    <a:pt x="1419" y="3352"/>
                  </a:lnTo>
                  <a:lnTo>
                    <a:pt x="1418" y="3352"/>
                  </a:lnTo>
                  <a:lnTo>
                    <a:pt x="1417" y="3354"/>
                  </a:lnTo>
                  <a:lnTo>
                    <a:pt x="1415" y="3354"/>
                  </a:lnTo>
                  <a:lnTo>
                    <a:pt x="1414" y="3354"/>
                  </a:lnTo>
                  <a:lnTo>
                    <a:pt x="1412" y="3354"/>
                  </a:lnTo>
                  <a:lnTo>
                    <a:pt x="1396" y="3367"/>
                  </a:lnTo>
                  <a:lnTo>
                    <a:pt x="1365" y="3367"/>
                  </a:lnTo>
                  <a:lnTo>
                    <a:pt x="1351" y="3367"/>
                  </a:lnTo>
                  <a:lnTo>
                    <a:pt x="1325" y="3365"/>
                  </a:lnTo>
                  <a:lnTo>
                    <a:pt x="1207" y="3362"/>
                  </a:lnTo>
                  <a:lnTo>
                    <a:pt x="1207" y="3339"/>
                  </a:lnTo>
                  <a:lnTo>
                    <a:pt x="1157" y="3144"/>
                  </a:lnTo>
                  <a:lnTo>
                    <a:pt x="1158" y="3143"/>
                  </a:lnTo>
                  <a:lnTo>
                    <a:pt x="1259" y="2921"/>
                  </a:lnTo>
                  <a:lnTo>
                    <a:pt x="1223" y="2921"/>
                  </a:lnTo>
                  <a:lnTo>
                    <a:pt x="1223" y="2743"/>
                  </a:lnTo>
                  <a:lnTo>
                    <a:pt x="1222" y="2742"/>
                  </a:lnTo>
                  <a:lnTo>
                    <a:pt x="1219" y="2739"/>
                  </a:lnTo>
                  <a:lnTo>
                    <a:pt x="1141" y="2647"/>
                  </a:lnTo>
                  <a:lnTo>
                    <a:pt x="940" y="2410"/>
                  </a:lnTo>
                  <a:lnTo>
                    <a:pt x="912" y="2339"/>
                  </a:lnTo>
                  <a:lnTo>
                    <a:pt x="848" y="2268"/>
                  </a:lnTo>
                  <a:lnTo>
                    <a:pt x="833" y="2249"/>
                  </a:lnTo>
                  <a:lnTo>
                    <a:pt x="705" y="2107"/>
                  </a:lnTo>
                  <a:lnTo>
                    <a:pt x="652" y="2036"/>
                  </a:lnTo>
                  <a:lnTo>
                    <a:pt x="642" y="2023"/>
                  </a:lnTo>
                  <a:lnTo>
                    <a:pt x="598" y="1965"/>
                  </a:lnTo>
                  <a:lnTo>
                    <a:pt x="417" y="1791"/>
                  </a:lnTo>
                  <a:lnTo>
                    <a:pt x="414" y="1789"/>
                  </a:lnTo>
                  <a:lnTo>
                    <a:pt x="411" y="1789"/>
                  </a:lnTo>
                  <a:lnTo>
                    <a:pt x="204" y="1787"/>
                  </a:lnTo>
                  <a:lnTo>
                    <a:pt x="183" y="1729"/>
                  </a:lnTo>
                  <a:lnTo>
                    <a:pt x="143" y="1680"/>
                  </a:lnTo>
                  <a:lnTo>
                    <a:pt x="149" y="1642"/>
                  </a:lnTo>
                  <a:lnTo>
                    <a:pt x="154" y="1626"/>
                  </a:lnTo>
                  <a:lnTo>
                    <a:pt x="157" y="1589"/>
                  </a:lnTo>
                  <a:lnTo>
                    <a:pt x="155" y="1532"/>
                  </a:lnTo>
                  <a:lnTo>
                    <a:pt x="157" y="1514"/>
                  </a:lnTo>
                  <a:lnTo>
                    <a:pt x="161" y="1468"/>
                  </a:lnTo>
                  <a:lnTo>
                    <a:pt x="165" y="1452"/>
                  </a:lnTo>
                  <a:lnTo>
                    <a:pt x="161" y="1424"/>
                  </a:lnTo>
                  <a:lnTo>
                    <a:pt x="154" y="1399"/>
                  </a:lnTo>
                  <a:lnTo>
                    <a:pt x="146" y="1330"/>
                  </a:lnTo>
                  <a:lnTo>
                    <a:pt x="129" y="1291"/>
                  </a:lnTo>
                  <a:lnTo>
                    <a:pt x="125" y="1273"/>
                  </a:lnTo>
                  <a:lnTo>
                    <a:pt x="130" y="1245"/>
                  </a:lnTo>
                  <a:lnTo>
                    <a:pt x="136" y="1229"/>
                  </a:lnTo>
                  <a:lnTo>
                    <a:pt x="139" y="1198"/>
                  </a:lnTo>
                  <a:lnTo>
                    <a:pt x="129" y="1166"/>
                  </a:lnTo>
                  <a:lnTo>
                    <a:pt x="100" y="1107"/>
                  </a:lnTo>
                  <a:lnTo>
                    <a:pt x="100" y="1041"/>
                  </a:lnTo>
                  <a:lnTo>
                    <a:pt x="60" y="980"/>
                  </a:lnTo>
                  <a:lnTo>
                    <a:pt x="51" y="958"/>
                  </a:lnTo>
                  <a:lnTo>
                    <a:pt x="52" y="926"/>
                  </a:lnTo>
                  <a:lnTo>
                    <a:pt x="50" y="915"/>
                  </a:lnTo>
                  <a:lnTo>
                    <a:pt x="19" y="883"/>
                  </a:lnTo>
                  <a:lnTo>
                    <a:pt x="15" y="873"/>
                  </a:lnTo>
                  <a:lnTo>
                    <a:pt x="9" y="823"/>
                  </a:lnTo>
                  <a:lnTo>
                    <a:pt x="11" y="820"/>
                  </a:lnTo>
                  <a:lnTo>
                    <a:pt x="9" y="784"/>
                  </a:lnTo>
                  <a:lnTo>
                    <a:pt x="0" y="748"/>
                  </a:lnTo>
                  <a:lnTo>
                    <a:pt x="4" y="740"/>
                  </a:lnTo>
                  <a:lnTo>
                    <a:pt x="57" y="660"/>
                  </a:lnTo>
                  <a:lnTo>
                    <a:pt x="86" y="637"/>
                  </a:lnTo>
                  <a:lnTo>
                    <a:pt x="116" y="593"/>
                  </a:lnTo>
                  <a:lnTo>
                    <a:pt x="135" y="580"/>
                  </a:lnTo>
                  <a:lnTo>
                    <a:pt x="146" y="565"/>
                  </a:lnTo>
                  <a:lnTo>
                    <a:pt x="164" y="512"/>
                  </a:lnTo>
                  <a:lnTo>
                    <a:pt x="176" y="490"/>
                  </a:lnTo>
                  <a:lnTo>
                    <a:pt x="210" y="450"/>
                  </a:lnTo>
                  <a:lnTo>
                    <a:pt x="227" y="415"/>
                  </a:lnTo>
                  <a:lnTo>
                    <a:pt x="237" y="346"/>
                  </a:lnTo>
                  <a:lnTo>
                    <a:pt x="232" y="312"/>
                  </a:lnTo>
                  <a:lnTo>
                    <a:pt x="218" y="254"/>
                  </a:lnTo>
                  <a:lnTo>
                    <a:pt x="489" y="253"/>
                  </a:lnTo>
                  <a:lnTo>
                    <a:pt x="493" y="253"/>
                  </a:lnTo>
                  <a:lnTo>
                    <a:pt x="853" y="250"/>
                  </a:lnTo>
                  <a:lnTo>
                    <a:pt x="855" y="245"/>
                  </a:lnTo>
                  <a:lnTo>
                    <a:pt x="853" y="244"/>
                  </a:lnTo>
                  <a:lnTo>
                    <a:pt x="855" y="241"/>
                  </a:lnTo>
                  <a:lnTo>
                    <a:pt x="859" y="244"/>
                  </a:lnTo>
                  <a:lnTo>
                    <a:pt x="860" y="245"/>
                  </a:lnTo>
                  <a:lnTo>
                    <a:pt x="863" y="249"/>
                  </a:lnTo>
                  <a:lnTo>
                    <a:pt x="863" y="250"/>
                  </a:lnTo>
                  <a:lnTo>
                    <a:pt x="859" y="254"/>
                  </a:lnTo>
                  <a:lnTo>
                    <a:pt x="860" y="258"/>
                  </a:lnTo>
                  <a:lnTo>
                    <a:pt x="867" y="254"/>
                  </a:lnTo>
                  <a:lnTo>
                    <a:pt x="871" y="257"/>
                  </a:lnTo>
                  <a:lnTo>
                    <a:pt x="874" y="258"/>
                  </a:lnTo>
                  <a:lnTo>
                    <a:pt x="877" y="258"/>
                  </a:lnTo>
                  <a:lnTo>
                    <a:pt x="879" y="258"/>
                  </a:lnTo>
                  <a:lnTo>
                    <a:pt x="879" y="254"/>
                  </a:lnTo>
                  <a:lnTo>
                    <a:pt x="881" y="250"/>
                  </a:lnTo>
                  <a:lnTo>
                    <a:pt x="883" y="254"/>
                  </a:lnTo>
                  <a:lnTo>
                    <a:pt x="884" y="254"/>
                  </a:lnTo>
                  <a:lnTo>
                    <a:pt x="888" y="254"/>
                  </a:lnTo>
                  <a:lnTo>
                    <a:pt x="893" y="257"/>
                  </a:lnTo>
                  <a:lnTo>
                    <a:pt x="896" y="257"/>
                  </a:lnTo>
                  <a:lnTo>
                    <a:pt x="905" y="254"/>
                  </a:lnTo>
                  <a:lnTo>
                    <a:pt x="908" y="253"/>
                  </a:lnTo>
                  <a:lnTo>
                    <a:pt x="908" y="250"/>
                  </a:lnTo>
                  <a:lnTo>
                    <a:pt x="905" y="245"/>
                  </a:lnTo>
                  <a:lnTo>
                    <a:pt x="902" y="244"/>
                  </a:lnTo>
                  <a:lnTo>
                    <a:pt x="902" y="241"/>
                  </a:lnTo>
                  <a:lnTo>
                    <a:pt x="904" y="241"/>
                  </a:lnTo>
                  <a:lnTo>
                    <a:pt x="905" y="241"/>
                  </a:lnTo>
                  <a:lnTo>
                    <a:pt x="913" y="241"/>
                  </a:lnTo>
                  <a:lnTo>
                    <a:pt x="918" y="241"/>
                  </a:lnTo>
                  <a:lnTo>
                    <a:pt x="924" y="241"/>
                  </a:lnTo>
                  <a:lnTo>
                    <a:pt x="926" y="241"/>
                  </a:lnTo>
                  <a:lnTo>
                    <a:pt x="926" y="244"/>
                  </a:lnTo>
                  <a:lnTo>
                    <a:pt x="926" y="250"/>
                  </a:lnTo>
                  <a:lnTo>
                    <a:pt x="927" y="254"/>
                  </a:lnTo>
                  <a:lnTo>
                    <a:pt x="930" y="258"/>
                  </a:lnTo>
                  <a:lnTo>
                    <a:pt x="935" y="258"/>
                  </a:lnTo>
                  <a:lnTo>
                    <a:pt x="937" y="258"/>
                  </a:lnTo>
                  <a:lnTo>
                    <a:pt x="943" y="254"/>
                  </a:lnTo>
                  <a:lnTo>
                    <a:pt x="945" y="254"/>
                  </a:lnTo>
                  <a:lnTo>
                    <a:pt x="945" y="253"/>
                  </a:lnTo>
                  <a:lnTo>
                    <a:pt x="941" y="250"/>
                  </a:lnTo>
                  <a:lnTo>
                    <a:pt x="941" y="245"/>
                  </a:lnTo>
                  <a:lnTo>
                    <a:pt x="944" y="241"/>
                  </a:lnTo>
                  <a:lnTo>
                    <a:pt x="945" y="239"/>
                  </a:lnTo>
                  <a:lnTo>
                    <a:pt x="948" y="237"/>
                  </a:lnTo>
                  <a:lnTo>
                    <a:pt x="949" y="239"/>
                  </a:lnTo>
                  <a:lnTo>
                    <a:pt x="952" y="244"/>
                  </a:lnTo>
                  <a:lnTo>
                    <a:pt x="954" y="245"/>
                  </a:lnTo>
                  <a:lnTo>
                    <a:pt x="956" y="245"/>
                  </a:lnTo>
                  <a:lnTo>
                    <a:pt x="956" y="244"/>
                  </a:lnTo>
                  <a:lnTo>
                    <a:pt x="954" y="241"/>
                  </a:lnTo>
                  <a:lnTo>
                    <a:pt x="955" y="239"/>
                  </a:lnTo>
                  <a:lnTo>
                    <a:pt x="959" y="241"/>
                  </a:lnTo>
                  <a:lnTo>
                    <a:pt x="963" y="245"/>
                  </a:lnTo>
                  <a:lnTo>
                    <a:pt x="965" y="249"/>
                  </a:lnTo>
                  <a:lnTo>
                    <a:pt x="965" y="245"/>
                  </a:lnTo>
                  <a:lnTo>
                    <a:pt x="968" y="244"/>
                  </a:lnTo>
                  <a:lnTo>
                    <a:pt x="969" y="244"/>
                  </a:lnTo>
                  <a:lnTo>
                    <a:pt x="972" y="245"/>
                  </a:lnTo>
                  <a:lnTo>
                    <a:pt x="977" y="244"/>
                  </a:lnTo>
                  <a:lnTo>
                    <a:pt x="979" y="241"/>
                  </a:lnTo>
                  <a:lnTo>
                    <a:pt x="979" y="237"/>
                  </a:lnTo>
                  <a:lnTo>
                    <a:pt x="983" y="232"/>
                  </a:lnTo>
                  <a:lnTo>
                    <a:pt x="984" y="232"/>
                  </a:lnTo>
                  <a:lnTo>
                    <a:pt x="987" y="232"/>
                  </a:lnTo>
                  <a:lnTo>
                    <a:pt x="990" y="237"/>
                  </a:lnTo>
                  <a:lnTo>
                    <a:pt x="994" y="237"/>
                  </a:lnTo>
                  <a:lnTo>
                    <a:pt x="1001" y="241"/>
                  </a:lnTo>
                  <a:lnTo>
                    <a:pt x="1004" y="241"/>
                  </a:lnTo>
                  <a:lnTo>
                    <a:pt x="1013" y="237"/>
                  </a:lnTo>
                  <a:lnTo>
                    <a:pt x="1024" y="237"/>
                  </a:lnTo>
                  <a:lnTo>
                    <a:pt x="1030" y="236"/>
                  </a:lnTo>
                  <a:lnTo>
                    <a:pt x="1033" y="236"/>
                  </a:lnTo>
                  <a:lnTo>
                    <a:pt x="1038" y="241"/>
                  </a:lnTo>
                  <a:lnTo>
                    <a:pt x="1041" y="241"/>
                  </a:lnTo>
                  <a:lnTo>
                    <a:pt x="1043" y="239"/>
                  </a:lnTo>
                  <a:lnTo>
                    <a:pt x="1044" y="232"/>
                  </a:lnTo>
                  <a:lnTo>
                    <a:pt x="1051" y="228"/>
                  </a:lnTo>
                  <a:lnTo>
                    <a:pt x="1059" y="221"/>
                  </a:lnTo>
                  <a:lnTo>
                    <a:pt x="1063" y="219"/>
                  </a:lnTo>
                  <a:lnTo>
                    <a:pt x="1069" y="219"/>
                  </a:lnTo>
                  <a:lnTo>
                    <a:pt x="1077" y="213"/>
                  </a:lnTo>
                  <a:lnTo>
                    <a:pt x="1083" y="205"/>
                  </a:lnTo>
                  <a:lnTo>
                    <a:pt x="1082" y="200"/>
                  </a:lnTo>
                  <a:lnTo>
                    <a:pt x="1083" y="196"/>
                  </a:lnTo>
                  <a:lnTo>
                    <a:pt x="1090" y="196"/>
                  </a:lnTo>
                  <a:lnTo>
                    <a:pt x="1094" y="196"/>
                  </a:lnTo>
                  <a:lnTo>
                    <a:pt x="1095" y="195"/>
                  </a:lnTo>
                  <a:lnTo>
                    <a:pt x="1094" y="192"/>
                  </a:lnTo>
                  <a:lnTo>
                    <a:pt x="1088" y="191"/>
                  </a:lnTo>
                  <a:lnTo>
                    <a:pt x="1087" y="187"/>
                  </a:lnTo>
                  <a:lnTo>
                    <a:pt x="1090" y="186"/>
                  </a:lnTo>
                  <a:lnTo>
                    <a:pt x="1095" y="183"/>
                  </a:lnTo>
                  <a:lnTo>
                    <a:pt x="1097" y="183"/>
                  </a:lnTo>
                  <a:lnTo>
                    <a:pt x="1093" y="174"/>
                  </a:lnTo>
                  <a:lnTo>
                    <a:pt x="1101" y="172"/>
                  </a:lnTo>
                  <a:lnTo>
                    <a:pt x="1111" y="174"/>
                  </a:lnTo>
                  <a:lnTo>
                    <a:pt x="1112" y="174"/>
                  </a:lnTo>
                  <a:lnTo>
                    <a:pt x="1113" y="164"/>
                  </a:lnTo>
                  <a:lnTo>
                    <a:pt x="1122" y="172"/>
                  </a:lnTo>
                  <a:lnTo>
                    <a:pt x="1123" y="172"/>
                  </a:lnTo>
                  <a:lnTo>
                    <a:pt x="1126" y="170"/>
                  </a:lnTo>
                  <a:lnTo>
                    <a:pt x="1132" y="169"/>
                  </a:lnTo>
                  <a:lnTo>
                    <a:pt x="1137" y="169"/>
                  </a:lnTo>
                  <a:lnTo>
                    <a:pt x="1139" y="170"/>
                  </a:lnTo>
                  <a:lnTo>
                    <a:pt x="1140" y="169"/>
                  </a:lnTo>
                  <a:lnTo>
                    <a:pt x="1139" y="164"/>
                  </a:lnTo>
                  <a:lnTo>
                    <a:pt x="1137" y="160"/>
                  </a:lnTo>
                  <a:lnTo>
                    <a:pt x="1139" y="160"/>
                  </a:lnTo>
                  <a:lnTo>
                    <a:pt x="1143" y="160"/>
                  </a:lnTo>
                  <a:lnTo>
                    <a:pt x="1143" y="169"/>
                  </a:lnTo>
                  <a:lnTo>
                    <a:pt x="1144" y="169"/>
                  </a:lnTo>
                  <a:lnTo>
                    <a:pt x="1145" y="163"/>
                  </a:lnTo>
                  <a:lnTo>
                    <a:pt x="1150" y="160"/>
                  </a:lnTo>
                  <a:lnTo>
                    <a:pt x="1151" y="159"/>
                  </a:lnTo>
                  <a:lnTo>
                    <a:pt x="1152" y="157"/>
                  </a:lnTo>
                  <a:lnTo>
                    <a:pt x="1152" y="151"/>
                  </a:lnTo>
                  <a:lnTo>
                    <a:pt x="1154" y="151"/>
                  </a:lnTo>
                  <a:lnTo>
                    <a:pt x="1155" y="151"/>
                  </a:lnTo>
                  <a:lnTo>
                    <a:pt x="1158" y="151"/>
                  </a:lnTo>
                  <a:lnTo>
                    <a:pt x="1159" y="151"/>
                  </a:lnTo>
                  <a:lnTo>
                    <a:pt x="1158" y="146"/>
                  </a:lnTo>
                  <a:lnTo>
                    <a:pt x="1159" y="143"/>
                  </a:lnTo>
                  <a:lnTo>
                    <a:pt x="1162" y="146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66" y="138"/>
                  </a:lnTo>
                  <a:lnTo>
                    <a:pt x="1169" y="137"/>
                  </a:lnTo>
                  <a:lnTo>
                    <a:pt x="1172" y="137"/>
                  </a:lnTo>
                  <a:lnTo>
                    <a:pt x="1176" y="134"/>
                  </a:lnTo>
                  <a:lnTo>
                    <a:pt x="1175" y="134"/>
                  </a:lnTo>
                  <a:lnTo>
                    <a:pt x="1172" y="133"/>
                  </a:lnTo>
                  <a:lnTo>
                    <a:pt x="1172" y="129"/>
                  </a:lnTo>
                  <a:lnTo>
                    <a:pt x="1173" y="125"/>
                  </a:lnTo>
                  <a:lnTo>
                    <a:pt x="1183" y="125"/>
                  </a:lnTo>
                  <a:lnTo>
                    <a:pt x="1184" y="125"/>
                  </a:lnTo>
                  <a:lnTo>
                    <a:pt x="1184" y="124"/>
                  </a:lnTo>
                  <a:lnTo>
                    <a:pt x="1186" y="121"/>
                  </a:lnTo>
                  <a:lnTo>
                    <a:pt x="1192" y="121"/>
                  </a:lnTo>
                  <a:lnTo>
                    <a:pt x="1200" y="121"/>
                  </a:lnTo>
                  <a:lnTo>
                    <a:pt x="1204" y="124"/>
                  </a:lnTo>
                  <a:lnTo>
                    <a:pt x="1207" y="125"/>
                  </a:lnTo>
                  <a:lnTo>
                    <a:pt x="1205" y="129"/>
                  </a:lnTo>
                  <a:lnTo>
                    <a:pt x="1205" y="133"/>
                  </a:lnTo>
                  <a:lnTo>
                    <a:pt x="1214" y="137"/>
                  </a:lnTo>
                  <a:lnTo>
                    <a:pt x="1223" y="137"/>
                  </a:lnTo>
                  <a:lnTo>
                    <a:pt x="1230" y="133"/>
                  </a:lnTo>
                  <a:lnTo>
                    <a:pt x="1232" y="133"/>
                  </a:lnTo>
                  <a:lnTo>
                    <a:pt x="1236" y="137"/>
                  </a:lnTo>
                  <a:lnTo>
                    <a:pt x="1248" y="138"/>
                  </a:lnTo>
                  <a:lnTo>
                    <a:pt x="1253" y="143"/>
                  </a:lnTo>
                  <a:lnTo>
                    <a:pt x="1257" y="139"/>
                  </a:lnTo>
                  <a:lnTo>
                    <a:pt x="1262" y="138"/>
                  </a:lnTo>
                  <a:lnTo>
                    <a:pt x="1268" y="143"/>
                  </a:lnTo>
                  <a:lnTo>
                    <a:pt x="1272" y="138"/>
                  </a:lnTo>
                  <a:lnTo>
                    <a:pt x="1272" y="137"/>
                  </a:lnTo>
                  <a:lnTo>
                    <a:pt x="1278" y="133"/>
                  </a:lnTo>
                  <a:lnTo>
                    <a:pt x="1280" y="134"/>
                  </a:lnTo>
                  <a:lnTo>
                    <a:pt x="1283" y="138"/>
                  </a:lnTo>
                  <a:lnTo>
                    <a:pt x="1286" y="151"/>
                  </a:lnTo>
                  <a:lnTo>
                    <a:pt x="1289" y="155"/>
                  </a:lnTo>
                  <a:lnTo>
                    <a:pt x="1289" y="160"/>
                  </a:lnTo>
                  <a:lnTo>
                    <a:pt x="1292" y="163"/>
                  </a:lnTo>
                  <a:lnTo>
                    <a:pt x="1294" y="169"/>
                  </a:lnTo>
                  <a:lnTo>
                    <a:pt x="1298" y="164"/>
                  </a:lnTo>
                  <a:lnTo>
                    <a:pt x="1298" y="160"/>
                  </a:lnTo>
                  <a:lnTo>
                    <a:pt x="1297" y="160"/>
                  </a:lnTo>
                  <a:lnTo>
                    <a:pt x="1297" y="157"/>
                  </a:lnTo>
                  <a:lnTo>
                    <a:pt x="1298" y="157"/>
                  </a:lnTo>
                  <a:lnTo>
                    <a:pt x="1303" y="160"/>
                  </a:lnTo>
                  <a:lnTo>
                    <a:pt x="1304" y="160"/>
                  </a:lnTo>
                  <a:lnTo>
                    <a:pt x="1307" y="160"/>
                  </a:lnTo>
                  <a:lnTo>
                    <a:pt x="1311" y="160"/>
                  </a:lnTo>
                  <a:lnTo>
                    <a:pt x="1312" y="160"/>
                  </a:lnTo>
                  <a:lnTo>
                    <a:pt x="1314" y="162"/>
                  </a:lnTo>
                  <a:lnTo>
                    <a:pt x="1314" y="164"/>
                  </a:lnTo>
                  <a:lnTo>
                    <a:pt x="1312" y="164"/>
                  </a:lnTo>
                  <a:lnTo>
                    <a:pt x="1315" y="170"/>
                  </a:lnTo>
                  <a:lnTo>
                    <a:pt x="1315" y="172"/>
                  </a:lnTo>
                  <a:lnTo>
                    <a:pt x="1312" y="177"/>
                  </a:lnTo>
                  <a:lnTo>
                    <a:pt x="1312" y="179"/>
                  </a:lnTo>
                  <a:lnTo>
                    <a:pt x="1326" y="179"/>
                  </a:lnTo>
                  <a:lnTo>
                    <a:pt x="1330" y="183"/>
                  </a:lnTo>
                  <a:lnTo>
                    <a:pt x="1340" y="183"/>
                  </a:lnTo>
                  <a:lnTo>
                    <a:pt x="1351" y="186"/>
                  </a:lnTo>
                  <a:lnTo>
                    <a:pt x="1357" y="187"/>
                  </a:lnTo>
                  <a:lnTo>
                    <a:pt x="1358" y="192"/>
                  </a:lnTo>
                  <a:lnTo>
                    <a:pt x="1359" y="196"/>
                  </a:lnTo>
                  <a:lnTo>
                    <a:pt x="1365" y="200"/>
                  </a:lnTo>
                  <a:lnTo>
                    <a:pt x="1371" y="214"/>
                  </a:lnTo>
                  <a:lnTo>
                    <a:pt x="1373" y="214"/>
                  </a:lnTo>
                  <a:lnTo>
                    <a:pt x="1375" y="222"/>
                  </a:lnTo>
                  <a:lnTo>
                    <a:pt x="1378" y="222"/>
                  </a:lnTo>
                  <a:lnTo>
                    <a:pt x="1384" y="226"/>
                  </a:lnTo>
                  <a:lnTo>
                    <a:pt x="1390" y="222"/>
                  </a:lnTo>
                  <a:lnTo>
                    <a:pt x="1397" y="219"/>
                  </a:lnTo>
                  <a:lnTo>
                    <a:pt x="1405" y="219"/>
                  </a:lnTo>
                  <a:lnTo>
                    <a:pt x="1408" y="214"/>
                  </a:lnTo>
                  <a:lnTo>
                    <a:pt x="1411" y="214"/>
                  </a:lnTo>
                  <a:lnTo>
                    <a:pt x="1414" y="213"/>
                  </a:lnTo>
                  <a:lnTo>
                    <a:pt x="1414" y="205"/>
                  </a:lnTo>
                  <a:lnTo>
                    <a:pt x="1417" y="204"/>
                  </a:lnTo>
                  <a:lnTo>
                    <a:pt x="1421" y="200"/>
                  </a:lnTo>
                  <a:lnTo>
                    <a:pt x="1425" y="205"/>
                  </a:lnTo>
                  <a:lnTo>
                    <a:pt x="1426" y="209"/>
                  </a:lnTo>
                  <a:lnTo>
                    <a:pt x="1428" y="217"/>
                  </a:lnTo>
                  <a:lnTo>
                    <a:pt x="1428" y="221"/>
                  </a:lnTo>
                  <a:lnTo>
                    <a:pt x="1425" y="222"/>
                  </a:lnTo>
                  <a:lnTo>
                    <a:pt x="1426" y="230"/>
                  </a:lnTo>
                  <a:lnTo>
                    <a:pt x="1432" y="237"/>
                  </a:lnTo>
                  <a:lnTo>
                    <a:pt x="1436" y="241"/>
                  </a:lnTo>
                  <a:lnTo>
                    <a:pt x="1443" y="245"/>
                  </a:lnTo>
                  <a:lnTo>
                    <a:pt x="1452" y="250"/>
                  </a:lnTo>
                  <a:lnTo>
                    <a:pt x="1454" y="250"/>
                  </a:lnTo>
                  <a:lnTo>
                    <a:pt x="1457" y="250"/>
                  </a:lnTo>
                  <a:lnTo>
                    <a:pt x="1463" y="244"/>
                  </a:lnTo>
                  <a:lnTo>
                    <a:pt x="1468" y="230"/>
                  </a:lnTo>
                  <a:lnTo>
                    <a:pt x="1471" y="228"/>
                  </a:lnTo>
                  <a:lnTo>
                    <a:pt x="1472" y="230"/>
                  </a:lnTo>
                  <a:lnTo>
                    <a:pt x="1474" y="232"/>
                  </a:lnTo>
                  <a:lnTo>
                    <a:pt x="1474" y="236"/>
                  </a:lnTo>
                  <a:lnTo>
                    <a:pt x="1474" y="241"/>
                  </a:lnTo>
                  <a:lnTo>
                    <a:pt x="1472" y="244"/>
                  </a:lnTo>
                  <a:lnTo>
                    <a:pt x="1468" y="244"/>
                  </a:lnTo>
                  <a:lnTo>
                    <a:pt x="1467" y="245"/>
                  </a:lnTo>
                  <a:lnTo>
                    <a:pt x="1472" y="249"/>
                  </a:lnTo>
                  <a:lnTo>
                    <a:pt x="1475" y="253"/>
                  </a:lnTo>
                  <a:lnTo>
                    <a:pt x="1479" y="253"/>
                  </a:lnTo>
                  <a:lnTo>
                    <a:pt x="1482" y="254"/>
                  </a:lnTo>
                  <a:lnTo>
                    <a:pt x="1483" y="254"/>
                  </a:lnTo>
                  <a:lnTo>
                    <a:pt x="1485" y="258"/>
                  </a:lnTo>
                  <a:lnTo>
                    <a:pt x="1483" y="263"/>
                  </a:lnTo>
                  <a:lnTo>
                    <a:pt x="1479" y="266"/>
                  </a:lnTo>
                  <a:lnTo>
                    <a:pt x="1479" y="267"/>
                  </a:lnTo>
                  <a:lnTo>
                    <a:pt x="1475" y="273"/>
                  </a:lnTo>
                  <a:lnTo>
                    <a:pt x="1475" y="279"/>
                  </a:lnTo>
                  <a:lnTo>
                    <a:pt x="1477" y="286"/>
                  </a:lnTo>
                  <a:lnTo>
                    <a:pt x="1471" y="299"/>
                  </a:lnTo>
                  <a:lnTo>
                    <a:pt x="1472" y="316"/>
                  </a:lnTo>
                  <a:lnTo>
                    <a:pt x="1471" y="320"/>
                  </a:lnTo>
                  <a:lnTo>
                    <a:pt x="1468" y="320"/>
                  </a:lnTo>
                  <a:lnTo>
                    <a:pt x="1468" y="321"/>
                  </a:lnTo>
                  <a:lnTo>
                    <a:pt x="1471" y="321"/>
                  </a:lnTo>
                  <a:lnTo>
                    <a:pt x="1472" y="324"/>
                  </a:lnTo>
                  <a:lnTo>
                    <a:pt x="1474" y="325"/>
                  </a:lnTo>
                  <a:lnTo>
                    <a:pt x="1477" y="334"/>
                  </a:lnTo>
                  <a:lnTo>
                    <a:pt x="1482" y="343"/>
                  </a:lnTo>
                  <a:lnTo>
                    <a:pt x="1485" y="344"/>
                  </a:lnTo>
                  <a:lnTo>
                    <a:pt x="1486" y="346"/>
                  </a:lnTo>
                  <a:lnTo>
                    <a:pt x="1489" y="351"/>
                  </a:lnTo>
                  <a:lnTo>
                    <a:pt x="1493" y="351"/>
                  </a:lnTo>
                  <a:lnTo>
                    <a:pt x="1494" y="357"/>
                  </a:lnTo>
                  <a:lnTo>
                    <a:pt x="1497" y="360"/>
                  </a:lnTo>
                  <a:lnTo>
                    <a:pt x="1502" y="361"/>
                  </a:lnTo>
                  <a:lnTo>
                    <a:pt x="1503" y="360"/>
                  </a:lnTo>
                  <a:lnTo>
                    <a:pt x="1510" y="357"/>
                  </a:lnTo>
                  <a:lnTo>
                    <a:pt x="1515" y="350"/>
                  </a:lnTo>
                  <a:lnTo>
                    <a:pt x="1518" y="350"/>
                  </a:lnTo>
                  <a:lnTo>
                    <a:pt x="1524" y="351"/>
                  </a:lnTo>
                  <a:lnTo>
                    <a:pt x="1528" y="350"/>
                  </a:lnTo>
                  <a:lnTo>
                    <a:pt x="1532" y="346"/>
                  </a:lnTo>
                  <a:lnTo>
                    <a:pt x="1542" y="346"/>
                  </a:lnTo>
                  <a:lnTo>
                    <a:pt x="1544" y="346"/>
                  </a:lnTo>
                  <a:lnTo>
                    <a:pt x="1546" y="346"/>
                  </a:lnTo>
                  <a:lnTo>
                    <a:pt x="1547" y="346"/>
                  </a:lnTo>
                  <a:lnTo>
                    <a:pt x="1549" y="351"/>
                  </a:lnTo>
                  <a:lnTo>
                    <a:pt x="1550" y="361"/>
                  </a:lnTo>
                  <a:lnTo>
                    <a:pt x="1553" y="366"/>
                  </a:lnTo>
                  <a:lnTo>
                    <a:pt x="1556" y="369"/>
                  </a:lnTo>
                  <a:lnTo>
                    <a:pt x="1549" y="370"/>
                  </a:lnTo>
                  <a:lnTo>
                    <a:pt x="1546" y="370"/>
                  </a:lnTo>
                  <a:lnTo>
                    <a:pt x="1544" y="373"/>
                  </a:lnTo>
                  <a:lnTo>
                    <a:pt x="1549" y="370"/>
                  </a:lnTo>
                  <a:lnTo>
                    <a:pt x="1554" y="370"/>
                  </a:lnTo>
                  <a:lnTo>
                    <a:pt x="1563" y="369"/>
                  </a:lnTo>
                  <a:lnTo>
                    <a:pt x="1572" y="370"/>
                  </a:lnTo>
                  <a:lnTo>
                    <a:pt x="1582" y="366"/>
                  </a:lnTo>
                  <a:lnTo>
                    <a:pt x="1583" y="365"/>
                  </a:lnTo>
                  <a:lnTo>
                    <a:pt x="1586" y="361"/>
                  </a:lnTo>
                  <a:lnTo>
                    <a:pt x="1588" y="360"/>
                  </a:lnTo>
                  <a:lnTo>
                    <a:pt x="1590" y="360"/>
                  </a:lnTo>
                  <a:lnTo>
                    <a:pt x="1599" y="361"/>
                  </a:lnTo>
                  <a:lnTo>
                    <a:pt x="1604" y="366"/>
                  </a:lnTo>
                  <a:lnTo>
                    <a:pt x="1617" y="360"/>
                  </a:lnTo>
                  <a:lnTo>
                    <a:pt x="1625" y="344"/>
                  </a:lnTo>
                  <a:lnTo>
                    <a:pt x="1629" y="343"/>
                  </a:lnTo>
                  <a:lnTo>
                    <a:pt x="1631" y="337"/>
                  </a:lnTo>
                  <a:lnTo>
                    <a:pt x="1633" y="334"/>
                  </a:lnTo>
                  <a:lnTo>
                    <a:pt x="1638" y="334"/>
                  </a:lnTo>
                  <a:lnTo>
                    <a:pt x="1641" y="338"/>
                  </a:lnTo>
                  <a:lnTo>
                    <a:pt x="1647" y="344"/>
                  </a:lnTo>
                  <a:lnTo>
                    <a:pt x="1657" y="338"/>
                  </a:lnTo>
                  <a:lnTo>
                    <a:pt x="1664" y="337"/>
                  </a:lnTo>
                  <a:lnTo>
                    <a:pt x="1666" y="337"/>
                  </a:lnTo>
                  <a:lnTo>
                    <a:pt x="1668" y="338"/>
                  </a:lnTo>
                  <a:lnTo>
                    <a:pt x="1675" y="338"/>
                  </a:lnTo>
                  <a:lnTo>
                    <a:pt x="1682" y="338"/>
                  </a:lnTo>
                  <a:lnTo>
                    <a:pt x="1700" y="337"/>
                  </a:lnTo>
                  <a:lnTo>
                    <a:pt x="1704" y="338"/>
                  </a:lnTo>
                  <a:lnTo>
                    <a:pt x="1712" y="337"/>
                  </a:lnTo>
                  <a:lnTo>
                    <a:pt x="1716" y="338"/>
                  </a:lnTo>
                  <a:lnTo>
                    <a:pt x="1725" y="338"/>
                  </a:lnTo>
                  <a:lnTo>
                    <a:pt x="1729" y="344"/>
                  </a:lnTo>
                  <a:lnTo>
                    <a:pt x="1737" y="346"/>
                  </a:lnTo>
                  <a:lnTo>
                    <a:pt x="1737" y="350"/>
                  </a:lnTo>
                  <a:lnTo>
                    <a:pt x="1739" y="351"/>
                  </a:lnTo>
                  <a:lnTo>
                    <a:pt x="1738" y="351"/>
                  </a:lnTo>
                  <a:lnTo>
                    <a:pt x="1734" y="361"/>
                  </a:lnTo>
                  <a:lnTo>
                    <a:pt x="1735" y="365"/>
                  </a:lnTo>
                  <a:lnTo>
                    <a:pt x="1735" y="369"/>
                  </a:lnTo>
                  <a:lnTo>
                    <a:pt x="1734" y="370"/>
                  </a:lnTo>
                  <a:lnTo>
                    <a:pt x="1729" y="374"/>
                  </a:lnTo>
                  <a:lnTo>
                    <a:pt x="1729" y="382"/>
                  </a:lnTo>
                  <a:lnTo>
                    <a:pt x="1729" y="383"/>
                  </a:lnTo>
                  <a:lnTo>
                    <a:pt x="1728" y="387"/>
                  </a:lnTo>
                  <a:lnTo>
                    <a:pt x="1729" y="387"/>
                  </a:lnTo>
                  <a:lnTo>
                    <a:pt x="1731" y="391"/>
                  </a:lnTo>
                  <a:lnTo>
                    <a:pt x="1731" y="396"/>
                  </a:lnTo>
                  <a:lnTo>
                    <a:pt x="1734" y="396"/>
                  </a:lnTo>
                  <a:lnTo>
                    <a:pt x="1737" y="400"/>
                  </a:lnTo>
                  <a:lnTo>
                    <a:pt x="1739" y="402"/>
                  </a:lnTo>
                  <a:lnTo>
                    <a:pt x="1743" y="402"/>
                  </a:lnTo>
                  <a:lnTo>
                    <a:pt x="1746" y="400"/>
                  </a:lnTo>
                  <a:lnTo>
                    <a:pt x="1756" y="387"/>
                  </a:lnTo>
                  <a:lnTo>
                    <a:pt x="1756" y="386"/>
                  </a:lnTo>
                  <a:lnTo>
                    <a:pt x="1759" y="383"/>
                  </a:lnTo>
                  <a:lnTo>
                    <a:pt x="1773" y="374"/>
                  </a:lnTo>
                  <a:lnTo>
                    <a:pt x="1777" y="366"/>
                  </a:lnTo>
                  <a:lnTo>
                    <a:pt x="1781" y="357"/>
                  </a:lnTo>
                  <a:lnTo>
                    <a:pt x="1784" y="351"/>
                  </a:lnTo>
                  <a:lnTo>
                    <a:pt x="1785" y="351"/>
                  </a:lnTo>
                  <a:lnTo>
                    <a:pt x="1791" y="351"/>
                  </a:lnTo>
                  <a:lnTo>
                    <a:pt x="1799" y="351"/>
                  </a:lnTo>
                  <a:lnTo>
                    <a:pt x="1802" y="360"/>
                  </a:lnTo>
                  <a:lnTo>
                    <a:pt x="1803" y="361"/>
                  </a:lnTo>
                  <a:lnTo>
                    <a:pt x="1807" y="361"/>
                  </a:lnTo>
                  <a:lnTo>
                    <a:pt x="1812" y="366"/>
                  </a:lnTo>
                  <a:lnTo>
                    <a:pt x="1813" y="370"/>
                  </a:lnTo>
                  <a:lnTo>
                    <a:pt x="1814" y="370"/>
                  </a:lnTo>
                  <a:lnTo>
                    <a:pt x="1816" y="370"/>
                  </a:lnTo>
                  <a:lnTo>
                    <a:pt x="1818" y="374"/>
                  </a:lnTo>
                  <a:lnTo>
                    <a:pt x="1829" y="379"/>
                  </a:lnTo>
                  <a:lnTo>
                    <a:pt x="1837" y="378"/>
                  </a:lnTo>
                  <a:lnTo>
                    <a:pt x="1846" y="373"/>
                  </a:lnTo>
                  <a:lnTo>
                    <a:pt x="1856" y="370"/>
                  </a:lnTo>
                  <a:lnTo>
                    <a:pt x="1859" y="366"/>
                  </a:lnTo>
                  <a:lnTo>
                    <a:pt x="1867" y="361"/>
                  </a:lnTo>
                  <a:lnTo>
                    <a:pt x="1878" y="356"/>
                  </a:lnTo>
                  <a:lnTo>
                    <a:pt x="1885" y="351"/>
                  </a:lnTo>
                  <a:lnTo>
                    <a:pt x="1895" y="337"/>
                  </a:lnTo>
                  <a:lnTo>
                    <a:pt x="1899" y="333"/>
                  </a:lnTo>
                  <a:lnTo>
                    <a:pt x="1907" y="329"/>
                  </a:lnTo>
                  <a:lnTo>
                    <a:pt x="1917" y="324"/>
                  </a:lnTo>
                  <a:lnTo>
                    <a:pt x="1927" y="320"/>
                  </a:lnTo>
                  <a:lnTo>
                    <a:pt x="1932" y="315"/>
                  </a:lnTo>
                  <a:lnTo>
                    <a:pt x="1935" y="312"/>
                  </a:lnTo>
                  <a:lnTo>
                    <a:pt x="1938" y="312"/>
                  </a:lnTo>
                  <a:lnTo>
                    <a:pt x="1942" y="311"/>
                  </a:lnTo>
                  <a:lnTo>
                    <a:pt x="1944" y="308"/>
                  </a:lnTo>
                  <a:lnTo>
                    <a:pt x="1951" y="298"/>
                  </a:lnTo>
                  <a:lnTo>
                    <a:pt x="1952" y="289"/>
                  </a:lnTo>
                  <a:lnTo>
                    <a:pt x="1953" y="289"/>
                  </a:lnTo>
                  <a:lnTo>
                    <a:pt x="1956" y="289"/>
                  </a:lnTo>
                  <a:lnTo>
                    <a:pt x="1964" y="276"/>
                  </a:lnTo>
                  <a:lnTo>
                    <a:pt x="1966" y="267"/>
                  </a:lnTo>
                  <a:lnTo>
                    <a:pt x="1969" y="257"/>
                  </a:lnTo>
                  <a:lnTo>
                    <a:pt x="1971" y="250"/>
                  </a:lnTo>
                  <a:lnTo>
                    <a:pt x="1969" y="245"/>
                  </a:lnTo>
                  <a:lnTo>
                    <a:pt x="1971" y="244"/>
                  </a:lnTo>
                  <a:lnTo>
                    <a:pt x="1973" y="236"/>
                  </a:lnTo>
                  <a:lnTo>
                    <a:pt x="1978" y="232"/>
                  </a:lnTo>
                  <a:lnTo>
                    <a:pt x="1980" y="232"/>
                  </a:lnTo>
                  <a:lnTo>
                    <a:pt x="1981" y="236"/>
                  </a:lnTo>
                  <a:lnTo>
                    <a:pt x="1985" y="237"/>
                  </a:lnTo>
                  <a:lnTo>
                    <a:pt x="1987" y="237"/>
                  </a:lnTo>
                  <a:lnTo>
                    <a:pt x="1985" y="241"/>
                  </a:lnTo>
                  <a:lnTo>
                    <a:pt x="1988" y="250"/>
                  </a:lnTo>
                  <a:lnTo>
                    <a:pt x="1991" y="250"/>
                  </a:lnTo>
                  <a:lnTo>
                    <a:pt x="1994" y="257"/>
                  </a:lnTo>
                  <a:lnTo>
                    <a:pt x="1998" y="258"/>
                  </a:lnTo>
                  <a:lnTo>
                    <a:pt x="2002" y="258"/>
                  </a:lnTo>
                  <a:lnTo>
                    <a:pt x="2006" y="258"/>
                  </a:lnTo>
                  <a:lnTo>
                    <a:pt x="2013" y="263"/>
                  </a:lnTo>
                  <a:lnTo>
                    <a:pt x="2017" y="262"/>
                  </a:lnTo>
                  <a:lnTo>
                    <a:pt x="2019" y="263"/>
                  </a:lnTo>
                  <a:lnTo>
                    <a:pt x="2022" y="267"/>
                  </a:lnTo>
                  <a:lnTo>
                    <a:pt x="2023" y="267"/>
                  </a:lnTo>
                  <a:lnTo>
                    <a:pt x="2026" y="266"/>
                  </a:lnTo>
                  <a:lnTo>
                    <a:pt x="2027" y="266"/>
                  </a:lnTo>
                  <a:lnTo>
                    <a:pt x="2030" y="267"/>
                  </a:lnTo>
                  <a:lnTo>
                    <a:pt x="2033" y="267"/>
                  </a:lnTo>
                  <a:lnTo>
                    <a:pt x="2034" y="267"/>
                  </a:lnTo>
                  <a:lnTo>
                    <a:pt x="2036" y="263"/>
                  </a:lnTo>
                  <a:lnTo>
                    <a:pt x="2045" y="266"/>
                  </a:lnTo>
                  <a:lnTo>
                    <a:pt x="2047" y="267"/>
                  </a:lnTo>
                  <a:lnTo>
                    <a:pt x="2048" y="273"/>
                  </a:lnTo>
                  <a:lnTo>
                    <a:pt x="2051" y="273"/>
                  </a:lnTo>
                  <a:lnTo>
                    <a:pt x="2056" y="276"/>
                  </a:lnTo>
                  <a:lnTo>
                    <a:pt x="2058" y="276"/>
                  </a:lnTo>
                  <a:lnTo>
                    <a:pt x="2064" y="276"/>
                  </a:lnTo>
                  <a:lnTo>
                    <a:pt x="2067" y="276"/>
                  </a:lnTo>
                  <a:lnTo>
                    <a:pt x="2069" y="276"/>
                  </a:lnTo>
                  <a:lnTo>
                    <a:pt x="2074" y="271"/>
                  </a:lnTo>
                  <a:lnTo>
                    <a:pt x="2078" y="267"/>
                  </a:lnTo>
                  <a:lnTo>
                    <a:pt x="2084" y="267"/>
                  </a:lnTo>
                  <a:lnTo>
                    <a:pt x="2087" y="271"/>
                  </a:lnTo>
                  <a:lnTo>
                    <a:pt x="2088" y="271"/>
                  </a:lnTo>
                  <a:lnTo>
                    <a:pt x="2095" y="267"/>
                  </a:lnTo>
                  <a:lnTo>
                    <a:pt x="2101" y="267"/>
                  </a:lnTo>
                  <a:lnTo>
                    <a:pt x="2103" y="263"/>
                  </a:lnTo>
                  <a:lnTo>
                    <a:pt x="2112" y="258"/>
                  </a:lnTo>
                  <a:lnTo>
                    <a:pt x="2117" y="257"/>
                  </a:lnTo>
                  <a:lnTo>
                    <a:pt x="2119" y="257"/>
                  </a:lnTo>
                  <a:lnTo>
                    <a:pt x="2119" y="258"/>
                  </a:lnTo>
                  <a:lnTo>
                    <a:pt x="2123" y="258"/>
                  </a:lnTo>
                  <a:lnTo>
                    <a:pt x="2124" y="262"/>
                  </a:lnTo>
                  <a:lnTo>
                    <a:pt x="2126" y="262"/>
                  </a:lnTo>
                  <a:lnTo>
                    <a:pt x="2134" y="263"/>
                  </a:lnTo>
                  <a:lnTo>
                    <a:pt x="2145" y="258"/>
                  </a:lnTo>
                  <a:lnTo>
                    <a:pt x="2148" y="263"/>
                  </a:lnTo>
                  <a:lnTo>
                    <a:pt x="2151" y="263"/>
                  </a:lnTo>
                  <a:lnTo>
                    <a:pt x="2155" y="266"/>
                  </a:lnTo>
                  <a:lnTo>
                    <a:pt x="2158" y="266"/>
                  </a:lnTo>
                  <a:lnTo>
                    <a:pt x="2161" y="267"/>
                  </a:lnTo>
                  <a:lnTo>
                    <a:pt x="2167" y="267"/>
                  </a:lnTo>
                  <a:lnTo>
                    <a:pt x="2177" y="276"/>
                  </a:lnTo>
                  <a:lnTo>
                    <a:pt x="2180" y="281"/>
                  </a:lnTo>
                  <a:lnTo>
                    <a:pt x="2181" y="281"/>
                  </a:lnTo>
                  <a:lnTo>
                    <a:pt x="2181" y="284"/>
                  </a:lnTo>
                  <a:lnTo>
                    <a:pt x="2183" y="286"/>
                  </a:lnTo>
                  <a:lnTo>
                    <a:pt x="2197" y="294"/>
                  </a:lnTo>
                  <a:lnTo>
                    <a:pt x="2201" y="294"/>
                  </a:lnTo>
                  <a:lnTo>
                    <a:pt x="2203" y="298"/>
                  </a:lnTo>
                  <a:lnTo>
                    <a:pt x="2205" y="298"/>
                  </a:lnTo>
                  <a:lnTo>
                    <a:pt x="2209" y="294"/>
                  </a:lnTo>
                  <a:lnTo>
                    <a:pt x="2215" y="294"/>
                  </a:lnTo>
                  <a:lnTo>
                    <a:pt x="2220" y="294"/>
                  </a:lnTo>
                  <a:lnTo>
                    <a:pt x="2227" y="294"/>
                  </a:lnTo>
                  <a:lnTo>
                    <a:pt x="2230" y="298"/>
                  </a:lnTo>
                  <a:lnTo>
                    <a:pt x="2231" y="299"/>
                  </a:lnTo>
                  <a:lnTo>
                    <a:pt x="2237" y="301"/>
                  </a:lnTo>
                  <a:lnTo>
                    <a:pt x="2238" y="299"/>
                  </a:lnTo>
                  <a:lnTo>
                    <a:pt x="2245" y="299"/>
                  </a:lnTo>
                  <a:lnTo>
                    <a:pt x="2250" y="298"/>
                  </a:lnTo>
                  <a:lnTo>
                    <a:pt x="2252" y="299"/>
                  </a:lnTo>
                  <a:lnTo>
                    <a:pt x="2257" y="299"/>
                  </a:lnTo>
                  <a:lnTo>
                    <a:pt x="2261" y="301"/>
                  </a:lnTo>
                  <a:lnTo>
                    <a:pt x="2273" y="301"/>
                  </a:lnTo>
                  <a:lnTo>
                    <a:pt x="2282" y="308"/>
                  </a:lnTo>
                  <a:lnTo>
                    <a:pt x="2287" y="308"/>
                  </a:lnTo>
                  <a:lnTo>
                    <a:pt x="2290" y="312"/>
                  </a:lnTo>
                  <a:lnTo>
                    <a:pt x="2296" y="312"/>
                  </a:lnTo>
                  <a:lnTo>
                    <a:pt x="2298" y="312"/>
                  </a:lnTo>
                  <a:lnTo>
                    <a:pt x="2301" y="316"/>
                  </a:lnTo>
                  <a:lnTo>
                    <a:pt x="2308" y="316"/>
                  </a:lnTo>
                  <a:lnTo>
                    <a:pt x="2311" y="316"/>
                  </a:lnTo>
                  <a:lnTo>
                    <a:pt x="2315" y="312"/>
                  </a:lnTo>
                  <a:lnTo>
                    <a:pt x="2321" y="312"/>
                  </a:lnTo>
                  <a:lnTo>
                    <a:pt x="2323" y="311"/>
                  </a:lnTo>
                  <a:lnTo>
                    <a:pt x="2326" y="311"/>
                  </a:lnTo>
                  <a:lnTo>
                    <a:pt x="2327" y="308"/>
                  </a:lnTo>
                  <a:lnTo>
                    <a:pt x="2329" y="308"/>
                  </a:lnTo>
                  <a:lnTo>
                    <a:pt x="2332" y="307"/>
                  </a:lnTo>
                  <a:lnTo>
                    <a:pt x="2337" y="303"/>
                  </a:lnTo>
                  <a:lnTo>
                    <a:pt x="2338" y="301"/>
                  </a:lnTo>
                  <a:lnTo>
                    <a:pt x="2346" y="299"/>
                  </a:lnTo>
                  <a:lnTo>
                    <a:pt x="2347" y="301"/>
                  </a:lnTo>
                  <a:lnTo>
                    <a:pt x="2351" y="299"/>
                  </a:lnTo>
                  <a:lnTo>
                    <a:pt x="2358" y="301"/>
                  </a:lnTo>
                  <a:lnTo>
                    <a:pt x="2362" y="301"/>
                  </a:lnTo>
                  <a:lnTo>
                    <a:pt x="2365" y="301"/>
                  </a:lnTo>
                  <a:lnTo>
                    <a:pt x="2371" y="303"/>
                  </a:lnTo>
                  <a:lnTo>
                    <a:pt x="2373" y="308"/>
                  </a:lnTo>
                  <a:lnTo>
                    <a:pt x="2375" y="315"/>
                  </a:lnTo>
                  <a:lnTo>
                    <a:pt x="2379" y="315"/>
                  </a:lnTo>
                  <a:lnTo>
                    <a:pt x="2380" y="316"/>
                  </a:lnTo>
                  <a:lnTo>
                    <a:pt x="2383" y="320"/>
                  </a:lnTo>
                  <a:lnTo>
                    <a:pt x="2383" y="324"/>
                  </a:lnTo>
                  <a:lnTo>
                    <a:pt x="2385" y="324"/>
                  </a:lnTo>
                  <a:lnTo>
                    <a:pt x="2387" y="325"/>
                  </a:lnTo>
                  <a:lnTo>
                    <a:pt x="2393" y="325"/>
                  </a:lnTo>
                  <a:lnTo>
                    <a:pt x="2396" y="333"/>
                  </a:lnTo>
                  <a:lnTo>
                    <a:pt x="2401" y="337"/>
                  </a:lnTo>
                  <a:lnTo>
                    <a:pt x="2404" y="337"/>
                  </a:lnTo>
                  <a:lnTo>
                    <a:pt x="2405" y="334"/>
                  </a:lnTo>
                  <a:lnTo>
                    <a:pt x="2410" y="334"/>
                  </a:lnTo>
                  <a:lnTo>
                    <a:pt x="2411" y="334"/>
                  </a:lnTo>
                  <a:lnTo>
                    <a:pt x="2415" y="337"/>
                  </a:lnTo>
                  <a:lnTo>
                    <a:pt x="2419" y="337"/>
                  </a:lnTo>
                  <a:lnTo>
                    <a:pt x="2426" y="338"/>
                  </a:lnTo>
                  <a:lnTo>
                    <a:pt x="2429" y="343"/>
                  </a:lnTo>
                  <a:lnTo>
                    <a:pt x="2437" y="346"/>
                  </a:lnTo>
                  <a:lnTo>
                    <a:pt x="2440" y="346"/>
                  </a:lnTo>
                  <a:lnTo>
                    <a:pt x="2446" y="344"/>
                  </a:lnTo>
                  <a:lnTo>
                    <a:pt x="2450" y="344"/>
                  </a:lnTo>
                  <a:lnTo>
                    <a:pt x="2457" y="343"/>
                  </a:lnTo>
                  <a:lnTo>
                    <a:pt x="2462" y="343"/>
                  </a:lnTo>
                  <a:lnTo>
                    <a:pt x="2465" y="338"/>
                  </a:lnTo>
                  <a:lnTo>
                    <a:pt x="2473" y="324"/>
                  </a:lnTo>
                  <a:lnTo>
                    <a:pt x="2475" y="316"/>
                  </a:lnTo>
                  <a:lnTo>
                    <a:pt x="2485" y="308"/>
                  </a:lnTo>
                  <a:lnTo>
                    <a:pt x="2493" y="301"/>
                  </a:lnTo>
                  <a:lnTo>
                    <a:pt x="2503" y="299"/>
                  </a:lnTo>
                  <a:lnTo>
                    <a:pt x="2507" y="299"/>
                  </a:lnTo>
                  <a:lnTo>
                    <a:pt x="2512" y="294"/>
                  </a:lnTo>
                  <a:lnTo>
                    <a:pt x="2517" y="294"/>
                  </a:lnTo>
                  <a:lnTo>
                    <a:pt x="2523" y="294"/>
                  </a:lnTo>
                  <a:lnTo>
                    <a:pt x="2528" y="289"/>
                  </a:lnTo>
                  <a:lnTo>
                    <a:pt x="2531" y="286"/>
                  </a:lnTo>
                  <a:lnTo>
                    <a:pt x="2533" y="286"/>
                  </a:lnTo>
                  <a:lnTo>
                    <a:pt x="2535" y="286"/>
                  </a:lnTo>
                  <a:lnTo>
                    <a:pt x="2536" y="284"/>
                  </a:lnTo>
                  <a:lnTo>
                    <a:pt x="2540" y="286"/>
                  </a:lnTo>
                  <a:lnTo>
                    <a:pt x="2547" y="288"/>
                  </a:lnTo>
                  <a:lnTo>
                    <a:pt x="2550" y="288"/>
                  </a:lnTo>
                  <a:lnTo>
                    <a:pt x="2554" y="281"/>
                  </a:lnTo>
                  <a:lnTo>
                    <a:pt x="2557" y="286"/>
                  </a:lnTo>
                  <a:lnTo>
                    <a:pt x="2561" y="288"/>
                  </a:lnTo>
                  <a:lnTo>
                    <a:pt x="2570" y="288"/>
                  </a:lnTo>
                  <a:lnTo>
                    <a:pt x="2572" y="289"/>
                  </a:lnTo>
                  <a:lnTo>
                    <a:pt x="2578" y="289"/>
                  </a:lnTo>
                  <a:lnTo>
                    <a:pt x="2581" y="294"/>
                  </a:lnTo>
                  <a:lnTo>
                    <a:pt x="2583" y="289"/>
                  </a:lnTo>
                  <a:lnTo>
                    <a:pt x="2586" y="289"/>
                  </a:lnTo>
                  <a:lnTo>
                    <a:pt x="2595" y="294"/>
                  </a:lnTo>
                  <a:lnTo>
                    <a:pt x="2598" y="294"/>
                  </a:lnTo>
                  <a:lnTo>
                    <a:pt x="2600" y="294"/>
                  </a:lnTo>
                  <a:lnTo>
                    <a:pt x="2603" y="294"/>
                  </a:lnTo>
                  <a:lnTo>
                    <a:pt x="2604" y="289"/>
                  </a:lnTo>
                  <a:lnTo>
                    <a:pt x="2610" y="289"/>
                  </a:lnTo>
                  <a:lnTo>
                    <a:pt x="2615" y="286"/>
                  </a:lnTo>
                  <a:lnTo>
                    <a:pt x="2617" y="286"/>
                  </a:lnTo>
                  <a:lnTo>
                    <a:pt x="2621" y="281"/>
                  </a:lnTo>
                  <a:lnTo>
                    <a:pt x="2628" y="281"/>
                  </a:lnTo>
                  <a:lnTo>
                    <a:pt x="2633" y="276"/>
                  </a:lnTo>
                  <a:lnTo>
                    <a:pt x="2639" y="273"/>
                  </a:lnTo>
                  <a:lnTo>
                    <a:pt x="2640" y="267"/>
                  </a:lnTo>
                  <a:lnTo>
                    <a:pt x="2645" y="266"/>
                  </a:lnTo>
                  <a:lnTo>
                    <a:pt x="2647" y="263"/>
                  </a:lnTo>
                  <a:lnTo>
                    <a:pt x="2651" y="258"/>
                  </a:lnTo>
                  <a:lnTo>
                    <a:pt x="2654" y="257"/>
                  </a:lnTo>
                  <a:lnTo>
                    <a:pt x="2657" y="254"/>
                  </a:lnTo>
                  <a:lnTo>
                    <a:pt x="2662" y="254"/>
                  </a:lnTo>
                  <a:lnTo>
                    <a:pt x="2664" y="253"/>
                  </a:lnTo>
                  <a:lnTo>
                    <a:pt x="2671" y="254"/>
                  </a:lnTo>
                  <a:lnTo>
                    <a:pt x="2675" y="250"/>
                  </a:lnTo>
                  <a:lnTo>
                    <a:pt x="2679" y="249"/>
                  </a:lnTo>
                  <a:lnTo>
                    <a:pt x="2683" y="245"/>
                  </a:lnTo>
                  <a:lnTo>
                    <a:pt x="2693" y="245"/>
                  </a:lnTo>
                  <a:lnTo>
                    <a:pt x="2699" y="241"/>
                  </a:lnTo>
                  <a:lnTo>
                    <a:pt x="2703" y="241"/>
                  </a:lnTo>
                  <a:lnTo>
                    <a:pt x="2715" y="237"/>
                  </a:lnTo>
                  <a:lnTo>
                    <a:pt x="2718" y="237"/>
                  </a:lnTo>
                  <a:lnTo>
                    <a:pt x="2725" y="236"/>
                  </a:lnTo>
                  <a:lnTo>
                    <a:pt x="2732" y="232"/>
                  </a:lnTo>
                  <a:lnTo>
                    <a:pt x="2733" y="232"/>
                  </a:lnTo>
                  <a:lnTo>
                    <a:pt x="2737" y="222"/>
                  </a:lnTo>
                  <a:lnTo>
                    <a:pt x="2742" y="221"/>
                  </a:lnTo>
                  <a:lnTo>
                    <a:pt x="2750" y="209"/>
                  </a:lnTo>
                  <a:lnTo>
                    <a:pt x="2754" y="205"/>
                  </a:lnTo>
                  <a:lnTo>
                    <a:pt x="2760" y="200"/>
                  </a:lnTo>
                  <a:lnTo>
                    <a:pt x="2760" y="192"/>
                  </a:lnTo>
                  <a:lnTo>
                    <a:pt x="2763" y="183"/>
                  </a:lnTo>
                  <a:lnTo>
                    <a:pt x="2764" y="174"/>
                  </a:lnTo>
                  <a:lnTo>
                    <a:pt x="2760" y="172"/>
                  </a:lnTo>
                  <a:lnTo>
                    <a:pt x="2756" y="170"/>
                  </a:lnTo>
                  <a:lnTo>
                    <a:pt x="2756" y="164"/>
                  </a:lnTo>
                  <a:lnTo>
                    <a:pt x="2753" y="159"/>
                  </a:lnTo>
                  <a:lnTo>
                    <a:pt x="2757" y="151"/>
                  </a:lnTo>
                  <a:lnTo>
                    <a:pt x="2757" y="143"/>
                  </a:lnTo>
                  <a:lnTo>
                    <a:pt x="2761" y="138"/>
                  </a:lnTo>
                  <a:lnTo>
                    <a:pt x="2761" y="134"/>
                  </a:lnTo>
                  <a:lnTo>
                    <a:pt x="2761" y="133"/>
                  </a:lnTo>
                  <a:lnTo>
                    <a:pt x="2767" y="125"/>
                  </a:lnTo>
                  <a:lnTo>
                    <a:pt x="2768" y="125"/>
                  </a:lnTo>
                  <a:lnTo>
                    <a:pt x="2772" y="125"/>
                  </a:lnTo>
                  <a:lnTo>
                    <a:pt x="2776" y="121"/>
                  </a:lnTo>
                  <a:lnTo>
                    <a:pt x="2778" y="116"/>
                  </a:lnTo>
                  <a:lnTo>
                    <a:pt x="2781" y="112"/>
                  </a:lnTo>
                  <a:lnTo>
                    <a:pt x="2784" y="108"/>
                  </a:lnTo>
                  <a:lnTo>
                    <a:pt x="2785" y="93"/>
                  </a:lnTo>
                  <a:lnTo>
                    <a:pt x="2792" y="89"/>
                  </a:lnTo>
                  <a:lnTo>
                    <a:pt x="2793" y="89"/>
                  </a:lnTo>
                  <a:lnTo>
                    <a:pt x="2795" y="85"/>
                  </a:lnTo>
                  <a:lnTo>
                    <a:pt x="2793" y="79"/>
                  </a:lnTo>
                  <a:lnTo>
                    <a:pt x="2793" y="71"/>
                  </a:lnTo>
                  <a:lnTo>
                    <a:pt x="2795" y="67"/>
                  </a:lnTo>
                  <a:lnTo>
                    <a:pt x="2795" y="62"/>
                  </a:lnTo>
                  <a:lnTo>
                    <a:pt x="2796" y="56"/>
                  </a:lnTo>
                  <a:lnTo>
                    <a:pt x="2796" y="45"/>
                  </a:lnTo>
                  <a:lnTo>
                    <a:pt x="2796" y="41"/>
                  </a:lnTo>
                  <a:lnTo>
                    <a:pt x="2797" y="35"/>
                  </a:lnTo>
                  <a:lnTo>
                    <a:pt x="2803" y="39"/>
                  </a:lnTo>
                  <a:lnTo>
                    <a:pt x="2807" y="35"/>
                  </a:lnTo>
                  <a:lnTo>
                    <a:pt x="2810" y="35"/>
                  </a:lnTo>
                  <a:lnTo>
                    <a:pt x="2818" y="35"/>
                  </a:lnTo>
                  <a:lnTo>
                    <a:pt x="2820" y="35"/>
                  </a:lnTo>
                  <a:lnTo>
                    <a:pt x="2820" y="31"/>
                  </a:lnTo>
                  <a:lnTo>
                    <a:pt x="2822" y="30"/>
                  </a:lnTo>
                  <a:lnTo>
                    <a:pt x="2825" y="30"/>
                  </a:lnTo>
                  <a:lnTo>
                    <a:pt x="2828" y="23"/>
                  </a:lnTo>
                  <a:lnTo>
                    <a:pt x="2828" y="21"/>
                  </a:lnTo>
                  <a:lnTo>
                    <a:pt x="2834" y="18"/>
                  </a:lnTo>
                  <a:lnTo>
                    <a:pt x="2841" y="14"/>
                  </a:lnTo>
                  <a:lnTo>
                    <a:pt x="2849" y="17"/>
                  </a:lnTo>
                  <a:lnTo>
                    <a:pt x="2852" y="14"/>
                  </a:lnTo>
                  <a:lnTo>
                    <a:pt x="2855" y="9"/>
                  </a:lnTo>
                  <a:lnTo>
                    <a:pt x="2859" y="8"/>
                  </a:lnTo>
                  <a:lnTo>
                    <a:pt x="2861" y="5"/>
                  </a:lnTo>
                  <a:lnTo>
                    <a:pt x="2864" y="1"/>
                  </a:lnTo>
                  <a:lnTo>
                    <a:pt x="2867" y="5"/>
                  </a:lnTo>
                  <a:lnTo>
                    <a:pt x="2872" y="0"/>
                  </a:lnTo>
                  <a:lnTo>
                    <a:pt x="2875" y="0"/>
                  </a:lnTo>
                  <a:lnTo>
                    <a:pt x="2878" y="0"/>
                  </a:lnTo>
                  <a:lnTo>
                    <a:pt x="2881" y="0"/>
                  </a:lnTo>
                  <a:lnTo>
                    <a:pt x="2884" y="0"/>
                  </a:lnTo>
                  <a:lnTo>
                    <a:pt x="2888" y="0"/>
                  </a:lnTo>
                  <a:lnTo>
                    <a:pt x="2891" y="0"/>
                  </a:lnTo>
                  <a:lnTo>
                    <a:pt x="2894" y="5"/>
                  </a:lnTo>
                  <a:lnTo>
                    <a:pt x="2900" y="9"/>
                  </a:lnTo>
                  <a:lnTo>
                    <a:pt x="2903" y="9"/>
                  </a:lnTo>
                  <a:lnTo>
                    <a:pt x="2909" y="9"/>
                  </a:lnTo>
                  <a:lnTo>
                    <a:pt x="2910" y="9"/>
                  </a:lnTo>
                  <a:lnTo>
                    <a:pt x="2913" y="9"/>
                  </a:lnTo>
                  <a:lnTo>
                    <a:pt x="2917" y="5"/>
                  </a:lnTo>
                  <a:lnTo>
                    <a:pt x="2922" y="1"/>
                  </a:lnTo>
                  <a:lnTo>
                    <a:pt x="2927" y="1"/>
                  </a:lnTo>
                  <a:lnTo>
                    <a:pt x="2932" y="5"/>
                  </a:lnTo>
                  <a:lnTo>
                    <a:pt x="2939" y="9"/>
                  </a:lnTo>
                  <a:lnTo>
                    <a:pt x="2941" y="9"/>
                  </a:lnTo>
                  <a:lnTo>
                    <a:pt x="2947" y="13"/>
                  </a:lnTo>
                  <a:lnTo>
                    <a:pt x="2949" y="9"/>
                  </a:lnTo>
                  <a:lnTo>
                    <a:pt x="2952" y="9"/>
                  </a:lnTo>
                  <a:lnTo>
                    <a:pt x="2957" y="9"/>
                  </a:lnTo>
                  <a:lnTo>
                    <a:pt x="2960" y="9"/>
                  </a:lnTo>
                  <a:lnTo>
                    <a:pt x="2967" y="9"/>
                  </a:lnTo>
                  <a:lnTo>
                    <a:pt x="2974" y="14"/>
                  </a:lnTo>
                  <a:lnTo>
                    <a:pt x="2980" y="14"/>
                  </a:lnTo>
                  <a:lnTo>
                    <a:pt x="2994" y="9"/>
                  </a:lnTo>
                  <a:lnTo>
                    <a:pt x="2996" y="8"/>
                  </a:lnTo>
                  <a:lnTo>
                    <a:pt x="3007" y="5"/>
                  </a:lnTo>
                  <a:lnTo>
                    <a:pt x="3009" y="1"/>
                  </a:lnTo>
                  <a:lnTo>
                    <a:pt x="3014" y="0"/>
                  </a:lnTo>
                  <a:lnTo>
                    <a:pt x="3022" y="0"/>
                  </a:lnTo>
                  <a:lnTo>
                    <a:pt x="3024" y="0"/>
                  </a:lnTo>
                  <a:lnTo>
                    <a:pt x="3028" y="1"/>
                  </a:lnTo>
                  <a:lnTo>
                    <a:pt x="3031" y="5"/>
                  </a:lnTo>
                  <a:lnTo>
                    <a:pt x="3034" y="14"/>
                  </a:lnTo>
                  <a:lnTo>
                    <a:pt x="3035" y="14"/>
                  </a:lnTo>
                  <a:lnTo>
                    <a:pt x="3041" y="17"/>
                  </a:lnTo>
                  <a:lnTo>
                    <a:pt x="3042" y="18"/>
                  </a:lnTo>
                  <a:lnTo>
                    <a:pt x="3045" y="22"/>
                  </a:lnTo>
                  <a:lnTo>
                    <a:pt x="3052" y="22"/>
                  </a:lnTo>
                  <a:lnTo>
                    <a:pt x="3055" y="18"/>
                  </a:lnTo>
                  <a:lnTo>
                    <a:pt x="3059" y="17"/>
                  </a:lnTo>
                  <a:lnTo>
                    <a:pt x="3063" y="18"/>
                  </a:lnTo>
                  <a:lnTo>
                    <a:pt x="3070" y="17"/>
                  </a:lnTo>
                  <a:lnTo>
                    <a:pt x="3078" y="18"/>
                  </a:lnTo>
                  <a:lnTo>
                    <a:pt x="3082" y="18"/>
                  </a:lnTo>
                  <a:lnTo>
                    <a:pt x="3087" y="14"/>
                  </a:lnTo>
                  <a:lnTo>
                    <a:pt x="3094" y="14"/>
                  </a:lnTo>
                  <a:lnTo>
                    <a:pt x="3095" y="17"/>
                  </a:lnTo>
                  <a:lnTo>
                    <a:pt x="3095" y="18"/>
                  </a:lnTo>
                  <a:lnTo>
                    <a:pt x="3098" y="22"/>
                  </a:lnTo>
                  <a:lnTo>
                    <a:pt x="3099" y="22"/>
                  </a:lnTo>
                  <a:lnTo>
                    <a:pt x="3101" y="22"/>
                  </a:lnTo>
                  <a:lnTo>
                    <a:pt x="3104" y="22"/>
                  </a:lnTo>
                  <a:lnTo>
                    <a:pt x="3105" y="22"/>
                  </a:lnTo>
                  <a:lnTo>
                    <a:pt x="3106" y="22"/>
                  </a:lnTo>
                  <a:lnTo>
                    <a:pt x="3107" y="23"/>
                  </a:lnTo>
                  <a:lnTo>
                    <a:pt x="3110" y="22"/>
                  </a:lnTo>
                  <a:lnTo>
                    <a:pt x="3112" y="28"/>
                  </a:lnTo>
                  <a:lnTo>
                    <a:pt x="3117" y="28"/>
                  </a:lnTo>
                  <a:lnTo>
                    <a:pt x="3123" y="18"/>
                  </a:lnTo>
                  <a:lnTo>
                    <a:pt x="3130" y="22"/>
                  </a:lnTo>
                  <a:lnTo>
                    <a:pt x="3132" y="23"/>
                  </a:lnTo>
                  <a:lnTo>
                    <a:pt x="3135" y="28"/>
                  </a:lnTo>
                  <a:lnTo>
                    <a:pt x="3141" y="22"/>
                  </a:lnTo>
                  <a:lnTo>
                    <a:pt x="3142" y="22"/>
                  </a:lnTo>
                  <a:lnTo>
                    <a:pt x="3146" y="23"/>
                  </a:lnTo>
                  <a:lnTo>
                    <a:pt x="3146" y="30"/>
                  </a:lnTo>
                  <a:lnTo>
                    <a:pt x="3151" y="31"/>
                  </a:lnTo>
                  <a:lnTo>
                    <a:pt x="3149" y="35"/>
                  </a:lnTo>
                  <a:lnTo>
                    <a:pt x="3152" y="41"/>
                  </a:lnTo>
                  <a:lnTo>
                    <a:pt x="3152" y="48"/>
                  </a:lnTo>
                  <a:lnTo>
                    <a:pt x="3152" y="53"/>
                  </a:lnTo>
                  <a:lnTo>
                    <a:pt x="3152" y="58"/>
                  </a:lnTo>
                  <a:lnTo>
                    <a:pt x="3157" y="63"/>
                  </a:lnTo>
                  <a:lnTo>
                    <a:pt x="3162" y="62"/>
                  </a:lnTo>
                  <a:lnTo>
                    <a:pt x="3163" y="58"/>
                  </a:lnTo>
                  <a:lnTo>
                    <a:pt x="3170" y="58"/>
                  </a:lnTo>
                  <a:lnTo>
                    <a:pt x="3176" y="56"/>
                  </a:lnTo>
                  <a:lnTo>
                    <a:pt x="3187" y="56"/>
                  </a:lnTo>
                  <a:lnTo>
                    <a:pt x="3191" y="58"/>
                  </a:lnTo>
                  <a:lnTo>
                    <a:pt x="3196" y="62"/>
                  </a:lnTo>
                  <a:lnTo>
                    <a:pt x="3198" y="63"/>
                  </a:lnTo>
                  <a:lnTo>
                    <a:pt x="3201" y="67"/>
                  </a:lnTo>
                  <a:lnTo>
                    <a:pt x="3205" y="67"/>
                  </a:lnTo>
                  <a:lnTo>
                    <a:pt x="3206" y="71"/>
                  </a:lnTo>
                  <a:lnTo>
                    <a:pt x="3207" y="71"/>
                  </a:lnTo>
                  <a:lnTo>
                    <a:pt x="3207" y="76"/>
                  </a:lnTo>
                  <a:lnTo>
                    <a:pt x="3221" y="92"/>
                  </a:lnTo>
                  <a:lnTo>
                    <a:pt x="3227" y="93"/>
                  </a:lnTo>
                  <a:lnTo>
                    <a:pt x="3229" y="97"/>
                  </a:lnTo>
                  <a:lnTo>
                    <a:pt x="3229" y="101"/>
                  </a:lnTo>
                  <a:lnTo>
                    <a:pt x="3232" y="103"/>
                  </a:lnTo>
                  <a:lnTo>
                    <a:pt x="3238" y="103"/>
                  </a:lnTo>
                  <a:lnTo>
                    <a:pt x="3246" y="103"/>
                  </a:lnTo>
                  <a:lnTo>
                    <a:pt x="3251" y="107"/>
                  </a:lnTo>
                  <a:lnTo>
                    <a:pt x="3258" y="108"/>
                  </a:lnTo>
                  <a:lnTo>
                    <a:pt x="3262" y="108"/>
                  </a:lnTo>
                  <a:lnTo>
                    <a:pt x="3266" y="107"/>
                  </a:lnTo>
                  <a:lnTo>
                    <a:pt x="3271" y="108"/>
                  </a:lnTo>
                  <a:lnTo>
                    <a:pt x="3274" y="108"/>
                  </a:lnTo>
                  <a:lnTo>
                    <a:pt x="3276" y="112"/>
                  </a:lnTo>
                  <a:lnTo>
                    <a:pt x="3276" y="116"/>
                  </a:lnTo>
                  <a:lnTo>
                    <a:pt x="3279" y="120"/>
                  </a:lnTo>
                  <a:lnTo>
                    <a:pt x="3288" y="125"/>
                  </a:lnTo>
                  <a:lnTo>
                    <a:pt x="3291" y="129"/>
                  </a:lnTo>
                  <a:lnTo>
                    <a:pt x="3294" y="129"/>
                  </a:lnTo>
                  <a:lnTo>
                    <a:pt x="3296" y="133"/>
                  </a:lnTo>
                  <a:lnTo>
                    <a:pt x="3299" y="129"/>
                  </a:lnTo>
                  <a:lnTo>
                    <a:pt x="3301" y="129"/>
                  </a:lnTo>
                  <a:lnTo>
                    <a:pt x="3306" y="129"/>
                  </a:lnTo>
                  <a:lnTo>
                    <a:pt x="3308" y="129"/>
                  </a:lnTo>
                  <a:lnTo>
                    <a:pt x="3313" y="129"/>
                  </a:lnTo>
                  <a:lnTo>
                    <a:pt x="3320" y="133"/>
                  </a:lnTo>
                  <a:lnTo>
                    <a:pt x="3319" y="137"/>
                  </a:lnTo>
                  <a:lnTo>
                    <a:pt x="3312" y="14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pt-PT" sz="1200">
                <a:solidFill>
                  <a:srgbClr val="FFFFFF"/>
                </a:solidFill>
              </a:endParaRPr>
            </a:p>
          </p:txBody>
        </p:sp>
        <p:sp>
          <p:nvSpPr>
            <p:cNvPr id="310" name="Freeform 309"/>
            <p:cNvSpPr>
              <a:spLocks noEditPoints="1"/>
            </p:cNvSpPr>
            <p:nvPr/>
          </p:nvSpPr>
          <p:spPr bwMode="auto">
            <a:xfrm>
              <a:off x="8409384" y="1693243"/>
              <a:ext cx="445380" cy="800186"/>
            </a:xfrm>
            <a:custGeom>
              <a:avLst/>
              <a:gdLst>
                <a:gd name="T0" fmla="*/ 2047 w 2234"/>
                <a:gd name="T1" fmla="*/ 258 h 2965"/>
                <a:gd name="T2" fmla="*/ 2054 w 2234"/>
                <a:gd name="T3" fmla="*/ 382 h 2965"/>
                <a:gd name="T4" fmla="*/ 2068 w 2234"/>
                <a:gd name="T5" fmla="*/ 430 h 2965"/>
                <a:gd name="T6" fmla="*/ 1997 w 2234"/>
                <a:gd name="T7" fmla="*/ 640 h 2965"/>
                <a:gd name="T8" fmla="*/ 1976 w 2234"/>
                <a:gd name="T9" fmla="*/ 711 h 2965"/>
                <a:gd name="T10" fmla="*/ 2024 w 2234"/>
                <a:gd name="T11" fmla="*/ 800 h 2965"/>
                <a:gd name="T12" fmla="*/ 2012 w 2234"/>
                <a:gd name="T13" fmla="*/ 943 h 2965"/>
                <a:gd name="T14" fmla="*/ 2030 w 2234"/>
                <a:gd name="T15" fmla="*/ 1058 h 2965"/>
                <a:gd name="T16" fmla="*/ 2064 w 2234"/>
                <a:gd name="T17" fmla="*/ 1250 h 2965"/>
                <a:gd name="T18" fmla="*/ 2035 w 2234"/>
                <a:gd name="T19" fmla="*/ 1428 h 2965"/>
                <a:gd name="T20" fmla="*/ 2054 w 2234"/>
                <a:gd name="T21" fmla="*/ 1504 h 2965"/>
                <a:gd name="T22" fmla="*/ 2079 w 2234"/>
                <a:gd name="T23" fmla="*/ 1539 h 2965"/>
                <a:gd name="T24" fmla="*/ 2054 w 2234"/>
                <a:gd name="T25" fmla="*/ 1601 h 2965"/>
                <a:gd name="T26" fmla="*/ 2043 w 2234"/>
                <a:gd name="T27" fmla="*/ 1647 h 2965"/>
                <a:gd name="T28" fmla="*/ 2107 w 2234"/>
                <a:gd name="T29" fmla="*/ 1700 h 2965"/>
                <a:gd name="T30" fmla="*/ 2121 w 2234"/>
                <a:gd name="T31" fmla="*/ 1793 h 2965"/>
                <a:gd name="T32" fmla="*/ 2146 w 2234"/>
                <a:gd name="T33" fmla="*/ 1832 h 2965"/>
                <a:gd name="T34" fmla="*/ 2100 w 2234"/>
                <a:gd name="T35" fmla="*/ 1898 h 2965"/>
                <a:gd name="T36" fmla="*/ 2008 w 2234"/>
                <a:gd name="T37" fmla="*/ 1953 h 2965"/>
                <a:gd name="T38" fmla="*/ 2007 w 2234"/>
                <a:gd name="T39" fmla="*/ 2033 h 2965"/>
                <a:gd name="T40" fmla="*/ 2069 w 2234"/>
                <a:gd name="T41" fmla="*/ 2030 h 2965"/>
                <a:gd name="T42" fmla="*/ 2105 w 2234"/>
                <a:gd name="T43" fmla="*/ 2211 h 2965"/>
                <a:gd name="T44" fmla="*/ 2022 w 2234"/>
                <a:gd name="T45" fmla="*/ 2435 h 2965"/>
                <a:gd name="T46" fmla="*/ 1791 w 2234"/>
                <a:gd name="T47" fmla="*/ 2402 h 2965"/>
                <a:gd name="T48" fmla="*/ 1549 w 2234"/>
                <a:gd name="T49" fmla="*/ 2568 h 2965"/>
                <a:gd name="T50" fmla="*/ 1323 w 2234"/>
                <a:gd name="T51" fmla="*/ 2630 h 2965"/>
                <a:gd name="T52" fmla="*/ 1147 w 2234"/>
                <a:gd name="T53" fmla="*/ 2725 h 2965"/>
                <a:gd name="T54" fmla="*/ 923 w 2234"/>
                <a:gd name="T55" fmla="*/ 2809 h 2965"/>
                <a:gd name="T56" fmla="*/ 622 w 2234"/>
                <a:gd name="T57" fmla="*/ 2959 h 2965"/>
                <a:gd name="T58" fmla="*/ 356 w 2234"/>
                <a:gd name="T59" fmla="*/ 2920 h 2965"/>
                <a:gd name="T60" fmla="*/ 259 w 2234"/>
                <a:gd name="T61" fmla="*/ 2780 h 2965"/>
                <a:gd name="T62" fmla="*/ 180 w 2234"/>
                <a:gd name="T63" fmla="*/ 2629 h 2965"/>
                <a:gd name="T64" fmla="*/ 115 w 2234"/>
                <a:gd name="T65" fmla="*/ 2332 h 2965"/>
                <a:gd name="T66" fmla="*/ 202 w 2234"/>
                <a:gd name="T67" fmla="*/ 2231 h 2965"/>
                <a:gd name="T68" fmla="*/ 209 w 2234"/>
                <a:gd name="T69" fmla="*/ 2121 h 2965"/>
                <a:gd name="T70" fmla="*/ 37 w 2234"/>
                <a:gd name="T71" fmla="*/ 2025 h 2965"/>
                <a:gd name="T72" fmla="*/ 84 w 2234"/>
                <a:gd name="T73" fmla="*/ 1834 h 2965"/>
                <a:gd name="T74" fmla="*/ 88 w 2234"/>
                <a:gd name="T75" fmla="*/ 1676 h 2965"/>
                <a:gd name="T76" fmla="*/ 182 w 2234"/>
                <a:gd name="T77" fmla="*/ 1521 h 2965"/>
                <a:gd name="T78" fmla="*/ 323 w 2234"/>
                <a:gd name="T79" fmla="*/ 1321 h 2965"/>
                <a:gd name="T80" fmla="*/ 378 w 2234"/>
                <a:gd name="T81" fmla="*/ 955 h 2965"/>
                <a:gd name="T82" fmla="*/ 540 w 2234"/>
                <a:gd name="T83" fmla="*/ 672 h 2965"/>
                <a:gd name="T84" fmla="*/ 753 w 2234"/>
                <a:gd name="T85" fmla="*/ 573 h 2965"/>
                <a:gd name="T86" fmla="*/ 914 w 2234"/>
                <a:gd name="T87" fmla="*/ 560 h 2965"/>
                <a:gd name="T88" fmla="*/ 1120 w 2234"/>
                <a:gd name="T89" fmla="*/ 520 h 2965"/>
                <a:gd name="T90" fmla="*/ 1351 w 2234"/>
                <a:gd name="T91" fmla="*/ 391 h 2965"/>
                <a:gd name="T92" fmla="*/ 1501 w 2234"/>
                <a:gd name="T93" fmla="*/ 346 h 2965"/>
                <a:gd name="T94" fmla="*/ 1727 w 2234"/>
                <a:gd name="T95" fmla="*/ 216 h 2965"/>
                <a:gd name="T96" fmla="*/ 1930 w 2234"/>
                <a:gd name="T97" fmla="*/ 83 h 2965"/>
                <a:gd name="T98" fmla="*/ 2065 w 2234"/>
                <a:gd name="T99" fmla="*/ 15 h 2965"/>
                <a:gd name="T100" fmla="*/ 2040 w 2234"/>
                <a:gd name="T101" fmla="*/ 65 h 2965"/>
                <a:gd name="T102" fmla="*/ 2172 w 2234"/>
                <a:gd name="T103" fmla="*/ 172 h 2965"/>
                <a:gd name="T104" fmla="*/ 2115 w 2234"/>
                <a:gd name="T105" fmla="*/ 1527 h 2965"/>
                <a:gd name="T106" fmla="*/ 2140 w 2234"/>
                <a:gd name="T107" fmla="*/ 1486 h 2965"/>
                <a:gd name="T108" fmla="*/ 2132 w 2234"/>
                <a:gd name="T109" fmla="*/ 1556 h 2965"/>
                <a:gd name="T110" fmla="*/ 2171 w 2234"/>
                <a:gd name="T111" fmla="*/ 453 h 2965"/>
                <a:gd name="T112" fmla="*/ 2193 w 2234"/>
                <a:gd name="T113" fmla="*/ 306 h 2965"/>
                <a:gd name="T114" fmla="*/ 2199 w 2234"/>
                <a:gd name="T115" fmla="*/ 560 h 2965"/>
                <a:gd name="T116" fmla="*/ 2058 w 2234"/>
                <a:gd name="T117" fmla="*/ 79 h 2965"/>
                <a:gd name="T118" fmla="*/ 2142 w 2234"/>
                <a:gd name="T119" fmla="*/ 1705 h 2965"/>
                <a:gd name="T120" fmla="*/ 2164 w 2234"/>
                <a:gd name="T121" fmla="*/ 355 h 2965"/>
                <a:gd name="T122" fmla="*/ 2050 w 2234"/>
                <a:gd name="T123" fmla="*/ 2065 h 2965"/>
                <a:gd name="T124" fmla="*/ 2052 w 2234"/>
                <a:gd name="T125" fmla="*/ 1529 h 296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34"/>
                <a:gd name="T190" fmla="*/ 0 h 2965"/>
                <a:gd name="T191" fmla="*/ 2234 w 2234"/>
                <a:gd name="T192" fmla="*/ 2965 h 296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34" h="2965">
                  <a:moveTo>
                    <a:pt x="2165" y="185"/>
                  </a:moveTo>
                  <a:lnTo>
                    <a:pt x="2162" y="185"/>
                  </a:lnTo>
                  <a:lnTo>
                    <a:pt x="2159" y="181"/>
                  </a:lnTo>
                  <a:lnTo>
                    <a:pt x="2153" y="180"/>
                  </a:lnTo>
                  <a:lnTo>
                    <a:pt x="2137" y="177"/>
                  </a:lnTo>
                  <a:lnTo>
                    <a:pt x="2132" y="177"/>
                  </a:lnTo>
                  <a:lnTo>
                    <a:pt x="2128" y="172"/>
                  </a:lnTo>
                  <a:lnTo>
                    <a:pt x="2124" y="172"/>
                  </a:lnTo>
                  <a:lnTo>
                    <a:pt x="2111" y="177"/>
                  </a:lnTo>
                  <a:lnTo>
                    <a:pt x="2101" y="185"/>
                  </a:lnTo>
                  <a:lnTo>
                    <a:pt x="2069" y="208"/>
                  </a:lnTo>
                  <a:lnTo>
                    <a:pt x="2065" y="208"/>
                  </a:lnTo>
                  <a:lnTo>
                    <a:pt x="2064" y="212"/>
                  </a:lnTo>
                  <a:lnTo>
                    <a:pt x="2064" y="208"/>
                  </a:lnTo>
                  <a:lnTo>
                    <a:pt x="2058" y="208"/>
                  </a:lnTo>
                  <a:lnTo>
                    <a:pt x="2061" y="212"/>
                  </a:lnTo>
                  <a:lnTo>
                    <a:pt x="2060" y="208"/>
                  </a:lnTo>
                  <a:lnTo>
                    <a:pt x="2060" y="212"/>
                  </a:lnTo>
                  <a:lnTo>
                    <a:pt x="2058" y="212"/>
                  </a:lnTo>
                  <a:lnTo>
                    <a:pt x="2058" y="213"/>
                  </a:lnTo>
                  <a:lnTo>
                    <a:pt x="2057" y="213"/>
                  </a:lnTo>
                  <a:lnTo>
                    <a:pt x="2055" y="208"/>
                  </a:lnTo>
                  <a:lnTo>
                    <a:pt x="2055" y="204"/>
                  </a:lnTo>
                  <a:lnTo>
                    <a:pt x="2057" y="208"/>
                  </a:lnTo>
                  <a:lnTo>
                    <a:pt x="2064" y="200"/>
                  </a:lnTo>
                  <a:lnTo>
                    <a:pt x="2060" y="200"/>
                  </a:lnTo>
                  <a:lnTo>
                    <a:pt x="2054" y="204"/>
                  </a:lnTo>
                  <a:lnTo>
                    <a:pt x="2054" y="208"/>
                  </a:lnTo>
                  <a:lnTo>
                    <a:pt x="2047" y="225"/>
                  </a:lnTo>
                  <a:lnTo>
                    <a:pt x="2047" y="230"/>
                  </a:lnTo>
                  <a:lnTo>
                    <a:pt x="2049" y="236"/>
                  </a:lnTo>
                  <a:lnTo>
                    <a:pt x="2047" y="236"/>
                  </a:lnTo>
                  <a:lnTo>
                    <a:pt x="2046" y="239"/>
                  </a:lnTo>
                  <a:lnTo>
                    <a:pt x="2050" y="253"/>
                  </a:lnTo>
                  <a:lnTo>
                    <a:pt x="2051" y="247"/>
                  </a:lnTo>
                  <a:lnTo>
                    <a:pt x="2051" y="253"/>
                  </a:lnTo>
                  <a:lnTo>
                    <a:pt x="2043" y="258"/>
                  </a:lnTo>
                  <a:lnTo>
                    <a:pt x="2044" y="261"/>
                  </a:lnTo>
                  <a:lnTo>
                    <a:pt x="2047" y="262"/>
                  </a:lnTo>
                  <a:lnTo>
                    <a:pt x="2047" y="258"/>
                  </a:lnTo>
                  <a:lnTo>
                    <a:pt x="2051" y="258"/>
                  </a:lnTo>
                  <a:lnTo>
                    <a:pt x="2052" y="253"/>
                  </a:lnTo>
                  <a:lnTo>
                    <a:pt x="2054" y="249"/>
                  </a:lnTo>
                  <a:lnTo>
                    <a:pt x="2051" y="239"/>
                  </a:lnTo>
                  <a:lnTo>
                    <a:pt x="2054" y="239"/>
                  </a:lnTo>
                  <a:lnTo>
                    <a:pt x="2058" y="239"/>
                  </a:lnTo>
                  <a:lnTo>
                    <a:pt x="2080" y="253"/>
                  </a:lnTo>
                  <a:lnTo>
                    <a:pt x="2117" y="275"/>
                  </a:lnTo>
                  <a:lnTo>
                    <a:pt x="2129" y="279"/>
                  </a:lnTo>
                  <a:lnTo>
                    <a:pt x="2146" y="283"/>
                  </a:lnTo>
                  <a:lnTo>
                    <a:pt x="2151" y="283"/>
                  </a:lnTo>
                  <a:lnTo>
                    <a:pt x="2154" y="284"/>
                  </a:lnTo>
                  <a:lnTo>
                    <a:pt x="2154" y="288"/>
                  </a:lnTo>
                  <a:lnTo>
                    <a:pt x="2142" y="296"/>
                  </a:lnTo>
                  <a:lnTo>
                    <a:pt x="2139" y="297"/>
                  </a:lnTo>
                  <a:lnTo>
                    <a:pt x="2142" y="297"/>
                  </a:lnTo>
                  <a:lnTo>
                    <a:pt x="2143" y="297"/>
                  </a:lnTo>
                  <a:lnTo>
                    <a:pt x="2143" y="301"/>
                  </a:lnTo>
                  <a:lnTo>
                    <a:pt x="2145" y="301"/>
                  </a:lnTo>
                  <a:lnTo>
                    <a:pt x="2145" y="297"/>
                  </a:lnTo>
                  <a:lnTo>
                    <a:pt x="2147" y="297"/>
                  </a:lnTo>
                  <a:lnTo>
                    <a:pt x="2149" y="293"/>
                  </a:lnTo>
                  <a:lnTo>
                    <a:pt x="2149" y="297"/>
                  </a:lnTo>
                  <a:lnTo>
                    <a:pt x="2132" y="314"/>
                  </a:lnTo>
                  <a:lnTo>
                    <a:pt x="2096" y="331"/>
                  </a:lnTo>
                  <a:lnTo>
                    <a:pt x="2072" y="350"/>
                  </a:lnTo>
                  <a:lnTo>
                    <a:pt x="2068" y="355"/>
                  </a:lnTo>
                  <a:lnTo>
                    <a:pt x="2068" y="359"/>
                  </a:lnTo>
                  <a:lnTo>
                    <a:pt x="2065" y="359"/>
                  </a:lnTo>
                  <a:lnTo>
                    <a:pt x="2066" y="363"/>
                  </a:lnTo>
                  <a:lnTo>
                    <a:pt x="2065" y="365"/>
                  </a:lnTo>
                  <a:lnTo>
                    <a:pt x="2064" y="363"/>
                  </a:lnTo>
                  <a:lnTo>
                    <a:pt x="2062" y="363"/>
                  </a:lnTo>
                  <a:lnTo>
                    <a:pt x="2061" y="367"/>
                  </a:lnTo>
                  <a:lnTo>
                    <a:pt x="2062" y="367"/>
                  </a:lnTo>
                  <a:lnTo>
                    <a:pt x="2055" y="373"/>
                  </a:lnTo>
                  <a:lnTo>
                    <a:pt x="2055" y="378"/>
                  </a:lnTo>
                  <a:lnTo>
                    <a:pt x="2057" y="380"/>
                  </a:lnTo>
                  <a:lnTo>
                    <a:pt x="2055" y="380"/>
                  </a:lnTo>
                  <a:lnTo>
                    <a:pt x="2054" y="382"/>
                  </a:lnTo>
                  <a:lnTo>
                    <a:pt x="2057" y="382"/>
                  </a:lnTo>
                  <a:lnTo>
                    <a:pt x="2058" y="382"/>
                  </a:lnTo>
                  <a:lnTo>
                    <a:pt x="2055" y="382"/>
                  </a:lnTo>
                  <a:lnTo>
                    <a:pt x="2057" y="387"/>
                  </a:lnTo>
                  <a:lnTo>
                    <a:pt x="2052" y="386"/>
                  </a:lnTo>
                  <a:lnTo>
                    <a:pt x="2052" y="387"/>
                  </a:lnTo>
                  <a:lnTo>
                    <a:pt x="2055" y="390"/>
                  </a:lnTo>
                  <a:lnTo>
                    <a:pt x="2054" y="391"/>
                  </a:lnTo>
                  <a:lnTo>
                    <a:pt x="2051" y="390"/>
                  </a:lnTo>
                  <a:lnTo>
                    <a:pt x="2051" y="395"/>
                  </a:lnTo>
                  <a:lnTo>
                    <a:pt x="2052" y="395"/>
                  </a:lnTo>
                  <a:lnTo>
                    <a:pt x="2052" y="391"/>
                  </a:lnTo>
                  <a:lnTo>
                    <a:pt x="2055" y="404"/>
                  </a:lnTo>
                  <a:lnTo>
                    <a:pt x="2058" y="404"/>
                  </a:lnTo>
                  <a:lnTo>
                    <a:pt x="2055" y="404"/>
                  </a:lnTo>
                  <a:lnTo>
                    <a:pt x="2054" y="408"/>
                  </a:lnTo>
                  <a:lnTo>
                    <a:pt x="2052" y="412"/>
                  </a:lnTo>
                  <a:lnTo>
                    <a:pt x="2050" y="412"/>
                  </a:lnTo>
                  <a:lnTo>
                    <a:pt x="2050" y="408"/>
                  </a:lnTo>
                  <a:lnTo>
                    <a:pt x="2054" y="404"/>
                  </a:lnTo>
                  <a:lnTo>
                    <a:pt x="2051" y="400"/>
                  </a:lnTo>
                  <a:lnTo>
                    <a:pt x="2051" y="404"/>
                  </a:lnTo>
                  <a:lnTo>
                    <a:pt x="2046" y="408"/>
                  </a:lnTo>
                  <a:lnTo>
                    <a:pt x="2044" y="423"/>
                  </a:lnTo>
                  <a:lnTo>
                    <a:pt x="2049" y="425"/>
                  </a:lnTo>
                  <a:lnTo>
                    <a:pt x="2055" y="421"/>
                  </a:lnTo>
                  <a:lnTo>
                    <a:pt x="2060" y="423"/>
                  </a:lnTo>
                  <a:lnTo>
                    <a:pt x="2061" y="421"/>
                  </a:lnTo>
                  <a:lnTo>
                    <a:pt x="2061" y="423"/>
                  </a:lnTo>
                  <a:lnTo>
                    <a:pt x="2060" y="427"/>
                  </a:lnTo>
                  <a:lnTo>
                    <a:pt x="2061" y="430"/>
                  </a:lnTo>
                  <a:lnTo>
                    <a:pt x="2065" y="438"/>
                  </a:lnTo>
                  <a:lnTo>
                    <a:pt x="2065" y="440"/>
                  </a:lnTo>
                  <a:lnTo>
                    <a:pt x="2066" y="440"/>
                  </a:lnTo>
                  <a:lnTo>
                    <a:pt x="2066" y="438"/>
                  </a:lnTo>
                  <a:lnTo>
                    <a:pt x="2066" y="436"/>
                  </a:lnTo>
                  <a:lnTo>
                    <a:pt x="2064" y="436"/>
                  </a:lnTo>
                  <a:lnTo>
                    <a:pt x="2064" y="427"/>
                  </a:lnTo>
                  <a:lnTo>
                    <a:pt x="2065" y="430"/>
                  </a:lnTo>
                  <a:lnTo>
                    <a:pt x="2068" y="430"/>
                  </a:lnTo>
                  <a:lnTo>
                    <a:pt x="2071" y="436"/>
                  </a:lnTo>
                  <a:lnTo>
                    <a:pt x="2078" y="436"/>
                  </a:lnTo>
                  <a:lnTo>
                    <a:pt x="2079" y="436"/>
                  </a:lnTo>
                  <a:lnTo>
                    <a:pt x="2076" y="435"/>
                  </a:lnTo>
                  <a:lnTo>
                    <a:pt x="2075" y="436"/>
                  </a:lnTo>
                  <a:lnTo>
                    <a:pt x="2074" y="435"/>
                  </a:lnTo>
                  <a:lnTo>
                    <a:pt x="2078" y="435"/>
                  </a:lnTo>
                  <a:lnTo>
                    <a:pt x="2086" y="438"/>
                  </a:lnTo>
                  <a:lnTo>
                    <a:pt x="2089" y="440"/>
                  </a:lnTo>
                  <a:lnTo>
                    <a:pt x="2091" y="440"/>
                  </a:lnTo>
                  <a:lnTo>
                    <a:pt x="2112" y="443"/>
                  </a:lnTo>
                  <a:lnTo>
                    <a:pt x="2112" y="449"/>
                  </a:lnTo>
                  <a:lnTo>
                    <a:pt x="2110" y="449"/>
                  </a:lnTo>
                  <a:lnTo>
                    <a:pt x="2111" y="457"/>
                  </a:lnTo>
                  <a:lnTo>
                    <a:pt x="2107" y="471"/>
                  </a:lnTo>
                  <a:lnTo>
                    <a:pt x="2108" y="471"/>
                  </a:lnTo>
                  <a:lnTo>
                    <a:pt x="2099" y="487"/>
                  </a:lnTo>
                  <a:lnTo>
                    <a:pt x="2085" y="502"/>
                  </a:lnTo>
                  <a:lnTo>
                    <a:pt x="2082" y="510"/>
                  </a:lnTo>
                  <a:lnTo>
                    <a:pt x="2061" y="529"/>
                  </a:lnTo>
                  <a:lnTo>
                    <a:pt x="2061" y="533"/>
                  </a:lnTo>
                  <a:lnTo>
                    <a:pt x="2054" y="537"/>
                  </a:lnTo>
                  <a:lnTo>
                    <a:pt x="2052" y="542"/>
                  </a:lnTo>
                  <a:lnTo>
                    <a:pt x="2051" y="552"/>
                  </a:lnTo>
                  <a:lnTo>
                    <a:pt x="2051" y="560"/>
                  </a:lnTo>
                  <a:lnTo>
                    <a:pt x="2054" y="567"/>
                  </a:lnTo>
                  <a:lnTo>
                    <a:pt x="2054" y="569"/>
                  </a:lnTo>
                  <a:lnTo>
                    <a:pt x="2061" y="573"/>
                  </a:lnTo>
                  <a:lnTo>
                    <a:pt x="2064" y="573"/>
                  </a:lnTo>
                  <a:lnTo>
                    <a:pt x="2066" y="578"/>
                  </a:lnTo>
                  <a:lnTo>
                    <a:pt x="2066" y="581"/>
                  </a:lnTo>
                  <a:lnTo>
                    <a:pt x="2050" y="587"/>
                  </a:lnTo>
                  <a:lnTo>
                    <a:pt x="2016" y="609"/>
                  </a:lnTo>
                  <a:lnTo>
                    <a:pt x="2008" y="609"/>
                  </a:lnTo>
                  <a:lnTo>
                    <a:pt x="2007" y="609"/>
                  </a:lnTo>
                  <a:lnTo>
                    <a:pt x="2005" y="614"/>
                  </a:lnTo>
                  <a:lnTo>
                    <a:pt x="2000" y="627"/>
                  </a:lnTo>
                  <a:lnTo>
                    <a:pt x="2000" y="636"/>
                  </a:lnTo>
                  <a:lnTo>
                    <a:pt x="1997" y="639"/>
                  </a:lnTo>
                  <a:lnTo>
                    <a:pt x="1997" y="640"/>
                  </a:lnTo>
                  <a:lnTo>
                    <a:pt x="1999" y="640"/>
                  </a:lnTo>
                  <a:lnTo>
                    <a:pt x="1997" y="644"/>
                  </a:lnTo>
                  <a:lnTo>
                    <a:pt x="1999" y="645"/>
                  </a:lnTo>
                  <a:lnTo>
                    <a:pt x="1997" y="645"/>
                  </a:lnTo>
                  <a:lnTo>
                    <a:pt x="1980" y="672"/>
                  </a:lnTo>
                  <a:lnTo>
                    <a:pt x="1962" y="689"/>
                  </a:lnTo>
                  <a:lnTo>
                    <a:pt x="1960" y="685"/>
                  </a:lnTo>
                  <a:lnTo>
                    <a:pt x="1960" y="681"/>
                  </a:lnTo>
                  <a:lnTo>
                    <a:pt x="1958" y="676"/>
                  </a:lnTo>
                  <a:lnTo>
                    <a:pt x="1957" y="676"/>
                  </a:lnTo>
                  <a:lnTo>
                    <a:pt x="1954" y="685"/>
                  </a:lnTo>
                  <a:lnTo>
                    <a:pt x="1950" y="685"/>
                  </a:lnTo>
                  <a:lnTo>
                    <a:pt x="1941" y="681"/>
                  </a:lnTo>
                  <a:lnTo>
                    <a:pt x="1940" y="676"/>
                  </a:lnTo>
                  <a:lnTo>
                    <a:pt x="1936" y="674"/>
                  </a:lnTo>
                  <a:lnTo>
                    <a:pt x="1929" y="674"/>
                  </a:lnTo>
                  <a:lnTo>
                    <a:pt x="1926" y="672"/>
                  </a:lnTo>
                  <a:lnTo>
                    <a:pt x="1924" y="670"/>
                  </a:lnTo>
                  <a:lnTo>
                    <a:pt x="1922" y="662"/>
                  </a:lnTo>
                  <a:lnTo>
                    <a:pt x="1918" y="662"/>
                  </a:lnTo>
                  <a:lnTo>
                    <a:pt x="1921" y="666"/>
                  </a:lnTo>
                  <a:lnTo>
                    <a:pt x="1922" y="672"/>
                  </a:lnTo>
                  <a:lnTo>
                    <a:pt x="1925" y="672"/>
                  </a:lnTo>
                  <a:lnTo>
                    <a:pt x="1926" y="676"/>
                  </a:lnTo>
                  <a:lnTo>
                    <a:pt x="1927" y="676"/>
                  </a:lnTo>
                  <a:lnTo>
                    <a:pt x="1936" y="676"/>
                  </a:lnTo>
                  <a:lnTo>
                    <a:pt x="1939" y="685"/>
                  </a:lnTo>
                  <a:lnTo>
                    <a:pt x="1943" y="687"/>
                  </a:lnTo>
                  <a:lnTo>
                    <a:pt x="1947" y="689"/>
                  </a:lnTo>
                  <a:lnTo>
                    <a:pt x="1951" y="698"/>
                  </a:lnTo>
                  <a:lnTo>
                    <a:pt x="1958" y="711"/>
                  </a:lnTo>
                  <a:lnTo>
                    <a:pt x="1957" y="716"/>
                  </a:lnTo>
                  <a:lnTo>
                    <a:pt x="1960" y="715"/>
                  </a:lnTo>
                  <a:lnTo>
                    <a:pt x="1960" y="711"/>
                  </a:lnTo>
                  <a:lnTo>
                    <a:pt x="1965" y="707"/>
                  </a:lnTo>
                  <a:lnTo>
                    <a:pt x="1966" y="707"/>
                  </a:lnTo>
                  <a:lnTo>
                    <a:pt x="1965" y="707"/>
                  </a:lnTo>
                  <a:lnTo>
                    <a:pt x="1971" y="702"/>
                  </a:lnTo>
                  <a:lnTo>
                    <a:pt x="1974" y="706"/>
                  </a:lnTo>
                  <a:lnTo>
                    <a:pt x="1976" y="711"/>
                  </a:lnTo>
                  <a:lnTo>
                    <a:pt x="1982" y="715"/>
                  </a:lnTo>
                  <a:lnTo>
                    <a:pt x="1983" y="716"/>
                  </a:lnTo>
                  <a:lnTo>
                    <a:pt x="1985" y="716"/>
                  </a:lnTo>
                  <a:lnTo>
                    <a:pt x="1990" y="724"/>
                  </a:lnTo>
                  <a:lnTo>
                    <a:pt x="1990" y="732"/>
                  </a:lnTo>
                  <a:lnTo>
                    <a:pt x="1991" y="734"/>
                  </a:lnTo>
                  <a:lnTo>
                    <a:pt x="1993" y="734"/>
                  </a:lnTo>
                  <a:lnTo>
                    <a:pt x="1996" y="738"/>
                  </a:lnTo>
                  <a:lnTo>
                    <a:pt x="1999" y="734"/>
                  </a:lnTo>
                  <a:lnTo>
                    <a:pt x="1997" y="741"/>
                  </a:lnTo>
                  <a:lnTo>
                    <a:pt x="1999" y="743"/>
                  </a:lnTo>
                  <a:lnTo>
                    <a:pt x="1999" y="755"/>
                  </a:lnTo>
                  <a:lnTo>
                    <a:pt x="2001" y="752"/>
                  </a:lnTo>
                  <a:lnTo>
                    <a:pt x="2002" y="756"/>
                  </a:lnTo>
                  <a:lnTo>
                    <a:pt x="2004" y="756"/>
                  </a:lnTo>
                  <a:lnTo>
                    <a:pt x="2002" y="755"/>
                  </a:lnTo>
                  <a:lnTo>
                    <a:pt x="2001" y="747"/>
                  </a:lnTo>
                  <a:lnTo>
                    <a:pt x="2005" y="743"/>
                  </a:lnTo>
                  <a:lnTo>
                    <a:pt x="2014" y="747"/>
                  </a:lnTo>
                  <a:lnTo>
                    <a:pt x="2015" y="747"/>
                  </a:lnTo>
                  <a:lnTo>
                    <a:pt x="2018" y="751"/>
                  </a:lnTo>
                  <a:lnTo>
                    <a:pt x="2016" y="755"/>
                  </a:lnTo>
                  <a:lnTo>
                    <a:pt x="2019" y="755"/>
                  </a:lnTo>
                  <a:lnTo>
                    <a:pt x="2021" y="752"/>
                  </a:lnTo>
                  <a:lnTo>
                    <a:pt x="2025" y="752"/>
                  </a:lnTo>
                  <a:lnTo>
                    <a:pt x="2022" y="747"/>
                  </a:lnTo>
                  <a:lnTo>
                    <a:pt x="2027" y="743"/>
                  </a:lnTo>
                  <a:lnTo>
                    <a:pt x="2035" y="745"/>
                  </a:lnTo>
                  <a:lnTo>
                    <a:pt x="2040" y="747"/>
                  </a:lnTo>
                  <a:lnTo>
                    <a:pt x="2033" y="760"/>
                  </a:lnTo>
                  <a:lnTo>
                    <a:pt x="2033" y="770"/>
                  </a:lnTo>
                  <a:lnTo>
                    <a:pt x="2030" y="774"/>
                  </a:lnTo>
                  <a:lnTo>
                    <a:pt x="2026" y="777"/>
                  </a:lnTo>
                  <a:lnTo>
                    <a:pt x="2026" y="778"/>
                  </a:lnTo>
                  <a:lnTo>
                    <a:pt x="2025" y="778"/>
                  </a:lnTo>
                  <a:lnTo>
                    <a:pt x="2024" y="782"/>
                  </a:lnTo>
                  <a:lnTo>
                    <a:pt x="2026" y="791"/>
                  </a:lnTo>
                  <a:lnTo>
                    <a:pt x="2026" y="794"/>
                  </a:lnTo>
                  <a:lnTo>
                    <a:pt x="2024" y="795"/>
                  </a:lnTo>
                  <a:lnTo>
                    <a:pt x="2024" y="800"/>
                  </a:lnTo>
                  <a:lnTo>
                    <a:pt x="2026" y="800"/>
                  </a:lnTo>
                  <a:lnTo>
                    <a:pt x="2024" y="814"/>
                  </a:lnTo>
                  <a:lnTo>
                    <a:pt x="2021" y="817"/>
                  </a:lnTo>
                  <a:lnTo>
                    <a:pt x="2019" y="817"/>
                  </a:lnTo>
                  <a:lnTo>
                    <a:pt x="2014" y="822"/>
                  </a:lnTo>
                  <a:lnTo>
                    <a:pt x="2010" y="827"/>
                  </a:lnTo>
                  <a:lnTo>
                    <a:pt x="2011" y="831"/>
                  </a:lnTo>
                  <a:lnTo>
                    <a:pt x="2019" y="840"/>
                  </a:lnTo>
                  <a:lnTo>
                    <a:pt x="2021" y="845"/>
                  </a:lnTo>
                  <a:lnTo>
                    <a:pt x="2011" y="853"/>
                  </a:lnTo>
                  <a:lnTo>
                    <a:pt x="2007" y="852"/>
                  </a:lnTo>
                  <a:lnTo>
                    <a:pt x="2008" y="853"/>
                  </a:lnTo>
                  <a:lnTo>
                    <a:pt x="2007" y="853"/>
                  </a:lnTo>
                  <a:lnTo>
                    <a:pt x="2000" y="859"/>
                  </a:lnTo>
                  <a:lnTo>
                    <a:pt x="1993" y="868"/>
                  </a:lnTo>
                  <a:lnTo>
                    <a:pt x="1996" y="876"/>
                  </a:lnTo>
                  <a:lnTo>
                    <a:pt x="1997" y="875"/>
                  </a:lnTo>
                  <a:lnTo>
                    <a:pt x="1999" y="876"/>
                  </a:lnTo>
                  <a:lnTo>
                    <a:pt x="1997" y="888"/>
                  </a:lnTo>
                  <a:lnTo>
                    <a:pt x="2004" y="894"/>
                  </a:lnTo>
                  <a:lnTo>
                    <a:pt x="2015" y="898"/>
                  </a:lnTo>
                  <a:lnTo>
                    <a:pt x="2018" y="904"/>
                  </a:lnTo>
                  <a:lnTo>
                    <a:pt x="2025" y="906"/>
                  </a:lnTo>
                  <a:lnTo>
                    <a:pt x="2027" y="912"/>
                  </a:lnTo>
                  <a:lnTo>
                    <a:pt x="2027" y="917"/>
                  </a:lnTo>
                  <a:lnTo>
                    <a:pt x="2025" y="925"/>
                  </a:lnTo>
                  <a:lnTo>
                    <a:pt x="2021" y="920"/>
                  </a:lnTo>
                  <a:lnTo>
                    <a:pt x="2012" y="930"/>
                  </a:lnTo>
                  <a:lnTo>
                    <a:pt x="2007" y="932"/>
                  </a:lnTo>
                  <a:lnTo>
                    <a:pt x="2005" y="925"/>
                  </a:lnTo>
                  <a:lnTo>
                    <a:pt x="2005" y="932"/>
                  </a:lnTo>
                  <a:lnTo>
                    <a:pt x="2004" y="932"/>
                  </a:lnTo>
                  <a:lnTo>
                    <a:pt x="2004" y="938"/>
                  </a:lnTo>
                  <a:lnTo>
                    <a:pt x="1996" y="947"/>
                  </a:lnTo>
                  <a:lnTo>
                    <a:pt x="1993" y="951"/>
                  </a:lnTo>
                  <a:lnTo>
                    <a:pt x="2000" y="946"/>
                  </a:lnTo>
                  <a:lnTo>
                    <a:pt x="2007" y="943"/>
                  </a:lnTo>
                  <a:lnTo>
                    <a:pt x="2007" y="946"/>
                  </a:lnTo>
                  <a:lnTo>
                    <a:pt x="2010" y="943"/>
                  </a:lnTo>
                  <a:lnTo>
                    <a:pt x="2012" y="943"/>
                  </a:lnTo>
                  <a:lnTo>
                    <a:pt x="2014" y="946"/>
                  </a:lnTo>
                  <a:lnTo>
                    <a:pt x="2014" y="947"/>
                  </a:lnTo>
                  <a:lnTo>
                    <a:pt x="2012" y="947"/>
                  </a:lnTo>
                  <a:lnTo>
                    <a:pt x="2012" y="952"/>
                  </a:lnTo>
                  <a:lnTo>
                    <a:pt x="2010" y="955"/>
                  </a:lnTo>
                  <a:lnTo>
                    <a:pt x="2012" y="956"/>
                  </a:lnTo>
                  <a:lnTo>
                    <a:pt x="2011" y="960"/>
                  </a:lnTo>
                  <a:lnTo>
                    <a:pt x="2000" y="964"/>
                  </a:lnTo>
                  <a:lnTo>
                    <a:pt x="1993" y="969"/>
                  </a:lnTo>
                  <a:lnTo>
                    <a:pt x="2001" y="965"/>
                  </a:lnTo>
                  <a:lnTo>
                    <a:pt x="2012" y="965"/>
                  </a:lnTo>
                  <a:lnTo>
                    <a:pt x="2014" y="969"/>
                  </a:lnTo>
                  <a:lnTo>
                    <a:pt x="2012" y="969"/>
                  </a:lnTo>
                  <a:lnTo>
                    <a:pt x="2012" y="975"/>
                  </a:lnTo>
                  <a:lnTo>
                    <a:pt x="2010" y="977"/>
                  </a:lnTo>
                  <a:lnTo>
                    <a:pt x="2007" y="977"/>
                  </a:lnTo>
                  <a:lnTo>
                    <a:pt x="2004" y="977"/>
                  </a:lnTo>
                  <a:lnTo>
                    <a:pt x="1999" y="982"/>
                  </a:lnTo>
                  <a:lnTo>
                    <a:pt x="1996" y="982"/>
                  </a:lnTo>
                  <a:lnTo>
                    <a:pt x="1994" y="982"/>
                  </a:lnTo>
                  <a:lnTo>
                    <a:pt x="1996" y="987"/>
                  </a:lnTo>
                  <a:lnTo>
                    <a:pt x="1997" y="982"/>
                  </a:lnTo>
                  <a:lnTo>
                    <a:pt x="2000" y="982"/>
                  </a:lnTo>
                  <a:lnTo>
                    <a:pt x="2004" y="977"/>
                  </a:lnTo>
                  <a:lnTo>
                    <a:pt x="2008" y="981"/>
                  </a:lnTo>
                  <a:lnTo>
                    <a:pt x="2010" y="982"/>
                  </a:lnTo>
                  <a:lnTo>
                    <a:pt x="2011" y="991"/>
                  </a:lnTo>
                  <a:lnTo>
                    <a:pt x="2008" y="1005"/>
                  </a:lnTo>
                  <a:lnTo>
                    <a:pt x="2012" y="1014"/>
                  </a:lnTo>
                  <a:lnTo>
                    <a:pt x="2018" y="1022"/>
                  </a:lnTo>
                  <a:lnTo>
                    <a:pt x="2019" y="1018"/>
                  </a:lnTo>
                  <a:lnTo>
                    <a:pt x="2026" y="1022"/>
                  </a:lnTo>
                  <a:lnTo>
                    <a:pt x="2030" y="1018"/>
                  </a:lnTo>
                  <a:lnTo>
                    <a:pt x="2032" y="1018"/>
                  </a:lnTo>
                  <a:lnTo>
                    <a:pt x="2030" y="1027"/>
                  </a:lnTo>
                  <a:lnTo>
                    <a:pt x="2032" y="1037"/>
                  </a:lnTo>
                  <a:lnTo>
                    <a:pt x="2030" y="1041"/>
                  </a:lnTo>
                  <a:lnTo>
                    <a:pt x="2033" y="1050"/>
                  </a:lnTo>
                  <a:lnTo>
                    <a:pt x="2032" y="1054"/>
                  </a:lnTo>
                  <a:lnTo>
                    <a:pt x="2030" y="1058"/>
                  </a:lnTo>
                  <a:lnTo>
                    <a:pt x="2030" y="1059"/>
                  </a:lnTo>
                  <a:lnTo>
                    <a:pt x="2030" y="1062"/>
                  </a:lnTo>
                  <a:lnTo>
                    <a:pt x="2029" y="1068"/>
                  </a:lnTo>
                  <a:lnTo>
                    <a:pt x="2029" y="1076"/>
                  </a:lnTo>
                  <a:lnTo>
                    <a:pt x="2030" y="1076"/>
                  </a:lnTo>
                  <a:lnTo>
                    <a:pt x="2036" y="1089"/>
                  </a:lnTo>
                  <a:lnTo>
                    <a:pt x="2044" y="1097"/>
                  </a:lnTo>
                  <a:lnTo>
                    <a:pt x="2052" y="1099"/>
                  </a:lnTo>
                  <a:lnTo>
                    <a:pt x="2064" y="1104"/>
                  </a:lnTo>
                  <a:lnTo>
                    <a:pt x="2068" y="1106"/>
                  </a:lnTo>
                  <a:lnTo>
                    <a:pt x="2069" y="1104"/>
                  </a:lnTo>
                  <a:lnTo>
                    <a:pt x="2072" y="1104"/>
                  </a:lnTo>
                  <a:lnTo>
                    <a:pt x="2071" y="1106"/>
                  </a:lnTo>
                  <a:lnTo>
                    <a:pt x="2071" y="1108"/>
                  </a:lnTo>
                  <a:lnTo>
                    <a:pt x="2074" y="1106"/>
                  </a:lnTo>
                  <a:lnTo>
                    <a:pt x="2071" y="1111"/>
                  </a:lnTo>
                  <a:lnTo>
                    <a:pt x="2062" y="1116"/>
                  </a:lnTo>
                  <a:lnTo>
                    <a:pt x="2057" y="1121"/>
                  </a:lnTo>
                  <a:lnTo>
                    <a:pt x="2050" y="1129"/>
                  </a:lnTo>
                  <a:lnTo>
                    <a:pt x="2046" y="1142"/>
                  </a:lnTo>
                  <a:lnTo>
                    <a:pt x="2046" y="1155"/>
                  </a:lnTo>
                  <a:lnTo>
                    <a:pt x="2047" y="1161"/>
                  </a:lnTo>
                  <a:lnTo>
                    <a:pt x="2050" y="1164"/>
                  </a:lnTo>
                  <a:lnTo>
                    <a:pt x="2049" y="1166"/>
                  </a:lnTo>
                  <a:lnTo>
                    <a:pt x="2049" y="1170"/>
                  </a:lnTo>
                  <a:lnTo>
                    <a:pt x="2050" y="1170"/>
                  </a:lnTo>
                  <a:lnTo>
                    <a:pt x="2054" y="1188"/>
                  </a:lnTo>
                  <a:lnTo>
                    <a:pt x="2061" y="1201"/>
                  </a:lnTo>
                  <a:lnTo>
                    <a:pt x="2068" y="1205"/>
                  </a:lnTo>
                  <a:lnTo>
                    <a:pt x="2078" y="1215"/>
                  </a:lnTo>
                  <a:lnTo>
                    <a:pt x="2080" y="1215"/>
                  </a:lnTo>
                  <a:lnTo>
                    <a:pt x="2083" y="1218"/>
                  </a:lnTo>
                  <a:lnTo>
                    <a:pt x="2085" y="1218"/>
                  </a:lnTo>
                  <a:lnTo>
                    <a:pt x="2094" y="1224"/>
                  </a:lnTo>
                  <a:lnTo>
                    <a:pt x="2101" y="1224"/>
                  </a:lnTo>
                  <a:lnTo>
                    <a:pt x="2099" y="1226"/>
                  </a:lnTo>
                  <a:lnTo>
                    <a:pt x="2094" y="1226"/>
                  </a:lnTo>
                  <a:lnTo>
                    <a:pt x="2089" y="1228"/>
                  </a:lnTo>
                  <a:lnTo>
                    <a:pt x="2074" y="1237"/>
                  </a:lnTo>
                  <a:lnTo>
                    <a:pt x="2064" y="1250"/>
                  </a:lnTo>
                  <a:lnTo>
                    <a:pt x="2060" y="1263"/>
                  </a:lnTo>
                  <a:lnTo>
                    <a:pt x="2060" y="1271"/>
                  </a:lnTo>
                  <a:lnTo>
                    <a:pt x="2061" y="1273"/>
                  </a:lnTo>
                  <a:lnTo>
                    <a:pt x="2061" y="1275"/>
                  </a:lnTo>
                  <a:lnTo>
                    <a:pt x="2062" y="1282"/>
                  </a:lnTo>
                  <a:lnTo>
                    <a:pt x="2069" y="1291"/>
                  </a:lnTo>
                  <a:lnTo>
                    <a:pt x="2069" y="1295"/>
                  </a:lnTo>
                  <a:lnTo>
                    <a:pt x="2068" y="1299"/>
                  </a:lnTo>
                  <a:lnTo>
                    <a:pt x="2060" y="1317"/>
                  </a:lnTo>
                  <a:lnTo>
                    <a:pt x="2051" y="1334"/>
                  </a:lnTo>
                  <a:lnTo>
                    <a:pt x="2050" y="1344"/>
                  </a:lnTo>
                  <a:lnTo>
                    <a:pt x="2055" y="1361"/>
                  </a:lnTo>
                  <a:lnTo>
                    <a:pt x="2069" y="1382"/>
                  </a:lnTo>
                  <a:lnTo>
                    <a:pt x="2072" y="1389"/>
                  </a:lnTo>
                  <a:lnTo>
                    <a:pt x="2061" y="1397"/>
                  </a:lnTo>
                  <a:lnTo>
                    <a:pt x="2055" y="1394"/>
                  </a:lnTo>
                  <a:lnTo>
                    <a:pt x="2058" y="1391"/>
                  </a:lnTo>
                  <a:lnTo>
                    <a:pt x="2057" y="1391"/>
                  </a:lnTo>
                  <a:lnTo>
                    <a:pt x="2055" y="1394"/>
                  </a:lnTo>
                  <a:lnTo>
                    <a:pt x="2051" y="1394"/>
                  </a:lnTo>
                  <a:lnTo>
                    <a:pt x="2051" y="1392"/>
                  </a:lnTo>
                  <a:lnTo>
                    <a:pt x="2050" y="1392"/>
                  </a:lnTo>
                  <a:lnTo>
                    <a:pt x="2051" y="1396"/>
                  </a:lnTo>
                  <a:lnTo>
                    <a:pt x="2055" y="1396"/>
                  </a:lnTo>
                  <a:lnTo>
                    <a:pt x="2058" y="1397"/>
                  </a:lnTo>
                  <a:lnTo>
                    <a:pt x="2055" y="1402"/>
                  </a:lnTo>
                  <a:lnTo>
                    <a:pt x="2055" y="1406"/>
                  </a:lnTo>
                  <a:lnTo>
                    <a:pt x="2057" y="1402"/>
                  </a:lnTo>
                  <a:lnTo>
                    <a:pt x="2065" y="1402"/>
                  </a:lnTo>
                  <a:lnTo>
                    <a:pt x="2066" y="1402"/>
                  </a:lnTo>
                  <a:lnTo>
                    <a:pt x="2066" y="1409"/>
                  </a:lnTo>
                  <a:lnTo>
                    <a:pt x="2064" y="1420"/>
                  </a:lnTo>
                  <a:lnTo>
                    <a:pt x="2057" y="1428"/>
                  </a:lnTo>
                  <a:lnTo>
                    <a:pt x="2054" y="1437"/>
                  </a:lnTo>
                  <a:lnTo>
                    <a:pt x="2054" y="1441"/>
                  </a:lnTo>
                  <a:lnTo>
                    <a:pt x="2051" y="1441"/>
                  </a:lnTo>
                  <a:lnTo>
                    <a:pt x="2044" y="1441"/>
                  </a:lnTo>
                  <a:lnTo>
                    <a:pt x="2040" y="1436"/>
                  </a:lnTo>
                  <a:lnTo>
                    <a:pt x="2037" y="1433"/>
                  </a:lnTo>
                  <a:lnTo>
                    <a:pt x="2035" y="1428"/>
                  </a:lnTo>
                  <a:lnTo>
                    <a:pt x="2030" y="1424"/>
                  </a:lnTo>
                  <a:lnTo>
                    <a:pt x="2030" y="1420"/>
                  </a:lnTo>
                  <a:lnTo>
                    <a:pt x="2032" y="1415"/>
                  </a:lnTo>
                  <a:lnTo>
                    <a:pt x="2036" y="1411"/>
                  </a:lnTo>
                  <a:lnTo>
                    <a:pt x="2035" y="1406"/>
                  </a:lnTo>
                  <a:lnTo>
                    <a:pt x="2033" y="1406"/>
                  </a:lnTo>
                  <a:lnTo>
                    <a:pt x="2032" y="1409"/>
                  </a:lnTo>
                  <a:lnTo>
                    <a:pt x="2030" y="1406"/>
                  </a:lnTo>
                  <a:lnTo>
                    <a:pt x="2029" y="1406"/>
                  </a:lnTo>
                  <a:lnTo>
                    <a:pt x="2030" y="1411"/>
                  </a:lnTo>
                  <a:lnTo>
                    <a:pt x="2033" y="1409"/>
                  </a:lnTo>
                  <a:lnTo>
                    <a:pt x="2035" y="1411"/>
                  </a:lnTo>
                  <a:lnTo>
                    <a:pt x="2029" y="1411"/>
                  </a:lnTo>
                  <a:lnTo>
                    <a:pt x="2026" y="1420"/>
                  </a:lnTo>
                  <a:lnTo>
                    <a:pt x="2026" y="1437"/>
                  </a:lnTo>
                  <a:lnTo>
                    <a:pt x="2032" y="1441"/>
                  </a:lnTo>
                  <a:lnTo>
                    <a:pt x="2036" y="1441"/>
                  </a:lnTo>
                  <a:lnTo>
                    <a:pt x="2037" y="1441"/>
                  </a:lnTo>
                  <a:lnTo>
                    <a:pt x="2041" y="1445"/>
                  </a:lnTo>
                  <a:lnTo>
                    <a:pt x="2041" y="1449"/>
                  </a:lnTo>
                  <a:lnTo>
                    <a:pt x="2043" y="1446"/>
                  </a:lnTo>
                  <a:lnTo>
                    <a:pt x="2044" y="1446"/>
                  </a:lnTo>
                  <a:lnTo>
                    <a:pt x="2054" y="1446"/>
                  </a:lnTo>
                  <a:lnTo>
                    <a:pt x="2057" y="1449"/>
                  </a:lnTo>
                  <a:lnTo>
                    <a:pt x="2060" y="1456"/>
                  </a:lnTo>
                  <a:lnTo>
                    <a:pt x="2060" y="1459"/>
                  </a:lnTo>
                  <a:lnTo>
                    <a:pt x="2062" y="1464"/>
                  </a:lnTo>
                  <a:lnTo>
                    <a:pt x="2061" y="1468"/>
                  </a:lnTo>
                  <a:lnTo>
                    <a:pt x="2062" y="1468"/>
                  </a:lnTo>
                  <a:lnTo>
                    <a:pt x="2064" y="1469"/>
                  </a:lnTo>
                  <a:lnTo>
                    <a:pt x="2064" y="1477"/>
                  </a:lnTo>
                  <a:lnTo>
                    <a:pt x="2071" y="1486"/>
                  </a:lnTo>
                  <a:lnTo>
                    <a:pt x="2068" y="1486"/>
                  </a:lnTo>
                  <a:lnTo>
                    <a:pt x="2066" y="1491"/>
                  </a:lnTo>
                  <a:lnTo>
                    <a:pt x="2066" y="1498"/>
                  </a:lnTo>
                  <a:lnTo>
                    <a:pt x="2062" y="1498"/>
                  </a:lnTo>
                  <a:lnTo>
                    <a:pt x="2051" y="1499"/>
                  </a:lnTo>
                  <a:lnTo>
                    <a:pt x="2049" y="1499"/>
                  </a:lnTo>
                  <a:lnTo>
                    <a:pt x="2051" y="1503"/>
                  </a:lnTo>
                  <a:lnTo>
                    <a:pt x="2054" y="1504"/>
                  </a:lnTo>
                  <a:lnTo>
                    <a:pt x="2060" y="1499"/>
                  </a:lnTo>
                  <a:lnTo>
                    <a:pt x="2062" y="1499"/>
                  </a:lnTo>
                  <a:lnTo>
                    <a:pt x="2064" y="1508"/>
                  </a:lnTo>
                  <a:lnTo>
                    <a:pt x="2062" y="1514"/>
                  </a:lnTo>
                  <a:lnTo>
                    <a:pt x="2054" y="1518"/>
                  </a:lnTo>
                  <a:lnTo>
                    <a:pt x="2052" y="1520"/>
                  </a:lnTo>
                  <a:lnTo>
                    <a:pt x="2051" y="1526"/>
                  </a:lnTo>
                  <a:lnTo>
                    <a:pt x="2049" y="1532"/>
                  </a:lnTo>
                  <a:lnTo>
                    <a:pt x="2049" y="1535"/>
                  </a:lnTo>
                  <a:lnTo>
                    <a:pt x="2050" y="1531"/>
                  </a:lnTo>
                  <a:lnTo>
                    <a:pt x="2049" y="1544"/>
                  </a:lnTo>
                  <a:lnTo>
                    <a:pt x="2047" y="1544"/>
                  </a:lnTo>
                  <a:lnTo>
                    <a:pt x="2044" y="1543"/>
                  </a:lnTo>
                  <a:lnTo>
                    <a:pt x="2043" y="1544"/>
                  </a:lnTo>
                  <a:lnTo>
                    <a:pt x="2041" y="1540"/>
                  </a:lnTo>
                  <a:lnTo>
                    <a:pt x="2040" y="1540"/>
                  </a:lnTo>
                  <a:lnTo>
                    <a:pt x="2041" y="1543"/>
                  </a:lnTo>
                  <a:lnTo>
                    <a:pt x="2040" y="1544"/>
                  </a:lnTo>
                  <a:lnTo>
                    <a:pt x="2046" y="1544"/>
                  </a:lnTo>
                  <a:lnTo>
                    <a:pt x="2044" y="1546"/>
                  </a:lnTo>
                  <a:lnTo>
                    <a:pt x="2050" y="1544"/>
                  </a:lnTo>
                  <a:lnTo>
                    <a:pt x="2052" y="1540"/>
                  </a:lnTo>
                  <a:lnTo>
                    <a:pt x="2057" y="1535"/>
                  </a:lnTo>
                  <a:lnTo>
                    <a:pt x="2058" y="1535"/>
                  </a:lnTo>
                  <a:lnTo>
                    <a:pt x="2061" y="1535"/>
                  </a:lnTo>
                  <a:lnTo>
                    <a:pt x="2064" y="1535"/>
                  </a:lnTo>
                  <a:lnTo>
                    <a:pt x="2064" y="1539"/>
                  </a:lnTo>
                  <a:lnTo>
                    <a:pt x="2065" y="1535"/>
                  </a:lnTo>
                  <a:lnTo>
                    <a:pt x="2064" y="1540"/>
                  </a:lnTo>
                  <a:lnTo>
                    <a:pt x="2065" y="1540"/>
                  </a:lnTo>
                  <a:lnTo>
                    <a:pt x="2065" y="1535"/>
                  </a:lnTo>
                  <a:lnTo>
                    <a:pt x="2068" y="1539"/>
                  </a:lnTo>
                  <a:lnTo>
                    <a:pt x="2068" y="1535"/>
                  </a:lnTo>
                  <a:lnTo>
                    <a:pt x="2069" y="1535"/>
                  </a:lnTo>
                  <a:lnTo>
                    <a:pt x="2076" y="1535"/>
                  </a:lnTo>
                  <a:lnTo>
                    <a:pt x="2076" y="1543"/>
                  </a:lnTo>
                  <a:lnTo>
                    <a:pt x="2079" y="1544"/>
                  </a:lnTo>
                  <a:lnTo>
                    <a:pt x="2082" y="1546"/>
                  </a:lnTo>
                  <a:lnTo>
                    <a:pt x="2079" y="1543"/>
                  </a:lnTo>
                  <a:lnTo>
                    <a:pt x="2079" y="1539"/>
                  </a:lnTo>
                  <a:lnTo>
                    <a:pt x="2086" y="1535"/>
                  </a:lnTo>
                  <a:lnTo>
                    <a:pt x="2087" y="1535"/>
                  </a:lnTo>
                  <a:lnTo>
                    <a:pt x="2090" y="1540"/>
                  </a:lnTo>
                  <a:lnTo>
                    <a:pt x="2090" y="1548"/>
                  </a:lnTo>
                  <a:lnTo>
                    <a:pt x="2093" y="1540"/>
                  </a:lnTo>
                  <a:lnTo>
                    <a:pt x="2094" y="1540"/>
                  </a:lnTo>
                  <a:lnTo>
                    <a:pt x="2093" y="1535"/>
                  </a:lnTo>
                  <a:lnTo>
                    <a:pt x="2096" y="1535"/>
                  </a:lnTo>
                  <a:lnTo>
                    <a:pt x="2093" y="1533"/>
                  </a:lnTo>
                  <a:lnTo>
                    <a:pt x="2094" y="1532"/>
                  </a:lnTo>
                  <a:lnTo>
                    <a:pt x="2091" y="1527"/>
                  </a:lnTo>
                  <a:lnTo>
                    <a:pt x="2097" y="1533"/>
                  </a:lnTo>
                  <a:lnTo>
                    <a:pt x="2100" y="1535"/>
                  </a:lnTo>
                  <a:lnTo>
                    <a:pt x="2100" y="1544"/>
                  </a:lnTo>
                  <a:lnTo>
                    <a:pt x="2101" y="1540"/>
                  </a:lnTo>
                  <a:lnTo>
                    <a:pt x="2104" y="1540"/>
                  </a:lnTo>
                  <a:lnTo>
                    <a:pt x="2103" y="1535"/>
                  </a:lnTo>
                  <a:lnTo>
                    <a:pt x="2103" y="1533"/>
                  </a:lnTo>
                  <a:lnTo>
                    <a:pt x="2104" y="1533"/>
                  </a:lnTo>
                  <a:lnTo>
                    <a:pt x="2105" y="1535"/>
                  </a:lnTo>
                  <a:lnTo>
                    <a:pt x="2107" y="1535"/>
                  </a:lnTo>
                  <a:lnTo>
                    <a:pt x="2108" y="1535"/>
                  </a:lnTo>
                  <a:lnTo>
                    <a:pt x="2110" y="1539"/>
                  </a:lnTo>
                  <a:lnTo>
                    <a:pt x="2108" y="1540"/>
                  </a:lnTo>
                  <a:lnTo>
                    <a:pt x="2111" y="1540"/>
                  </a:lnTo>
                  <a:lnTo>
                    <a:pt x="2112" y="1540"/>
                  </a:lnTo>
                  <a:lnTo>
                    <a:pt x="2112" y="1544"/>
                  </a:lnTo>
                  <a:lnTo>
                    <a:pt x="2114" y="1543"/>
                  </a:lnTo>
                  <a:lnTo>
                    <a:pt x="2117" y="1544"/>
                  </a:lnTo>
                  <a:lnTo>
                    <a:pt x="2115" y="1548"/>
                  </a:lnTo>
                  <a:lnTo>
                    <a:pt x="2108" y="1549"/>
                  </a:lnTo>
                  <a:lnTo>
                    <a:pt x="2085" y="1563"/>
                  </a:lnTo>
                  <a:lnTo>
                    <a:pt x="2080" y="1566"/>
                  </a:lnTo>
                  <a:lnTo>
                    <a:pt x="2078" y="1569"/>
                  </a:lnTo>
                  <a:lnTo>
                    <a:pt x="2075" y="1566"/>
                  </a:lnTo>
                  <a:lnTo>
                    <a:pt x="2075" y="1569"/>
                  </a:lnTo>
                  <a:lnTo>
                    <a:pt x="2064" y="1574"/>
                  </a:lnTo>
                  <a:lnTo>
                    <a:pt x="2058" y="1580"/>
                  </a:lnTo>
                  <a:lnTo>
                    <a:pt x="2058" y="1589"/>
                  </a:lnTo>
                  <a:lnTo>
                    <a:pt x="2054" y="1601"/>
                  </a:lnTo>
                  <a:lnTo>
                    <a:pt x="2051" y="1601"/>
                  </a:lnTo>
                  <a:lnTo>
                    <a:pt x="2049" y="1599"/>
                  </a:lnTo>
                  <a:lnTo>
                    <a:pt x="2044" y="1601"/>
                  </a:lnTo>
                  <a:lnTo>
                    <a:pt x="2049" y="1601"/>
                  </a:lnTo>
                  <a:lnTo>
                    <a:pt x="2050" y="1602"/>
                  </a:lnTo>
                  <a:lnTo>
                    <a:pt x="2049" y="1605"/>
                  </a:lnTo>
                  <a:lnTo>
                    <a:pt x="2052" y="1606"/>
                  </a:lnTo>
                  <a:lnTo>
                    <a:pt x="2050" y="1614"/>
                  </a:lnTo>
                  <a:lnTo>
                    <a:pt x="2047" y="1615"/>
                  </a:lnTo>
                  <a:lnTo>
                    <a:pt x="2047" y="1619"/>
                  </a:lnTo>
                  <a:lnTo>
                    <a:pt x="2044" y="1619"/>
                  </a:lnTo>
                  <a:lnTo>
                    <a:pt x="2044" y="1620"/>
                  </a:lnTo>
                  <a:lnTo>
                    <a:pt x="2040" y="1625"/>
                  </a:lnTo>
                  <a:lnTo>
                    <a:pt x="2033" y="1625"/>
                  </a:lnTo>
                  <a:lnTo>
                    <a:pt x="2029" y="1627"/>
                  </a:lnTo>
                  <a:lnTo>
                    <a:pt x="2026" y="1627"/>
                  </a:lnTo>
                  <a:lnTo>
                    <a:pt x="2025" y="1628"/>
                  </a:lnTo>
                  <a:lnTo>
                    <a:pt x="2024" y="1632"/>
                  </a:lnTo>
                  <a:lnTo>
                    <a:pt x="2026" y="1632"/>
                  </a:lnTo>
                  <a:lnTo>
                    <a:pt x="2026" y="1628"/>
                  </a:lnTo>
                  <a:lnTo>
                    <a:pt x="2029" y="1628"/>
                  </a:lnTo>
                  <a:lnTo>
                    <a:pt x="2033" y="1627"/>
                  </a:lnTo>
                  <a:lnTo>
                    <a:pt x="2035" y="1627"/>
                  </a:lnTo>
                  <a:lnTo>
                    <a:pt x="2030" y="1628"/>
                  </a:lnTo>
                  <a:lnTo>
                    <a:pt x="2029" y="1632"/>
                  </a:lnTo>
                  <a:lnTo>
                    <a:pt x="2027" y="1633"/>
                  </a:lnTo>
                  <a:lnTo>
                    <a:pt x="2036" y="1628"/>
                  </a:lnTo>
                  <a:lnTo>
                    <a:pt x="2035" y="1633"/>
                  </a:lnTo>
                  <a:lnTo>
                    <a:pt x="2032" y="1638"/>
                  </a:lnTo>
                  <a:lnTo>
                    <a:pt x="2035" y="1636"/>
                  </a:lnTo>
                  <a:lnTo>
                    <a:pt x="2037" y="1633"/>
                  </a:lnTo>
                  <a:lnTo>
                    <a:pt x="2037" y="1636"/>
                  </a:lnTo>
                  <a:lnTo>
                    <a:pt x="2037" y="1638"/>
                  </a:lnTo>
                  <a:lnTo>
                    <a:pt x="2040" y="1638"/>
                  </a:lnTo>
                  <a:lnTo>
                    <a:pt x="2037" y="1642"/>
                  </a:lnTo>
                  <a:lnTo>
                    <a:pt x="2041" y="1640"/>
                  </a:lnTo>
                  <a:lnTo>
                    <a:pt x="2040" y="1642"/>
                  </a:lnTo>
                  <a:lnTo>
                    <a:pt x="2044" y="1643"/>
                  </a:lnTo>
                  <a:lnTo>
                    <a:pt x="2046" y="1645"/>
                  </a:lnTo>
                  <a:lnTo>
                    <a:pt x="2043" y="1647"/>
                  </a:lnTo>
                  <a:lnTo>
                    <a:pt x="2046" y="1647"/>
                  </a:lnTo>
                  <a:lnTo>
                    <a:pt x="2044" y="1651"/>
                  </a:lnTo>
                  <a:lnTo>
                    <a:pt x="2047" y="1658"/>
                  </a:lnTo>
                  <a:lnTo>
                    <a:pt x="2044" y="1663"/>
                  </a:lnTo>
                  <a:lnTo>
                    <a:pt x="2044" y="1664"/>
                  </a:lnTo>
                  <a:lnTo>
                    <a:pt x="2046" y="1663"/>
                  </a:lnTo>
                  <a:lnTo>
                    <a:pt x="2049" y="1660"/>
                  </a:lnTo>
                  <a:lnTo>
                    <a:pt x="2049" y="1651"/>
                  </a:lnTo>
                  <a:lnTo>
                    <a:pt x="2051" y="1651"/>
                  </a:lnTo>
                  <a:lnTo>
                    <a:pt x="2054" y="1651"/>
                  </a:lnTo>
                  <a:lnTo>
                    <a:pt x="2055" y="1655"/>
                  </a:lnTo>
                  <a:lnTo>
                    <a:pt x="2062" y="1655"/>
                  </a:lnTo>
                  <a:lnTo>
                    <a:pt x="2071" y="1651"/>
                  </a:lnTo>
                  <a:lnTo>
                    <a:pt x="2072" y="1651"/>
                  </a:lnTo>
                  <a:lnTo>
                    <a:pt x="2076" y="1651"/>
                  </a:lnTo>
                  <a:lnTo>
                    <a:pt x="2078" y="1655"/>
                  </a:lnTo>
                  <a:lnTo>
                    <a:pt x="2078" y="1651"/>
                  </a:lnTo>
                  <a:lnTo>
                    <a:pt x="2076" y="1651"/>
                  </a:lnTo>
                  <a:lnTo>
                    <a:pt x="2087" y="1651"/>
                  </a:lnTo>
                  <a:lnTo>
                    <a:pt x="2096" y="1651"/>
                  </a:lnTo>
                  <a:lnTo>
                    <a:pt x="2105" y="1651"/>
                  </a:lnTo>
                  <a:lnTo>
                    <a:pt x="2111" y="1651"/>
                  </a:lnTo>
                  <a:lnTo>
                    <a:pt x="2115" y="1651"/>
                  </a:lnTo>
                  <a:lnTo>
                    <a:pt x="2115" y="1655"/>
                  </a:lnTo>
                  <a:lnTo>
                    <a:pt x="2114" y="1656"/>
                  </a:lnTo>
                  <a:lnTo>
                    <a:pt x="2114" y="1664"/>
                  </a:lnTo>
                  <a:lnTo>
                    <a:pt x="2112" y="1668"/>
                  </a:lnTo>
                  <a:lnTo>
                    <a:pt x="2105" y="1669"/>
                  </a:lnTo>
                  <a:lnTo>
                    <a:pt x="2104" y="1669"/>
                  </a:lnTo>
                  <a:lnTo>
                    <a:pt x="2104" y="1668"/>
                  </a:lnTo>
                  <a:lnTo>
                    <a:pt x="2101" y="1668"/>
                  </a:lnTo>
                  <a:lnTo>
                    <a:pt x="2099" y="1669"/>
                  </a:lnTo>
                  <a:lnTo>
                    <a:pt x="2103" y="1669"/>
                  </a:lnTo>
                  <a:lnTo>
                    <a:pt x="2100" y="1682"/>
                  </a:lnTo>
                  <a:lnTo>
                    <a:pt x="2100" y="1686"/>
                  </a:lnTo>
                  <a:lnTo>
                    <a:pt x="2101" y="1690"/>
                  </a:lnTo>
                  <a:lnTo>
                    <a:pt x="2100" y="1692"/>
                  </a:lnTo>
                  <a:lnTo>
                    <a:pt x="2100" y="1695"/>
                  </a:lnTo>
                  <a:lnTo>
                    <a:pt x="2101" y="1698"/>
                  </a:lnTo>
                  <a:lnTo>
                    <a:pt x="2107" y="1700"/>
                  </a:lnTo>
                  <a:lnTo>
                    <a:pt x="2107" y="1703"/>
                  </a:lnTo>
                  <a:lnTo>
                    <a:pt x="2108" y="1705"/>
                  </a:lnTo>
                  <a:lnTo>
                    <a:pt x="2107" y="1705"/>
                  </a:lnTo>
                  <a:lnTo>
                    <a:pt x="2108" y="1705"/>
                  </a:lnTo>
                  <a:lnTo>
                    <a:pt x="2114" y="1722"/>
                  </a:lnTo>
                  <a:lnTo>
                    <a:pt x="2114" y="1726"/>
                  </a:lnTo>
                  <a:lnTo>
                    <a:pt x="2112" y="1727"/>
                  </a:lnTo>
                  <a:lnTo>
                    <a:pt x="2115" y="1727"/>
                  </a:lnTo>
                  <a:lnTo>
                    <a:pt x="2112" y="1727"/>
                  </a:lnTo>
                  <a:lnTo>
                    <a:pt x="2112" y="1731"/>
                  </a:lnTo>
                  <a:lnTo>
                    <a:pt x="2110" y="1731"/>
                  </a:lnTo>
                  <a:lnTo>
                    <a:pt x="2112" y="1734"/>
                  </a:lnTo>
                  <a:lnTo>
                    <a:pt x="2114" y="1731"/>
                  </a:lnTo>
                  <a:lnTo>
                    <a:pt x="2118" y="1730"/>
                  </a:lnTo>
                  <a:lnTo>
                    <a:pt x="2117" y="1731"/>
                  </a:lnTo>
                  <a:lnTo>
                    <a:pt x="2119" y="1735"/>
                  </a:lnTo>
                  <a:lnTo>
                    <a:pt x="2124" y="1737"/>
                  </a:lnTo>
                  <a:lnTo>
                    <a:pt x="2124" y="1739"/>
                  </a:lnTo>
                  <a:lnTo>
                    <a:pt x="2129" y="1740"/>
                  </a:lnTo>
                  <a:lnTo>
                    <a:pt x="2139" y="1740"/>
                  </a:lnTo>
                  <a:lnTo>
                    <a:pt x="2145" y="1738"/>
                  </a:lnTo>
                  <a:lnTo>
                    <a:pt x="2153" y="1744"/>
                  </a:lnTo>
                  <a:lnTo>
                    <a:pt x="2156" y="1754"/>
                  </a:lnTo>
                  <a:lnTo>
                    <a:pt x="2153" y="1765"/>
                  </a:lnTo>
                  <a:lnTo>
                    <a:pt x="2151" y="1763"/>
                  </a:lnTo>
                  <a:lnTo>
                    <a:pt x="2151" y="1757"/>
                  </a:lnTo>
                  <a:lnTo>
                    <a:pt x="2147" y="1762"/>
                  </a:lnTo>
                  <a:lnTo>
                    <a:pt x="2146" y="1762"/>
                  </a:lnTo>
                  <a:lnTo>
                    <a:pt x="2142" y="1754"/>
                  </a:lnTo>
                  <a:lnTo>
                    <a:pt x="2129" y="1752"/>
                  </a:lnTo>
                  <a:lnTo>
                    <a:pt x="2129" y="1750"/>
                  </a:lnTo>
                  <a:lnTo>
                    <a:pt x="2128" y="1748"/>
                  </a:lnTo>
                  <a:lnTo>
                    <a:pt x="2121" y="1748"/>
                  </a:lnTo>
                  <a:lnTo>
                    <a:pt x="2114" y="1754"/>
                  </a:lnTo>
                  <a:lnTo>
                    <a:pt x="2114" y="1772"/>
                  </a:lnTo>
                  <a:lnTo>
                    <a:pt x="2115" y="1780"/>
                  </a:lnTo>
                  <a:lnTo>
                    <a:pt x="2114" y="1784"/>
                  </a:lnTo>
                  <a:lnTo>
                    <a:pt x="2117" y="1784"/>
                  </a:lnTo>
                  <a:lnTo>
                    <a:pt x="2118" y="1792"/>
                  </a:lnTo>
                  <a:lnTo>
                    <a:pt x="2121" y="1793"/>
                  </a:lnTo>
                  <a:lnTo>
                    <a:pt x="2112" y="1802"/>
                  </a:lnTo>
                  <a:lnTo>
                    <a:pt x="2111" y="1806"/>
                  </a:lnTo>
                  <a:lnTo>
                    <a:pt x="2114" y="1810"/>
                  </a:lnTo>
                  <a:lnTo>
                    <a:pt x="2117" y="1812"/>
                  </a:lnTo>
                  <a:lnTo>
                    <a:pt x="2121" y="1812"/>
                  </a:lnTo>
                  <a:lnTo>
                    <a:pt x="2126" y="1815"/>
                  </a:lnTo>
                  <a:lnTo>
                    <a:pt x="2126" y="1829"/>
                  </a:lnTo>
                  <a:lnTo>
                    <a:pt x="2124" y="1829"/>
                  </a:lnTo>
                  <a:lnTo>
                    <a:pt x="2125" y="1829"/>
                  </a:lnTo>
                  <a:lnTo>
                    <a:pt x="2128" y="1827"/>
                  </a:lnTo>
                  <a:lnTo>
                    <a:pt x="2128" y="1825"/>
                  </a:lnTo>
                  <a:lnTo>
                    <a:pt x="2129" y="1821"/>
                  </a:lnTo>
                  <a:lnTo>
                    <a:pt x="2132" y="1821"/>
                  </a:lnTo>
                  <a:lnTo>
                    <a:pt x="2129" y="1821"/>
                  </a:lnTo>
                  <a:lnTo>
                    <a:pt x="2125" y="1807"/>
                  </a:lnTo>
                  <a:lnTo>
                    <a:pt x="2124" y="1807"/>
                  </a:lnTo>
                  <a:lnTo>
                    <a:pt x="2117" y="1807"/>
                  </a:lnTo>
                  <a:lnTo>
                    <a:pt x="2114" y="1807"/>
                  </a:lnTo>
                  <a:lnTo>
                    <a:pt x="2114" y="1806"/>
                  </a:lnTo>
                  <a:lnTo>
                    <a:pt x="2119" y="1802"/>
                  </a:lnTo>
                  <a:lnTo>
                    <a:pt x="2129" y="1801"/>
                  </a:lnTo>
                  <a:lnTo>
                    <a:pt x="2132" y="1797"/>
                  </a:lnTo>
                  <a:lnTo>
                    <a:pt x="2139" y="1793"/>
                  </a:lnTo>
                  <a:lnTo>
                    <a:pt x="2143" y="1793"/>
                  </a:lnTo>
                  <a:lnTo>
                    <a:pt x="2151" y="1802"/>
                  </a:lnTo>
                  <a:lnTo>
                    <a:pt x="2153" y="1812"/>
                  </a:lnTo>
                  <a:lnTo>
                    <a:pt x="2151" y="1815"/>
                  </a:lnTo>
                  <a:lnTo>
                    <a:pt x="2146" y="1815"/>
                  </a:lnTo>
                  <a:lnTo>
                    <a:pt x="2147" y="1815"/>
                  </a:lnTo>
                  <a:lnTo>
                    <a:pt x="2146" y="1821"/>
                  </a:lnTo>
                  <a:lnTo>
                    <a:pt x="2143" y="1829"/>
                  </a:lnTo>
                  <a:lnTo>
                    <a:pt x="2143" y="1832"/>
                  </a:lnTo>
                  <a:lnTo>
                    <a:pt x="2137" y="1838"/>
                  </a:lnTo>
                  <a:lnTo>
                    <a:pt x="2139" y="1838"/>
                  </a:lnTo>
                  <a:lnTo>
                    <a:pt x="2143" y="1837"/>
                  </a:lnTo>
                  <a:lnTo>
                    <a:pt x="2143" y="1841"/>
                  </a:lnTo>
                  <a:lnTo>
                    <a:pt x="2142" y="1842"/>
                  </a:lnTo>
                  <a:lnTo>
                    <a:pt x="2143" y="1842"/>
                  </a:lnTo>
                  <a:lnTo>
                    <a:pt x="2146" y="1838"/>
                  </a:lnTo>
                  <a:lnTo>
                    <a:pt x="2146" y="1832"/>
                  </a:lnTo>
                  <a:lnTo>
                    <a:pt x="2149" y="1829"/>
                  </a:lnTo>
                  <a:lnTo>
                    <a:pt x="2151" y="1829"/>
                  </a:lnTo>
                  <a:lnTo>
                    <a:pt x="2153" y="1832"/>
                  </a:lnTo>
                  <a:lnTo>
                    <a:pt x="2153" y="1842"/>
                  </a:lnTo>
                  <a:lnTo>
                    <a:pt x="2154" y="1834"/>
                  </a:lnTo>
                  <a:lnTo>
                    <a:pt x="2156" y="1834"/>
                  </a:lnTo>
                  <a:lnTo>
                    <a:pt x="2156" y="1829"/>
                  </a:lnTo>
                  <a:lnTo>
                    <a:pt x="2164" y="1825"/>
                  </a:lnTo>
                  <a:lnTo>
                    <a:pt x="2164" y="1838"/>
                  </a:lnTo>
                  <a:lnTo>
                    <a:pt x="2161" y="1847"/>
                  </a:lnTo>
                  <a:lnTo>
                    <a:pt x="2153" y="1866"/>
                  </a:lnTo>
                  <a:lnTo>
                    <a:pt x="2149" y="1869"/>
                  </a:lnTo>
                  <a:lnTo>
                    <a:pt x="2142" y="1873"/>
                  </a:lnTo>
                  <a:lnTo>
                    <a:pt x="2137" y="1873"/>
                  </a:lnTo>
                  <a:lnTo>
                    <a:pt x="2133" y="1876"/>
                  </a:lnTo>
                  <a:lnTo>
                    <a:pt x="2125" y="1881"/>
                  </a:lnTo>
                  <a:lnTo>
                    <a:pt x="2124" y="1881"/>
                  </a:lnTo>
                  <a:lnTo>
                    <a:pt x="2125" y="1879"/>
                  </a:lnTo>
                  <a:lnTo>
                    <a:pt x="2124" y="1876"/>
                  </a:lnTo>
                  <a:lnTo>
                    <a:pt x="2118" y="1872"/>
                  </a:lnTo>
                  <a:lnTo>
                    <a:pt x="2118" y="1866"/>
                  </a:lnTo>
                  <a:lnTo>
                    <a:pt x="2112" y="1860"/>
                  </a:lnTo>
                  <a:lnTo>
                    <a:pt x="2111" y="1856"/>
                  </a:lnTo>
                  <a:lnTo>
                    <a:pt x="2105" y="1855"/>
                  </a:lnTo>
                  <a:lnTo>
                    <a:pt x="2099" y="1843"/>
                  </a:lnTo>
                  <a:lnTo>
                    <a:pt x="2097" y="1850"/>
                  </a:lnTo>
                  <a:lnTo>
                    <a:pt x="2094" y="1850"/>
                  </a:lnTo>
                  <a:lnTo>
                    <a:pt x="2100" y="1851"/>
                  </a:lnTo>
                  <a:lnTo>
                    <a:pt x="2110" y="1864"/>
                  </a:lnTo>
                  <a:lnTo>
                    <a:pt x="2108" y="1868"/>
                  </a:lnTo>
                  <a:lnTo>
                    <a:pt x="2111" y="1869"/>
                  </a:lnTo>
                  <a:lnTo>
                    <a:pt x="2108" y="1873"/>
                  </a:lnTo>
                  <a:lnTo>
                    <a:pt x="2108" y="1876"/>
                  </a:lnTo>
                  <a:lnTo>
                    <a:pt x="2110" y="1877"/>
                  </a:lnTo>
                  <a:lnTo>
                    <a:pt x="2108" y="1883"/>
                  </a:lnTo>
                  <a:lnTo>
                    <a:pt x="2110" y="1883"/>
                  </a:lnTo>
                  <a:lnTo>
                    <a:pt x="2112" y="1885"/>
                  </a:lnTo>
                  <a:lnTo>
                    <a:pt x="2110" y="1891"/>
                  </a:lnTo>
                  <a:lnTo>
                    <a:pt x="2105" y="1892"/>
                  </a:lnTo>
                  <a:lnTo>
                    <a:pt x="2100" y="1898"/>
                  </a:lnTo>
                  <a:lnTo>
                    <a:pt x="2099" y="1896"/>
                  </a:lnTo>
                  <a:lnTo>
                    <a:pt x="2097" y="1892"/>
                  </a:lnTo>
                  <a:lnTo>
                    <a:pt x="2094" y="1894"/>
                  </a:lnTo>
                  <a:lnTo>
                    <a:pt x="2096" y="1896"/>
                  </a:lnTo>
                  <a:lnTo>
                    <a:pt x="2094" y="1896"/>
                  </a:lnTo>
                  <a:lnTo>
                    <a:pt x="2093" y="1896"/>
                  </a:lnTo>
                  <a:lnTo>
                    <a:pt x="2093" y="1901"/>
                  </a:lnTo>
                  <a:lnTo>
                    <a:pt x="2094" y="1904"/>
                  </a:lnTo>
                  <a:lnTo>
                    <a:pt x="2097" y="1904"/>
                  </a:lnTo>
                  <a:lnTo>
                    <a:pt x="2097" y="1905"/>
                  </a:lnTo>
                  <a:lnTo>
                    <a:pt x="2094" y="1914"/>
                  </a:lnTo>
                  <a:lnTo>
                    <a:pt x="2087" y="1928"/>
                  </a:lnTo>
                  <a:lnTo>
                    <a:pt x="2085" y="1931"/>
                  </a:lnTo>
                  <a:lnTo>
                    <a:pt x="2083" y="1945"/>
                  </a:lnTo>
                  <a:lnTo>
                    <a:pt x="2074" y="1958"/>
                  </a:lnTo>
                  <a:lnTo>
                    <a:pt x="2072" y="1966"/>
                  </a:lnTo>
                  <a:lnTo>
                    <a:pt x="2068" y="1972"/>
                  </a:lnTo>
                  <a:lnTo>
                    <a:pt x="2064" y="1971"/>
                  </a:lnTo>
                  <a:lnTo>
                    <a:pt x="2061" y="1967"/>
                  </a:lnTo>
                  <a:lnTo>
                    <a:pt x="2062" y="1966"/>
                  </a:lnTo>
                  <a:lnTo>
                    <a:pt x="2060" y="1958"/>
                  </a:lnTo>
                  <a:lnTo>
                    <a:pt x="2062" y="1956"/>
                  </a:lnTo>
                  <a:lnTo>
                    <a:pt x="2062" y="1943"/>
                  </a:lnTo>
                  <a:lnTo>
                    <a:pt x="2060" y="1937"/>
                  </a:lnTo>
                  <a:lnTo>
                    <a:pt x="2054" y="1935"/>
                  </a:lnTo>
                  <a:lnTo>
                    <a:pt x="2054" y="1934"/>
                  </a:lnTo>
                  <a:lnTo>
                    <a:pt x="2051" y="1931"/>
                  </a:lnTo>
                  <a:lnTo>
                    <a:pt x="2050" y="1931"/>
                  </a:lnTo>
                  <a:lnTo>
                    <a:pt x="2052" y="1934"/>
                  </a:lnTo>
                  <a:lnTo>
                    <a:pt x="2051" y="1935"/>
                  </a:lnTo>
                  <a:lnTo>
                    <a:pt x="2046" y="1934"/>
                  </a:lnTo>
                  <a:lnTo>
                    <a:pt x="2037" y="1934"/>
                  </a:lnTo>
                  <a:lnTo>
                    <a:pt x="2036" y="1935"/>
                  </a:lnTo>
                  <a:lnTo>
                    <a:pt x="2035" y="1934"/>
                  </a:lnTo>
                  <a:lnTo>
                    <a:pt x="2029" y="1935"/>
                  </a:lnTo>
                  <a:lnTo>
                    <a:pt x="2022" y="1939"/>
                  </a:lnTo>
                  <a:lnTo>
                    <a:pt x="2014" y="1945"/>
                  </a:lnTo>
                  <a:lnTo>
                    <a:pt x="2010" y="1950"/>
                  </a:lnTo>
                  <a:lnTo>
                    <a:pt x="2010" y="1953"/>
                  </a:lnTo>
                  <a:lnTo>
                    <a:pt x="2008" y="1953"/>
                  </a:lnTo>
                  <a:lnTo>
                    <a:pt x="2005" y="1956"/>
                  </a:lnTo>
                  <a:lnTo>
                    <a:pt x="2004" y="1954"/>
                  </a:lnTo>
                  <a:lnTo>
                    <a:pt x="2004" y="1958"/>
                  </a:lnTo>
                  <a:lnTo>
                    <a:pt x="2005" y="1958"/>
                  </a:lnTo>
                  <a:lnTo>
                    <a:pt x="2001" y="1958"/>
                  </a:lnTo>
                  <a:lnTo>
                    <a:pt x="2002" y="1958"/>
                  </a:lnTo>
                  <a:lnTo>
                    <a:pt x="2001" y="1963"/>
                  </a:lnTo>
                  <a:lnTo>
                    <a:pt x="1994" y="1961"/>
                  </a:lnTo>
                  <a:lnTo>
                    <a:pt x="1993" y="1958"/>
                  </a:lnTo>
                  <a:lnTo>
                    <a:pt x="1994" y="1954"/>
                  </a:lnTo>
                  <a:lnTo>
                    <a:pt x="1990" y="1954"/>
                  </a:lnTo>
                  <a:lnTo>
                    <a:pt x="1987" y="1954"/>
                  </a:lnTo>
                  <a:lnTo>
                    <a:pt x="1986" y="1958"/>
                  </a:lnTo>
                  <a:lnTo>
                    <a:pt x="1990" y="1954"/>
                  </a:lnTo>
                  <a:lnTo>
                    <a:pt x="1991" y="1956"/>
                  </a:lnTo>
                  <a:lnTo>
                    <a:pt x="1989" y="1958"/>
                  </a:lnTo>
                  <a:lnTo>
                    <a:pt x="1991" y="1967"/>
                  </a:lnTo>
                  <a:lnTo>
                    <a:pt x="1987" y="1966"/>
                  </a:lnTo>
                  <a:lnTo>
                    <a:pt x="1982" y="1967"/>
                  </a:lnTo>
                  <a:lnTo>
                    <a:pt x="1985" y="1967"/>
                  </a:lnTo>
                  <a:lnTo>
                    <a:pt x="1986" y="1967"/>
                  </a:lnTo>
                  <a:lnTo>
                    <a:pt x="1987" y="1967"/>
                  </a:lnTo>
                  <a:lnTo>
                    <a:pt x="1989" y="1967"/>
                  </a:lnTo>
                  <a:lnTo>
                    <a:pt x="1987" y="1971"/>
                  </a:lnTo>
                  <a:lnTo>
                    <a:pt x="1989" y="1972"/>
                  </a:lnTo>
                  <a:lnTo>
                    <a:pt x="1983" y="1985"/>
                  </a:lnTo>
                  <a:lnTo>
                    <a:pt x="1982" y="1993"/>
                  </a:lnTo>
                  <a:lnTo>
                    <a:pt x="1985" y="1995"/>
                  </a:lnTo>
                  <a:lnTo>
                    <a:pt x="1983" y="1998"/>
                  </a:lnTo>
                  <a:lnTo>
                    <a:pt x="1986" y="2001"/>
                  </a:lnTo>
                  <a:lnTo>
                    <a:pt x="1987" y="2006"/>
                  </a:lnTo>
                  <a:lnTo>
                    <a:pt x="1991" y="2008"/>
                  </a:lnTo>
                  <a:lnTo>
                    <a:pt x="1991" y="2012"/>
                  </a:lnTo>
                  <a:lnTo>
                    <a:pt x="2004" y="2023"/>
                  </a:lnTo>
                  <a:lnTo>
                    <a:pt x="2004" y="2025"/>
                  </a:lnTo>
                  <a:lnTo>
                    <a:pt x="2001" y="2025"/>
                  </a:lnTo>
                  <a:lnTo>
                    <a:pt x="2002" y="2025"/>
                  </a:lnTo>
                  <a:lnTo>
                    <a:pt x="2001" y="2028"/>
                  </a:lnTo>
                  <a:lnTo>
                    <a:pt x="2004" y="2028"/>
                  </a:lnTo>
                  <a:lnTo>
                    <a:pt x="2007" y="2033"/>
                  </a:lnTo>
                  <a:lnTo>
                    <a:pt x="2010" y="2037"/>
                  </a:lnTo>
                  <a:lnTo>
                    <a:pt x="2012" y="2041"/>
                  </a:lnTo>
                  <a:lnTo>
                    <a:pt x="2010" y="2041"/>
                  </a:lnTo>
                  <a:lnTo>
                    <a:pt x="2012" y="2043"/>
                  </a:lnTo>
                  <a:lnTo>
                    <a:pt x="2011" y="2043"/>
                  </a:lnTo>
                  <a:lnTo>
                    <a:pt x="2010" y="2047"/>
                  </a:lnTo>
                  <a:lnTo>
                    <a:pt x="2010" y="2050"/>
                  </a:lnTo>
                  <a:lnTo>
                    <a:pt x="2007" y="2051"/>
                  </a:lnTo>
                  <a:lnTo>
                    <a:pt x="2011" y="2051"/>
                  </a:lnTo>
                  <a:lnTo>
                    <a:pt x="2012" y="2051"/>
                  </a:lnTo>
                  <a:lnTo>
                    <a:pt x="2022" y="2050"/>
                  </a:lnTo>
                  <a:lnTo>
                    <a:pt x="2027" y="2050"/>
                  </a:lnTo>
                  <a:lnTo>
                    <a:pt x="2026" y="2057"/>
                  </a:lnTo>
                  <a:lnTo>
                    <a:pt x="2033" y="2060"/>
                  </a:lnTo>
                  <a:lnTo>
                    <a:pt x="2032" y="2059"/>
                  </a:lnTo>
                  <a:lnTo>
                    <a:pt x="2029" y="2057"/>
                  </a:lnTo>
                  <a:lnTo>
                    <a:pt x="2030" y="2051"/>
                  </a:lnTo>
                  <a:lnTo>
                    <a:pt x="2039" y="2055"/>
                  </a:lnTo>
                  <a:lnTo>
                    <a:pt x="2040" y="2051"/>
                  </a:lnTo>
                  <a:lnTo>
                    <a:pt x="2046" y="2055"/>
                  </a:lnTo>
                  <a:lnTo>
                    <a:pt x="2050" y="2051"/>
                  </a:lnTo>
                  <a:lnTo>
                    <a:pt x="2046" y="2057"/>
                  </a:lnTo>
                  <a:lnTo>
                    <a:pt x="2049" y="2063"/>
                  </a:lnTo>
                  <a:lnTo>
                    <a:pt x="2049" y="2070"/>
                  </a:lnTo>
                  <a:lnTo>
                    <a:pt x="2050" y="2066"/>
                  </a:lnTo>
                  <a:lnTo>
                    <a:pt x="2051" y="2065"/>
                  </a:lnTo>
                  <a:lnTo>
                    <a:pt x="2052" y="2066"/>
                  </a:lnTo>
                  <a:lnTo>
                    <a:pt x="2051" y="2070"/>
                  </a:lnTo>
                  <a:lnTo>
                    <a:pt x="2052" y="2070"/>
                  </a:lnTo>
                  <a:lnTo>
                    <a:pt x="2055" y="2066"/>
                  </a:lnTo>
                  <a:lnTo>
                    <a:pt x="2055" y="2060"/>
                  </a:lnTo>
                  <a:lnTo>
                    <a:pt x="2061" y="2057"/>
                  </a:lnTo>
                  <a:lnTo>
                    <a:pt x="2064" y="2057"/>
                  </a:lnTo>
                  <a:lnTo>
                    <a:pt x="2068" y="2051"/>
                  </a:lnTo>
                  <a:lnTo>
                    <a:pt x="2066" y="2047"/>
                  </a:lnTo>
                  <a:lnTo>
                    <a:pt x="2069" y="2043"/>
                  </a:lnTo>
                  <a:lnTo>
                    <a:pt x="2068" y="2043"/>
                  </a:lnTo>
                  <a:lnTo>
                    <a:pt x="2071" y="2034"/>
                  </a:lnTo>
                  <a:lnTo>
                    <a:pt x="2071" y="2030"/>
                  </a:lnTo>
                  <a:lnTo>
                    <a:pt x="2069" y="2030"/>
                  </a:lnTo>
                  <a:lnTo>
                    <a:pt x="2071" y="2028"/>
                  </a:lnTo>
                  <a:lnTo>
                    <a:pt x="2071" y="2025"/>
                  </a:lnTo>
                  <a:lnTo>
                    <a:pt x="2069" y="2016"/>
                  </a:lnTo>
                  <a:lnTo>
                    <a:pt x="2065" y="2012"/>
                  </a:lnTo>
                  <a:lnTo>
                    <a:pt x="2052" y="2003"/>
                  </a:lnTo>
                  <a:lnTo>
                    <a:pt x="2046" y="2003"/>
                  </a:lnTo>
                  <a:lnTo>
                    <a:pt x="2044" y="2001"/>
                  </a:lnTo>
                  <a:lnTo>
                    <a:pt x="2046" y="1998"/>
                  </a:lnTo>
                  <a:lnTo>
                    <a:pt x="2049" y="1997"/>
                  </a:lnTo>
                  <a:lnTo>
                    <a:pt x="2050" y="1995"/>
                  </a:lnTo>
                  <a:lnTo>
                    <a:pt x="2054" y="1995"/>
                  </a:lnTo>
                  <a:lnTo>
                    <a:pt x="2058" y="1989"/>
                  </a:lnTo>
                  <a:lnTo>
                    <a:pt x="2064" y="1989"/>
                  </a:lnTo>
                  <a:lnTo>
                    <a:pt x="2069" y="1993"/>
                  </a:lnTo>
                  <a:lnTo>
                    <a:pt x="2074" y="1997"/>
                  </a:lnTo>
                  <a:lnTo>
                    <a:pt x="2080" y="1998"/>
                  </a:lnTo>
                  <a:lnTo>
                    <a:pt x="2083" y="1998"/>
                  </a:lnTo>
                  <a:lnTo>
                    <a:pt x="2089" y="2003"/>
                  </a:lnTo>
                  <a:lnTo>
                    <a:pt x="2093" y="2006"/>
                  </a:lnTo>
                  <a:lnTo>
                    <a:pt x="2099" y="2006"/>
                  </a:lnTo>
                  <a:lnTo>
                    <a:pt x="2104" y="2003"/>
                  </a:lnTo>
                  <a:lnTo>
                    <a:pt x="2114" y="2001"/>
                  </a:lnTo>
                  <a:lnTo>
                    <a:pt x="2117" y="1998"/>
                  </a:lnTo>
                  <a:lnTo>
                    <a:pt x="2128" y="2003"/>
                  </a:lnTo>
                  <a:lnTo>
                    <a:pt x="2131" y="2008"/>
                  </a:lnTo>
                  <a:lnTo>
                    <a:pt x="2129" y="2021"/>
                  </a:lnTo>
                  <a:lnTo>
                    <a:pt x="2118" y="2051"/>
                  </a:lnTo>
                  <a:lnTo>
                    <a:pt x="2107" y="2070"/>
                  </a:lnTo>
                  <a:lnTo>
                    <a:pt x="2101" y="2091"/>
                  </a:lnTo>
                  <a:lnTo>
                    <a:pt x="2103" y="2102"/>
                  </a:lnTo>
                  <a:lnTo>
                    <a:pt x="2101" y="2109"/>
                  </a:lnTo>
                  <a:lnTo>
                    <a:pt x="2104" y="2124"/>
                  </a:lnTo>
                  <a:lnTo>
                    <a:pt x="2104" y="2132"/>
                  </a:lnTo>
                  <a:lnTo>
                    <a:pt x="2105" y="2137"/>
                  </a:lnTo>
                  <a:lnTo>
                    <a:pt x="2107" y="2141"/>
                  </a:lnTo>
                  <a:lnTo>
                    <a:pt x="2110" y="2149"/>
                  </a:lnTo>
                  <a:lnTo>
                    <a:pt x="2110" y="2170"/>
                  </a:lnTo>
                  <a:lnTo>
                    <a:pt x="2108" y="2189"/>
                  </a:lnTo>
                  <a:lnTo>
                    <a:pt x="2105" y="2203"/>
                  </a:lnTo>
                  <a:lnTo>
                    <a:pt x="2105" y="2211"/>
                  </a:lnTo>
                  <a:lnTo>
                    <a:pt x="2108" y="2221"/>
                  </a:lnTo>
                  <a:lnTo>
                    <a:pt x="2107" y="2231"/>
                  </a:lnTo>
                  <a:lnTo>
                    <a:pt x="2108" y="2234"/>
                  </a:lnTo>
                  <a:lnTo>
                    <a:pt x="2111" y="2248"/>
                  </a:lnTo>
                  <a:lnTo>
                    <a:pt x="2108" y="2261"/>
                  </a:lnTo>
                  <a:lnTo>
                    <a:pt x="2111" y="2273"/>
                  </a:lnTo>
                  <a:lnTo>
                    <a:pt x="2111" y="2283"/>
                  </a:lnTo>
                  <a:lnTo>
                    <a:pt x="2115" y="2286"/>
                  </a:lnTo>
                  <a:lnTo>
                    <a:pt x="2115" y="2289"/>
                  </a:lnTo>
                  <a:lnTo>
                    <a:pt x="2122" y="2296"/>
                  </a:lnTo>
                  <a:lnTo>
                    <a:pt x="2125" y="2302"/>
                  </a:lnTo>
                  <a:lnTo>
                    <a:pt x="2125" y="2309"/>
                  </a:lnTo>
                  <a:lnTo>
                    <a:pt x="2126" y="2315"/>
                  </a:lnTo>
                  <a:lnTo>
                    <a:pt x="2128" y="2321"/>
                  </a:lnTo>
                  <a:lnTo>
                    <a:pt x="2125" y="2341"/>
                  </a:lnTo>
                  <a:lnTo>
                    <a:pt x="2122" y="2351"/>
                  </a:lnTo>
                  <a:lnTo>
                    <a:pt x="2110" y="2357"/>
                  </a:lnTo>
                  <a:lnTo>
                    <a:pt x="2103" y="2364"/>
                  </a:lnTo>
                  <a:lnTo>
                    <a:pt x="2091" y="2385"/>
                  </a:lnTo>
                  <a:lnTo>
                    <a:pt x="2087" y="2399"/>
                  </a:lnTo>
                  <a:lnTo>
                    <a:pt x="2087" y="2407"/>
                  </a:lnTo>
                  <a:lnTo>
                    <a:pt x="2087" y="2412"/>
                  </a:lnTo>
                  <a:lnTo>
                    <a:pt x="2087" y="2415"/>
                  </a:lnTo>
                  <a:lnTo>
                    <a:pt x="2080" y="2431"/>
                  </a:lnTo>
                  <a:lnTo>
                    <a:pt x="2080" y="2439"/>
                  </a:lnTo>
                  <a:lnTo>
                    <a:pt x="2082" y="2439"/>
                  </a:lnTo>
                  <a:lnTo>
                    <a:pt x="2079" y="2439"/>
                  </a:lnTo>
                  <a:lnTo>
                    <a:pt x="2079" y="2437"/>
                  </a:lnTo>
                  <a:lnTo>
                    <a:pt x="2074" y="2437"/>
                  </a:lnTo>
                  <a:lnTo>
                    <a:pt x="2069" y="2444"/>
                  </a:lnTo>
                  <a:lnTo>
                    <a:pt x="2068" y="2444"/>
                  </a:lnTo>
                  <a:lnTo>
                    <a:pt x="2066" y="2444"/>
                  </a:lnTo>
                  <a:lnTo>
                    <a:pt x="2064" y="2444"/>
                  </a:lnTo>
                  <a:lnTo>
                    <a:pt x="2055" y="2443"/>
                  </a:lnTo>
                  <a:lnTo>
                    <a:pt x="2044" y="2451"/>
                  </a:lnTo>
                  <a:lnTo>
                    <a:pt x="2041" y="2451"/>
                  </a:lnTo>
                  <a:lnTo>
                    <a:pt x="2035" y="2444"/>
                  </a:lnTo>
                  <a:lnTo>
                    <a:pt x="2027" y="2444"/>
                  </a:lnTo>
                  <a:lnTo>
                    <a:pt x="2025" y="2439"/>
                  </a:lnTo>
                  <a:lnTo>
                    <a:pt x="2022" y="2435"/>
                  </a:lnTo>
                  <a:lnTo>
                    <a:pt x="2019" y="2430"/>
                  </a:lnTo>
                  <a:lnTo>
                    <a:pt x="2021" y="2422"/>
                  </a:lnTo>
                  <a:lnTo>
                    <a:pt x="2019" y="2412"/>
                  </a:lnTo>
                  <a:lnTo>
                    <a:pt x="2018" y="2408"/>
                  </a:lnTo>
                  <a:lnTo>
                    <a:pt x="2015" y="2407"/>
                  </a:lnTo>
                  <a:lnTo>
                    <a:pt x="2007" y="2407"/>
                  </a:lnTo>
                  <a:lnTo>
                    <a:pt x="2004" y="2403"/>
                  </a:lnTo>
                  <a:lnTo>
                    <a:pt x="1999" y="2399"/>
                  </a:lnTo>
                  <a:lnTo>
                    <a:pt x="1994" y="2395"/>
                  </a:lnTo>
                  <a:lnTo>
                    <a:pt x="1991" y="2395"/>
                  </a:lnTo>
                  <a:lnTo>
                    <a:pt x="1983" y="2399"/>
                  </a:lnTo>
                  <a:lnTo>
                    <a:pt x="1975" y="2398"/>
                  </a:lnTo>
                  <a:lnTo>
                    <a:pt x="1968" y="2399"/>
                  </a:lnTo>
                  <a:lnTo>
                    <a:pt x="1962" y="2399"/>
                  </a:lnTo>
                  <a:lnTo>
                    <a:pt x="1954" y="2395"/>
                  </a:lnTo>
                  <a:lnTo>
                    <a:pt x="1944" y="2395"/>
                  </a:lnTo>
                  <a:lnTo>
                    <a:pt x="1941" y="2398"/>
                  </a:lnTo>
                  <a:lnTo>
                    <a:pt x="1937" y="2398"/>
                  </a:lnTo>
                  <a:lnTo>
                    <a:pt x="1933" y="2399"/>
                  </a:lnTo>
                  <a:lnTo>
                    <a:pt x="1925" y="2403"/>
                  </a:lnTo>
                  <a:lnTo>
                    <a:pt x="1922" y="2407"/>
                  </a:lnTo>
                  <a:lnTo>
                    <a:pt x="1916" y="2408"/>
                  </a:lnTo>
                  <a:lnTo>
                    <a:pt x="1912" y="2411"/>
                  </a:lnTo>
                  <a:lnTo>
                    <a:pt x="1897" y="2403"/>
                  </a:lnTo>
                  <a:lnTo>
                    <a:pt x="1889" y="2408"/>
                  </a:lnTo>
                  <a:lnTo>
                    <a:pt x="1883" y="2415"/>
                  </a:lnTo>
                  <a:lnTo>
                    <a:pt x="1871" y="2418"/>
                  </a:lnTo>
                  <a:lnTo>
                    <a:pt x="1865" y="2416"/>
                  </a:lnTo>
                  <a:lnTo>
                    <a:pt x="1859" y="2420"/>
                  </a:lnTo>
                  <a:lnTo>
                    <a:pt x="1847" y="2420"/>
                  </a:lnTo>
                  <a:lnTo>
                    <a:pt x="1840" y="2426"/>
                  </a:lnTo>
                  <a:lnTo>
                    <a:pt x="1837" y="2431"/>
                  </a:lnTo>
                  <a:lnTo>
                    <a:pt x="1829" y="2431"/>
                  </a:lnTo>
                  <a:lnTo>
                    <a:pt x="1825" y="2426"/>
                  </a:lnTo>
                  <a:lnTo>
                    <a:pt x="1822" y="2420"/>
                  </a:lnTo>
                  <a:lnTo>
                    <a:pt x="1818" y="2416"/>
                  </a:lnTo>
                  <a:lnTo>
                    <a:pt x="1815" y="2412"/>
                  </a:lnTo>
                  <a:lnTo>
                    <a:pt x="1808" y="2412"/>
                  </a:lnTo>
                  <a:lnTo>
                    <a:pt x="1805" y="2403"/>
                  </a:lnTo>
                  <a:lnTo>
                    <a:pt x="1791" y="2402"/>
                  </a:lnTo>
                  <a:lnTo>
                    <a:pt x="1776" y="2403"/>
                  </a:lnTo>
                  <a:lnTo>
                    <a:pt x="1773" y="2399"/>
                  </a:lnTo>
                  <a:lnTo>
                    <a:pt x="1769" y="2390"/>
                  </a:lnTo>
                  <a:lnTo>
                    <a:pt x="1755" y="2389"/>
                  </a:lnTo>
                  <a:lnTo>
                    <a:pt x="1744" y="2389"/>
                  </a:lnTo>
                  <a:lnTo>
                    <a:pt x="1741" y="2390"/>
                  </a:lnTo>
                  <a:lnTo>
                    <a:pt x="1744" y="2395"/>
                  </a:lnTo>
                  <a:lnTo>
                    <a:pt x="1748" y="2403"/>
                  </a:lnTo>
                  <a:lnTo>
                    <a:pt x="1750" y="2408"/>
                  </a:lnTo>
                  <a:lnTo>
                    <a:pt x="1750" y="2412"/>
                  </a:lnTo>
                  <a:lnTo>
                    <a:pt x="1745" y="2416"/>
                  </a:lnTo>
                  <a:lnTo>
                    <a:pt x="1733" y="2416"/>
                  </a:lnTo>
                  <a:lnTo>
                    <a:pt x="1698" y="2430"/>
                  </a:lnTo>
                  <a:lnTo>
                    <a:pt x="1688" y="2431"/>
                  </a:lnTo>
                  <a:lnTo>
                    <a:pt x="1683" y="2435"/>
                  </a:lnTo>
                  <a:lnTo>
                    <a:pt x="1675" y="2437"/>
                  </a:lnTo>
                  <a:lnTo>
                    <a:pt x="1658" y="2439"/>
                  </a:lnTo>
                  <a:lnTo>
                    <a:pt x="1658" y="2444"/>
                  </a:lnTo>
                  <a:lnTo>
                    <a:pt x="1658" y="2453"/>
                  </a:lnTo>
                  <a:lnTo>
                    <a:pt x="1651" y="2465"/>
                  </a:lnTo>
                  <a:lnTo>
                    <a:pt x="1648" y="2466"/>
                  </a:lnTo>
                  <a:lnTo>
                    <a:pt x="1642" y="2480"/>
                  </a:lnTo>
                  <a:lnTo>
                    <a:pt x="1626" y="2489"/>
                  </a:lnTo>
                  <a:lnTo>
                    <a:pt x="1622" y="2492"/>
                  </a:lnTo>
                  <a:lnTo>
                    <a:pt x="1617" y="2492"/>
                  </a:lnTo>
                  <a:lnTo>
                    <a:pt x="1615" y="2493"/>
                  </a:lnTo>
                  <a:lnTo>
                    <a:pt x="1603" y="2501"/>
                  </a:lnTo>
                  <a:lnTo>
                    <a:pt x="1602" y="2509"/>
                  </a:lnTo>
                  <a:lnTo>
                    <a:pt x="1606" y="2511"/>
                  </a:lnTo>
                  <a:lnTo>
                    <a:pt x="1603" y="2518"/>
                  </a:lnTo>
                  <a:lnTo>
                    <a:pt x="1595" y="2527"/>
                  </a:lnTo>
                  <a:lnTo>
                    <a:pt x="1592" y="2527"/>
                  </a:lnTo>
                  <a:lnTo>
                    <a:pt x="1584" y="2542"/>
                  </a:lnTo>
                  <a:lnTo>
                    <a:pt x="1577" y="2545"/>
                  </a:lnTo>
                  <a:lnTo>
                    <a:pt x="1573" y="2551"/>
                  </a:lnTo>
                  <a:lnTo>
                    <a:pt x="1569" y="2555"/>
                  </a:lnTo>
                  <a:lnTo>
                    <a:pt x="1563" y="2557"/>
                  </a:lnTo>
                  <a:lnTo>
                    <a:pt x="1560" y="2559"/>
                  </a:lnTo>
                  <a:lnTo>
                    <a:pt x="1553" y="2564"/>
                  </a:lnTo>
                  <a:lnTo>
                    <a:pt x="1549" y="2568"/>
                  </a:lnTo>
                  <a:lnTo>
                    <a:pt x="1548" y="2572"/>
                  </a:lnTo>
                  <a:lnTo>
                    <a:pt x="1544" y="2576"/>
                  </a:lnTo>
                  <a:lnTo>
                    <a:pt x="1528" y="2576"/>
                  </a:lnTo>
                  <a:lnTo>
                    <a:pt x="1523" y="2573"/>
                  </a:lnTo>
                  <a:lnTo>
                    <a:pt x="1520" y="2573"/>
                  </a:lnTo>
                  <a:lnTo>
                    <a:pt x="1512" y="2577"/>
                  </a:lnTo>
                  <a:lnTo>
                    <a:pt x="1509" y="2577"/>
                  </a:lnTo>
                  <a:lnTo>
                    <a:pt x="1505" y="2573"/>
                  </a:lnTo>
                  <a:lnTo>
                    <a:pt x="1499" y="2576"/>
                  </a:lnTo>
                  <a:lnTo>
                    <a:pt x="1492" y="2573"/>
                  </a:lnTo>
                  <a:lnTo>
                    <a:pt x="1488" y="2576"/>
                  </a:lnTo>
                  <a:lnTo>
                    <a:pt x="1477" y="2568"/>
                  </a:lnTo>
                  <a:lnTo>
                    <a:pt x="1473" y="2568"/>
                  </a:lnTo>
                  <a:lnTo>
                    <a:pt x="1467" y="2564"/>
                  </a:lnTo>
                  <a:lnTo>
                    <a:pt x="1460" y="2562"/>
                  </a:lnTo>
                  <a:lnTo>
                    <a:pt x="1455" y="2564"/>
                  </a:lnTo>
                  <a:lnTo>
                    <a:pt x="1453" y="2572"/>
                  </a:lnTo>
                  <a:lnTo>
                    <a:pt x="1443" y="2577"/>
                  </a:lnTo>
                  <a:lnTo>
                    <a:pt x="1434" y="2580"/>
                  </a:lnTo>
                  <a:lnTo>
                    <a:pt x="1430" y="2586"/>
                  </a:lnTo>
                  <a:lnTo>
                    <a:pt x="1420" y="2594"/>
                  </a:lnTo>
                  <a:lnTo>
                    <a:pt x="1401" y="2598"/>
                  </a:lnTo>
                  <a:lnTo>
                    <a:pt x="1396" y="2602"/>
                  </a:lnTo>
                  <a:lnTo>
                    <a:pt x="1395" y="2607"/>
                  </a:lnTo>
                  <a:lnTo>
                    <a:pt x="1390" y="2609"/>
                  </a:lnTo>
                  <a:lnTo>
                    <a:pt x="1387" y="2612"/>
                  </a:lnTo>
                  <a:lnTo>
                    <a:pt x="1382" y="2617"/>
                  </a:lnTo>
                  <a:lnTo>
                    <a:pt x="1377" y="2618"/>
                  </a:lnTo>
                  <a:lnTo>
                    <a:pt x="1373" y="2615"/>
                  </a:lnTo>
                  <a:lnTo>
                    <a:pt x="1367" y="2618"/>
                  </a:lnTo>
                  <a:lnTo>
                    <a:pt x="1359" y="2617"/>
                  </a:lnTo>
                  <a:lnTo>
                    <a:pt x="1355" y="2618"/>
                  </a:lnTo>
                  <a:lnTo>
                    <a:pt x="1352" y="2621"/>
                  </a:lnTo>
                  <a:lnTo>
                    <a:pt x="1346" y="2622"/>
                  </a:lnTo>
                  <a:lnTo>
                    <a:pt x="1338" y="2618"/>
                  </a:lnTo>
                  <a:lnTo>
                    <a:pt x="1334" y="2618"/>
                  </a:lnTo>
                  <a:lnTo>
                    <a:pt x="1330" y="2622"/>
                  </a:lnTo>
                  <a:lnTo>
                    <a:pt x="1328" y="2622"/>
                  </a:lnTo>
                  <a:lnTo>
                    <a:pt x="1324" y="2626"/>
                  </a:lnTo>
                  <a:lnTo>
                    <a:pt x="1323" y="2630"/>
                  </a:lnTo>
                  <a:lnTo>
                    <a:pt x="1318" y="2634"/>
                  </a:lnTo>
                  <a:lnTo>
                    <a:pt x="1309" y="2634"/>
                  </a:lnTo>
                  <a:lnTo>
                    <a:pt x="1307" y="2634"/>
                  </a:lnTo>
                  <a:lnTo>
                    <a:pt x="1306" y="2638"/>
                  </a:lnTo>
                  <a:lnTo>
                    <a:pt x="1298" y="2638"/>
                  </a:lnTo>
                  <a:lnTo>
                    <a:pt x="1291" y="2635"/>
                  </a:lnTo>
                  <a:lnTo>
                    <a:pt x="1286" y="2638"/>
                  </a:lnTo>
                  <a:lnTo>
                    <a:pt x="1284" y="2638"/>
                  </a:lnTo>
                  <a:lnTo>
                    <a:pt x="1281" y="2639"/>
                  </a:lnTo>
                  <a:lnTo>
                    <a:pt x="1273" y="2640"/>
                  </a:lnTo>
                  <a:lnTo>
                    <a:pt x="1270" y="2640"/>
                  </a:lnTo>
                  <a:lnTo>
                    <a:pt x="1270" y="2644"/>
                  </a:lnTo>
                  <a:lnTo>
                    <a:pt x="1267" y="2644"/>
                  </a:lnTo>
                  <a:lnTo>
                    <a:pt x="1266" y="2648"/>
                  </a:lnTo>
                  <a:lnTo>
                    <a:pt x="1256" y="2652"/>
                  </a:lnTo>
                  <a:lnTo>
                    <a:pt x="1256" y="2656"/>
                  </a:lnTo>
                  <a:lnTo>
                    <a:pt x="1253" y="2656"/>
                  </a:lnTo>
                  <a:lnTo>
                    <a:pt x="1242" y="2661"/>
                  </a:lnTo>
                  <a:lnTo>
                    <a:pt x="1236" y="2667"/>
                  </a:lnTo>
                  <a:lnTo>
                    <a:pt x="1235" y="2679"/>
                  </a:lnTo>
                  <a:lnTo>
                    <a:pt x="1232" y="2686"/>
                  </a:lnTo>
                  <a:lnTo>
                    <a:pt x="1228" y="2689"/>
                  </a:lnTo>
                  <a:lnTo>
                    <a:pt x="1228" y="2693"/>
                  </a:lnTo>
                  <a:lnTo>
                    <a:pt x="1221" y="2696"/>
                  </a:lnTo>
                  <a:lnTo>
                    <a:pt x="1218" y="2701"/>
                  </a:lnTo>
                  <a:lnTo>
                    <a:pt x="1210" y="2705"/>
                  </a:lnTo>
                  <a:lnTo>
                    <a:pt x="1208" y="2706"/>
                  </a:lnTo>
                  <a:lnTo>
                    <a:pt x="1208" y="2710"/>
                  </a:lnTo>
                  <a:lnTo>
                    <a:pt x="1205" y="2714"/>
                  </a:lnTo>
                  <a:lnTo>
                    <a:pt x="1196" y="2714"/>
                  </a:lnTo>
                  <a:lnTo>
                    <a:pt x="1189" y="2710"/>
                  </a:lnTo>
                  <a:lnTo>
                    <a:pt x="1182" y="2711"/>
                  </a:lnTo>
                  <a:lnTo>
                    <a:pt x="1180" y="2714"/>
                  </a:lnTo>
                  <a:lnTo>
                    <a:pt x="1171" y="2716"/>
                  </a:lnTo>
                  <a:lnTo>
                    <a:pt x="1167" y="2714"/>
                  </a:lnTo>
                  <a:lnTo>
                    <a:pt x="1161" y="2716"/>
                  </a:lnTo>
                  <a:lnTo>
                    <a:pt x="1158" y="2716"/>
                  </a:lnTo>
                  <a:lnTo>
                    <a:pt x="1157" y="2722"/>
                  </a:lnTo>
                  <a:lnTo>
                    <a:pt x="1150" y="2722"/>
                  </a:lnTo>
                  <a:lnTo>
                    <a:pt x="1147" y="2725"/>
                  </a:lnTo>
                  <a:lnTo>
                    <a:pt x="1142" y="2725"/>
                  </a:lnTo>
                  <a:lnTo>
                    <a:pt x="1138" y="2727"/>
                  </a:lnTo>
                  <a:lnTo>
                    <a:pt x="1136" y="2738"/>
                  </a:lnTo>
                  <a:lnTo>
                    <a:pt x="1133" y="2742"/>
                  </a:lnTo>
                  <a:lnTo>
                    <a:pt x="1127" y="2742"/>
                  </a:lnTo>
                  <a:lnTo>
                    <a:pt x="1121" y="2747"/>
                  </a:lnTo>
                  <a:lnTo>
                    <a:pt x="1114" y="2747"/>
                  </a:lnTo>
                  <a:lnTo>
                    <a:pt x="1113" y="2750"/>
                  </a:lnTo>
                  <a:lnTo>
                    <a:pt x="1110" y="2747"/>
                  </a:lnTo>
                  <a:lnTo>
                    <a:pt x="1106" y="2751"/>
                  </a:lnTo>
                  <a:lnTo>
                    <a:pt x="1096" y="2754"/>
                  </a:lnTo>
                  <a:lnTo>
                    <a:pt x="1089" y="2751"/>
                  </a:lnTo>
                  <a:lnTo>
                    <a:pt x="1085" y="2754"/>
                  </a:lnTo>
                  <a:lnTo>
                    <a:pt x="1078" y="2758"/>
                  </a:lnTo>
                  <a:lnTo>
                    <a:pt x="1077" y="2763"/>
                  </a:lnTo>
                  <a:lnTo>
                    <a:pt x="1072" y="2768"/>
                  </a:lnTo>
                  <a:lnTo>
                    <a:pt x="1066" y="2770"/>
                  </a:lnTo>
                  <a:lnTo>
                    <a:pt x="1061" y="2772"/>
                  </a:lnTo>
                  <a:lnTo>
                    <a:pt x="1056" y="2772"/>
                  </a:lnTo>
                  <a:lnTo>
                    <a:pt x="1052" y="2773"/>
                  </a:lnTo>
                  <a:lnTo>
                    <a:pt x="1050" y="2781"/>
                  </a:lnTo>
                  <a:lnTo>
                    <a:pt x="1047" y="2783"/>
                  </a:lnTo>
                  <a:lnTo>
                    <a:pt x="1043" y="2785"/>
                  </a:lnTo>
                  <a:lnTo>
                    <a:pt x="1038" y="2789"/>
                  </a:lnTo>
                  <a:lnTo>
                    <a:pt x="1022" y="2793"/>
                  </a:lnTo>
                  <a:lnTo>
                    <a:pt x="1018" y="2798"/>
                  </a:lnTo>
                  <a:lnTo>
                    <a:pt x="1008" y="2804"/>
                  </a:lnTo>
                  <a:lnTo>
                    <a:pt x="1003" y="2800"/>
                  </a:lnTo>
                  <a:lnTo>
                    <a:pt x="1000" y="2796"/>
                  </a:lnTo>
                  <a:lnTo>
                    <a:pt x="996" y="2793"/>
                  </a:lnTo>
                  <a:lnTo>
                    <a:pt x="985" y="2789"/>
                  </a:lnTo>
                  <a:lnTo>
                    <a:pt x="979" y="2783"/>
                  </a:lnTo>
                  <a:lnTo>
                    <a:pt x="971" y="2783"/>
                  </a:lnTo>
                  <a:lnTo>
                    <a:pt x="961" y="2789"/>
                  </a:lnTo>
                  <a:lnTo>
                    <a:pt x="953" y="2791"/>
                  </a:lnTo>
                  <a:lnTo>
                    <a:pt x="947" y="2795"/>
                  </a:lnTo>
                  <a:lnTo>
                    <a:pt x="939" y="2800"/>
                  </a:lnTo>
                  <a:lnTo>
                    <a:pt x="934" y="2803"/>
                  </a:lnTo>
                  <a:lnTo>
                    <a:pt x="925" y="2805"/>
                  </a:lnTo>
                  <a:lnTo>
                    <a:pt x="923" y="2809"/>
                  </a:lnTo>
                  <a:lnTo>
                    <a:pt x="923" y="2817"/>
                  </a:lnTo>
                  <a:lnTo>
                    <a:pt x="919" y="2822"/>
                  </a:lnTo>
                  <a:lnTo>
                    <a:pt x="906" y="2831"/>
                  </a:lnTo>
                  <a:lnTo>
                    <a:pt x="890" y="2845"/>
                  </a:lnTo>
                  <a:lnTo>
                    <a:pt x="879" y="2847"/>
                  </a:lnTo>
                  <a:lnTo>
                    <a:pt x="873" y="2845"/>
                  </a:lnTo>
                  <a:lnTo>
                    <a:pt x="865" y="2845"/>
                  </a:lnTo>
                  <a:lnTo>
                    <a:pt x="861" y="2843"/>
                  </a:lnTo>
                  <a:lnTo>
                    <a:pt x="853" y="2845"/>
                  </a:lnTo>
                  <a:lnTo>
                    <a:pt x="848" y="2845"/>
                  </a:lnTo>
                  <a:lnTo>
                    <a:pt x="840" y="2848"/>
                  </a:lnTo>
                  <a:lnTo>
                    <a:pt x="832" y="2851"/>
                  </a:lnTo>
                  <a:lnTo>
                    <a:pt x="829" y="2856"/>
                  </a:lnTo>
                  <a:lnTo>
                    <a:pt x="819" y="2862"/>
                  </a:lnTo>
                  <a:lnTo>
                    <a:pt x="815" y="2867"/>
                  </a:lnTo>
                  <a:lnTo>
                    <a:pt x="809" y="2871"/>
                  </a:lnTo>
                  <a:lnTo>
                    <a:pt x="800" y="2871"/>
                  </a:lnTo>
                  <a:lnTo>
                    <a:pt x="775" y="2884"/>
                  </a:lnTo>
                  <a:lnTo>
                    <a:pt x="767" y="2887"/>
                  </a:lnTo>
                  <a:lnTo>
                    <a:pt x="758" y="2890"/>
                  </a:lnTo>
                  <a:lnTo>
                    <a:pt x="750" y="2893"/>
                  </a:lnTo>
                  <a:lnTo>
                    <a:pt x="743" y="2903"/>
                  </a:lnTo>
                  <a:lnTo>
                    <a:pt x="737" y="2909"/>
                  </a:lnTo>
                  <a:lnTo>
                    <a:pt x="729" y="2912"/>
                  </a:lnTo>
                  <a:lnTo>
                    <a:pt x="722" y="2920"/>
                  </a:lnTo>
                  <a:lnTo>
                    <a:pt x="715" y="2922"/>
                  </a:lnTo>
                  <a:lnTo>
                    <a:pt x="711" y="2924"/>
                  </a:lnTo>
                  <a:lnTo>
                    <a:pt x="701" y="2929"/>
                  </a:lnTo>
                  <a:lnTo>
                    <a:pt x="697" y="2929"/>
                  </a:lnTo>
                  <a:lnTo>
                    <a:pt x="693" y="2925"/>
                  </a:lnTo>
                  <a:lnTo>
                    <a:pt x="688" y="2918"/>
                  </a:lnTo>
                  <a:lnTo>
                    <a:pt x="684" y="2918"/>
                  </a:lnTo>
                  <a:lnTo>
                    <a:pt x="669" y="2929"/>
                  </a:lnTo>
                  <a:lnTo>
                    <a:pt x="662" y="2933"/>
                  </a:lnTo>
                  <a:lnTo>
                    <a:pt x="657" y="2934"/>
                  </a:lnTo>
                  <a:lnTo>
                    <a:pt x="640" y="2942"/>
                  </a:lnTo>
                  <a:lnTo>
                    <a:pt x="634" y="2947"/>
                  </a:lnTo>
                  <a:lnTo>
                    <a:pt x="629" y="2957"/>
                  </a:lnTo>
                  <a:lnTo>
                    <a:pt x="627" y="2958"/>
                  </a:lnTo>
                  <a:lnTo>
                    <a:pt x="622" y="2959"/>
                  </a:lnTo>
                  <a:lnTo>
                    <a:pt x="613" y="2955"/>
                  </a:lnTo>
                  <a:lnTo>
                    <a:pt x="607" y="2957"/>
                  </a:lnTo>
                  <a:lnTo>
                    <a:pt x="596" y="2947"/>
                  </a:lnTo>
                  <a:lnTo>
                    <a:pt x="583" y="2946"/>
                  </a:lnTo>
                  <a:lnTo>
                    <a:pt x="577" y="2947"/>
                  </a:lnTo>
                  <a:lnTo>
                    <a:pt x="572" y="2951"/>
                  </a:lnTo>
                  <a:lnTo>
                    <a:pt x="569" y="2951"/>
                  </a:lnTo>
                  <a:lnTo>
                    <a:pt x="565" y="2955"/>
                  </a:lnTo>
                  <a:lnTo>
                    <a:pt x="555" y="2955"/>
                  </a:lnTo>
                  <a:lnTo>
                    <a:pt x="551" y="2958"/>
                  </a:lnTo>
                  <a:lnTo>
                    <a:pt x="549" y="2957"/>
                  </a:lnTo>
                  <a:lnTo>
                    <a:pt x="547" y="2958"/>
                  </a:lnTo>
                  <a:lnTo>
                    <a:pt x="536" y="2965"/>
                  </a:lnTo>
                  <a:lnTo>
                    <a:pt x="530" y="2965"/>
                  </a:lnTo>
                  <a:lnTo>
                    <a:pt x="529" y="2965"/>
                  </a:lnTo>
                  <a:lnTo>
                    <a:pt x="523" y="2958"/>
                  </a:lnTo>
                  <a:lnTo>
                    <a:pt x="511" y="2957"/>
                  </a:lnTo>
                  <a:lnTo>
                    <a:pt x="499" y="2951"/>
                  </a:lnTo>
                  <a:lnTo>
                    <a:pt x="488" y="2957"/>
                  </a:lnTo>
                  <a:lnTo>
                    <a:pt x="481" y="2957"/>
                  </a:lnTo>
                  <a:lnTo>
                    <a:pt x="476" y="2963"/>
                  </a:lnTo>
                  <a:lnTo>
                    <a:pt x="473" y="2963"/>
                  </a:lnTo>
                  <a:lnTo>
                    <a:pt x="462" y="2959"/>
                  </a:lnTo>
                  <a:lnTo>
                    <a:pt x="454" y="2954"/>
                  </a:lnTo>
                  <a:lnTo>
                    <a:pt x="449" y="2951"/>
                  </a:lnTo>
                  <a:lnTo>
                    <a:pt x="445" y="2945"/>
                  </a:lnTo>
                  <a:lnTo>
                    <a:pt x="441" y="2942"/>
                  </a:lnTo>
                  <a:lnTo>
                    <a:pt x="434" y="2938"/>
                  </a:lnTo>
                  <a:lnTo>
                    <a:pt x="413" y="2934"/>
                  </a:lnTo>
                  <a:lnTo>
                    <a:pt x="406" y="2929"/>
                  </a:lnTo>
                  <a:lnTo>
                    <a:pt x="402" y="2929"/>
                  </a:lnTo>
                  <a:lnTo>
                    <a:pt x="399" y="2929"/>
                  </a:lnTo>
                  <a:lnTo>
                    <a:pt x="394" y="2934"/>
                  </a:lnTo>
                  <a:lnTo>
                    <a:pt x="374" y="2937"/>
                  </a:lnTo>
                  <a:lnTo>
                    <a:pt x="370" y="2937"/>
                  </a:lnTo>
                  <a:lnTo>
                    <a:pt x="367" y="2934"/>
                  </a:lnTo>
                  <a:lnTo>
                    <a:pt x="366" y="2932"/>
                  </a:lnTo>
                  <a:lnTo>
                    <a:pt x="363" y="2925"/>
                  </a:lnTo>
                  <a:lnTo>
                    <a:pt x="358" y="2920"/>
                  </a:lnTo>
                  <a:lnTo>
                    <a:pt x="356" y="2920"/>
                  </a:lnTo>
                  <a:lnTo>
                    <a:pt x="348" y="2922"/>
                  </a:lnTo>
                  <a:lnTo>
                    <a:pt x="342" y="2920"/>
                  </a:lnTo>
                  <a:lnTo>
                    <a:pt x="341" y="2916"/>
                  </a:lnTo>
                  <a:lnTo>
                    <a:pt x="341" y="2907"/>
                  </a:lnTo>
                  <a:lnTo>
                    <a:pt x="328" y="2890"/>
                  </a:lnTo>
                  <a:lnTo>
                    <a:pt x="330" y="2883"/>
                  </a:lnTo>
                  <a:lnTo>
                    <a:pt x="328" y="2880"/>
                  </a:lnTo>
                  <a:lnTo>
                    <a:pt x="323" y="2884"/>
                  </a:lnTo>
                  <a:lnTo>
                    <a:pt x="320" y="2884"/>
                  </a:lnTo>
                  <a:lnTo>
                    <a:pt x="320" y="2880"/>
                  </a:lnTo>
                  <a:lnTo>
                    <a:pt x="316" y="2876"/>
                  </a:lnTo>
                  <a:lnTo>
                    <a:pt x="319" y="2875"/>
                  </a:lnTo>
                  <a:lnTo>
                    <a:pt x="317" y="2873"/>
                  </a:lnTo>
                  <a:lnTo>
                    <a:pt x="313" y="2875"/>
                  </a:lnTo>
                  <a:lnTo>
                    <a:pt x="310" y="2871"/>
                  </a:lnTo>
                  <a:lnTo>
                    <a:pt x="308" y="2867"/>
                  </a:lnTo>
                  <a:lnTo>
                    <a:pt x="308" y="2865"/>
                  </a:lnTo>
                  <a:lnTo>
                    <a:pt x="303" y="2865"/>
                  </a:lnTo>
                  <a:lnTo>
                    <a:pt x="298" y="2858"/>
                  </a:lnTo>
                  <a:lnTo>
                    <a:pt x="297" y="2854"/>
                  </a:lnTo>
                  <a:lnTo>
                    <a:pt x="297" y="2853"/>
                  </a:lnTo>
                  <a:lnTo>
                    <a:pt x="287" y="2845"/>
                  </a:lnTo>
                  <a:lnTo>
                    <a:pt x="285" y="2840"/>
                  </a:lnTo>
                  <a:lnTo>
                    <a:pt x="280" y="2838"/>
                  </a:lnTo>
                  <a:lnTo>
                    <a:pt x="275" y="2831"/>
                  </a:lnTo>
                  <a:lnTo>
                    <a:pt x="275" y="2830"/>
                  </a:lnTo>
                  <a:lnTo>
                    <a:pt x="281" y="2817"/>
                  </a:lnTo>
                  <a:lnTo>
                    <a:pt x="284" y="2816"/>
                  </a:lnTo>
                  <a:lnTo>
                    <a:pt x="281" y="2813"/>
                  </a:lnTo>
                  <a:lnTo>
                    <a:pt x="281" y="2812"/>
                  </a:lnTo>
                  <a:lnTo>
                    <a:pt x="280" y="2809"/>
                  </a:lnTo>
                  <a:lnTo>
                    <a:pt x="277" y="2804"/>
                  </a:lnTo>
                  <a:lnTo>
                    <a:pt x="273" y="2804"/>
                  </a:lnTo>
                  <a:lnTo>
                    <a:pt x="273" y="2800"/>
                  </a:lnTo>
                  <a:lnTo>
                    <a:pt x="275" y="2800"/>
                  </a:lnTo>
                  <a:lnTo>
                    <a:pt x="274" y="2791"/>
                  </a:lnTo>
                  <a:lnTo>
                    <a:pt x="267" y="2785"/>
                  </a:lnTo>
                  <a:lnTo>
                    <a:pt x="264" y="2786"/>
                  </a:lnTo>
                  <a:lnTo>
                    <a:pt x="259" y="2783"/>
                  </a:lnTo>
                  <a:lnTo>
                    <a:pt x="259" y="2780"/>
                  </a:lnTo>
                  <a:lnTo>
                    <a:pt x="258" y="2773"/>
                  </a:lnTo>
                  <a:lnTo>
                    <a:pt x="259" y="2772"/>
                  </a:lnTo>
                  <a:lnTo>
                    <a:pt x="260" y="2767"/>
                  </a:lnTo>
                  <a:lnTo>
                    <a:pt x="259" y="2764"/>
                  </a:lnTo>
                  <a:lnTo>
                    <a:pt x="258" y="2759"/>
                  </a:lnTo>
                  <a:lnTo>
                    <a:pt x="253" y="2758"/>
                  </a:lnTo>
                  <a:lnTo>
                    <a:pt x="252" y="2751"/>
                  </a:lnTo>
                  <a:lnTo>
                    <a:pt x="252" y="2747"/>
                  </a:lnTo>
                  <a:lnTo>
                    <a:pt x="245" y="2742"/>
                  </a:lnTo>
                  <a:lnTo>
                    <a:pt x="244" y="2734"/>
                  </a:lnTo>
                  <a:lnTo>
                    <a:pt x="237" y="2729"/>
                  </a:lnTo>
                  <a:lnTo>
                    <a:pt x="235" y="2723"/>
                  </a:lnTo>
                  <a:lnTo>
                    <a:pt x="233" y="2723"/>
                  </a:lnTo>
                  <a:lnTo>
                    <a:pt x="225" y="2716"/>
                  </a:lnTo>
                  <a:lnTo>
                    <a:pt x="222" y="2711"/>
                  </a:lnTo>
                  <a:lnTo>
                    <a:pt x="223" y="2709"/>
                  </a:lnTo>
                  <a:lnTo>
                    <a:pt x="220" y="2706"/>
                  </a:lnTo>
                  <a:lnTo>
                    <a:pt x="220" y="2705"/>
                  </a:lnTo>
                  <a:lnTo>
                    <a:pt x="222" y="2701"/>
                  </a:lnTo>
                  <a:lnTo>
                    <a:pt x="223" y="2701"/>
                  </a:lnTo>
                  <a:lnTo>
                    <a:pt x="217" y="2699"/>
                  </a:lnTo>
                  <a:lnTo>
                    <a:pt x="216" y="2697"/>
                  </a:lnTo>
                  <a:lnTo>
                    <a:pt x="212" y="2696"/>
                  </a:lnTo>
                  <a:lnTo>
                    <a:pt x="210" y="2693"/>
                  </a:lnTo>
                  <a:lnTo>
                    <a:pt x="212" y="2689"/>
                  </a:lnTo>
                  <a:lnTo>
                    <a:pt x="212" y="2686"/>
                  </a:lnTo>
                  <a:lnTo>
                    <a:pt x="213" y="2676"/>
                  </a:lnTo>
                  <a:lnTo>
                    <a:pt x="208" y="2673"/>
                  </a:lnTo>
                  <a:lnTo>
                    <a:pt x="206" y="2671"/>
                  </a:lnTo>
                  <a:lnTo>
                    <a:pt x="203" y="2669"/>
                  </a:lnTo>
                  <a:lnTo>
                    <a:pt x="203" y="2667"/>
                  </a:lnTo>
                  <a:lnTo>
                    <a:pt x="196" y="2661"/>
                  </a:lnTo>
                  <a:lnTo>
                    <a:pt x="196" y="2656"/>
                  </a:lnTo>
                  <a:lnTo>
                    <a:pt x="196" y="2654"/>
                  </a:lnTo>
                  <a:lnTo>
                    <a:pt x="189" y="2648"/>
                  </a:lnTo>
                  <a:lnTo>
                    <a:pt x="185" y="2651"/>
                  </a:lnTo>
                  <a:lnTo>
                    <a:pt x="187" y="2639"/>
                  </a:lnTo>
                  <a:lnTo>
                    <a:pt x="185" y="2635"/>
                  </a:lnTo>
                  <a:lnTo>
                    <a:pt x="180" y="2634"/>
                  </a:lnTo>
                  <a:lnTo>
                    <a:pt x="180" y="2629"/>
                  </a:lnTo>
                  <a:lnTo>
                    <a:pt x="181" y="2622"/>
                  </a:lnTo>
                  <a:lnTo>
                    <a:pt x="181" y="2612"/>
                  </a:lnTo>
                  <a:lnTo>
                    <a:pt x="184" y="2609"/>
                  </a:lnTo>
                  <a:lnTo>
                    <a:pt x="184" y="2599"/>
                  </a:lnTo>
                  <a:lnTo>
                    <a:pt x="187" y="2593"/>
                  </a:lnTo>
                  <a:lnTo>
                    <a:pt x="185" y="2582"/>
                  </a:lnTo>
                  <a:lnTo>
                    <a:pt x="187" y="2581"/>
                  </a:lnTo>
                  <a:lnTo>
                    <a:pt x="189" y="2576"/>
                  </a:lnTo>
                  <a:lnTo>
                    <a:pt x="188" y="2572"/>
                  </a:lnTo>
                  <a:lnTo>
                    <a:pt x="181" y="2568"/>
                  </a:lnTo>
                  <a:lnTo>
                    <a:pt x="177" y="2568"/>
                  </a:lnTo>
                  <a:lnTo>
                    <a:pt x="175" y="2564"/>
                  </a:lnTo>
                  <a:lnTo>
                    <a:pt x="175" y="2560"/>
                  </a:lnTo>
                  <a:lnTo>
                    <a:pt x="173" y="2555"/>
                  </a:lnTo>
                  <a:lnTo>
                    <a:pt x="171" y="2551"/>
                  </a:lnTo>
                  <a:lnTo>
                    <a:pt x="167" y="2549"/>
                  </a:lnTo>
                  <a:lnTo>
                    <a:pt x="168" y="2542"/>
                  </a:lnTo>
                  <a:lnTo>
                    <a:pt x="167" y="2536"/>
                  </a:lnTo>
                  <a:lnTo>
                    <a:pt x="171" y="2509"/>
                  </a:lnTo>
                  <a:lnTo>
                    <a:pt x="170" y="2506"/>
                  </a:lnTo>
                  <a:lnTo>
                    <a:pt x="167" y="2505"/>
                  </a:lnTo>
                  <a:lnTo>
                    <a:pt x="164" y="2487"/>
                  </a:lnTo>
                  <a:lnTo>
                    <a:pt x="166" y="2470"/>
                  </a:lnTo>
                  <a:lnTo>
                    <a:pt x="159" y="2461"/>
                  </a:lnTo>
                  <a:lnTo>
                    <a:pt x="159" y="2457"/>
                  </a:lnTo>
                  <a:lnTo>
                    <a:pt x="157" y="2452"/>
                  </a:lnTo>
                  <a:lnTo>
                    <a:pt x="153" y="2448"/>
                  </a:lnTo>
                  <a:lnTo>
                    <a:pt x="142" y="2443"/>
                  </a:lnTo>
                  <a:lnTo>
                    <a:pt x="139" y="2443"/>
                  </a:lnTo>
                  <a:lnTo>
                    <a:pt x="138" y="2437"/>
                  </a:lnTo>
                  <a:lnTo>
                    <a:pt x="135" y="2430"/>
                  </a:lnTo>
                  <a:lnTo>
                    <a:pt x="134" y="2426"/>
                  </a:lnTo>
                  <a:lnTo>
                    <a:pt x="113" y="2431"/>
                  </a:lnTo>
                  <a:lnTo>
                    <a:pt x="100" y="2437"/>
                  </a:lnTo>
                  <a:lnTo>
                    <a:pt x="79" y="2364"/>
                  </a:lnTo>
                  <a:lnTo>
                    <a:pt x="84" y="2360"/>
                  </a:lnTo>
                  <a:lnTo>
                    <a:pt x="85" y="2354"/>
                  </a:lnTo>
                  <a:lnTo>
                    <a:pt x="90" y="2351"/>
                  </a:lnTo>
                  <a:lnTo>
                    <a:pt x="99" y="2341"/>
                  </a:lnTo>
                  <a:lnTo>
                    <a:pt x="115" y="2332"/>
                  </a:lnTo>
                  <a:lnTo>
                    <a:pt x="120" y="2327"/>
                  </a:lnTo>
                  <a:lnTo>
                    <a:pt x="124" y="2327"/>
                  </a:lnTo>
                  <a:lnTo>
                    <a:pt x="124" y="2323"/>
                  </a:lnTo>
                  <a:lnTo>
                    <a:pt x="127" y="2315"/>
                  </a:lnTo>
                  <a:lnTo>
                    <a:pt x="131" y="2315"/>
                  </a:lnTo>
                  <a:lnTo>
                    <a:pt x="137" y="2318"/>
                  </a:lnTo>
                  <a:lnTo>
                    <a:pt x="149" y="2315"/>
                  </a:lnTo>
                  <a:lnTo>
                    <a:pt x="160" y="2315"/>
                  </a:lnTo>
                  <a:lnTo>
                    <a:pt x="167" y="2309"/>
                  </a:lnTo>
                  <a:lnTo>
                    <a:pt x="170" y="2308"/>
                  </a:lnTo>
                  <a:lnTo>
                    <a:pt x="168" y="2302"/>
                  </a:lnTo>
                  <a:lnTo>
                    <a:pt x="170" y="2301"/>
                  </a:lnTo>
                  <a:lnTo>
                    <a:pt x="178" y="2291"/>
                  </a:lnTo>
                  <a:lnTo>
                    <a:pt x="181" y="2289"/>
                  </a:lnTo>
                  <a:lnTo>
                    <a:pt x="182" y="2286"/>
                  </a:lnTo>
                  <a:lnTo>
                    <a:pt x="187" y="2283"/>
                  </a:lnTo>
                  <a:lnTo>
                    <a:pt x="189" y="2279"/>
                  </a:lnTo>
                  <a:lnTo>
                    <a:pt x="194" y="2274"/>
                  </a:lnTo>
                  <a:lnTo>
                    <a:pt x="195" y="2273"/>
                  </a:lnTo>
                  <a:lnTo>
                    <a:pt x="196" y="2273"/>
                  </a:lnTo>
                  <a:lnTo>
                    <a:pt x="199" y="2270"/>
                  </a:lnTo>
                  <a:lnTo>
                    <a:pt x="196" y="2270"/>
                  </a:lnTo>
                  <a:lnTo>
                    <a:pt x="196" y="2266"/>
                  </a:lnTo>
                  <a:lnTo>
                    <a:pt x="192" y="2266"/>
                  </a:lnTo>
                  <a:lnTo>
                    <a:pt x="191" y="2265"/>
                  </a:lnTo>
                  <a:lnTo>
                    <a:pt x="194" y="2261"/>
                  </a:lnTo>
                  <a:lnTo>
                    <a:pt x="192" y="2256"/>
                  </a:lnTo>
                  <a:lnTo>
                    <a:pt x="196" y="2253"/>
                  </a:lnTo>
                  <a:lnTo>
                    <a:pt x="195" y="2252"/>
                  </a:lnTo>
                  <a:lnTo>
                    <a:pt x="191" y="2253"/>
                  </a:lnTo>
                  <a:lnTo>
                    <a:pt x="189" y="2252"/>
                  </a:lnTo>
                  <a:lnTo>
                    <a:pt x="192" y="2248"/>
                  </a:lnTo>
                  <a:lnTo>
                    <a:pt x="192" y="2244"/>
                  </a:lnTo>
                  <a:lnTo>
                    <a:pt x="194" y="2239"/>
                  </a:lnTo>
                  <a:lnTo>
                    <a:pt x="196" y="2239"/>
                  </a:lnTo>
                  <a:lnTo>
                    <a:pt x="195" y="2234"/>
                  </a:lnTo>
                  <a:lnTo>
                    <a:pt x="196" y="2234"/>
                  </a:lnTo>
                  <a:lnTo>
                    <a:pt x="196" y="2231"/>
                  </a:lnTo>
                  <a:lnTo>
                    <a:pt x="200" y="2231"/>
                  </a:lnTo>
                  <a:lnTo>
                    <a:pt x="202" y="2231"/>
                  </a:lnTo>
                  <a:lnTo>
                    <a:pt x="203" y="2225"/>
                  </a:lnTo>
                  <a:lnTo>
                    <a:pt x="202" y="2221"/>
                  </a:lnTo>
                  <a:lnTo>
                    <a:pt x="205" y="2221"/>
                  </a:lnTo>
                  <a:lnTo>
                    <a:pt x="205" y="2217"/>
                  </a:lnTo>
                  <a:lnTo>
                    <a:pt x="208" y="2217"/>
                  </a:lnTo>
                  <a:lnTo>
                    <a:pt x="208" y="2216"/>
                  </a:lnTo>
                  <a:lnTo>
                    <a:pt x="208" y="2215"/>
                  </a:lnTo>
                  <a:lnTo>
                    <a:pt x="209" y="2212"/>
                  </a:lnTo>
                  <a:lnTo>
                    <a:pt x="212" y="2208"/>
                  </a:lnTo>
                  <a:lnTo>
                    <a:pt x="212" y="2207"/>
                  </a:lnTo>
                  <a:lnTo>
                    <a:pt x="210" y="2203"/>
                  </a:lnTo>
                  <a:lnTo>
                    <a:pt x="210" y="2195"/>
                  </a:lnTo>
                  <a:lnTo>
                    <a:pt x="213" y="2194"/>
                  </a:lnTo>
                  <a:lnTo>
                    <a:pt x="212" y="2190"/>
                  </a:lnTo>
                  <a:lnTo>
                    <a:pt x="214" y="2189"/>
                  </a:lnTo>
                  <a:lnTo>
                    <a:pt x="214" y="2186"/>
                  </a:lnTo>
                  <a:lnTo>
                    <a:pt x="217" y="2184"/>
                  </a:lnTo>
                  <a:lnTo>
                    <a:pt x="217" y="2180"/>
                  </a:lnTo>
                  <a:lnTo>
                    <a:pt x="219" y="2180"/>
                  </a:lnTo>
                  <a:lnTo>
                    <a:pt x="219" y="2177"/>
                  </a:lnTo>
                  <a:lnTo>
                    <a:pt x="217" y="2172"/>
                  </a:lnTo>
                  <a:lnTo>
                    <a:pt x="222" y="2172"/>
                  </a:lnTo>
                  <a:lnTo>
                    <a:pt x="223" y="2171"/>
                  </a:lnTo>
                  <a:lnTo>
                    <a:pt x="225" y="2167"/>
                  </a:lnTo>
                  <a:lnTo>
                    <a:pt x="225" y="2166"/>
                  </a:lnTo>
                  <a:lnTo>
                    <a:pt x="228" y="2159"/>
                  </a:lnTo>
                  <a:lnTo>
                    <a:pt x="225" y="2154"/>
                  </a:lnTo>
                  <a:lnTo>
                    <a:pt x="227" y="2145"/>
                  </a:lnTo>
                  <a:lnTo>
                    <a:pt x="225" y="2145"/>
                  </a:lnTo>
                  <a:lnTo>
                    <a:pt x="224" y="2145"/>
                  </a:lnTo>
                  <a:lnTo>
                    <a:pt x="224" y="2141"/>
                  </a:lnTo>
                  <a:lnTo>
                    <a:pt x="222" y="2135"/>
                  </a:lnTo>
                  <a:lnTo>
                    <a:pt x="222" y="2134"/>
                  </a:lnTo>
                  <a:lnTo>
                    <a:pt x="224" y="2134"/>
                  </a:lnTo>
                  <a:lnTo>
                    <a:pt x="224" y="2132"/>
                  </a:lnTo>
                  <a:lnTo>
                    <a:pt x="222" y="2128"/>
                  </a:lnTo>
                  <a:lnTo>
                    <a:pt x="222" y="2127"/>
                  </a:lnTo>
                  <a:lnTo>
                    <a:pt x="220" y="2127"/>
                  </a:lnTo>
                  <a:lnTo>
                    <a:pt x="220" y="2124"/>
                  </a:lnTo>
                  <a:lnTo>
                    <a:pt x="209" y="2121"/>
                  </a:lnTo>
                  <a:lnTo>
                    <a:pt x="202" y="2119"/>
                  </a:lnTo>
                  <a:lnTo>
                    <a:pt x="200" y="2119"/>
                  </a:lnTo>
                  <a:lnTo>
                    <a:pt x="198" y="2122"/>
                  </a:lnTo>
                  <a:lnTo>
                    <a:pt x="195" y="2124"/>
                  </a:lnTo>
                  <a:lnTo>
                    <a:pt x="189" y="2122"/>
                  </a:lnTo>
                  <a:lnTo>
                    <a:pt x="182" y="2124"/>
                  </a:lnTo>
                  <a:lnTo>
                    <a:pt x="175" y="2128"/>
                  </a:lnTo>
                  <a:lnTo>
                    <a:pt x="170" y="2137"/>
                  </a:lnTo>
                  <a:lnTo>
                    <a:pt x="159" y="2141"/>
                  </a:lnTo>
                  <a:lnTo>
                    <a:pt x="149" y="2141"/>
                  </a:lnTo>
                  <a:lnTo>
                    <a:pt x="148" y="2140"/>
                  </a:lnTo>
                  <a:lnTo>
                    <a:pt x="142" y="2141"/>
                  </a:lnTo>
                  <a:lnTo>
                    <a:pt x="127" y="2134"/>
                  </a:lnTo>
                  <a:lnTo>
                    <a:pt x="121" y="2132"/>
                  </a:lnTo>
                  <a:lnTo>
                    <a:pt x="120" y="2132"/>
                  </a:lnTo>
                  <a:lnTo>
                    <a:pt x="113" y="2132"/>
                  </a:lnTo>
                  <a:lnTo>
                    <a:pt x="110" y="2128"/>
                  </a:lnTo>
                  <a:lnTo>
                    <a:pt x="109" y="2124"/>
                  </a:lnTo>
                  <a:lnTo>
                    <a:pt x="103" y="2124"/>
                  </a:lnTo>
                  <a:lnTo>
                    <a:pt x="103" y="2119"/>
                  </a:lnTo>
                  <a:lnTo>
                    <a:pt x="99" y="2115"/>
                  </a:lnTo>
                  <a:lnTo>
                    <a:pt x="85" y="2113"/>
                  </a:lnTo>
                  <a:lnTo>
                    <a:pt x="81" y="2109"/>
                  </a:lnTo>
                  <a:lnTo>
                    <a:pt x="78" y="2108"/>
                  </a:lnTo>
                  <a:lnTo>
                    <a:pt x="71" y="2105"/>
                  </a:lnTo>
                  <a:lnTo>
                    <a:pt x="65" y="2108"/>
                  </a:lnTo>
                  <a:lnTo>
                    <a:pt x="63" y="2105"/>
                  </a:lnTo>
                  <a:lnTo>
                    <a:pt x="53" y="2102"/>
                  </a:lnTo>
                  <a:lnTo>
                    <a:pt x="50" y="2100"/>
                  </a:lnTo>
                  <a:lnTo>
                    <a:pt x="45" y="2102"/>
                  </a:lnTo>
                  <a:lnTo>
                    <a:pt x="37" y="2099"/>
                  </a:lnTo>
                  <a:lnTo>
                    <a:pt x="14" y="2074"/>
                  </a:lnTo>
                  <a:lnTo>
                    <a:pt x="2" y="2066"/>
                  </a:lnTo>
                  <a:lnTo>
                    <a:pt x="0" y="2060"/>
                  </a:lnTo>
                  <a:lnTo>
                    <a:pt x="3" y="2051"/>
                  </a:lnTo>
                  <a:lnTo>
                    <a:pt x="6" y="2050"/>
                  </a:lnTo>
                  <a:lnTo>
                    <a:pt x="17" y="2037"/>
                  </a:lnTo>
                  <a:lnTo>
                    <a:pt x="23" y="2037"/>
                  </a:lnTo>
                  <a:lnTo>
                    <a:pt x="28" y="2030"/>
                  </a:lnTo>
                  <a:lnTo>
                    <a:pt x="37" y="2025"/>
                  </a:lnTo>
                  <a:lnTo>
                    <a:pt x="40" y="2021"/>
                  </a:lnTo>
                  <a:lnTo>
                    <a:pt x="45" y="2012"/>
                  </a:lnTo>
                  <a:lnTo>
                    <a:pt x="49" y="2010"/>
                  </a:lnTo>
                  <a:lnTo>
                    <a:pt x="49" y="2006"/>
                  </a:lnTo>
                  <a:lnTo>
                    <a:pt x="48" y="2001"/>
                  </a:lnTo>
                  <a:lnTo>
                    <a:pt x="49" y="1998"/>
                  </a:lnTo>
                  <a:lnTo>
                    <a:pt x="48" y="1995"/>
                  </a:lnTo>
                  <a:lnTo>
                    <a:pt x="48" y="1989"/>
                  </a:lnTo>
                  <a:lnTo>
                    <a:pt x="46" y="1988"/>
                  </a:lnTo>
                  <a:lnTo>
                    <a:pt x="50" y="1980"/>
                  </a:lnTo>
                  <a:lnTo>
                    <a:pt x="52" y="1976"/>
                  </a:lnTo>
                  <a:lnTo>
                    <a:pt x="54" y="1972"/>
                  </a:lnTo>
                  <a:lnTo>
                    <a:pt x="56" y="1967"/>
                  </a:lnTo>
                  <a:lnTo>
                    <a:pt x="59" y="1966"/>
                  </a:lnTo>
                  <a:lnTo>
                    <a:pt x="60" y="1958"/>
                  </a:lnTo>
                  <a:lnTo>
                    <a:pt x="73" y="1945"/>
                  </a:lnTo>
                  <a:lnTo>
                    <a:pt x="73" y="1941"/>
                  </a:lnTo>
                  <a:lnTo>
                    <a:pt x="71" y="1937"/>
                  </a:lnTo>
                  <a:lnTo>
                    <a:pt x="67" y="1935"/>
                  </a:lnTo>
                  <a:lnTo>
                    <a:pt x="67" y="1930"/>
                  </a:lnTo>
                  <a:lnTo>
                    <a:pt x="71" y="1928"/>
                  </a:lnTo>
                  <a:lnTo>
                    <a:pt x="73" y="1922"/>
                  </a:lnTo>
                  <a:lnTo>
                    <a:pt x="77" y="1918"/>
                  </a:lnTo>
                  <a:lnTo>
                    <a:pt x="81" y="1909"/>
                  </a:lnTo>
                  <a:lnTo>
                    <a:pt x="87" y="1904"/>
                  </a:lnTo>
                  <a:lnTo>
                    <a:pt x="87" y="1898"/>
                  </a:lnTo>
                  <a:lnTo>
                    <a:pt x="82" y="1896"/>
                  </a:lnTo>
                  <a:lnTo>
                    <a:pt x="81" y="1891"/>
                  </a:lnTo>
                  <a:lnTo>
                    <a:pt x="74" y="1892"/>
                  </a:lnTo>
                  <a:lnTo>
                    <a:pt x="71" y="1883"/>
                  </a:lnTo>
                  <a:lnTo>
                    <a:pt x="71" y="1881"/>
                  </a:lnTo>
                  <a:lnTo>
                    <a:pt x="74" y="1877"/>
                  </a:lnTo>
                  <a:lnTo>
                    <a:pt x="78" y="1873"/>
                  </a:lnTo>
                  <a:lnTo>
                    <a:pt x="77" y="1866"/>
                  </a:lnTo>
                  <a:lnTo>
                    <a:pt x="79" y="1863"/>
                  </a:lnTo>
                  <a:lnTo>
                    <a:pt x="82" y="1856"/>
                  </a:lnTo>
                  <a:lnTo>
                    <a:pt x="88" y="1847"/>
                  </a:lnTo>
                  <a:lnTo>
                    <a:pt x="88" y="1843"/>
                  </a:lnTo>
                  <a:lnTo>
                    <a:pt x="88" y="1838"/>
                  </a:lnTo>
                  <a:lnTo>
                    <a:pt x="84" y="1834"/>
                  </a:lnTo>
                  <a:lnTo>
                    <a:pt x="82" y="1829"/>
                  </a:lnTo>
                  <a:lnTo>
                    <a:pt x="82" y="1825"/>
                  </a:lnTo>
                  <a:lnTo>
                    <a:pt x="77" y="1815"/>
                  </a:lnTo>
                  <a:lnTo>
                    <a:pt x="78" y="1815"/>
                  </a:lnTo>
                  <a:lnTo>
                    <a:pt x="81" y="1812"/>
                  </a:lnTo>
                  <a:lnTo>
                    <a:pt x="78" y="1802"/>
                  </a:lnTo>
                  <a:lnTo>
                    <a:pt x="79" y="1798"/>
                  </a:lnTo>
                  <a:lnTo>
                    <a:pt x="81" y="1797"/>
                  </a:lnTo>
                  <a:lnTo>
                    <a:pt x="79" y="1793"/>
                  </a:lnTo>
                  <a:lnTo>
                    <a:pt x="82" y="1789"/>
                  </a:lnTo>
                  <a:lnTo>
                    <a:pt x="81" y="1785"/>
                  </a:lnTo>
                  <a:lnTo>
                    <a:pt x="84" y="1779"/>
                  </a:lnTo>
                  <a:lnTo>
                    <a:pt x="82" y="1776"/>
                  </a:lnTo>
                  <a:lnTo>
                    <a:pt x="81" y="1767"/>
                  </a:lnTo>
                  <a:lnTo>
                    <a:pt x="77" y="1763"/>
                  </a:lnTo>
                  <a:lnTo>
                    <a:pt x="77" y="1760"/>
                  </a:lnTo>
                  <a:lnTo>
                    <a:pt x="75" y="1757"/>
                  </a:lnTo>
                  <a:lnTo>
                    <a:pt x="74" y="1756"/>
                  </a:lnTo>
                  <a:lnTo>
                    <a:pt x="73" y="1757"/>
                  </a:lnTo>
                  <a:lnTo>
                    <a:pt x="68" y="1756"/>
                  </a:lnTo>
                  <a:lnTo>
                    <a:pt x="70" y="1752"/>
                  </a:lnTo>
                  <a:lnTo>
                    <a:pt x="70" y="1750"/>
                  </a:lnTo>
                  <a:lnTo>
                    <a:pt x="71" y="1748"/>
                  </a:lnTo>
                  <a:lnTo>
                    <a:pt x="70" y="1744"/>
                  </a:lnTo>
                  <a:lnTo>
                    <a:pt x="73" y="1734"/>
                  </a:lnTo>
                  <a:lnTo>
                    <a:pt x="71" y="1731"/>
                  </a:lnTo>
                  <a:lnTo>
                    <a:pt x="73" y="1730"/>
                  </a:lnTo>
                  <a:lnTo>
                    <a:pt x="73" y="1727"/>
                  </a:lnTo>
                  <a:lnTo>
                    <a:pt x="75" y="1722"/>
                  </a:lnTo>
                  <a:lnTo>
                    <a:pt x="77" y="1715"/>
                  </a:lnTo>
                  <a:lnTo>
                    <a:pt x="79" y="1714"/>
                  </a:lnTo>
                  <a:lnTo>
                    <a:pt x="78" y="1709"/>
                  </a:lnTo>
                  <a:lnTo>
                    <a:pt x="84" y="1705"/>
                  </a:lnTo>
                  <a:lnTo>
                    <a:pt x="87" y="1700"/>
                  </a:lnTo>
                  <a:lnTo>
                    <a:pt x="89" y="1698"/>
                  </a:lnTo>
                  <a:lnTo>
                    <a:pt x="90" y="1695"/>
                  </a:lnTo>
                  <a:lnTo>
                    <a:pt x="92" y="1692"/>
                  </a:lnTo>
                  <a:lnTo>
                    <a:pt x="89" y="1690"/>
                  </a:lnTo>
                  <a:lnTo>
                    <a:pt x="85" y="1682"/>
                  </a:lnTo>
                  <a:lnTo>
                    <a:pt x="88" y="1676"/>
                  </a:lnTo>
                  <a:lnTo>
                    <a:pt x="88" y="1668"/>
                  </a:lnTo>
                  <a:lnTo>
                    <a:pt x="90" y="1664"/>
                  </a:lnTo>
                  <a:lnTo>
                    <a:pt x="93" y="1664"/>
                  </a:lnTo>
                  <a:lnTo>
                    <a:pt x="96" y="1663"/>
                  </a:lnTo>
                  <a:lnTo>
                    <a:pt x="100" y="1656"/>
                  </a:lnTo>
                  <a:lnTo>
                    <a:pt x="104" y="1651"/>
                  </a:lnTo>
                  <a:lnTo>
                    <a:pt x="102" y="1647"/>
                  </a:lnTo>
                  <a:lnTo>
                    <a:pt x="109" y="1642"/>
                  </a:lnTo>
                  <a:lnTo>
                    <a:pt x="110" y="1632"/>
                  </a:lnTo>
                  <a:lnTo>
                    <a:pt x="114" y="1628"/>
                  </a:lnTo>
                  <a:lnTo>
                    <a:pt x="113" y="1627"/>
                  </a:lnTo>
                  <a:lnTo>
                    <a:pt x="115" y="1623"/>
                  </a:lnTo>
                  <a:lnTo>
                    <a:pt x="115" y="1614"/>
                  </a:lnTo>
                  <a:lnTo>
                    <a:pt x="114" y="1610"/>
                  </a:lnTo>
                  <a:lnTo>
                    <a:pt x="112" y="1611"/>
                  </a:lnTo>
                  <a:lnTo>
                    <a:pt x="112" y="1607"/>
                  </a:lnTo>
                  <a:lnTo>
                    <a:pt x="109" y="1607"/>
                  </a:lnTo>
                  <a:lnTo>
                    <a:pt x="110" y="1601"/>
                  </a:lnTo>
                  <a:lnTo>
                    <a:pt x="107" y="1601"/>
                  </a:lnTo>
                  <a:lnTo>
                    <a:pt x="107" y="1597"/>
                  </a:lnTo>
                  <a:lnTo>
                    <a:pt x="113" y="1593"/>
                  </a:lnTo>
                  <a:lnTo>
                    <a:pt x="115" y="1588"/>
                  </a:lnTo>
                  <a:lnTo>
                    <a:pt x="115" y="1585"/>
                  </a:lnTo>
                  <a:lnTo>
                    <a:pt x="118" y="1580"/>
                  </a:lnTo>
                  <a:lnTo>
                    <a:pt x="117" y="1576"/>
                  </a:lnTo>
                  <a:lnTo>
                    <a:pt x="118" y="1570"/>
                  </a:lnTo>
                  <a:lnTo>
                    <a:pt x="127" y="1569"/>
                  </a:lnTo>
                  <a:lnTo>
                    <a:pt x="129" y="1566"/>
                  </a:lnTo>
                  <a:lnTo>
                    <a:pt x="137" y="1565"/>
                  </a:lnTo>
                  <a:lnTo>
                    <a:pt x="142" y="1557"/>
                  </a:lnTo>
                  <a:lnTo>
                    <a:pt x="150" y="1552"/>
                  </a:lnTo>
                  <a:lnTo>
                    <a:pt x="149" y="1549"/>
                  </a:lnTo>
                  <a:lnTo>
                    <a:pt x="152" y="1546"/>
                  </a:lnTo>
                  <a:lnTo>
                    <a:pt x="156" y="1543"/>
                  </a:lnTo>
                  <a:lnTo>
                    <a:pt x="159" y="1535"/>
                  </a:lnTo>
                  <a:lnTo>
                    <a:pt x="167" y="1533"/>
                  </a:lnTo>
                  <a:lnTo>
                    <a:pt x="173" y="1529"/>
                  </a:lnTo>
                  <a:lnTo>
                    <a:pt x="175" y="1529"/>
                  </a:lnTo>
                  <a:lnTo>
                    <a:pt x="180" y="1521"/>
                  </a:lnTo>
                  <a:lnTo>
                    <a:pt x="182" y="1521"/>
                  </a:lnTo>
                  <a:lnTo>
                    <a:pt x="188" y="1518"/>
                  </a:lnTo>
                  <a:lnTo>
                    <a:pt x="188" y="1514"/>
                  </a:lnTo>
                  <a:lnTo>
                    <a:pt x="191" y="1512"/>
                  </a:lnTo>
                  <a:lnTo>
                    <a:pt x="194" y="1504"/>
                  </a:lnTo>
                  <a:lnTo>
                    <a:pt x="202" y="1499"/>
                  </a:lnTo>
                  <a:lnTo>
                    <a:pt x="206" y="1495"/>
                  </a:lnTo>
                  <a:lnTo>
                    <a:pt x="209" y="1486"/>
                  </a:lnTo>
                  <a:lnTo>
                    <a:pt x="216" y="1481"/>
                  </a:lnTo>
                  <a:lnTo>
                    <a:pt x="216" y="1478"/>
                  </a:lnTo>
                  <a:lnTo>
                    <a:pt x="213" y="1478"/>
                  </a:lnTo>
                  <a:lnTo>
                    <a:pt x="212" y="1477"/>
                  </a:lnTo>
                  <a:lnTo>
                    <a:pt x="212" y="1469"/>
                  </a:lnTo>
                  <a:lnTo>
                    <a:pt x="210" y="1464"/>
                  </a:lnTo>
                  <a:lnTo>
                    <a:pt x="212" y="1462"/>
                  </a:lnTo>
                  <a:lnTo>
                    <a:pt x="214" y="1458"/>
                  </a:lnTo>
                  <a:lnTo>
                    <a:pt x="213" y="1454"/>
                  </a:lnTo>
                  <a:lnTo>
                    <a:pt x="216" y="1446"/>
                  </a:lnTo>
                  <a:lnTo>
                    <a:pt x="220" y="1445"/>
                  </a:lnTo>
                  <a:lnTo>
                    <a:pt x="222" y="1436"/>
                  </a:lnTo>
                  <a:lnTo>
                    <a:pt x="227" y="1433"/>
                  </a:lnTo>
                  <a:lnTo>
                    <a:pt x="231" y="1432"/>
                  </a:lnTo>
                  <a:lnTo>
                    <a:pt x="231" y="1428"/>
                  </a:lnTo>
                  <a:lnTo>
                    <a:pt x="228" y="1428"/>
                  </a:lnTo>
                  <a:lnTo>
                    <a:pt x="228" y="1420"/>
                  </a:lnTo>
                  <a:lnTo>
                    <a:pt x="235" y="1411"/>
                  </a:lnTo>
                  <a:lnTo>
                    <a:pt x="238" y="1402"/>
                  </a:lnTo>
                  <a:lnTo>
                    <a:pt x="238" y="1397"/>
                  </a:lnTo>
                  <a:lnTo>
                    <a:pt x="234" y="1394"/>
                  </a:lnTo>
                  <a:lnTo>
                    <a:pt x="235" y="1389"/>
                  </a:lnTo>
                  <a:lnTo>
                    <a:pt x="233" y="1387"/>
                  </a:lnTo>
                  <a:lnTo>
                    <a:pt x="233" y="1384"/>
                  </a:lnTo>
                  <a:lnTo>
                    <a:pt x="231" y="1382"/>
                  </a:lnTo>
                  <a:lnTo>
                    <a:pt x="228" y="1375"/>
                  </a:lnTo>
                  <a:lnTo>
                    <a:pt x="237" y="1371"/>
                  </a:lnTo>
                  <a:lnTo>
                    <a:pt x="260" y="1352"/>
                  </a:lnTo>
                  <a:lnTo>
                    <a:pt x="277" y="1344"/>
                  </a:lnTo>
                  <a:lnTo>
                    <a:pt x="285" y="1334"/>
                  </a:lnTo>
                  <a:lnTo>
                    <a:pt x="298" y="1333"/>
                  </a:lnTo>
                  <a:lnTo>
                    <a:pt x="314" y="1321"/>
                  </a:lnTo>
                  <a:lnTo>
                    <a:pt x="323" y="1321"/>
                  </a:lnTo>
                  <a:lnTo>
                    <a:pt x="330" y="1321"/>
                  </a:lnTo>
                  <a:lnTo>
                    <a:pt x="333" y="1317"/>
                  </a:lnTo>
                  <a:lnTo>
                    <a:pt x="335" y="1316"/>
                  </a:lnTo>
                  <a:lnTo>
                    <a:pt x="347" y="1312"/>
                  </a:lnTo>
                  <a:lnTo>
                    <a:pt x="356" y="1303"/>
                  </a:lnTo>
                  <a:lnTo>
                    <a:pt x="356" y="1290"/>
                  </a:lnTo>
                  <a:lnTo>
                    <a:pt x="353" y="1286"/>
                  </a:lnTo>
                  <a:lnTo>
                    <a:pt x="353" y="1282"/>
                  </a:lnTo>
                  <a:lnTo>
                    <a:pt x="359" y="1271"/>
                  </a:lnTo>
                  <a:lnTo>
                    <a:pt x="366" y="1263"/>
                  </a:lnTo>
                  <a:lnTo>
                    <a:pt x="364" y="1250"/>
                  </a:lnTo>
                  <a:lnTo>
                    <a:pt x="367" y="1241"/>
                  </a:lnTo>
                  <a:lnTo>
                    <a:pt x="373" y="1228"/>
                  </a:lnTo>
                  <a:lnTo>
                    <a:pt x="372" y="1218"/>
                  </a:lnTo>
                  <a:lnTo>
                    <a:pt x="374" y="1204"/>
                  </a:lnTo>
                  <a:lnTo>
                    <a:pt x="378" y="1183"/>
                  </a:lnTo>
                  <a:lnTo>
                    <a:pt x="385" y="1166"/>
                  </a:lnTo>
                  <a:lnTo>
                    <a:pt x="391" y="1138"/>
                  </a:lnTo>
                  <a:lnTo>
                    <a:pt x="385" y="1116"/>
                  </a:lnTo>
                  <a:lnTo>
                    <a:pt x="384" y="1108"/>
                  </a:lnTo>
                  <a:lnTo>
                    <a:pt x="391" y="1093"/>
                  </a:lnTo>
                  <a:lnTo>
                    <a:pt x="391" y="1084"/>
                  </a:lnTo>
                  <a:lnTo>
                    <a:pt x="385" y="1072"/>
                  </a:lnTo>
                  <a:lnTo>
                    <a:pt x="383" y="1059"/>
                  </a:lnTo>
                  <a:lnTo>
                    <a:pt x="381" y="1054"/>
                  </a:lnTo>
                  <a:lnTo>
                    <a:pt x="381" y="1052"/>
                  </a:lnTo>
                  <a:lnTo>
                    <a:pt x="380" y="1044"/>
                  </a:lnTo>
                  <a:lnTo>
                    <a:pt x="383" y="1027"/>
                  </a:lnTo>
                  <a:lnTo>
                    <a:pt x="381" y="1027"/>
                  </a:lnTo>
                  <a:lnTo>
                    <a:pt x="381" y="1026"/>
                  </a:lnTo>
                  <a:lnTo>
                    <a:pt x="380" y="1018"/>
                  </a:lnTo>
                  <a:lnTo>
                    <a:pt x="374" y="1013"/>
                  </a:lnTo>
                  <a:lnTo>
                    <a:pt x="374" y="1009"/>
                  </a:lnTo>
                  <a:lnTo>
                    <a:pt x="374" y="1005"/>
                  </a:lnTo>
                  <a:lnTo>
                    <a:pt x="376" y="1001"/>
                  </a:lnTo>
                  <a:lnTo>
                    <a:pt x="377" y="997"/>
                  </a:lnTo>
                  <a:lnTo>
                    <a:pt x="378" y="992"/>
                  </a:lnTo>
                  <a:lnTo>
                    <a:pt x="378" y="977"/>
                  </a:lnTo>
                  <a:lnTo>
                    <a:pt x="377" y="964"/>
                  </a:lnTo>
                  <a:lnTo>
                    <a:pt x="378" y="955"/>
                  </a:lnTo>
                  <a:lnTo>
                    <a:pt x="383" y="943"/>
                  </a:lnTo>
                  <a:lnTo>
                    <a:pt x="383" y="939"/>
                  </a:lnTo>
                  <a:lnTo>
                    <a:pt x="383" y="932"/>
                  </a:lnTo>
                  <a:lnTo>
                    <a:pt x="378" y="920"/>
                  </a:lnTo>
                  <a:lnTo>
                    <a:pt x="378" y="912"/>
                  </a:lnTo>
                  <a:lnTo>
                    <a:pt x="383" y="904"/>
                  </a:lnTo>
                  <a:lnTo>
                    <a:pt x="385" y="889"/>
                  </a:lnTo>
                  <a:lnTo>
                    <a:pt x="387" y="876"/>
                  </a:lnTo>
                  <a:lnTo>
                    <a:pt x="387" y="872"/>
                  </a:lnTo>
                  <a:lnTo>
                    <a:pt x="389" y="868"/>
                  </a:lnTo>
                  <a:lnTo>
                    <a:pt x="389" y="867"/>
                  </a:lnTo>
                  <a:lnTo>
                    <a:pt x="389" y="863"/>
                  </a:lnTo>
                  <a:lnTo>
                    <a:pt x="391" y="863"/>
                  </a:lnTo>
                  <a:lnTo>
                    <a:pt x="392" y="861"/>
                  </a:lnTo>
                  <a:lnTo>
                    <a:pt x="392" y="859"/>
                  </a:lnTo>
                  <a:lnTo>
                    <a:pt x="394" y="859"/>
                  </a:lnTo>
                  <a:lnTo>
                    <a:pt x="392" y="859"/>
                  </a:lnTo>
                  <a:lnTo>
                    <a:pt x="398" y="848"/>
                  </a:lnTo>
                  <a:lnTo>
                    <a:pt x="403" y="831"/>
                  </a:lnTo>
                  <a:lnTo>
                    <a:pt x="409" y="813"/>
                  </a:lnTo>
                  <a:lnTo>
                    <a:pt x="417" y="794"/>
                  </a:lnTo>
                  <a:lnTo>
                    <a:pt x="427" y="781"/>
                  </a:lnTo>
                  <a:lnTo>
                    <a:pt x="430" y="778"/>
                  </a:lnTo>
                  <a:lnTo>
                    <a:pt x="437" y="768"/>
                  </a:lnTo>
                  <a:lnTo>
                    <a:pt x="438" y="764"/>
                  </a:lnTo>
                  <a:lnTo>
                    <a:pt x="441" y="760"/>
                  </a:lnTo>
                  <a:lnTo>
                    <a:pt x="442" y="760"/>
                  </a:lnTo>
                  <a:lnTo>
                    <a:pt x="454" y="751"/>
                  </a:lnTo>
                  <a:lnTo>
                    <a:pt x="459" y="743"/>
                  </a:lnTo>
                  <a:lnTo>
                    <a:pt x="466" y="734"/>
                  </a:lnTo>
                  <a:lnTo>
                    <a:pt x="467" y="730"/>
                  </a:lnTo>
                  <a:lnTo>
                    <a:pt x="470" y="730"/>
                  </a:lnTo>
                  <a:lnTo>
                    <a:pt x="474" y="724"/>
                  </a:lnTo>
                  <a:lnTo>
                    <a:pt x="483" y="719"/>
                  </a:lnTo>
                  <a:lnTo>
                    <a:pt x="487" y="716"/>
                  </a:lnTo>
                  <a:lnTo>
                    <a:pt x="494" y="710"/>
                  </a:lnTo>
                  <a:lnTo>
                    <a:pt x="508" y="702"/>
                  </a:lnTo>
                  <a:lnTo>
                    <a:pt x="516" y="697"/>
                  </a:lnTo>
                  <a:lnTo>
                    <a:pt x="524" y="693"/>
                  </a:lnTo>
                  <a:lnTo>
                    <a:pt x="540" y="672"/>
                  </a:lnTo>
                  <a:lnTo>
                    <a:pt x="559" y="659"/>
                  </a:lnTo>
                  <a:lnTo>
                    <a:pt x="562" y="654"/>
                  </a:lnTo>
                  <a:lnTo>
                    <a:pt x="565" y="652"/>
                  </a:lnTo>
                  <a:lnTo>
                    <a:pt x="568" y="652"/>
                  </a:lnTo>
                  <a:lnTo>
                    <a:pt x="577" y="652"/>
                  </a:lnTo>
                  <a:lnTo>
                    <a:pt x="583" y="653"/>
                  </a:lnTo>
                  <a:lnTo>
                    <a:pt x="586" y="652"/>
                  </a:lnTo>
                  <a:lnTo>
                    <a:pt x="587" y="649"/>
                  </a:lnTo>
                  <a:lnTo>
                    <a:pt x="591" y="645"/>
                  </a:lnTo>
                  <a:lnTo>
                    <a:pt x="594" y="645"/>
                  </a:lnTo>
                  <a:lnTo>
                    <a:pt x="596" y="645"/>
                  </a:lnTo>
                  <a:lnTo>
                    <a:pt x="602" y="648"/>
                  </a:lnTo>
                  <a:lnTo>
                    <a:pt x="608" y="645"/>
                  </a:lnTo>
                  <a:lnTo>
                    <a:pt x="609" y="645"/>
                  </a:lnTo>
                  <a:lnTo>
                    <a:pt x="612" y="644"/>
                  </a:lnTo>
                  <a:lnTo>
                    <a:pt x="613" y="640"/>
                  </a:lnTo>
                  <a:lnTo>
                    <a:pt x="615" y="640"/>
                  </a:lnTo>
                  <a:lnTo>
                    <a:pt x="627" y="645"/>
                  </a:lnTo>
                  <a:lnTo>
                    <a:pt x="632" y="645"/>
                  </a:lnTo>
                  <a:lnTo>
                    <a:pt x="638" y="645"/>
                  </a:lnTo>
                  <a:lnTo>
                    <a:pt x="640" y="645"/>
                  </a:lnTo>
                  <a:lnTo>
                    <a:pt x="646" y="648"/>
                  </a:lnTo>
                  <a:lnTo>
                    <a:pt x="657" y="636"/>
                  </a:lnTo>
                  <a:lnTo>
                    <a:pt x="661" y="632"/>
                  </a:lnTo>
                  <a:lnTo>
                    <a:pt x="666" y="627"/>
                  </a:lnTo>
                  <a:lnTo>
                    <a:pt x="668" y="627"/>
                  </a:lnTo>
                  <a:lnTo>
                    <a:pt x="672" y="627"/>
                  </a:lnTo>
                  <a:lnTo>
                    <a:pt x="677" y="627"/>
                  </a:lnTo>
                  <a:lnTo>
                    <a:pt x="684" y="622"/>
                  </a:lnTo>
                  <a:lnTo>
                    <a:pt x="691" y="617"/>
                  </a:lnTo>
                  <a:lnTo>
                    <a:pt x="696" y="617"/>
                  </a:lnTo>
                  <a:lnTo>
                    <a:pt x="711" y="604"/>
                  </a:lnTo>
                  <a:lnTo>
                    <a:pt x="721" y="595"/>
                  </a:lnTo>
                  <a:lnTo>
                    <a:pt x="723" y="591"/>
                  </a:lnTo>
                  <a:lnTo>
                    <a:pt x="730" y="587"/>
                  </a:lnTo>
                  <a:lnTo>
                    <a:pt x="739" y="582"/>
                  </a:lnTo>
                  <a:lnTo>
                    <a:pt x="741" y="578"/>
                  </a:lnTo>
                  <a:lnTo>
                    <a:pt x="747" y="577"/>
                  </a:lnTo>
                  <a:lnTo>
                    <a:pt x="750" y="573"/>
                  </a:lnTo>
                  <a:lnTo>
                    <a:pt x="753" y="573"/>
                  </a:lnTo>
                  <a:lnTo>
                    <a:pt x="754" y="569"/>
                  </a:lnTo>
                  <a:lnTo>
                    <a:pt x="757" y="567"/>
                  </a:lnTo>
                  <a:lnTo>
                    <a:pt x="762" y="565"/>
                  </a:lnTo>
                  <a:lnTo>
                    <a:pt x="764" y="565"/>
                  </a:lnTo>
                  <a:lnTo>
                    <a:pt x="768" y="565"/>
                  </a:lnTo>
                  <a:lnTo>
                    <a:pt x="769" y="565"/>
                  </a:lnTo>
                  <a:lnTo>
                    <a:pt x="771" y="565"/>
                  </a:lnTo>
                  <a:lnTo>
                    <a:pt x="773" y="565"/>
                  </a:lnTo>
                  <a:lnTo>
                    <a:pt x="778" y="564"/>
                  </a:lnTo>
                  <a:lnTo>
                    <a:pt x="783" y="565"/>
                  </a:lnTo>
                  <a:lnTo>
                    <a:pt x="790" y="564"/>
                  </a:lnTo>
                  <a:lnTo>
                    <a:pt x="793" y="560"/>
                  </a:lnTo>
                  <a:lnTo>
                    <a:pt x="798" y="564"/>
                  </a:lnTo>
                  <a:lnTo>
                    <a:pt x="800" y="564"/>
                  </a:lnTo>
                  <a:lnTo>
                    <a:pt x="804" y="565"/>
                  </a:lnTo>
                  <a:lnTo>
                    <a:pt x="807" y="567"/>
                  </a:lnTo>
                  <a:lnTo>
                    <a:pt x="809" y="569"/>
                  </a:lnTo>
                  <a:lnTo>
                    <a:pt x="815" y="565"/>
                  </a:lnTo>
                  <a:lnTo>
                    <a:pt x="819" y="565"/>
                  </a:lnTo>
                  <a:lnTo>
                    <a:pt x="821" y="567"/>
                  </a:lnTo>
                  <a:lnTo>
                    <a:pt x="823" y="569"/>
                  </a:lnTo>
                  <a:lnTo>
                    <a:pt x="825" y="569"/>
                  </a:lnTo>
                  <a:lnTo>
                    <a:pt x="836" y="569"/>
                  </a:lnTo>
                  <a:lnTo>
                    <a:pt x="843" y="569"/>
                  </a:lnTo>
                  <a:lnTo>
                    <a:pt x="847" y="567"/>
                  </a:lnTo>
                  <a:lnTo>
                    <a:pt x="850" y="569"/>
                  </a:lnTo>
                  <a:lnTo>
                    <a:pt x="857" y="565"/>
                  </a:lnTo>
                  <a:lnTo>
                    <a:pt x="859" y="567"/>
                  </a:lnTo>
                  <a:lnTo>
                    <a:pt x="864" y="565"/>
                  </a:lnTo>
                  <a:lnTo>
                    <a:pt x="871" y="567"/>
                  </a:lnTo>
                  <a:lnTo>
                    <a:pt x="873" y="565"/>
                  </a:lnTo>
                  <a:lnTo>
                    <a:pt x="879" y="565"/>
                  </a:lnTo>
                  <a:lnTo>
                    <a:pt x="883" y="565"/>
                  </a:lnTo>
                  <a:lnTo>
                    <a:pt x="886" y="565"/>
                  </a:lnTo>
                  <a:lnTo>
                    <a:pt x="889" y="565"/>
                  </a:lnTo>
                  <a:lnTo>
                    <a:pt x="892" y="565"/>
                  </a:lnTo>
                  <a:lnTo>
                    <a:pt x="897" y="564"/>
                  </a:lnTo>
                  <a:lnTo>
                    <a:pt x="901" y="560"/>
                  </a:lnTo>
                  <a:lnTo>
                    <a:pt x="908" y="560"/>
                  </a:lnTo>
                  <a:lnTo>
                    <a:pt x="914" y="560"/>
                  </a:lnTo>
                  <a:lnTo>
                    <a:pt x="917" y="558"/>
                  </a:lnTo>
                  <a:lnTo>
                    <a:pt x="921" y="556"/>
                  </a:lnTo>
                  <a:lnTo>
                    <a:pt x="925" y="556"/>
                  </a:lnTo>
                  <a:lnTo>
                    <a:pt x="931" y="556"/>
                  </a:lnTo>
                  <a:lnTo>
                    <a:pt x="933" y="556"/>
                  </a:lnTo>
                  <a:lnTo>
                    <a:pt x="947" y="554"/>
                  </a:lnTo>
                  <a:lnTo>
                    <a:pt x="951" y="552"/>
                  </a:lnTo>
                  <a:lnTo>
                    <a:pt x="956" y="550"/>
                  </a:lnTo>
                  <a:lnTo>
                    <a:pt x="958" y="550"/>
                  </a:lnTo>
                  <a:lnTo>
                    <a:pt x="967" y="547"/>
                  </a:lnTo>
                  <a:lnTo>
                    <a:pt x="979" y="552"/>
                  </a:lnTo>
                  <a:lnTo>
                    <a:pt x="983" y="556"/>
                  </a:lnTo>
                  <a:lnTo>
                    <a:pt x="985" y="560"/>
                  </a:lnTo>
                  <a:lnTo>
                    <a:pt x="989" y="560"/>
                  </a:lnTo>
                  <a:lnTo>
                    <a:pt x="996" y="560"/>
                  </a:lnTo>
                  <a:lnTo>
                    <a:pt x="1006" y="564"/>
                  </a:lnTo>
                  <a:lnTo>
                    <a:pt x="1008" y="565"/>
                  </a:lnTo>
                  <a:lnTo>
                    <a:pt x="1014" y="567"/>
                  </a:lnTo>
                  <a:lnTo>
                    <a:pt x="1025" y="569"/>
                  </a:lnTo>
                  <a:lnTo>
                    <a:pt x="1027" y="569"/>
                  </a:lnTo>
                  <a:lnTo>
                    <a:pt x="1031" y="573"/>
                  </a:lnTo>
                  <a:lnTo>
                    <a:pt x="1035" y="577"/>
                  </a:lnTo>
                  <a:lnTo>
                    <a:pt x="1036" y="577"/>
                  </a:lnTo>
                  <a:lnTo>
                    <a:pt x="1043" y="573"/>
                  </a:lnTo>
                  <a:lnTo>
                    <a:pt x="1052" y="573"/>
                  </a:lnTo>
                  <a:lnTo>
                    <a:pt x="1053" y="569"/>
                  </a:lnTo>
                  <a:lnTo>
                    <a:pt x="1057" y="569"/>
                  </a:lnTo>
                  <a:lnTo>
                    <a:pt x="1067" y="564"/>
                  </a:lnTo>
                  <a:lnTo>
                    <a:pt x="1070" y="560"/>
                  </a:lnTo>
                  <a:lnTo>
                    <a:pt x="1077" y="556"/>
                  </a:lnTo>
                  <a:lnTo>
                    <a:pt x="1085" y="552"/>
                  </a:lnTo>
                  <a:lnTo>
                    <a:pt x="1091" y="552"/>
                  </a:lnTo>
                  <a:lnTo>
                    <a:pt x="1097" y="547"/>
                  </a:lnTo>
                  <a:lnTo>
                    <a:pt x="1100" y="542"/>
                  </a:lnTo>
                  <a:lnTo>
                    <a:pt x="1104" y="541"/>
                  </a:lnTo>
                  <a:lnTo>
                    <a:pt x="1110" y="537"/>
                  </a:lnTo>
                  <a:lnTo>
                    <a:pt x="1111" y="533"/>
                  </a:lnTo>
                  <a:lnTo>
                    <a:pt x="1116" y="532"/>
                  </a:lnTo>
                  <a:lnTo>
                    <a:pt x="1118" y="524"/>
                  </a:lnTo>
                  <a:lnTo>
                    <a:pt x="1120" y="520"/>
                  </a:lnTo>
                  <a:lnTo>
                    <a:pt x="1129" y="511"/>
                  </a:lnTo>
                  <a:lnTo>
                    <a:pt x="1135" y="505"/>
                  </a:lnTo>
                  <a:lnTo>
                    <a:pt x="1138" y="502"/>
                  </a:lnTo>
                  <a:lnTo>
                    <a:pt x="1139" y="502"/>
                  </a:lnTo>
                  <a:lnTo>
                    <a:pt x="1147" y="502"/>
                  </a:lnTo>
                  <a:lnTo>
                    <a:pt x="1150" y="498"/>
                  </a:lnTo>
                  <a:lnTo>
                    <a:pt x="1155" y="497"/>
                  </a:lnTo>
                  <a:lnTo>
                    <a:pt x="1160" y="494"/>
                  </a:lnTo>
                  <a:lnTo>
                    <a:pt x="1170" y="488"/>
                  </a:lnTo>
                  <a:lnTo>
                    <a:pt x="1177" y="485"/>
                  </a:lnTo>
                  <a:lnTo>
                    <a:pt x="1182" y="485"/>
                  </a:lnTo>
                  <a:lnTo>
                    <a:pt x="1185" y="485"/>
                  </a:lnTo>
                  <a:lnTo>
                    <a:pt x="1189" y="479"/>
                  </a:lnTo>
                  <a:lnTo>
                    <a:pt x="1192" y="475"/>
                  </a:lnTo>
                  <a:lnTo>
                    <a:pt x="1199" y="471"/>
                  </a:lnTo>
                  <a:lnTo>
                    <a:pt x="1211" y="471"/>
                  </a:lnTo>
                  <a:lnTo>
                    <a:pt x="1214" y="471"/>
                  </a:lnTo>
                  <a:lnTo>
                    <a:pt x="1220" y="466"/>
                  </a:lnTo>
                  <a:lnTo>
                    <a:pt x="1233" y="449"/>
                  </a:lnTo>
                  <a:lnTo>
                    <a:pt x="1238" y="449"/>
                  </a:lnTo>
                  <a:lnTo>
                    <a:pt x="1249" y="440"/>
                  </a:lnTo>
                  <a:lnTo>
                    <a:pt x="1256" y="440"/>
                  </a:lnTo>
                  <a:lnTo>
                    <a:pt x="1257" y="438"/>
                  </a:lnTo>
                  <a:lnTo>
                    <a:pt x="1260" y="436"/>
                  </a:lnTo>
                  <a:lnTo>
                    <a:pt x="1263" y="427"/>
                  </a:lnTo>
                  <a:lnTo>
                    <a:pt x="1274" y="427"/>
                  </a:lnTo>
                  <a:lnTo>
                    <a:pt x="1284" y="413"/>
                  </a:lnTo>
                  <a:lnTo>
                    <a:pt x="1282" y="412"/>
                  </a:lnTo>
                  <a:lnTo>
                    <a:pt x="1288" y="412"/>
                  </a:lnTo>
                  <a:lnTo>
                    <a:pt x="1293" y="408"/>
                  </a:lnTo>
                  <a:lnTo>
                    <a:pt x="1296" y="408"/>
                  </a:lnTo>
                  <a:lnTo>
                    <a:pt x="1305" y="408"/>
                  </a:lnTo>
                  <a:lnTo>
                    <a:pt x="1309" y="404"/>
                  </a:lnTo>
                  <a:lnTo>
                    <a:pt x="1313" y="404"/>
                  </a:lnTo>
                  <a:lnTo>
                    <a:pt x="1323" y="400"/>
                  </a:lnTo>
                  <a:lnTo>
                    <a:pt x="1328" y="395"/>
                  </a:lnTo>
                  <a:lnTo>
                    <a:pt x="1338" y="395"/>
                  </a:lnTo>
                  <a:lnTo>
                    <a:pt x="1342" y="395"/>
                  </a:lnTo>
                  <a:lnTo>
                    <a:pt x="1349" y="391"/>
                  </a:lnTo>
                  <a:lnTo>
                    <a:pt x="1351" y="391"/>
                  </a:lnTo>
                  <a:lnTo>
                    <a:pt x="1351" y="387"/>
                  </a:lnTo>
                  <a:lnTo>
                    <a:pt x="1352" y="386"/>
                  </a:lnTo>
                  <a:lnTo>
                    <a:pt x="1355" y="386"/>
                  </a:lnTo>
                  <a:lnTo>
                    <a:pt x="1357" y="386"/>
                  </a:lnTo>
                  <a:lnTo>
                    <a:pt x="1359" y="382"/>
                  </a:lnTo>
                  <a:lnTo>
                    <a:pt x="1360" y="382"/>
                  </a:lnTo>
                  <a:lnTo>
                    <a:pt x="1362" y="382"/>
                  </a:lnTo>
                  <a:lnTo>
                    <a:pt x="1363" y="386"/>
                  </a:lnTo>
                  <a:lnTo>
                    <a:pt x="1371" y="382"/>
                  </a:lnTo>
                  <a:lnTo>
                    <a:pt x="1373" y="382"/>
                  </a:lnTo>
                  <a:lnTo>
                    <a:pt x="1381" y="382"/>
                  </a:lnTo>
                  <a:lnTo>
                    <a:pt x="1384" y="382"/>
                  </a:lnTo>
                  <a:lnTo>
                    <a:pt x="1385" y="382"/>
                  </a:lnTo>
                  <a:lnTo>
                    <a:pt x="1388" y="382"/>
                  </a:lnTo>
                  <a:lnTo>
                    <a:pt x="1392" y="382"/>
                  </a:lnTo>
                  <a:lnTo>
                    <a:pt x="1398" y="382"/>
                  </a:lnTo>
                  <a:lnTo>
                    <a:pt x="1401" y="382"/>
                  </a:lnTo>
                  <a:lnTo>
                    <a:pt x="1402" y="382"/>
                  </a:lnTo>
                  <a:lnTo>
                    <a:pt x="1407" y="378"/>
                  </a:lnTo>
                  <a:lnTo>
                    <a:pt x="1409" y="378"/>
                  </a:lnTo>
                  <a:lnTo>
                    <a:pt x="1420" y="376"/>
                  </a:lnTo>
                  <a:lnTo>
                    <a:pt x="1421" y="376"/>
                  </a:lnTo>
                  <a:lnTo>
                    <a:pt x="1427" y="373"/>
                  </a:lnTo>
                  <a:lnTo>
                    <a:pt x="1430" y="373"/>
                  </a:lnTo>
                  <a:lnTo>
                    <a:pt x="1431" y="368"/>
                  </a:lnTo>
                  <a:lnTo>
                    <a:pt x="1435" y="368"/>
                  </a:lnTo>
                  <a:lnTo>
                    <a:pt x="1438" y="367"/>
                  </a:lnTo>
                  <a:lnTo>
                    <a:pt x="1441" y="368"/>
                  </a:lnTo>
                  <a:lnTo>
                    <a:pt x="1445" y="368"/>
                  </a:lnTo>
                  <a:lnTo>
                    <a:pt x="1453" y="365"/>
                  </a:lnTo>
                  <a:lnTo>
                    <a:pt x="1459" y="365"/>
                  </a:lnTo>
                  <a:lnTo>
                    <a:pt x="1465" y="363"/>
                  </a:lnTo>
                  <a:lnTo>
                    <a:pt x="1468" y="359"/>
                  </a:lnTo>
                  <a:lnTo>
                    <a:pt x="1474" y="359"/>
                  </a:lnTo>
                  <a:lnTo>
                    <a:pt x="1476" y="359"/>
                  </a:lnTo>
                  <a:lnTo>
                    <a:pt x="1478" y="355"/>
                  </a:lnTo>
                  <a:lnTo>
                    <a:pt x="1482" y="355"/>
                  </a:lnTo>
                  <a:lnTo>
                    <a:pt x="1491" y="350"/>
                  </a:lnTo>
                  <a:lnTo>
                    <a:pt x="1495" y="350"/>
                  </a:lnTo>
                  <a:lnTo>
                    <a:pt x="1501" y="346"/>
                  </a:lnTo>
                  <a:lnTo>
                    <a:pt x="1505" y="342"/>
                  </a:lnTo>
                  <a:lnTo>
                    <a:pt x="1505" y="341"/>
                  </a:lnTo>
                  <a:lnTo>
                    <a:pt x="1506" y="337"/>
                  </a:lnTo>
                  <a:lnTo>
                    <a:pt x="1510" y="337"/>
                  </a:lnTo>
                  <a:lnTo>
                    <a:pt x="1517" y="337"/>
                  </a:lnTo>
                  <a:lnTo>
                    <a:pt x="1521" y="333"/>
                  </a:lnTo>
                  <a:lnTo>
                    <a:pt x="1526" y="329"/>
                  </a:lnTo>
                  <a:lnTo>
                    <a:pt x="1535" y="323"/>
                  </a:lnTo>
                  <a:lnTo>
                    <a:pt x="1540" y="320"/>
                  </a:lnTo>
                  <a:lnTo>
                    <a:pt x="1555" y="314"/>
                  </a:lnTo>
                  <a:lnTo>
                    <a:pt x="1563" y="305"/>
                  </a:lnTo>
                  <a:lnTo>
                    <a:pt x="1572" y="297"/>
                  </a:lnTo>
                  <a:lnTo>
                    <a:pt x="1572" y="296"/>
                  </a:lnTo>
                  <a:lnTo>
                    <a:pt x="1573" y="296"/>
                  </a:lnTo>
                  <a:lnTo>
                    <a:pt x="1576" y="293"/>
                  </a:lnTo>
                  <a:lnTo>
                    <a:pt x="1581" y="297"/>
                  </a:lnTo>
                  <a:lnTo>
                    <a:pt x="1588" y="293"/>
                  </a:lnTo>
                  <a:lnTo>
                    <a:pt x="1591" y="293"/>
                  </a:lnTo>
                  <a:lnTo>
                    <a:pt x="1594" y="292"/>
                  </a:lnTo>
                  <a:lnTo>
                    <a:pt x="1603" y="288"/>
                  </a:lnTo>
                  <a:lnTo>
                    <a:pt x="1608" y="287"/>
                  </a:lnTo>
                  <a:lnTo>
                    <a:pt x="1615" y="287"/>
                  </a:lnTo>
                  <a:lnTo>
                    <a:pt x="1619" y="284"/>
                  </a:lnTo>
                  <a:lnTo>
                    <a:pt x="1631" y="284"/>
                  </a:lnTo>
                  <a:lnTo>
                    <a:pt x="1637" y="284"/>
                  </a:lnTo>
                  <a:lnTo>
                    <a:pt x="1638" y="284"/>
                  </a:lnTo>
                  <a:lnTo>
                    <a:pt x="1644" y="279"/>
                  </a:lnTo>
                  <a:lnTo>
                    <a:pt x="1654" y="279"/>
                  </a:lnTo>
                  <a:lnTo>
                    <a:pt x="1659" y="275"/>
                  </a:lnTo>
                  <a:lnTo>
                    <a:pt x="1672" y="269"/>
                  </a:lnTo>
                  <a:lnTo>
                    <a:pt x="1683" y="261"/>
                  </a:lnTo>
                  <a:lnTo>
                    <a:pt x="1684" y="258"/>
                  </a:lnTo>
                  <a:lnTo>
                    <a:pt x="1686" y="253"/>
                  </a:lnTo>
                  <a:lnTo>
                    <a:pt x="1697" y="239"/>
                  </a:lnTo>
                  <a:lnTo>
                    <a:pt x="1698" y="238"/>
                  </a:lnTo>
                  <a:lnTo>
                    <a:pt x="1700" y="236"/>
                  </a:lnTo>
                  <a:lnTo>
                    <a:pt x="1712" y="229"/>
                  </a:lnTo>
                  <a:lnTo>
                    <a:pt x="1719" y="221"/>
                  </a:lnTo>
                  <a:lnTo>
                    <a:pt x="1726" y="217"/>
                  </a:lnTo>
                  <a:lnTo>
                    <a:pt x="1727" y="216"/>
                  </a:lnTo>
                  <a:lnTo>
                    <a:pt x="1731" y="213"/>
                  </a:lnTo>
                  <a:lnTo>
                    <a:pt x="1737" y="208"/>
                  </a:lnTo>
                  <a:lnTo>
                    <a:pt x="1744" y="204"/>
                  </a:lnTo>
                  <a:lnTo>
                    <a:pt x="1750" y="202"/>
                  </a:lnTo>
                  <a:lnTo>
                    <a:pt x="1769" y="185"/>
                  </a:lnTo>
                  <a:lnTo>
                    <a:pt x="1775" y="177"/>
                  </a:lnTo>
                  <a:lnTo>
                    <a:pt x="1781" y="172"/>
                  </a:lnTo>
                  <a:lnTo>
                    <a:pt x="1783" y="168"/>
                  </a:lnTo>
                  <a:lnTo>
                    <a:pt x="1786" y="164"/>
                  </a:lnTo>
                  <a:lnTo>
                    <a:pt x="1790" y="163"/>
                  </a:lnTo>
                  <a:lnTo>
                    <a:pt x="1795" y="158"/>
                  </a:lnTo>
                  <a:lnTo>
                    <a:pt x="1802" y="155"/>
                  </a:lnTo>
                  <a:lnTo>
                    <a:pt x="1804" y="150"/>
                  </a:lnTo>
                  <a:lnTo>
                    <a:pt x="1806" y="150"/>
                  </a:lnTo>
                  <a:lnTo>
                    <a:pt x="1812" y="146"/>
                  </a:lnTo>
                  <a:lnTo>
                    <a:pt x="1814" y="146"/>
                  </a:lnTo>
                  <a:lnTo>
                    <a:pt x="1825" y="133"/>
                  </a:lnTo>
                  <a:lnTo>
                    <a:pt x="1829" y="129"/>
                  </a:lnTo>
                  <a:lnTo>
                    <a:pt x="1839" y="120"/>
                  </a:lnTo>
                  <a:lnTo>
                    <a:pt x="1840" y="114"/>
                  </a:lnTo>
                  <a:lnTo>
                    <a:pt x="1851" y="106"/>
                  </a:lnTo>
                  <a:lnTo>
                    <a:pt x="1855" y="105"/>
                  </a:lnTo>
                  <a:lnTo>
                    <a:pt x="1861" y="101"/>
                  </a:lnTo>
                  <a:lnTo>
                    <a:pt x="1864" y="97"/>
                  </a:lnTo>
                  <a:lnTo>
                    <a:pt x="1869" y="97"/>
                  </a:lnTo>
                  <a:lnTo>
                    <a:pt x="1871" y="96"/>
                  </a:lnTo>
                  <a:lnTo>
                    <a:pt x="1873" y="92"/>
                  </a:lnTo>
                  <a:lnTo>
                    <a:pt x="1879" y="92"/>
                  </a:lnTo>
                  <a:lnTo>
                    <a:pt x="1880" y="88"/>
                  </a:lnTo>
                  <a:lnTo>
                    <a:pt x="1886" y="88"/>
                  </a:lnTo>
                  <a:lnTo>
                    <a:pt x="1887" y="88"/>
                  </a:lnTo>
                  <a:lnTo>
                    <a:pt x="1889" y="88"/>
                  </a:lnTo>
                  <a:lnTo>
                    <a:pt x="1901" y="84"/>
                  </a:lnTo>
                  <a:lnTo>
                    <a:pt x="1908" y="84"/>
                  </a:lnTo>
                  <a:lnTo>
                    <a:pt x="1912" y="84"/>
                  </a:lnTo>
                  <a:lnTo>
                    <a:pt x="1916" y="84"/>
                  </a:lnTo>
                  <a:lnTo>
                    <a:pt x="1919" y="87"/>
                  </a:lnTo>
                  <a:lnTo>
                    <a:pt x="1924" y="87"/>
                  </a:lnTo>
                  <a:lnTo>
                    <a:pt x="1927" y="84"/>
                  </a:lnTo>
                  <a:lnTo>
                    <a:pt x="1930" y="83"/>
                  </a:lnTo>
                  <a:lnTo>
                    <a:pt x="1932" y="84"/>
                  </a:lnTo>
                  <a:lnTo>
                    <a:pt x="1935" y="83"/>
                  </a:lnTo>
                  <a:lnTo>
                    <a:pt x="1939" y="84"/>
                  </a:lnTo>
                  <a:lnTo>
                    <a:pt x="1941" y="84"/>
                  </a:lnTo>
                  <a:lnTo>
                    <a:pt x="1946" y="79"/>
                  </a:lnTo>
                  <a:lnTo>
                    <a:pt x="1952" y="75"/>
                  </a:lnTo>
                  <a:lnTo>
                    <a:pt x="1960" y="71"/>
                  </a:lnTo>
                  <a:lnTo>
                    <a:pt x="1965" y="62"/>
                  </a:lnTo>
                  <a:lnTo>
                    <a:pt x="1966" y="52"/>
                  </a:lnTo>
                  <a:lnTo>
                    <a:pt x="1969" y="47"/>
                  </a:lnTo>
                  <a:lnTo>
                    <a:pt x="1972" y="43"/>
                  </a:lnTo>
                  <a:lnTo>
                    <a:pt x="1976" y="38"/>
                  </a:lnTo>
                  <a:lnTo>
                    <a:pt x="1983" y="30"/>
                  </a:lnTo>
                  <a:lnTo>
                    <a:pt x="1985" y="34"/>
                  </a:lnTo>
                  <a:lnTo>
                    <a:pt x="1991" y="30"/>
                  </a:lnTo>
                  <a:lnTo>
                    <a:pt x="1989" y="26"/>
                  </a:lnTo>
                  <a:lnTo>
                    <a:pt x="1991" y="25"/>
                  </a:lnTo>
                  <a:lnTo>
                    <a:pt x="1999" y="14"/>
                  </a:lnTo>
                  <a:lnTo>
                    <a:pt x="2002" y="3"/>
                  </a:lnTo>
                  <a:lnTo>
                    <a:pt x="2010" y="8"/>
                  </a:lnTo>
                  <a:lnTo>
                    <a:pt x="2015" y="0"/>
                  </a:lnTo>
                  <a:lnTo>
                    <a:pt x="2019" y="0"/>
                  </a:lnTo>
                  <a:lnTo>
                    <a:pt x="2029" y="3"/>
                  </a:lnTo>
                  <a:lnTo>
                    <a:pt x="2030" y="8"/>
                  </a:lnTo>
                  <a:lnTo>
                    <a:pt x="2032" y="8"/>
                  </a:lnTo>
                  <a:lnTo>
                    <a:pt x="2033" y="8"/>
                  </a:lnTo>
                  <a:lnTo>
                    <a:pt x="2033" y="3"/>
                  </a:lnTo>
                  <a:lnTo>
                    <a:pt x="2036" y="3"/>
                  </a:lnTo>
                  <a:lnTo>
                    <a:pt x="2049" y="8"/>
                  </a:lnTo>
                  <a:lnTo>
                    <a:pt x="2060" y="11"/>
                  </a:lnTo>
                  <a:lnTo>
                    <a:pt x="2058" y="13"/>
                  </a:lnTo>
                  <a:lnTo>
                    <a:pt x="2052" y="14"/>
                  </a:lnTo>
                  <a:lnTo>
                    <a:pt x="2049" y="17"/>
                  </a:lnTo>
                  <a:lnTo>
                    <a:pt x="2043" y="15"/>
                  </a:lnTo>
                  <a:lnTo>
                    <a:pt x="2041" y="21"/>
                  </a:lnTo>
                  <a:lnTo>
                    <a:pt x="2043" y="26"/>
                  </a:lnTo>
                  <a:lnTo>
                    <a:pt x="2040" y="30"/>
                  </a:lnTo>
                  <a:lnTo>
                    <a:pt x="2041" y="30"/>
                  </a:lnTo>
                  <a:lnTo>
                    <a:pt x="2051" y="26"/>
                  </a:lnTo>
                  <a:lnTo>
                    <a:pt x="2065" y="15"/>
                  </a:lnTo>
                  <a:lnTo>
                    <a:pt x="2068" y="11"/>
                  </a:lnTo>
                  <a:lnTo>
                    <a:pt x="2068" y="3"/>
                  </a:lnTo>
                  <a:lnTo>
                    <a:pt x="2075" y="3"/>
                  </a:lnTo>
                  <a:lnTo>
                    <a:pt x="2082" y="8"/>
                  </a:lnTo>
                  <a:lnTo>
                    <a:pt x="2082" y="13"/>
                  </a:lnTo>
                  <a:lnTo>
                    <a:pt x="2085" y="13"/>
                  </a:lnTo>
                  <a:lnTo>
                    <a:pt x="2086" y="17"/>
                  </a:lnTo>
                  <a:lnTo>
                    <a:pt x="2089" y="17"/>
                  </a:lnTo>
                  <a:lnTo>
                    <a:pt x="2086" y="26"/>
                  </a:lnTo>
                  <a:lnTo>
                    <a:pt x="2089" y="34"/>
                  </a:lnTo>
                  <a:lnTo>
                    <a:pt x="2093" y="39"/>
                  </a:lnTo>
                  <a:lnTo>
                    <a:pt x="2094" y="47"/>
                  </a:lnTo>
                  <a:lnTo>
                    <a:pt x="2097" y="48"/>
                  </a:lnTo>
                  <a:lnTo>
                    <a:pt x="2099" y="51"/>
                  </a:lnTo>
                  <a:lnTo>
                    <a:pt x="2096" y="56"/>
                  </a:lnTo>
                  <a:lnTo>
                    <a:pt x="2096" y="62"/>
                  </a:lnTo>
                  <a:lnTo>
                    <a:pt x="2094" y="62"/>
                  </a:lnTo>
                  <a:lnTo>
                    <a:pt x="2091" y="62"/>
                  </a:lnTo>
                  <a:lnTo>
                    <a:pt x="2090" y="62"/>
                  </a:lnTo>
                  <a:lnTo>
                    <a:pt x="2087" y="60"/>
                  </a:lnTo>
                  <a:lnTo>
                    <a:pt x="2085" y="60"/>
                  </a:lnTo>
                  <a:lnTo>
                    <a:pt x="2085" y="64"/>
                  </a:lnTo>
                  <a:lnTo>
                    <a:pt x="2080" y="64"/>
                  </a:lnTo>
                  <a:lnTo>
                    <a:pt x="2078" y="65"/>
                  </a:lnTo>
                  <a:lnTo>
                    <a:pt x="2075" y="65"/>
                  </a:lnTo>
                  <a:lnTo>
                    <a:pt x="2074" y="62"/>
                  </a:lnTo>
                  <a:lnTo>
                    <a:pt x="2072" y="62"/>
                  </a:lnTo>
                  <a:lnTo>
                    <a:pt x="2074" y="65"/>
                  </a:lnTo>
                  <a:lnTo>
                    <a:pt x="2072" y="65"/>
                  </a:lnTo>
                  <a:lnTo>
                    <a:pt x="2066" y="64"/>
                  </a:lnTo>
                  <a:lnTo>
                    <a:pt x="2062" y="62"/>
                  </a:lnTo>
                  <a:lnTo>
                    <a:pt x="2060" y="64"/>
                  </a:lnTo>
                  <a:lnTo>
                    <a:pt x="2058" y="70"/>
                  </a:lnTo>
                  <a:lnTo>
                    <a:pt x="2055" y="71"/>
                  </a:lnTo>
                  <a:lnTo>
                    <a:pt x="2051" y="70"/>
                  </a:lnTo>
                  <a:lnTo>
                    <a:pt x="2047" y="73"/>
                  </a:lnTo>
                  <a:lnTo>
                    <a:pt x="2046" y="75"/>
                  </a:lnTo>
                  <a:lnTo>
                    <a:pt x="2044" y="73"/>
                  </a:lnTo>
                  <a:lnTo>
                    <a:pt x="2046" y="65"/>
                  </a:lnTo>
                  <a:lnTo>
                    <a:pt x="2040" y="65"/>
                  </a:lnTo>
                  <a:lnTo>
                    <a:pt x="2036" y="71"/>
                  </a:lnTo>
                  <a:lnTo>
                    <a:pt x="2036" y="73"/>
                  </a:lnTo>
                  <a:lnTo>
                    <a:pt x="2039" y="71"/>
                  </a:lnTo>
                  <a:lnTo>
                    <a:pt x="2040" y="65"/>
                  </a:lnTo>
                  <a:lnTo>
                    <a:pt x="2041" y="65"/>
                  </a:lnTo>
                  <a:lnTo>
                    <a:pt x="2041" y="79"/>
                  </a:lnTo>
                  <a:lnTo>
                    <a:pt x="2043" y="79"/>
                  </a:lnTo>
                  <a:lnTo>
                    <a:pt x="2050" y="79"/>
                  </a:lnTo>
                  <a:lnTo>
                    <a:pt x="2050" y="83"/>
                  </a:lnTo>
                  <a:lnTo>
                    <a:pt x="2047" y="84"/>
                  </a:lnTo>
                  <a:lnTo>
                    <a:pt x="2046" y="92"/>
                  </a:lnTo>
                  <a:lnTo>
                    <a:pt x="2050" y="88"/>
                  </a:lnTo>
                  <a:lnTo>
                    <a:pt x="2054" y="92"/>
                  </a:lnTo>
                  <a:lnTo>
                    <a:pt x="2068" y="92"/>
                  </a:lnTo>
                  <a:lnTo>
                    <a:pt x="2078" y="88"/>
                  </a:lnTo>
                  <a:lnTo>
                    <a:pt x="2082" y="84"/>
                  </a:lnTo>
                  <a:lnTo>
                    <a:pt x="2086" y="83"/>
                  </a:lnTo>
                  <a:lnTo>
                    <a:pt x="2090" y="83"/>
                  </a:lnTo>
                  <a:lnTo>
                    <a:pt x="2097" y="84"/>
                  </a:lnTo>
                  <a:lnTo>
                    <a:pt x="2100" y="88"/>
                  </a:lnTo>
                  <a:lnTo>
                    <a:pt x="2107" y="88"/>
                  </a:lnTo>
                  <a:lnTo>
                    <a:pt x="2115" y="97"/>
                  </a:lnTo>
                  <a:lnTo>
                    <a:pt x="2121" y="97"/>
                  </a:lnTo>
                  <a:lnTo>
                    <a:pt x="2126" y="101"/>
                  </a:lnTo>
                  <a:lnTo>
                    <a:pt x="2128" y="101"/>
                  </a:lnTo>
                  <a:lnTo>
                    <a:pt x="2125" y="106"/>
                  </a:lnTo>
                  <a:lnTo>
                    <a:pt x="2125" y="110"/>
                  </a:lnTo>
                  <a:lnTo>
                    <a:pt x="2118" y="110"/>
                  </a:lnTo>
                  <a:lnTo>
                    <a:pt x="2115" y="120"/>
                  </a:lnTo>
                  <a:lnTo>
                    <a:pt x="2115" y="137"/>
                  </a:lnTo>
                  <a:lnTo>
                    <a:pt x="2118" y="146"/>
                  </a:lnTo>
                  <a:lnTo>
                    <a:pt x="2125" y="154"/>
                  </a:lnTo>
                  <a:lnTo>
                    <a:pt x="2129" y="154"/>
                  </a:lnTo>
                  <a:lnTo>
                    <a:pt x="2136" y="155"/>
                  </a:lnTo>
                  <a:lnTo>
                    <a:pt x="2146" y="158"/>
                  </a:lnTo>
                  <a:lnTo>
                    <a:pt x="2154" y="158"/>
                  </a:lnTo>
                  <a:lnTo>
                    <a:pt x="2160" y="159"/>
                  </a:lnTo>
                  <a:lnTo>
                    <a:pt x="2165" y="163"/>
                  </a:lnTo>
                  <a:lnTo>
                    <a:pt x="2170" y="168"/>
                  </a:lnTo>
                  <a:lnTo>
                    <a:pt x="2172" y="172"/>
                  </a:lnTo>
                  <a:lnTo>
                    <a:pt x="2171" y="185"/>
                  </a:lnTo>
                  <a:lnTo>
                    <a:pt x="2165" y="185"/>
                  </a:lnTo>
                  <a:close/>
                  <a:moveTo>
                    <a:pt x="2156" y="1498"/>
                  </a:moveTo>
                  <a:lnTo>
                    <a:pt x="2153" y="1503"/>
                  </a:lnTo>
                  <a:lnTo>
                    <a:pt x="2156" y="1504"/>
                  </a:lnTo>
                  <a:lnTo>
                    <a:pt x="2153" y="1504"/>
                  </a:lnTo>
                  <a:lnTo>
                    <a:pt x="2156" y="1508"/>
                  </a:lnTo>
                  <a:lnTo>
                    <a:pt x="2157" y="1518"/>
                  </a:lnTo>
                  <a:lnTo>
                    <a:pt x="2154" y="1520"/>
                  </a:lnTo>
                  <a:lnTo>
                    <a:pt x="2151" y="1518"/>
                  </a:lnTo>
                  <a:lnTo>
                    <a:pt x="2149" y="1521"/>
                  </a:lnTo>
                  <a:lnTo>
                    <a:pt x="2146" y="1526"/>
                  </a:lnTo>
                  <a:lnTo>
                    <a:pt x="2145" y="1526"/>
                  </a:lnTo>
                  <a:lnTo>
                    <a:pt x="2143" y="1529"/>
                  </a:lnTo>
                  <a:lnTo>
                    <a:pt x="2142" y="1529"/>
                  </a:lnTo>
                  <a:lnTo>
                    <a:pt x="2140" y="1532"/>
                  </a:lnTo>
                  <a:lnTo>
                    <a:pt x="2139" y="1532"/>
                  </a:lnTo>
                  <a:lnTo>
                    <a:pt x="2140" y="1535"/>
                  </a:lnTo>
                  <a:lnTo>
                    <a:pt x="2136" y="1535"/>
                  </a:lnTo>
                  <a:lnTo>
                    <a:pt x="2137" y="1535"/>
                  </a:lnTo>
                  <a:lnTo>
                    <a:pt x="2136" y="1535"/>
                  </a:lnTo>
                  <a:lnTo>
                    <a:pt x="2132" y="1540"/>
                  </a:lnTo>
                  <a:lnTo>
                    <a:pt x="2133" y="1540"/>
                  </a:lnTo>
                  <a:lnTo>
                    <a:pt x="2137" y="1539"/>
                  </a:lnTo>
                  <a:lnTo>
                    <a:pt x="2142" y="1540"/>
                  </a:lnTo>
                  <a:lnTo>
                    <a:pt x="2140" y="1543"/>
                  </a:lnTo>
                  <a:lnTo>
                    <a:pt x="2136" y="1544"/>
                  </a:lnTo>
                  <a:lnTo>
                    <a:pt x="2137" y="1540"/>
                  </a:lnTo>
                  <a:lnTo>
                    <a:pt x="2133" y="1543"/>
                  </a:lnTo>
                  <a:lnTo>
                    <a:pt x="2128" y="1544"/>
                  </a:lnTo>
                  <a:lnTo>
                    <a:pt x="2118" y="1553"/>
                  </a:lnTo>
                  <a:lnTo>
                    <a:pt x="2119" y="1549"/>
                  </a:lnTo>
                  <a:lnTo>
                    <a:pt x="2118" y="1548"/>
                  </a:lnTo>
                  <a:lnTo>
                    <a:pt x="2118" y="1540"/>
                  </a:lnTo>
                  <a:lnTo>
                    <a:pt x="2114" y="1535"/>
                  </a:lnTo>
                  <a:lnTo>
                    <a:pt x="2110" y="1531"/>
                  </a:lnTo>
                  <a:lnTo>
                    <a:pt x="2118" y="1532"/>
                  </a:lnTo>
                  <a:lnTo>
                    <a:pt x="2118" y="1531"/>
                  </a:lnTo>
                  <a:lnTo>
                    <a:pt x="2125" y="1527"/>
                  </a:lnTo>
                  <a:lnTo>
                    <a:pt x="2115" y="1527"/>
                  </a:lnTo>
                  <a:lnTo>
                    <a:pt x="2115" y="1521"/>
                  </a:lnTo>
                  <a:lnTo>
                    <a:pt x="2114" y="1521"/>
                  </a:lnTo>
                  <a:lnTo>
                    <a:pt x="2112" y="1527"/>
                  </a:lnTo>
                  <a:lnTo>
                    <a:pt x="2108" y="1527"/>
                  </a:lnTo>
                  <a:lnTo>
                    <a:pt x="2110" y="1526"/>
                  </a:lnTo>
                  <a:lnTo>
                    <a:pt x="2108" y="1521"/>
                  </a:lnTo>
                  <a:lnTo>
                    <a:pt x="2105" y="1521"/>
                  </a:lnTo>
                  <a:lnTo>
                    <a:pt x="2101" y="1520"/>
                  </a:lnTo>
                  <a:lnTo>
                    <a:pt x="2100" y="1521"/>
                  </a:lnTo>
                  <a:lnTo>
                    <a:pt x="2096" y="1518"/>
                  </a:lnTo>
                  <a:lnTo>
                    <a:pt x="2096" y="1516"/>
                  </a:lnTo>
                  <a:lnTo>
                    <a:pt x="2100" y="1511"/>
                  </a:lnTo>
                  <a:lnTo>
                    <a:pt x="2103" y="1511"/>
                  </a:lnTo>
                  <a:lnTo>
                    <a:pt x="2104" y="1512"/>
                  </a:lnTo>
                  <a:lnTo>
                    <a:pt x="2103" y="1508"/>
                  </a:lnTo>
                  <a:lnTo>
                    <a:pt x="2104" y="1511"/>
                  </a:lnTo>
                  <a:lnTo>
                    <a:pt x="2107" y="1507"/>
                  </a:lnTo>
                  <a:lnTo>
                    <a:pt x="2111" y="1504"/>
                  </a:lnTo>
                  <a:lnTo>
                    <a:pt x="2111" y="1503"/>
                  </a:lnTo>
                  <a:lnTo>
                    <a:pt x="2114" y="1499"/>
                  </a:lnTo>
                  <a:lnTo>
                    <a:pt x="2115" y="1499"/>
                  </a:lnTo>
                  <a:lnTo>
                    <a:pt x="2118" y="1504"/>
                  </a:lnTo>
                  <a:lnTo>
                    <a:pt x="2119" y="1512"/>
                  </a:lnTo>
                  <a:lnTo>
                    <a:pt x="2125" y="1514"/>
                  </a:lnTo>
                  <a:lnTo>
                    <a:pt x="2124" y="1508"/>
                  </a:lnTo>
                  <a:lnTo>
                    <a:pt x="2125" y="1508"/>
                  </a:lnTo>
                  <a:lnTo>
                    <a:pt x="2126" y="1508"/>
                  </a:lnTo>
                  <a:lnTo>
                    <a:pt x="2131" y="1514"/>
                  </a:lnTo>
                  <a:lnTo>
                    <a:pt x="2135" y="1516"/>
                  </a:lnTo>
                  <a:lnTo>
                    <a:pt x="2133" y="1508"/>
                  </a:lnTo>
                  <a:lnTo>
                    <a:pt x="2135" y="1508"/>
                  </a:lnTo>
                  <a:lnTo>
                    <a:pt x="2136" y="1508"/>
                  </a:lnTo>
                  <a:lnTo>
                    <a:pt x="2131" y="1503"/>
                  </a:lnTo>
                  <a:lnTo>
                    <a:pt x="2128" y="1499"/>
                  </a:lnTo>
                  <a:lnTo>
                    <a:pt x="2125" y="1503"/>
                  </a:lnTo>
                  <a:lnTo>
                    <a:pt x="2126" y="1499"/>
                  </a:lnTo>
                  <a:lnTo>
                    <a:pt x="2126" y="1495"/>
                  </a:lnTo>
                  <a:lnTo>
                    <a:pt x="2128" y="1495"/>
                  </a:lnTo>
                  <a:lnTo>
                    <a:pt x="2136" y="1491"/>
                  </a:lnTo>
                  <a:lnTo>
                    <a:pt x="2140" y="1486"/>
                  </a:lnTo>
                  <a:lnTo>
                    <a:pt x="2143" y="1491"/>
                  </a:lnTo>
                  <a:lnTo>
                    <a:pt x="2150" y="1495"/>
                  </a:lnTo>
                  <a:lnTo>
                    <a:pt x="2157" y="1495"/>
                  </a:lnTo>
                  <a:lnTo>
                    <a:pt x="2159" y="1491"/>
                  </a:lnTo>
                  <a:lnTo>
                    <a:pt x="2160" y="1495"/>
                  </a:lnTo>
                  <a:lnTo>
                    <a:pt x="2156" y="1498"/>
                  </a:lnTo>
                  <a:close/>
                  <a:moveTo>
                    <a:pt x="2151" y="1400"/>
                  </a:moveTo>
                  <a:lnTo>
                    <a:pt x="2151" y="1406"/>
                  </a:lnTo>
                  <a:lnTo>
                    <a:pt x="2154" y="1411"/>
                  </a:lnTo>
                  <a:lnTo>
                    <a:pt x="2146" y="1420"/>
                  </a:lnTo>
                  <a:lnTo>
                    <a:pt x="2133" y="1428"/>
                  </a:lnTo>
                  <a:lnTo>
                    <a:pt x="2131" y="1428"/>
                  </a:lnTo>
                  <a:lnTo>
                    <a:pt x="2131" y="1424"/>
                  </a:lnTo>
                  <a:lnTo>
                    <a:pt x="2128" y="1424"/>
                  </a:lnTo>
                  <a:lnTo>
                    <a:pt x="2126" y="1424"/>
                  </a:lnTo>
                  <a:lnTo>
                    <a:pt x="2129" y="1420"/>
                  </a:lnTo>
                  <a:lnTo>
                    <a:pt x="2131" y="1416"/>
                  </a:lnTo>
                  <a:lnTo>
                    <a:pt x="2128" y="1406"/>
                  </a:lnTo>
                  <a:lnTo>
                    <a:pt x="2124" y="1402"/>
                  </a:lnTo>
                  <a:lnTo>
                    <a:pt x="2125" y="1397"/>
                  </a:lnTo>
                  <a:lnTo>
                    <a:pt x="2118" y="1392"/>
                  </a:lnTo>
                  <a:lnTo>
                    <a:pt x="2117" y="1389"/>
                  </a:lnTo>
                  <a:lnTo>
                    <a:pt x="2107" y="1383"/>
                  </a:lnTo>
                  <a:lnTo>
                    <a:pt x="2124" y="1371"/>
                  </a:lnTo>
                  <a:lnTo>
                    <a:pt x="2128" y="1371"/>
                  </a:lnTo>
                  <a:lnTo>
                    <a:pt x="2129" y="1371"/>
                  </a:lnTo>
                  <a:lnTo>
                    <a:pt x="2139" y="1375"/>
                  </a:lnTo>
                  <a:lnTo>
                    <a:pt x="2149" y="1389"/>
                  </a:lnTo>
                  <a:lnTo>
                    <a:pt x="2151" y="1400"/>
                  </a:lnTo>
                  <a:close/>
                  <a:moveTo>
                    <a:pt x="2151" y="1593"/>
                  </a:moveTo>
                  <a:lnTo>
                    <a:pt x="2147" y="1598"/>
                  </a:lnTo>
                  <a:lnTo>
                    <a:pt x="2139" y="1593"/>
                  </a:lnTo>
                  <a:lnTo>
                    <a:pt x="2137" y="1591"/>
                  </a:lnTo>
                  <a:lnTo>
                    <a:pt x="2139" y="1589"/>
                  </a:lnTo>
                  <a:lnTo>
                    <a:pt x="2137" y="1588"/>
                  </a:lnTo>
                  <a:lnTo>
                    <a:pt x="2137" y="1585"/>
                  </a:lnTo>
                  <a:lnTo>
                    <a:pt x="2136" y="1580"/>
                  </a:lnTo>
                  <a:lnTo>
                    <a:pt x="2136" y="1570"/>
                  </a:lnTo>
                  <a:lnTo>
                    <a:pt x="2132" y="1566"/>
                  </a:lnTo>
                  <a:lnTo>
                    <a:pt x="2132" y="1556"/>
                  </a:lnTo>
                  <a:lnTo>
                    <a:pt x="2135" y="1552"/>
                  </a:lnTo>
                  <a:lnTo>
                    <a:pt x="2136" y="1549"/>
                  </a:lnTo>
                  <a:lnTo>
                    <a:pt x="2139" y="1552"/>
                  </a:lnTo>
                  <a:lnTo>
                    <a:pt x="2142" y="1553"/>
                  </a:lnTo>
                  <a:lnTo>
                    <a:pt x="2147" y="1557"/>
                  </a:lnTo>
                  <a:lnTo>
                    <a:pt x="2149" y="1557"/>
                  </a:lnTo>
                  <a:lnTo>
                    <a:pt x="2151" y="1561"/>
                  </a:lnTo>
                  <a:lnTo>
                    <a:pt x="2154" y="1563"/>
                  </a:lnTo>
                  <a:lnTo>
                    <a:pt x="2153" y="1566"/>
                  </a:lnTo>
                  <a:lnTo>
                    <a:pt x="2156" y="1574"/>
                  </a:lnTo>
                  <a:lnTo>
                    <a:pt x="2154" y="1589"/>
                  </a:lnTo>
                  <a:lnTo>
                    <a:pt x="2151" y="1593"/>
                  </a:lnTo>
                  <a:close/>
                  <a:moveTo>
                    <a:pt x="2234" y="425"/>
                  </a:moveTo>
                  <a:lnTo>
                    <a:pt x="2232" y="427"/>
                  </a:lnTo>
                  <a:lnTo>
                    <a:pt x="2234" y="430"/>
                  </a:lnTo>
                  <a:lnTo>
                    <a:pt x="2232" y="430"/>
                  </a:lnTo>
                  <a:lnTo>
                    <a:pt x="2229" y="436"/>
                  </a:lnTo>
                  <a:lnTo>
                    <a:pt x="2226" y="435"/>
                  </a:lnTo>
                  <a:lnTo>
                    <a:pt x="2226" y="436"/>
                  </a:lnTo>
                  <a:lnTo>
                    <a:pt x="2225" y="436"/>
                  </a:lnTo>
                  <a:lnTo>
                    <a:pt x="2226" y="438"/>
                  </a:lnTo>
                  <a:lnTo>
                    <a:pt x="2222" y="440"/>
                  </a:lnTo>
                  <a:lnTo>
                    <a:pt x="2221" y="440"/>
                  </a:lnTo>
                  <a:lnTo>
                    <a:pt x="2224" y="440"/>
                  </a:lnTo>
                  <a:lnTo>
                    <a:pt x="2222" y="440"/>
                  </a:lnTo>
                  <a:lnTo>
                    <a:pt x="2215" y="443"/>
                  </a:lnTo>
                  <a:lnTo>
                    <a:pt x="2211" y="443"/>
                  </a:lnTo>
                  <a:lnTo>
                    <a:pt x="2204" y="440"/>
                  </a:lnTo>
                  <a:lnTo>
                    <a:pt x="2201" y="443"/>
                  </a:lnTo>
                  <a:lnTo>
                    <a:pt x="2184" y="449"/>
                  </a:lnTo>
                  <a:lnTo>
                    <a:pt x="2179" y="453"/>
                  </a:lnTo>
                  <a:lnTo>
                    <a:pt x="2178" y="453"/>
                  </a:lnTo>
                  <a:lnTo>
                    <a:pt x="2176" y="453"/>
                  </a:lnTo>
                  <a:lnTo>
                    <a:pt x="2174" y="453"/>
                  </a:lnTo>
                  <a:lnTo>
                    <a:pt x="2178" y="453"/>
                  </a:lnTo>
                  <a:lnTo>
                    <a:pt x="2178" y="449"/>
                  </a:lnTo>
                  <a:lnTo>
                    <a:pt x="2176" y="453"/>
                  </a:lnTo>
                  <a:lnTo>
                    <a:pt x="2172" y="453"/>
                  </a:lnTo>
                  <a:lnTo>
                    <a:pt x="2172" y="457"/>
                  </a:lnTo>
                  <a:lnTo>
                    <a:pt x="2171" y="453"/>
                  </a:lnTo>
                  <a:lnTo>
                    <a:pt x="2168" y="449"/>
                  </a:lnTo>
                  <a:lnTo>
                    <a:pt x="2151" y="449"/>
                  </a:lnTo>
                  <a:lnTo>
                    <a:pt x="2139" y="440"/>
                  </a:lnTo>
                  <a:lnTo>
                    <a:pt x="2149" y="440"/>
                  </a:lnTo>
                  <a:lnTo>
                    <a:pt x="2164" y="448"/>
                  </a:lnTo>
                  <a:lnTo>
                    <a:pt x="2176" y="448"/>
                  </a:lnTo>
                  <a:lnTo>
                    <a:pt x="2192" y="443"/>
                  </a:lnTo>
                  <a:lnTo>
                    <a:pt x="2200" y="440"/>
                  </a:lnTo>
                  <a:lnTo>
                    <a:pt x="2215" y="436"/>
                  </a:lnTo>
                  <a:lnTo>
                    <a:pt x="2221" y="430"/>
                  </a:lnTo>
                  <a:lnTo>
                    <a:pt x="2222" y="430"/>
                  </a:lnTo>
                  <a:lnTo>
                    <a:pt x="2221" y="427"/>
                  </a:lnTo>
                  <a:lnTo>
                    <a:pt x="2224" y="425"/>
                  </a:lnTo>
                  <a:lnTo>
                    <a:pt x="2226" y="423"/>
                  </a:lnTo>
                  <a:lnTo>
                    <a:pt x="2231" y="423"/>
                  </a:lnTo>
                  <a:lnTo>
                    <a:pt x="2234" y="425"/>
                  </a:lnTo>
                  <a:close/>
                  <a:moveTo>
                    <a:pt x="2207" y="297"/>
                  </a:moveTo>
                  <a:lnTo>
                    <a:pt x="2207" y="305"/>
                  </a:lnTo>
                  <a:lnTo>
                    <a:pt x="2204" y="306"/>
                  </a:lnTo>
                  <a:lnTo>
                    <a:pt x="2196" y="311"/>
                  </a:lnTo>
                  <a:lnTo>
                    <a:pt x="2193" y="311"/>
                  </a:lnTo>
                  <a:lnTo>
                    <a:pt x="2190" y="320"/>
                  </a:lnTo>
                  <a:lnTo>
                    <a:pt x="2186" y="320"/>
                  </a:lnTo>
                  <a:lnTo>
                    <a:pt x="2186" y="323"/>
                  </a:lnTo>
                  <a:lnTo>
                    <a:pt x="2184" y="323"/>
                  </a:lnTo>
                  <a:lnTo>
                    <a:pt x="2181" y="320"/>
                  </a:lnTo>
                  <a:lnTo>
                    <a:pt x="2178" y="320"/>
                  </a:lnTo>
                  <a:lnTo>
                    <a:pt x="2181" y="324"/>
                  </a:lnTo>
                  <a:lnTo>
                    <a:pt x="2176" y="324"/>
                  </a:lnTo>
                  <a:lnTo>
                    <a:pt x="2175" y="324"/>
                  </a:lnTo>
                  <a:lnTo>
                    <a:pt x="2179" y="314"/>
                  </a:lnTo>
                  <a:lnTo>
                    <a:pt x="2179" y="306"/>
                  </a:lnTo>
                  <a:lnTo>
                    <a:pt x="2182" y="301"/>
                  </a:lnTo>
                  <a:lnTo>
                    <a:pt x="2182" y="297"/>
                  </a:lnTo>
                  <a:lnTo>
                    <a:pt x="2184" y="297"/>
                  </a:lnTo>
                  <a:lnTo>
                    <a:pt x="2187" y="301"/>
                  </a:lnTo>
                  <a:lnTo>
                    <a:pt x="2190" y="311"/>
                  </a:lnTo>
                  <a:lnTo>
                    <a:pt x="2193" y="309"/>
                  </a:lnTo>
                  <a:lnTo>
                    <a:pt x="2197" y="306"/>
                  </a:lnTo>
                  <a:lnTo>
                    <a:pt x="2193" y="306"/>
                  </a:lnTo>
                  <a:lnTo>
                    <a:pt x="2192" y="301"/>
                  </a:lnTo>
                  <a:lnTo>
                    <a:pt x="2189" y="301"/>
                  </a:lnTo>
                  <a:lnTo>
                    <a:pt x="2189" y="297"/>
                  </a:lnTo>
                  <a:lnTo>
                    <a:pt x="2190" y="297"/>
                  </a:lnTo>
                  <a:lnTo>
                    <a:pt x="2190" y="293"/>
                  </a:lnTo>
                  <a:lnTo>
                    <a:pt x="2189" y="293"/>
                  </a:lnTo>
                  <a:lnTo>
                    <a:pt x="2186" y="288"/>
                  </a:lnTo>
                  <a:lnTo>
                    <a:pt x="2184" y="287"/>
                  </a:lnTo>
                  <a:lnTo>
                    <a:pt x="2185" y="283"/>
                  </a:lnTo>
                  <a:lnTo>
                    <a:pt x="2187" y="287"/>
                  </a:lnTo>
                  <a:lnTo>
                    <a:pt x="2199" y="292"/>
                  </a:lnTo>
                  <a:lnTo>
                    <a:pt x="2207" y="297"/>
                  </a:lnTo>
                  <a:close/>
                  <a:moveTo>
                    <a:pt x="2147" y="1656"/>
                  </a:moveTo>
                  <a:lnTo>
                    <a:pt x="2149" y="1663"/>
                  </a:lnTo>
                  <a:lnTo>
                    <a:pt x="2147" y="1669"/>
                  </a:lnTo>
                  <a:lnTo>
                    <a:pt x="2145" y="1673"/>
                  </a:lnTo>
                  <a:lnTo>
                    <a:pt x="2143" y="1677"/>
                  </a:lnTo>
                  <a:lnTo>
                    <a:pt x="2142" y="1678"/>
                  </a:lnTo>
                  <a:lnTo>
                    <a:pt x="2139" y="1681"/>
                  </a:lnTo>
                  <a:lnTo>
                    <a:pt x="2137" y="1678"/>
                  </a:lnTo>
                  <a:lnTo>
                    <a:pt x="2133" y="1678"/>
                  </a:lnTo>
                  <a:lnTo>
                    <a:pt x="2131" y="1682"/>
                  </a:lnTo>
                  <a:lnTo>
                    <a:pt x="2128" y="1682"/>
                  </a:lnTo>
                  <a:lnTo>
                    <a:pt x="2131" y="1678"/>
                  </a:lnTo>
                  <a:lnTo>
                    <a:pt x="2129" y="1673"/>
                  </a:lnTo>
                  <a:lnTo>
                    <a:pt x="2128" y="1669"/>
                  </a:lnTo>
                  <a:lnTo>
                    <a:pt x="2124" y="1668"/>
                  </a:lnTo>
                  <a:lnTo>
                    <a:pt x="2124" y="1664"/>
                  </a:lnTo>
                  <a:lnTo>
                    <a:pt x="2128" y="1660"/>
                  </a:lnTo>
                  <a:lnTo>
                    <a:pt x="2133" y="1658"/>
                  </a:lnTo>
                  <a:lnTo>
                    <a:pt x="2133" y="1656"/>
                  </a:lnTo>
                  <a:lnTo>
                    <a:pt x="2143" y="1651"/>
                  </a:lnTo>
                  <a:lnTo>
                    <a:pt x="2147" y="1656"/>
                  </a:lnTo>
                  <a:close/>
                  <a:moveTo>
                    <a:pt x="2215" y="537"/>
                  </a:moveTo>
                  <a:lnTo>
                    <a:pt x="2218" y="554"/>
                  </a:lnTo>
                  <a:lnTo>
                    <a:pt x="2214" y="556"/>
                  </a:lnTo>
                  <a:lnTo>
                    <a:pt x="2209" y="560"/>
                  </a:lnTo>
                  <a:lnTo>
                    <a:pt x="2204" y="558"/>
                  </a:lnTo>
                  <a:lnTo>
                    <a:pt x="2201" y="560"/>
                  </a:lnTo>
                  <a:lnTo>
                    <a:pt x="2199" y="560"/>
                  </a:lnTo>
                  <a:lnTo>
                    <a:pt x="2193" y="560"/>
                  </a:lnTo>
                  <a:lnTo>
                    <a:pt x="2193" y="564"/>
                  </a:lnTo>
                  <a:lnTo>
                    <a:pt x="2189" y="565"/>
                  </a:lnTo>
                  <a:lnTo>
                    <a:pt x="2182" y="569"/>
                  </a:lnTo>
                  <a:lnTo>
                    <a:pt x="2190" y="560"/>
                  </a:lnTo>
                  <a:lnTo>
                    <a:pt x="2195" y="552"/>
                  </a:lnTo>
                  <a:lnTo>
                    <a:pt x="2195" y="547"/>
                  </a:lnTo>
                  <a:lnTo>
                    <a:pt x="2197" y="545"/>
                  </a:lnTo>
                  <a:lnTo>
                    <a:pt x="2199" y="541"/>
                  </a:lnTo>
                  <a:lnTo>
                    <a:pt x="2201" y="537"/>
                  </a:lnTo>
                  <a:lnTo>
                    <a:pt x="2207" y="537"/>
                  </a:lnTo>
                  <a:lnTo>
                    <a:pt x="2215" y="537"/>
                  </a:lnTo>
                  <a:close/>
                  <a:moveTo>
                    <a:pt x="2189" y="243"/>
                  </a:moveTo>
                  <a:lnTo>
                    <a:pt x="2186" y="256"/>
                  </a:lnTo>
                  <a:lnTo>
                    <a:pt x="2186" y="253"/>
                  </a:lnTo>
                  <a:lnTo>
                    <a:pt x="2185" y="253"/>
                  </a:lnTo>
                  <a:lnTo>
                    <a:pt x="2182" y="262"/>
                  </a:lnTo>
                  <a:lnTo>
                    <a:pt x="2179" y="253"/>
                  </a:lnTo>
                  <a:lnTo>
                    <a:pt x="2178" y="249"/>
                  </a:lnTo>
                  <a:lnTo>
                    <a:pt x="2174" y="243"/>
                  </a:lnTo>
                  <a:lnTo>
                    <a:pt x="2164" y="239"/>
                  </a:lnTo>
                  <a:lnTo>
                    <a:pt x="2167" y="238"/>
                  </a:lnTo>
                  <a:lnTo>
                    <a:pt x="2170" y="238"/>
                  </a:lnTo>
                  <a:lnTo>
                    <a:pt x="2171" y="236"/>
                  </a:lnTo>
                  <a:lnTo>
                    <a:pt x="2179" y="238"/>
                  </a:lnTo>
                  <a:lnTo>
                    <a:pt x="2182" y="236"/>
                  </a:lnTo>
                  <a:lnTo>
                    <a:pt x="2184" y="238"/>
                  </a:lnTo>
                  <a:lnTo>
                    <a:pt x="2186" y="238"/>
                  </a:lnTo>
                  <a:lnTo>
                    <a:pt x="2189" y="243"/>
                  </a:lnTo>
                  <a:close/>
                  <a:moveTo>
                    <a:pt x="2076" y="79"/>
                  </a:moveTo>
                  <a:lnTo>
                    <a:pt x="2075" y="84"/>
                  </a:lnTo>
                  <a:lnTo>
                    <a:pt x="2066" y="88"/>
                  </a:lnTo>
                  <a:lnTo>
                    <a:pt x="2055" y="88"/>
                  </a:lnTo>
                  <a:lnTo>
                    <a:pt x="2051" y="88"/>
                  </a:lnTo>
                  <a:lnTo>
                    <a:pt x="2049" y="88"/>
                  </a:lnTo>
                  <a:lnTo>
                    <a:pt x="2050" y="84"/>
                  </a:lnTo>
                  <a:lnTo>
                    <a:pt x="2051" y="83"/>
                  </a:lnTo>
                  <a:lnTo>
                    <a:pt x="2051" y="75"/>
                  </a:lnTo>
                  <a:lnTo>
                    <a:pt x="2052" y="73"/>
                  </a:lnTo>
                  <a:lnTo>
                    <a:pt x="2058" y="79"/>
                  </a:lnTo>
                  <a:lnTo>
                    <a:pt x="2071" y="75"/>
                  </a:lnTo>
                  <a:lnTo>
                    <a:pt x="2074" y="79"/>
                  </a:lnTo>
                  <a:lnTo>
                    <a:pt x="2076" y="79"/>
                  </a:lnTo>
                  <a:close/>
                  <a:moveTo>
                    <a:pt x="2135" y="1205"/>
                  </a:moveTo>
                  <a:lnTo>
                    <a:pt x="2135" y="1211"/>
                  </a:lnTo>
                  <a:lnTo>
                    <a:pt x="2132" y="1218"/>
                  </a:lnTo>
                  <a:lnTo>
                    <a:pt x="2129" y="1218"/>
                  </a:lnTo>
                  <a:lnTo>
                    <a:pt x="2129" y="1224"/>
                  </a:lnTo>
                  <a:lnTo>
                    <a:pt x="2124" y="1228"/>
                  </a:lnTo>
                  <a:lnTo>
                    <a:pt x="2124" y="1218"/>
                  </a:lnTo>
                  <a:lnTo>
                    <a:pt x="2122" y="1215"/>
                  </a:lnTo>
                  <a:lnTo>
                    <a:pt x="2114" y="1211"/>
                  </a:lnTo>
                  <a:lnTo>
                    <a:pt x="2115" y="1205"/>
                  </a:lnTo>
                  <a:lnTo>
                    <a:pt x="2121" y="1205"/>
                  </a:lnTo>
                  <a:lnTo>
                    <a:pt x="2122" y="1205"/>
                  </a:lnTo>
                  <a:lnTo>
                    <a:pt x="2131" y="1205"/>
                  </a:lnTo>
                  <a:lnTo>
                    <a:pt x="2135" y="1205"/>
                  </a:lnTo>
                  <a:close/>
                  <a:moveTo>
                    <a:pt x="2176" y="573"/>
                  </a:moveTo>
                  <a:lnTo>
                    <a:pt x="2178" y="573"/>
                  </a:lnTo>
                  <a:lnTo>
                    <a:pt x="2171" y="577"/>
                  </a:lnTo>
                  <a:lnTo>
                    <a:pt x="2164" y="578"/>
                  </a:lnTo>
                  <a:lnTo>
                    <a:pt x="2161" y="578"/>
                  </a:lnTo>
                  <a:lnTo>
                    <a:pt x="2153" y="581"/>
                  </a:lnTo>
                  <a:lnTo>
                    <a:pt x="2129" y="565"/>
                  </a:lnTo>
                  <a:lnTo>
                    <a:pt x="2126" y="564"/>
                  </a:lnTo>
                  <a:lnTo>
                    <a:pt x="2135" y="565"/>
                  </a:lnTo>
                  <a:lnTo>
                    <a:pt x="2150" y="573"/>
                  </a:lnTo>
                  <a:lnTo>
                    <a:pt x="2160" y="577"/>
                  </a:lnTo>
                  <a:lnTo>
                    <a:pt x="2167" y="577"/>
                  </a:lnTo>
                  <a:lnTo>
                    <a:pt x="2176" y="573"/>
                  </a:lnTo>
                  <a:close/>
                  <a:moveTo>
                    <a:pt x="2159" y="1709"/>
                  </a:moveTo>
                  <a:lnTo>
                    <a:pt x="2160" y="1709"/>
                  </a:lnTo>
                  <a:lnTo>
                    <a:pt x="2156" y="1712"/>
                  </a:lnTo>
                  <a:lnTo>
                    <a:pt x="2157" y="1715"/>
                  </a:lnTo>
                  <a:lnTo>
                    <a:pt x="2156" y="1717"/>
                  </a:lnTo>
                  <a:lnTo>
                    <a:pt x="2156" y="1715"/>
                  </a:lnTo>
                  <a:lnTo>
                    <a:pt x="2151" y="1713"/>
                  </a:lnTo>
                  <a:lnTo>
                    <a:pt x="2139" y="1709"/>
                  </a:lnTo>
                  <a:lnTo>
                    <a:pt x="2139" y="1705"/>
                  </a:lnTo>
                  <a:lnTo>
                    <a:pt x="2142" y="1705"/>
                  </a:lnTo>
                  <a:lnTo>
                    <a:pt x="2149" y="1703"/>
                  </a:lnTo>
                  <a:lnTo>
                    <a:pt x="2150" y="1703"/>
                  </a:lnTo>
                  <a:lnTo>
                    <a:pt x="2154" y="1703"/>
                  </a:lnTo>
                  <a:lnTo>
                    <a:pt x="2153" y="1705"/>
                  </a:lnTo>
                  <a:lnTo>
                    <a:pt x="2159" y="1709"/>
                  </a:lnTo>
                  <a:close/>
                  <a:moveTo>
                    <a:pt x="2079" y="75"/>
                  </a:moveTo>
                  <a:lnTo>
                    <a:pt x="2078" y="75"/>
                  </a:lnTo>
                  <a:lnTo>
                    <a:pt x="2071" y="75"/>
                  </a:lnTo>
                  <a:lnTo>
                    <a:pt x="2061" y="75"/>
                  </a:lnTo>
                  <a:lnTo>
                    <a:pt x="2058" y="75"/>
                  </a:lnTo>
                  <a:lnTo>
                    <a:pt x="2061" y="73"/>
                  </a:lnTo>
                  <a:lnTo>
                    <a:pt x="2062" y="71"/>
                  </a:lnTo>
                  <a:lnTo>
                    <a:pt x="2061" y="70"/>
                  </a:lnTo>
                  <a:lnTo>
                    <a:pt x="2061" y="65"/>
                  </a:lnTo>
                  <a:lnTo>
                    <a:pt x="2062" y="65"/>
                  </a:lnTo>
                  <a:lnTo>
                    <a:pt x="2071" y="71"/>
                  </a:lnTo>
                  <a:lnTo>
                    <a:pt x="2079" y="75"/>
                  </a:lnTo>
                  <a:close/>
                  <a:moveTo>
                    <a:pt x="2182" y="716"/>
                  </a:moveTo>
                  <a:lnTo>
                    <a:pt x="2184" y="716"/>
                  </a:lnTo>
                  <a:lnTo>
                    <a:pt x="2179" y="719"/>
                  </a:lnTo>
                  <a:lnTo>
                    <a:pt x="2165" y="719"/>
                  </a:lnTo>
                  <a:lnTo>
                    <a:pt x="2162" y="720"/>
                  </a:lnTo>
                  <a:lnTo>
                    <a:pt x="2160" y="720"/>
                  </a:lnTo>
                  <a:lnTo>
                    <a:pt x="2160" y="716"/>
                  </a:lnTo>
                  <a:lnTo>
                    <a:pt x="2162" y="716"/>
                  </a:lnTo>
                  <a:lnTo>
                    <a:pt x="2171" y="719"/>
                  </a:lnTo>
                  <a:lnTo>
                    <a:pt x="2178" y="716"/>
                  </a:lnTo>
                  <a:lnTo>
                    <a:pt x="2182" y="716"/>
                  </a:lnTo>
                  <a:close/>
                  <a:moveTo>
                    <a:pt x="2164" y="355"/>
                  </a:moveTo>
                  <a:lnTo>
                    <a:pt x="2165" y="355"/>
                  </a:lnTo>
                  <a:lnTo>
                    <a:pt x="2161" y="358"/>
                  </a:lnTo>
                  <a:lnTo>
                    <a:pt x="2160" y="359"/>
                  </a:lnTo>
                  <a:lnTo>
                    <a:pt x="2160" y="355"/>
                  </a:lnTo>
                  <a:lnTo>
                    <a:pt x="2159" y="355"/>
                  </a:lnTo>
                  <a:lnTo>
                    <a:pt x="2159" y="350"/>
                  </a:lnTo>
                  <a:lnTo>
                    <a:pt x="2157" y="346"/>
                  </a:lnTo>
                  <a:lnTo>
                    <a:pt x="2159" y="346"/>
                  </a:lnTo>
                  <a:lnTo>
                    <a:pt x="2160" y="350"/>
                  </a:lnTo>
                  <a:lnTo>
                    <a:pt x="2162" y="350"/>
                  </a:lnTo>
                  <a:lnTo>
                    <a:pt x="2164" y="355"/>
                  </a:lnTo>
                  <a:close/>
                  <a:moveTo>
                    <a:pt x="2167" y="1610"/>
                  </a:moveTo>
                  <a:lnTo>
                    <a:pt x="2167" y="1615"/>
                  </a:lnTo>
                  <a:lnTo>
                    <a:pt x="2164" y="1615"/>
                  </a:lnTo>
                  <a:lnTo>
                    <a:pt x="2162" y="1614"/>
                  </a:lnTo>
                  <a:lnTo>
                    <a:pt x="2165" y="1606"/>
                  </a:lnTo>
                  <a:lnTo>
                    <a:pt x="2168" y="1606"/>
                  </a:lnTo>
                  <a:lnTo>
                    <a:pt x="2168" y="1607"/>
                  </a:lnTo>
                  <a:lnTo>
                    <a:pt x="2167" y="1610"/>
                  </a:lnTo>
                  <a:close/>
                  <a:moveTo>
                    <a:pt x="2086" y="764"/>
                  </a:moveTo>
                  <a:lnTo>
                    <a:pt x="2087" y="765"/>
                  </a:lnTo>
                  <a:lnTo>
                    <a:pt x="2085" y="765"/>
                  </a:lnTo>
                  <a:lnTo>
                    <a:pt x="2080" y="764"/>
                  </a:lnTo>
                  <a:lnTo>
                    <a:pt x="2076" y="760"/>
                  </a:lnTo>
                  <a:lnTo>
                    <a:pt x="2076" y="756"/>
                  </a:lnTo>
                  <a:lnTo>
                    <a:pt x="2083" y="760"/>
                  </a:lnTo>
                  <a:lnTo>
                    <a:pt x="2086" y="764"/>
                  </a:lnTo>
                  <a:close/>
                  <a:moveTo>
                    <a:pt x="2087" y="711"/>
                  </a:moveTo>
                  <a:lnTo>
                    <a:pt x="2089" y="711"/>
                  </a:lnTo>
                  <a:lnTo>
                    <a:pt x="2083" y="711"/>
                  </a:lnTo>
                  <a:lnTo>
                    <a:pt x="2079" y="707"/>
                  </a:lnTo>
                  <a:lnTo>
                    <a:pt x="2080" y="707"/>
                  </a:lnTo>
                  <a:lnTo>
                    <a:pt x="2082" y="707"/>
                  </a:lnTo>
                  <a:lnTo>
                    <a:pt x="2087" y="711"/>
                  </a:lnTo>
                  <a:close/>
                  <a:moveTo>
                    <a:pt x="2058" y="1520"/>
                  </a:moveTo>
                  <a:lnTo>
                    <a:pt x="2057" y="1526"/>
                  </a:lnTo>
                  <a:lnTo>
                    <a:pt x="2052" y="1527"/>
                  </a:lnTo>
                  <a:lnTo>
                    <a:pt x="2054" y="1520"/>
                  </a:lnTo>
                  <a:lnTo>
                    <a:pt x="2055" y="1518"/>
                  </a:lnTo>
                  <a:lnTo>
                    <a:pt x="2058" y="1520"/>
                  </a:lnTo>
                  <a:close/>
                  <a:moveTo>
                    <a:pt x="2151" y="1772"/>
                  </a:moveTo>
                  <a:lnTo>
                    <a:pt x="2151" y="1776"/>
                  </a:lnTo>
                  <a:lnTo>
                    <a:pt x="2149" y="1779"/>
                  </a:lnTo>
                  <a:lnTo>
                    <a:pt x="2147" y="1776"/>
                  </a:lnTo>
                  <a:lnTo>
                    <a:pt x="2146" y="1772"/>
                  </a:lnTo>
                  <a:lnTo>
                    <a:pt x="2146" y="1771"/>
                  </a:lnTo>
                  <a:lnTo>
                    <a:pt x="2150" y="1772"/>
                  </a:lnTo>
                  <a:lnTo>
                    <a:pt x="2151" y="1772"/>
                  </a:lnTo>
                  <a:close/>
                  <a:moveTo>
                    <a:pt x="2051" y="2057"/>
                  </a:moveTo>
                  <a:lnTo>
                    <a:pt x="2051" y="2060"/>
                  </a:lnTo>
                  <a:lnTo>
                    <a:pt x="2050" y="2065"/>
                  </a:lnTo>
                  <a:lnTo>
                    <a:pt x="2050" y="2060"/>
                  </a:lnTo>
                  <a:lnTo>
                    <a:pt x="2047" y="2059"/>
                  </a:lnTo>
                  <a:lnTo>
                    <a:pt x="2049" y="2057"/>
                  </a:lnTo>
                  <a:lnTo>
                    <a:pt x="2051" y="2057"/>
                  </a:lnTo>
                  <a:close/>
                  <a:moveTo>
                    <a:pt x="2145" y="1623"/>
                  </a:moveTo>
                  <a:lnTo>
                    <a:pt x="2145" y="1625"/>
                  </a:lnTo>
                  <a:lnTo>
                    <a:pt x="2143" y="1625"/>
                  </a:lnTo>
                  <a:lnTo>
                    <a:pt x="2142" y="1625"/>
                  </a:lnTo>
                  <a:lnTo>
                    <a:pt x="2143" y="1623"/>
                  </a:lnTo>
                  <a:lnTo>
                    <a:pt x="2140" y="1620"/>
                  </a:lnTo>
                  <a:lnTo>
                    <a:pt x="2140" y="1619"/>
                  </a:lnTo>
                  <a:lnTo>
                    <a:pt x="2145" y="1623"/>
                  </a:lnTo>
                  <a:close/>
                  <a:moveTo>
                    <a:pt x="2147" y="1076"/>
                  </a:moveTo>
                  <a:lnTo>
                    <a:pt x="2149" y="1076"/>
                  </a:lnTo>
                  <a:lnTo>
                    <a:pt x="2145" y="1076"/>
                  </a:lnTo>
                  <a:lnTo>
                    <a:pt x="2145" y="1080"/>
                  </a:lnTo>
                  <a:lnTo>
                    <a:pt x="2137" y="1076"/>
                  </a:lnTo>
                  <a:lnTo>
                    <a:pt x="2147" y="1076"/>
                  </a:lnTo>
                  <a:close/>
                  <a:moveTo>
                    <a:pt x="2087" y="1531"/>
                  </a:moveTo>
                  <a:lnTo>
                    <a:pt x="2089" y="1532"/>
                  </a:lnTo>
                  <a:lnTo>
                    <a:pt x="2083" y="1533"/>
                  </a:lnTo>
                  <a:lnTo>
                    <a:pt x="2083" y="1532"/>
                  </a:lnTo>
                  <a:lnTo>
                    <a:pt x="2083" y="1531"/>
                  </a:lnTo>
                  <a:lnTo>
                    <a:pt x="2085" y="1531"/>
                  </a:lnTo>
                  <a:lnTo>
                    <a:pt x="2087" y="1531"/>
                  </a:lnTo>
                  <a:close/>
                  <a:moveTo>
                    <a:pt x="2097" y="1259"/>
                  </a:moveTo>
                  <a:lnTo>
                    <a:pt x="2096" y="1263"/>
                  </a:lnTo>
                  <a:lnTo>
                    <a:pt x="2093" y="1263"/>
                  </a:lnTo>
                  <a:lnTo>
                    <a:pt x="2093" y="1259"/>
                  </a:lnTo>
                  <a:lnTo>
                    <a:pt x="2094" y="1259"/>
                  </a:lnTo>
                  <a:lnTo>
                    <a:pt x="2097" y="1259"/>
                  </a:lnTo>
                  <a:close/>
                  <a:moveTo>
                    <a:pt x="2128" y="672"/>
                  </a:moveTo>
                  <a:lnTo>
                    <a:pt x="2126" y="674"/>
                  </a:lnTo>
                  <a:lnTo>
                    <a:pt x="2122" y="672"/>
                  </a:lnTo>
                  <a:lnTo>
                    <a:pt x="2121" y="672"/>
                  </a:lnTo>
                  <a:lnTo>
                    <a:pt x="2124" y="672"/>
                  </a:lnTo>
                  <a:lnTo>
                    <a:pt x="2128" y="672"/>
                  </a:lnTo>
                  <a:close/>
                  <a:moveTo>
                    <a:pt x="2052" y="1533"/>
                  </a:moveTo>
                  <a:lnTo>
                    <a:pt x="2052" y="1532"/>
                  </a:lnTo>
                  <a:lnTo>
                    <a:pt x="2052" y="1529"/>
                  </a:lnTo>
                  <a:lnTo>
                    <a:pt x="2054" y="1527"/>
                  </a:lnTo>
                  <a:lnTo>
                    <a:pt x="2052" y="1529"/>
                  </a:lnTo>
                  <a:lnTo>
                    <a:pt x="2054" y="1529"/>
                  </a:lnTo>
                  <a:lnTo>
                    <a:pt x="2055" y="1532"/>
                  </a:lnTo>
                  <a:lnTo>
                    <a:pt x="2052" y="1533"/>
                  </a:lnTo>
                  <a:close/>
                  <a:moveTo>
                    <a:pt x="2061" y="1527"/>
                  </a:moveTo>
                  <a:lnTo>
                    <a:pt x="2060" y="1529"/>
                  </a:lnTo>
                  <a:lnTo>
                    <a:pt x="2057" y="1532"/>
                  </a:lnTo>
                  <a:lnTo>
                    <a:pt x="2057" y="1529"/>
                  </a:lnTo>
                  <a:lnTo>
                    <a:pt x="2058" y="1529"/>
                  </a:lnTo>
                  <a:lnTo>
                    <a:pt x="2061" y="1527"/>
                  </a:lnTo>
                  <a:close/>
                  <a:moveTo>
                    <a:pt x="2032" y="1436"/>
                  </a:moveTo>
                  <a:lnTo>
                    <a:pt x="2029" y="1433"/>
                  </a:lnTo>
                  <a:lnTo>
                    <a:pt x="2029" y="1432"/>
                  </a:lnTo>
                  <a:lnTo>
                    <a:pt x="2029" y="1428"/>
                  </a:lnTo>
                  <a:lnTo>
                    <a:pt x="2032" y="1436"/>
                  </a:lnTo>
                  <a:close/>
                  <a:moveTo>
                    <a:pt x="2091" y="1241"/>
                  </a:moveTo>
                  <a:lnTo>
                    <a:pt x="2090" y="1241"/>
                  </a:lnTo>
                  <a:lnTo>
                    <a:pt x="2087" y="1240"/>
                  </a:lnTo>
                  <a:lnTo>
                    <a:pt x="2091" y="1241"/>
                  </a:lnTo>
                  <a:close/>
                  <a:moveTo>
                    <a:pt x="2027" y="1436"/>
                  </a:moveTo>
                  <a:lnTo>
                    <a:pt x="2030" y="1440"/>
                  </a:lnTo>
                  <a:lnTo>
                    <a:pt x="2026" y="1436"/>
                  </a:lnTo>
                  <a:lnTo>
                    <a:pt x="2027" y="1436"/>
                  </a:lnTo>
                  <a:close/>
                  <a:moveTo>
                    <a:pt x="2114" y="1084"/>
                  </a:moveTo>
                  <a:lnTo>
                    <a:pt x="2114" y="1086"/>
                  </a:lnTo>
                  <a:lnTo>
                    <a:pt x="2112" y="1086"/>
                  </a:lnTo>
                  <a:lnTo>
                    <a:pt x="2111" y="1084"/>
                  </a:lnTo>
                  <a:lnTo>
                    <a:pt x="2114" y="108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11" name="Freeform 310"/>
            <p:cNvSpPr>
              <a:spLocks noEditPoints="1"/>
            </p:cNvSpPr>
            <p:nvPr/>
          </p:nvSpPr>
          <p:spPr bwMode="auto">
            <a:xfrm>
              <a:off x="8271270" y="2291619"/>
              <a:ext cx="663885" cy="761055"/>
            </a:xfrm>
            <a:custGeom>
              <a:avLst/>
              <a:gdLst>
                <a:gd name="T0" fmla="*/ 3326 w 3330"/>
                <a:gd name="T1" fmla="*/ 1006 h 2820"/>
                <a:gd name="T2" fmla="*/ 3299 w 3330"/>
                <a:gd name="T3" fmla="*/ 1124 h 2820"/>
                <a:gd name="T4" fmla="*/ 3165 w 3330"/>
                <a:gd name="T5" fmla="*/ 1137 h 2820"/>
                <a:gd name="T6" fmla="*/ 3270 w 3330"/>
                <a:gd name="T7" fmla="*/ 1250 h 2820"/>
                <a:gd name="T8" fmla="*/ 3201 w 3330"/>
                <a:gd name="T9" fmla="*/ 1237 h 2820"/>
                <a:gd name="T10" fmla="*/ 3183 w 3330"/>
                <a:gd name="T11" fmla="*/ 1240 h 2820"/>
                <a:gd name="T12" fmla="*/ 3169 w 3330"/>
                <a:gd name="T13" fmla="*/ 1318 h 2820"/>
                <a:gd name="T14" fmla="*/ 3069 w 3330"/>
                <a:gd name="T15" fmla="*/ 1386 h 2820"/>
                <a:gd name="T16" fmla="*/ 3145 w 3330"/>
                <a:gd name="T17" fmla="*/ 1369 h 2820"/>
                <a:gd name="T18" fmla="*/ 3120 w 3330"/>
                <a:gd name="T19" fmla="*/ 1607 h 2820"/>
                <a:gd name="T20" fmla="*/ 2994 w 3330"/>
                <a:gd name="T21" fmla="*/ 1760 h 2820"/>
                <a:gd name="T22" fmla="*/ 2757 w 3330"/>
                <a:gd name="T23" fmla="*/ 2024 h 2820"/>
                <a:gd name="T24" fmla="*/ 2684 w 3330"/>
                <a:gd name="T25" fmla="*/ 2183 h 2820"/>
                <a:gd name="T26" fmla="*/ 2558 w 3330"/>
                <a:gd name="T27" fmla="*/ 2246 h 2820"/>
                <a:gd name="T28" fmla="*/ 2499 w 3330"/>
                <a:gd name="T29" fmla="*/ 2356 h 2820"/>
                <a:gd name="T30" fmla="*/ 2429 w 3330"/>
                <a:gd name="T31" fmla="*/ 2473 h 2820"/>
                <a:gd name="T32" fmla="*/ 2051 w 3330"/>
                <a:gd name="T33" fmla="*/ 2648 h 2820"/>
                <a:gd name="T34" fmla="*/ 1956 w 3330"/>
                <a:gd name="T35" fmla="*/ 2738 h 2820"/>
                <a:gd name="T36" fmla="*/ 1870 w 3330"/>
                <a:gd name="T37" fmla="*/ 2580 h 2820"/>
                <a:gd name="T38" fmla="*/ 1873 w 3330"/>
                <a:gd name="T39" fmla="*/ 2434 h 2820"/>
                <a:gd name="T40" fmla="*/ 1785 w 3330"/>
                <a:gd name="T41" fmla="*/ 2188 h 2820"/>
                <a:gd name="T42" fmla="*/ 1752 w 3330"/>
                <a:gd name="T43" fmla="*/ 2019 h 2820"/>
                <a:gd name="T44" fmla="*/ 1644 w 3330"/>
                <a:gd name="T45" fmla="*/ 1859 h 2820"/>
                <a:gd name="T46" fmla="*/ 1463 w 3330"/>
                <a:gd name="T47" fmla="*/ 1715 h 2820"/>
                <a:gd name="T48" fmla="*/ 1256 w 3330"/>
                <a:gd name="T49" fmla="*/ 1602 h 2820"/>
                <a:gd name="T50" fmla="*/ 1110 w 3330"/>
                <a:gd name="T51" fmla="*/ 1515 h 2820"/>
                <a:gd name="T52" fmla="*/ 941 w 3330"/>
                <a:gd name="T53" fmla="*/ 1433 h 2820"/>
                <a:gd name="T54" fmla="*/ 763 w 3330"/>
                <a:gd name="T55" fmla="*/ 1440 h 2820"/>
                <a:gd name="T56" fmla="*/ 677 w 3330"/>
                <a:gd name="T57" fmla="*/ 1363 h 2820"/>
                <a:gd name="T58" fmla="*/ 571 w 3330"/>
                <a:gd name="T59" fmla="*/ 1385 h 2820"/>
                <a:gd name="T60" fmla="*/ 427 w 3330"/>
                <a:gd name="T61" fmla="*/ 1275 h 2820"/>
                <a:gd name="T62" fmla="*/ 107 w 3330"/>
                <a:gd name="T63" fmla="*/ 1133 h 2820"/>
                <a:gd name="T64" fmla="*/ 256 w 3330"/>
                <a:gd name="T65" fmla="*/ 988 h 2820"/>
                <a:gd name="T66" fmla="*/ 498 w 3330"/>
                <a:gd name="T67" fmla="*/ 897 h 2820"/>
                <a:gd name="T68" fmla="*/ 674 w 3330"/>
                <a:gd name="T69" fmla="*/ 767 h 2820"/>
                <a:gd name="T70" fmla="*/ 824 w 3330"/>
                <a:gd name="T71" fmla="*/ 686 h 2820"/>
                <a:gd name="T72" fmla="*/ 1066 w 3330"/>
                <a:gd name="T73" fmla="*/ 647 h 2820"/>
                <a:gd name="T74" fmla="*/ 1323 w 3330"/>
                <a:gd name="T75" fmla="*/ 576 h 2820"/>
                <a:gd name="T76" fmla="*/ 1581 w 3330"/>
                <a:gd name="T77" fmla="*/ 557 h 2820"/>
                <a:gd name="T78" fmla="*/ 1871 w 3330"/>
                <a:gd name="T79" fmla="*/ 456 h 2820"/>
                <a:gd name="T80" fmla="*/ 2111 w 3330"/>
                <a:gd name="T81" fmla="*/ 361 h 2820"/>
                <a:gd name="T82" fmla="*/ 2271 w 3330"/>
                <a:gd name="T83" fmla="*/ 251 h 2820"/>
                <a:gd name="T84" fmla="*/ 2475 w 3330"/>
                <a:gd name="T85" fmla="*/ 179 h 2820"/>
                <a:gd name="T86" fmla="*/ 2686 w 3330"/>
                <a:gd name="T87" fmla="*/ 42 h 2820"/>
                <a:gd name="T88" fmla="*/ 2942 w 3330"/>
                <a:gd name="T89" fmla="*/ 6 h 2820"/>
                <a:gd name="T90" fmla="*/ 3092 w 3330"/>
                <a:gd name="T91" fmla="*/ 93 h 2820"/>
                <a:gd name="T92" fmla="*/ 3103 w 3330"/>
                <a:gd name="T93" fmla="*/ 201 h 2820"/>
                <a:gd name="T94" fmla="*/ 3152 w 3330"/>
                <a:gd name="T95" fmla="*/ 442 h 2820"/>
                <a:gd name="T96" fmla="*/ 3141 w 3330"/>
                <a:gd name="T97" fmla="*/ 553 h 2820"/>
                <a:gd name="T98" fmla="*/ 3106 w 3330"/>
                <a:gd name="T99" fmla="*/ 632 h 2820"/>
                <a:gd name="T100" fmla="*/ 3133 w 3330"/>
                <a:gd name="T101" fmla="*/ 658 h 2820"/>
                <a:gd name="T102" fmla="*/ 3194 w 3330"/>
                <a:gd name="T103" fmla="*/ 605 h 2820"/>
                <a:gd name="T104" fmla="*/ 3162 w 3330"/>
                <a:gd name="T105" fmla="*/ 710 h 2820"/>
                <a:gd name="T106" fmla="*/ 3176 w 3330"/>
                <a:gd name="T107" fmla="*/ 838 h 2820"/>
                <a:gd name="T108" fmla="*/ 3151 w 3330"/>
                <a:gd name="T109" fmla="*/ 933 h 2820"/>
                <a:gd name="T110" fmla="*/ 3219 w 3330"/>
                <a:gd name="T111" fmla="*/ 805 h 2820"/>
                <a:gd name="T112" fmla="*/ 3268 w 3330"/>
                <a:gd name="T113" fmla="*/ 888 h 2820"/>
                <a:gd name="T114" fmla="*/ 2572 w 3330"/>
                <a:gd name="T115" fmla="*/ 2393 h 2820"/>
                <a:gd name="T116" fmla="*/ 2539 w 3330"/>
                <a:gd name="T117" fmla="*/ 2311 h 2820"/>
                <a:gd name="T118" fmla="*/ 2598 w 3330"/>
                <a:gd name="T119" fmla="*/ 2312 h 2820"/>
                <a:gd name="T120" fmla="*/ 3316 w 3330"/>
                <a:gd name="T121" fmla="*/ 1145 h 2820"/>
                <a:gd name="T122" fmla="*/ 3291 w 3330"/>
                <a:gd name="T123" fmla="*/ 1287 h 28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30"/>
                <a:gd name="T187" fmla="*/ 0 h 2820"/>
                <a:gd name="T188" fmla="*/ 3330 w 3330"/>
                <a:gd name="T189" fmla="*/ 2820 h 28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30" h="2820">
                  <a:moveTo>
                    <a:pt x="1920" y="2807"/>
                  </a:moveTo>
                  <a:lnTo>
                    <a:pt x="1920" y="2813"/>
                  </a:lnTo>
                  <a:lnTo>
                    <a:pt x="1916" y="2820"/>
                  </a:lnTo>
                  <a:lnTo>
                    <a:pt x="1912" y="2820"/>
                  </a:lnTo>
                  <a:lnTo>
                    <a:pt x="1904" y="2817"/>
                  </a:lnTo>
                  <a:lnTo>
                    <a:pt x="1902" y="2816"/>
                  </a:lnTo>
                  <a:lnTo>
                    <a:pt x="1902" y="2813"/>
                  </a:lnTo>
                  <a:lnTo>
                    <a:pt x="1905" y="2812"/>
                  </a:lnTo>
                  <a:lnTo>
                    <a:pt x="1904" y="2807"/>
                  </a:lnTo>
                  <a:lnTo>
                    <a:pt x="1904" y="2802"/>
                  </a:lnTo>
                  <a:lnTo>
                    <a:pt x="1909" y="2802"/>
                  </a:lnTo>
                  <a:lnTo>
                    <a:pt x="1916" y="2807"/>
                  </a:lnTo>
                  <a:lnTo>
                    <a:pt x="1920" y="2807"/>
                  </a:lnTo>
                  <a:close/>
                  <a:moveTo>
                    <a:pt x="3323" y="892"/>
                  </a:moveTo>
                  <a:lnTo>
                    <a:pt x="3321" y="904"/>
                  </a:lnTo>
                  <a:lnTo>
                    <a:pt x="3318" y="909"/>
                  </a:lnTo>
                  <a:lnTo>
                    <a:pt x="3316" y="922"/>
                  </a:lnTo>
                  <a:lnTo>
                    <a:pt x="3313" y="930"/>
                  </a:lnTo>
                  <a:lnTo>
                    <a:pt x="3308" y="936"/>
                  </a:lnTo>
                  <a:lnTo>
                    <a:pt x="3305" y="936"/>
                  </a:lnTo>
                  <a:lnTo>
                    <a:pt x="3304" y="939"/>
                  </a:lnTo>
                  <a:lnTo>
                    <a:pt x="3299" y="941"/>
                  </a:lnTo>
                  <a:lnTo>
                    <a:pt x="3298" y="950"/>
                  </a:lnTo>
                  <a:lnTo>
                    <a:pt x="3299" y="954"/>
                  </a:lnTo>
                  <a:lnTo>
                    <a:pt x="3301" y="955"/>
                  </a:lnTo>
                  <a:lnTo>
                    <a:pt x="3301" y="958"/>
                  </a:lnTo>
                  <a:lnTo>
                    <a:pt x="3304" y="959"/>
                  </a:lnTo>
                  <a:lnTo>
                    <a:pt x="3304" y="963"/>
                  </a:lnTo>
                  <a:lnTo>
                    <a:pt x="3311" y="972"/>
                  </a:lnTo>
                  <a:lnTo>
                    <a:pt x="3313" y="972"/>
                  </a:lnTo>
                  <a:lnTo>
                    <a:pt x="3315" y="972"/>
                  </a:lnTo>
                  <a:lnTo>
                    <a:pt x="3319" y="972"/>
                  </a:lnTo>
                  <a:lnTo>
                    <a:pt x="3321" y="972"/>
                  </a:lnTo>
                  <a:lnTo>
                    <a:pt x="3323" y="976"/>
                  </a:lnTo>
                  <a:lnTo>
                    <a:pt x="3323" y="979"/>
                  </a:lnTo>
                  <a:lnTo>
                    <a:pt x="3324" y="980"/>
                  </a:lnTo>
                  <a:lnTo>
                    <a:pt x="3329" y="993"/>
                  </a:lnTo>
                  <a:lnTo>
                    <a:pt x="3326" y="1006"/>
                  </a:lnTo>
                  <a:lnTo>
                    <a:pt x="3327" y="1010"/>
                  </a:lnTo>
                  <a:lnTo>
                    <a:pt x="3327" y="1017"/>
                  </a:lnTo>
                  <a:lnTo>
                    <a:pt x="3329" y="1017"/>
                  </a:lnTo>
                  <a:lnTo>
                    <a:pt x="3327" y="1023"/>
                  </a:lnTo>
                  <a:lnTo>
                    <a:pt x="3329" y="1030"/>
                  </a:lnTo>
                  <a:lnTo>
                    <a:pt x="3327" y="1033"/>
                  </a:lnTo>
                  <a:lnTo>
                    <a:pt x="3329" y="1034"/>
                  </a:lnTo>
                  <a:lnTo>
                    <a:pt x="3329" y="1043"/>
                  </a:lnTo>
                  <a:lnTo>
                    <a:pt x="3327" y="1072"/>
                  </a:lnTo>
                  <a:lnTo>
                    <a:pt x="3326" y="1072"/>
                  </a:lnTo>
                  <a:lnTo>
                    <a:pt x="3326" y="1066"/>
                  </a:lnTo>
                  <a:lnTo>
                    <a:pt x="3324" y="1066"/>
                  </a:lnTo>
                  <a:lnTo>
                    <a:pt x="3323" y="1066"/>
                  </a:lnTo>
                  <a:lnTo>
                    <a:pt x="3323" y="1068"/>
                  </a:lnTo>
                  <a:lnTo>
                    <a:pt x="3322" y="1068"/>
                  </a:lnTo>
                  <a:lnTo>
                    <a:pt x="3319" y="1068"/>
                  </a:lnTo>
                  <a:lnTo>
                    <a:pt x="3316" y="1075"/>
                  </a:lnTo>
                  <a:lnTo>
                    <a:pt x="3318" y="1082"/>
                  </a:lnTo>
                  <a:lnTo>
                    <a:pt x="3313" y="1085"/>
                  </a:lnTo>
                  <a:lnTo>
                    <a:pt x="3312" y="1088"/>
                  </a:lnTo>
                  <a:lnTo>
                    <a:pt x="3315" y="1097"/>
                  </a:lnTo>
                  <a:lnTo>
                    <a:pt x="3319" y="1097"/>
                  </a:lnTo>
                  <a:lnTo>
                    <a:pt x="3322" y="1100"/>
                  </a:lnTo>
                  <a:lnTo>
                    <a:pt x="3321" y="1095"/>
                  </a:lnTo>
                  <a:lnTo>
                    <a:pt x="3322" y="1095"/>
                  </a:lnTo>
                  <a:lnTo>
                    <a:pt x="3324" y="1092"/>
                  </a:lnTo>
                  <a:lnTo>
                    <a:pt x="3326" y="1092"/>
                  </a:lnTo>
                  <a:lnTo>
                    <a:pt x="3326" y="1105"/>
                  </a:lnTo>
                  <a:lnTo>
                    <a:pt x="3327" y="1105"/>
                  </a:lnTo>
                  <a:lnTo>
                    <a:pt x="3324" y="1118"/>
                  </a:lnTo>
                  <a:lnTo>
                    <a:pt x="3323" y="1120"/>
                  </a:lnTo>
                  <a:lnTo>
                    <a:pt x="3323" y="1110"/>
                  </a:lnTo>
                  <a:lnTo>
                    <a:pt x="3319" y="1109"/>
                  </a:lnTo>
                  <a:lnTo>
                    <a:pt x="3313" y="1110"/>
                  </a:lnTo>
                  <a:lnTo>
                    <a:pt x="3309" y="1113"/>
                  </a:lnTo>
                  <a:lnTo>
                    <a:pt x="3305" y="1118"/>
                  </a:lnTo>
                  <a:lnTo>
                    <a:pt x="3304" y="1126"/>
                  </a:lnTo>
                  <a:lnTo>
                    <a:pt x="3299" y="1124"/>
                  </a:lnTo>
                  <a:lnTo>
                    <a:pt x="3288" y="1124"/>
                  </a:lnTo>
                  <a:lnTo>
                    <a:pt x="3276" y="1128"/>
                  </a:lnTo>
                  <a:lnTo>
                    <a:pt x="3270" y="1135"/>
                  </a:lnTo>
                  <a:lnTo>
                    <a:pt x="3272" y="1137"/>
                  </a:lnTo>
                  <a:lnTo>
                    <a:pt x="3274" y="1137"/>
                  </a:lnTo>
                  <a:lnTo>
                    <a:pt x="3262" y="1149"/>
                  </a:lnTo>
                  <a:lnTo>
                    <a:pt x="3259" y="1146"/>
                  </a:lnTo>
                  <a:lnTo>
                    <a:pt x="3251" y="1150"/>
                  </a:lnTo>
                  <a:lnTo>
                    <a:pt x="3247" y="1150"/>
                  </a:lnTo>
                  <a:lnTo>
                    <a:pt x="3241" y="1153"/>
                  </a:lnTo>
                  <a:lnTo>
                    <a:pt x="3236" y="1158"/>
                  </a:lnTo>
                  <a:lnTo>
                    <a:pt x="3223" y="1159"/>
                  </a:lnTo>
                  <a:lnTo>
                    <a:pt x="3215" y="1167"/>
                  </a:lnTo>
                  <a:lnTo>
                    <a:pt x="3212" y="1167"/>
                  </a:lnTo>
                  <a:lnTo>
                    <a:pt x="3209" y="1169"/>
                  </a:lnTo>
                  <a:lnTo>
                    <a:pt x="3205" y="1169"/>
                  </a:lnTo>
                  <a:lnTo>
                    <a:pt x="3201" y="1171"/>
                  </a:lnTo>
                  <a:lnTo>
                    <a:pt x="3194" y="1171"/>
                  </a:lnTo>
                  <a:lnTo>
                    <a:pt x="3182" y="1172"/>
                  </a:lnTo>
                  <a:lnTo>
                    <a:pt x="3179" y="1172"/>
                  </a:lnTo>
                  <a:lnTo>
                    <a:pt x="3187" y="1169"/>
                  </a:lnTo>
                  <a:lnTo>
                    <a:pt x="3188" y="1163"/>
                  </a:lnTo>
                  <a:lnTo>
                    <a:pt x="3183" y="1159"/>
                  </a:lnTo>
                  <a:lnTo>
                    <a:pt x="3183" y="1149"/>
                  </a:lnTo>
                  <a:lnTo>
                    <a:pt x="3177" y="1145"/>
                  </a:lnTo>
                  <a:lnTo>
                    <a:pt x="3176" y="1141"/>
                  </a:lnTo>
                  <a:lnTo>
                    <a:pt x="3173" y="1140"/>
                  </a:lnTo>
                  <a:lnTo>
                    <a:pt x="3170" y="1128"/>
                  </a:lnTo>
                  <a:lnTo>
                    <a:pt x="3172" y="1122"/>
                  </a:lnTo>
                  <a:lnTo>
                    <a:pt x="3177" y="1122"/>
                  </a:lnTo>
                  <a:lnTo>
                    <a:pt x="3177" y="1120"/>
                  </a:lnTo>
                  <a:lnTo>
                    <a:pt x="3170" y="1122"/>
                  </a:lnTo>
                  <a:lnTo>
                    <a:pt x="3168" y="1124"/>
                  </a:lnTo>
                  <a:lnTo>
                    <a:pt x="3166" y="1126"/>
                  </a:lnTo>
                  <a:lnTo>
                    <a:pt x="3166" y="1130"/>
                  </a:lnTo>
                  <a:lnTo>
                    <a:pt x="3165" y="1135"/>
                  </a:lnTo>
                  <a:lnTo>
                    <a:pt x="3166" y="1135"/>
                  </a:lnTo>
                  <a:lnTo>
                    <a:pt x="3165" y="1137"/>
                  </a:lnTo>
                  <a:lnTo>
                    <a:pt x="3166" y="1137"/>
                  </a:lnTo>
                  <a:lnTo>
                    <a:pt x="3166" y="1141"/>
                  </a:lnTo>
                  <a:lnTo>
                    <a:pt x="3165" y="1141"/>
                  </a:lnTo>
                  <a:lnTo>
                    <a:pt x="3169" y="1146"/>
                  </a:lnTo>
                  <a:lnTo>
                    <a:pt x="3169" y="1150"/>
                  </a:lnTo>
                  <a:lnTo>
                    <a:pt x="3174" y="1153"/>
                  </a:lnTo>
                  <a:lnTo>
                    <a:pt x="3177" y="1155"/>
                  </a:lnTo>
                  <a:lnTo>
                    <a:pt x="3174" y="1163"/>
                  </a:lnTo>
                  <a:lnTo>
                    <a:pt x="3176" y="1180"/>
                  </a:lnTo>
                  <a:lnTo>
                    <a:pt x="3179" y="1182"/>
                  </a:lnTo>
                  <a:lnTo>
                    <a:pt x="3190" y="1192"/>
                  </a:lnTo>
                  <a:lnTo>
                    <a:pt x="3208" y="1199"/>
                  </a:lnTo>
                  <a:lnTo>
                    <a:pt x="3215" y="1203"/>
                  </a:lnTo>
                  <a:lnTo>
                    <a:pt x="3220" y="1201"/>
                  </a:lnTo>
                  <a:lnTo>
                    <a:pt x="3220" y="1199"/>
                  </a:lnTo>
                  <a:lnTo>
                    <a:pt x="3213" y="1199"/>
                  </a:lnTo>
                  <a:lnTo>
                    <a:pt x="3210" y="1195"/>
                  </a:lnTo>
                  <a:lnTo>
                    <a:pt x="3212" y="1194"/>
                  </a:lnTo>
                  <a:lnTo>
                    <a:pt x="3209" y="1194"/>
                  </a:lnTo>
                  <a:lnTo>
                    <a:pt x="3209" y="1192"/>
                  </a:lnTo>
                  <a:lnTo>
                    <a:pt x="3215" y="1191"/>
                  </a:lnTo>
                  <a:lnTo>
                    <a:pt x="3223" y="1195"/>
                  </a:lnTo>
                  <a:lnTo>
                    <a:pt x="3227" y="1195"/>
                  </a:lnTo>
                  <a:lnTo>
                    <a:pt x="3232" y="1192"/>
                  </a:lnTo>
                  <a:lnTo>
                    <a:pt x="3237" y="1195"/>
                  </a:lnTo>
                  <a:lnTo>
                    <a:pt x="3245" y="1195"/>
                  </a:lnTo>
                  <a:lnTo>
                    <a:pt x="3249" y="1197"/>
                  </a:lnTo>
                  <a:lnTo>
                    <a:pt x="3249" y="1203"/>
                  </a:lnTo>
                  <a:lnTo>
                    <a:pt x="3255" y="1221"/>
                  </a:lnTo>
                  <a:lnTo>
                    <a:pt x="3258" y="1225"/>
                  </a:lnTo>
                  <a:lnTo>
                    <a:pt x="3262" y="1231"/>
                  </a:lnTo>
                  <a:lnTo>
                    <a:pt x="3268" y="1238"/>
                  </a:lnTo>
                  <a:lnTo>
                    <a:pt x="3279" y="1244"/>
                  </a:lnTo>
                  <a:lnTo>
                    <a:pt x="3279" y="1248"/>
                  </a:lnTo>
                  <a:lnTo>
                    <a:pt x="3276" y="1251"/>
                  </a:lnTo>
                  <a:lnTo>
                    <a:pt x="3276" y="1256"/>
                  </a:lnTo>
                  <a:lnTo>
                    <a:pt x="3272" y="1261"/>
                  </a:lnTo>
                  <a:lnTo>
                    <a:pt x="3270" y="1250"/>
                  </a:lnTo>
                  <a:lnTo>
                    <a:pt x="3266" y="1249"/>
                  </a:lnTo>
                  <a:lnTo>
                    <a:pt x="3258" y="1249"/>
                  </a:lnTo>
                  <a:lnTo>
                    <a:pt x="3258" y="1251"/>
                  </a:lnTo>
                  <a:lnTo>
                    <a:pt x="3255" y="1253"/>
                  </a:lnTo>
                  <a:lnTo>
                    <a:pt x="3252" y="1257"/>
                  </a:lnTo>
                  <a:lnTo>
                    <a:pt x="3252" y="1253"/>
                  </a:lnTo>
                  <a:lnTo>
                    <a:pt x="3255" y="1249"/>
                  </a:lnTo>
                  <a:lnTo>
                    <a:pt x="3259" y="1246"/>
                  </a:lnTo>
                  <a:lnTo>
                    <a:pt x="3261" y="1242"/>
                  </a:lnTo>
                  <a:lnTo>
                    <a:pt x="3263" y="1242"/>
                  </a:lnTo>
                  <a:lnTo>
                    <a:pt x="3261" y="1240"/>
                  </a:lnTo>
                  <a:lnTo>
                    <a:pt x="3259" y="1240"/>
                  </a:lnTo>
                  <a:lnTo>
                    <a:pt x="3257" y="1246"/>
                  </a:lnTo>
                  <a:lnTo>
                    <a:pt x="3257" y="1244"/>
                  </a:lnTo>
                  <a:lnTo>
                    <a:pt x="3255" y="1244"/>
                  </a:lnTo>
                  <a:lnTo>
                    <a:pt x="3251" y="1249"/>
                  </a:lnTo>
                  <a:lnTo>
                    <a:pt x="3254" y="1244"/>
                  </a:lnTo>
                  <a:lnTo>
                    <a:pt x="3252" y="1242"/>
                  </a:lnTo>
                  <a:lnTo>
                    <a:pt x="3251" y="1244"/>
                  </a:lnTo>
                  <a:lnTo>
                    <a:pt x="3251" y="1240"/>
                  </a:lnTo>
                  <a:lnTo>
                    <a:pt x="3249" y="1242"/>
                  </a:lnTo>
                  <a:lnTo>
                    <a:pt x="3247" y="1242"/>
                  </a:lnTo>
                  <a:lnTo>
                    <a:pt x="3245" y="1248"/>
                  </a:lnTo>
                  <a:lnTo>
                    <a:pt x="3245" y="1240"/>
                  </a:lnTo>
                  <a:lnTo>
                    <a:pt x="3241" y="1240"/>
                  </a:lnTo>
                  <a:lnTo>
                    <a:pt x="3240" y="1242"/>
                  </a:lnTo>
                  <a:lnTo>
                    <a:pt x="3237" y="1242"/>
                  </a:lnTo>
                  <a:lnTo>
                    <a:pt x="3232" y="1242"/>
                  </a:lnTo>
                  <a:lnTo>
                    <a:pt x="3227" y="1240"/>
                  </a:lnTo>
                  <a:lnTo>
                    <a:pt x="3215" y="1242"/>
                  </a:lnTo>
                  <a:lnTo>
                    <a:pt x="3215" y="1240"/>
                  </a:lnTo>
                  <a:lnTo>
                    <a:pt x="3209" y="1240"/>
                  </a:lnTo>
                  <a:lnTo>
                    <a:pt x="3208" y="1244"/>
                  </a:lnTo>
                  <a:lnTo>
                    <a:pt x="3202" y="1244"/>
                  </a:lnTo>
                  <a:lnTo>
                    <a:pt x="3201" y="1240"/>
                  </a:lnTo>
                  <a:lnTo>
                    <a:pt x="3198" y="1242"/>
                  </a:lnTo>
                  <a:lnTo>
                    <a:pt x="3198" y="1238"/>
                  </a:lnTo>
                  <a:lnTo>
                    <a:pt x="3201" y="1237"/>
                  </a:lnTo>
                  <a:lnTo>
                    <a:pt x="3201" y="1234"/>
                  </a:lnTo>
                  <a:lnTo>
                    <a:pt x="3195" y="1234"/>
                  </a:lnTo>
                  <a:lnTo>
                    <a:pt x="3194" y="1234"/>
                  </a:lnTo>
                  <a:lnTo>
                    <a:pt x="3188" y="1224"/>
                  </a:lnTo>
                  <a:lnTo>
                    <a:pt x="3184" y="1221"/>
                  </a:lnTo>
                  <a:lnTo>
                    <a:pt x="3176" y="1224"/>
                  </a:lnTo>
                  <a:lnTo>
                    <a:pt x="3172" y="1224"/>
                  </a:lnTo>
                  <a:lnTo>
                    <a:pt x="3170" y="1221"/>
                  </a:lnTo>
                  <a:lnTo>
                    <a:pt x="3172" y="1217"/>
                  </a:lnTo>
                  <a:lnTo>
                    <a:pt x="3169" y="1215"/>
                  </a:lnTo>
                  <a:lnTo>
                    <a:pt x="3168" y="1216"/>
                  </a:lnTo>
                  <a:lnTo>
                    <a:pt x="3166" y="1221"/>
                  </a:lnTo>
                  <a:lnTo>
                    <a:pt x="3166" y="1226"/>
                  </a:lnTo>
                  <a:lnTo>
                    <a:pt x="3168" y="1226"/>
                  </a:lnTo>
                  <a:lnTo>
                    <a:pt x="3170" y="1231"/>
                  </a:lnTo>
                  <a:lnTo>
                    <a:pt x="3177" y="1229"/>
                  </a:lnTo>
                  <a:lnTo>
                    <a:pt x="3179" y="1231"/>
                  </a:lnTo>
                  <a:lnTo>
                    <a:pt x="3173" y="1237"/>
                  </a:lnTo>
                  <a:lnTo>
                    <a:pt x="3169" y="1238"/>
                  </a:lnTo>
                  <a:lnTo>
                    <a:pt x="3162" y="1234"/>
                  </a:lnTo>
                  <a:lnTo>
                    <a:pt x="3159" y="1234"/>
                  </a:lnTo>
                  <a:lnTo>
                    <a:pt x="3155" y="1240"/>
                  </a:lnTo>
                  <a:lnTo>
                    <a:pt x="3152" y="1244"/>
                  </a:lnTo>
                  <a:lnTo>
                    <a:pt x="3154" y="1244"/>
                  </a:lnTo>
                  <a:lnTo>
                    <a:pt x="3155" y="1244"/>
                  </a:lnTo>
                  <a:lnTo>
                    <a:pt x="3159" y="1238"/>
                  </a:lnTo>
                  <a:lnTo>
                    <a:pt x="3168" y="1240"/>
                  </a:lnTo>
                  <a:lnTo>
                    <a:pt x="3176" y="1244"/>
                  </a:lnTo>
                  <a:lnTo>
                    <a:pt x="3179" y="1250"/>
                  </a:lnTo>
                  <a:lnTo>
                    <a:pt x="3179" y="1253"/>
                  </a:lnTo>
                  <a:lnTo>
                    <a:pt x="3182" y="1253"/>
                  </a:lnTo>
                  <a:lnTo>
                    <a:pt x="3182" y="1257"/>
                  </a:lnTo>
                  <a:lnTo>
                    <a:pt x="3184" y="1259"/>
                  </a:lnTo>
                  <a:lnTo>
                    <a:pt x="3185" y="1257"/>
                  </a:lnTo>
                  <a:lnTo>
                    <a:pt x="3184" y="1253"/>
                  </a:lnTo>
                  <a:lnTo>
                    <a:pt x="3184" y="1250"/>
                  </a:lnTo>
                  <a:lnTo>
                    <a:pt x="3182" y="1244"/>
                  </a:lnTo>
                  <a:lnTo>
                    <a:pt x="3183" y="1240"/>
                  </a:lnTo>
                  <a:lnTo>
                    <a:pt x="3185" y="1250"/>
                  </a:lnTo>
                  <a:lnTo>
                    <a:pt x="3188" y="1251"/>
                  </a:lnTo>
                  <a:lnTo>
                    <a:pt x="3193" y="1257"/>
                  </a:lnTo>
                  <a:lnTo>
                    <a:pt x="3197" y="1263"/>
                  </a:lnTo>
                  <a:lnTo>
                    <a:pt x="3207" y="1270"/>
                  </a:lnTo>
                  <a:lnTo>
                    <a:pt x="3209" y="1273"/>
                  </a:lnTo>
                  <a:lnTo>
                    <a:pt x="3212" y="1273"/>
                  </a:lnTo>
                  <a:lnTo>
                    <a:pt x="3215" y="1275"/>
                  </a:lnTo>
                  <a:lnTo>
                    <a:pt x="3215" y="1283"/>
                  </a:lnTo>
                  <a:lnTo>
                    <a:pt x="3218" y="1284"/>
                  </a:lnTo>
                  <a:lnTo>
                    <a:pt x="3213" y="1287"/>
                  </a:lnTo>
                  <a:lnTo>
                    <a:pt x="3213" y="1291"/>
                  </a:lnTo>
                  <a:lnTo>
                    <a:pt x="3219" y="1300"/>
                  </a:lnTo>
                  <a:lnTo>
                    <a:pt x="3223" y="1301"/>
                  </a:lnTo>
                  <a:lnTo>
                    <a:pt x="3227" y="1307"/>
                  </a:lnTo>
                  <a:lnTo>
                    <a:pt x="3229" y="1309"/>
                  </a:lnTo>
                  <a:lnTo>
                    <a:pt x="3226" y="1313"/>
                  </a:lnTo>
                  <a:lnTo>
                    <a:pt x="3229" y="1315"/>
                  </a:lnTo>
                  <a:lnTo>
                    <a:pt x="3224" y="1319"/>
                  </a:lnTo>
                  <a:lnTo>
                    <a:pt x="3219" y="1319"/>
                  </a:lnTo>
                  <a:lnTo>
                    <a:pt x="3212" y="1323"/>
                  </a:lnTo>
                  <a:lnTo>
                    <a:pt x="3208" y="1321"/>
                  </a:lnTo>
                  <a:lnTo>
                    <a:pt x="3199" y="1323"/>
                  </a:lnTo>
                  <a:lnTo>
                    <a:pt x="3195" y="1324"/>
                  </a:lnTo>
                  <a:lnTo>
                    <a:pt x="3190" y="1324"/>
                  </a:lnTo>
                  <a:lnTo>
                    <a:pt x="3191" y="1324"/>
                  </a:lnTo>
                  <a:lnTo>
                    <a:pt x="3190" y="1323"/>
                  </a:lnTo>
                  <a:lnTo>
                    <a:pt x="3187" y="1324"/>
                  </a:lnTo>
                  <a:lnTo>
                    <a:pt x="3185" y="1324"/>
                  </a:lnTo>
                  <a:lnTo>
                    <a:pt x="3187" y="1324"/>
                  </a:lnTo>
                  <a:lnTo>
                    <a:pt x="3185" y="1321"/>
                  </a:lnTo>
                  <a:lnTo>
                    <a:pt x="3180" y="1323"/>
                  </a:lnTo>
                  <a:lnTo>
                    <a:pt x="3182" y="1321"/>
                  </a:lnTo>
                  <a:lnTo>
                    <a:pt x="3182" y="1320"/>
                  </a:lnTo>
                  <a:lnTo>
                    <a:pt x="3179" y="1320"/>
                  </a:lnTo>
                  <a:lnTo>
                    <a:pt x="3176" y="1321"/>
                  </a:lnTo>
                  <a:lnTo>
                    <a:pt x="3173" y="1321"/>
                  </a:lnTo>
                  <a:lnTo>
                    <a:pt x="3169" y="1318"/>
                  </a:lnTo>
                  <a:lnTo>
                    <a:pt x="3165" y="1319"/>
                  </a:lnTo>
                  <a:lnTo>
                    <a:pt x="3159" y="1321"/>
                  </a:lnTo>
                  <a:lnTo>
                    <a:pt x="3154" y="1328"/>
                  </a:lnTo>
                  <a:lnTo>
                    <a:pt x="3151" y="1333"/>
                  </a:lnTo>
                  <a:lnTo>
                    <a:pt x="3145" y="1336"/>
                  </a:lnTo>
                  <a:lnTo>
                    <a:pt x="3143" y="1340"/>
                  </a:lnTo>
                  <a:lnTo>
                    <a:pt x="3140" y="1340"/>
                  </a:lnTo>
                  <a:lnTo>
                    <a:pt x="3138" y="1343"/>
                  </a:lnTo>
                  <a:lnTo>
                    <a:pt x="3137" y="1346"/>
                  </a:lnTo>
                  <a:lnTo>
                    <a:pt x="3134" y="1346"/>
                  </a:lnTo>
                  <a:lnTo>
                    <a:pt x="3134" y="1350"/>
                  </a:lnTo>
                  <a:lnTo>
                    <a:pt x="3129" y="1353"/>
                  </a:lnTo>
                  <a:lnTo>
                    <a:pt x="3126" y="1357"/>
                  </a:lnTo>
                  <a:lnTo>
                    <a:pt x="3124" y="1360"/>
                  </a:lnTo>
                  <a:lnTo>
                    <a:pt x="3123" y="1363"/>
                  </a:lnTo>
                  <a:lnTo>
                    <a:pt x="3122" y="1362"/>
                  </a:lnTo>
                  <a:lnTo>
                    <a:pt x="3120" y="1360"/>
                  </a:lnTo>
                  <a:lnTo>
                    <a:pt x="3117" y="1360"/>
                  </a:lnTo>
                  <a:lnTo>
                    <a:pt x="3115" y="1356"/>
                  </a:lnTo>
                  <a:lnTo>
                    <a:pt x="3110" y="1354"/>
                  </a:lnTo>
                  <a:lnTo>
                    <a:pt x="3109" y="1350"/>
                  </a:lnTo>
                  <a:lnTo>
                    <a:pt x="3105" y="1346"/>
                  </a:lnTo>
                  <a:lnTo>
                    <a:pt x="3094" y="1346"/>
                  </a:lnTo>
                  <a:lnTo>
                    <a:pt x="3089" y="1356"/>
                  </a:lnTo>
                  <a:lnTo>
                    <a:pt x="3088" y="1350"/>
                  </a:lnTo>
                  <a:lnTo>
                    <a:pt x="3084" y="1346"/>
                  </a:lnTo>
                  <a:lnTo>
                    <a:pt x="3078" y="1350"/>
                  </a:lnTo>
                  <a:lnTo>
                    <a:pt x="3076" y="1354"/>
                  </a:lnTo>
                  <a:lnTo>
                    <a:pt x="3076" y="1358"/>
                  </a:lnTo>
                  <a:lnTo>
                    <a:pt x="3077" y="1362"/>
                  </a:lnTo>
                  <a:lnTo>
                    <a:pt x="3076" y="1369"/>
                  </a:lnTo>
                  <a:lnTo>
                    <a:pt x="3074" y="1373"/>
                  </a:lnTo>
                  <a:lnTo>
                    <a:pt x="3072" y="1373"/>
                  </a:lnTo>
                  <a:lnTo>
                    <a:pt x="3070" y="1375"/>
                  </a:lnTo>
                  <a:lnTo>
                    <a:pt x="3070" y="1377"/>
                  </a:lnTo>
                  <a:lnTo>
                    <a:pt x="3073" y="1377"/>
                  </a:lnTo>
                  <a:lnTo>
                    <a:pt x="3072" y="1385"/>
                  </a:lnTo>
                  <a:lnTo>
                    <a:pt x="3069" y="1386"/>
                  </a:lnTo>
                  <a:lnTo>
                    <a:pt x="3066" y="1382"/>
                  </a:lnTo>
                  <a:lnTo>
                    <a:pt x="3064" y="1386"/>
                  </a:lnTo>
                  <a:lnTo>
                    <a:pt x="3063" y="1382"/>
                  </a:lnTo>
                  <a:lnTo>
                    <a:pt x="3059" y="1382"/>
                  </a:lnTo>
                  <a:lnTo>
                    <a:pt x="3059" y="1390"/>
                  </a:lnTo>
                  <a:lnTo>
                    <a:pt x="3060" y="1391"/>
                  </a:lnTo>
                  <a:lnTo>
                    <a:pt x="3058" y="1393"/>
                  </a:lnTo>
                  <a:lnTo>
                    <a:pt x="3056" y="1394"/>
                  </a:lnTo>
                  <a:lnTo>
                    <a:pt x="3058" y="1395"/>
                  </a:lnTo>
                  <a:lnTo>
                    <a:pt x="3056" y="1395"/>
                  </a:lnTo>
                  <a:lnTo>
                    <a:pt x="3056" y="1399"/>
                  </a:lnTo>
                  <a:lnTo>
                    <a:pt x="3059" y="1399"/>
                  </a:lnTo>
                  <a:lnTo>
                    <a:pt x="3059" y="1402"/>
                  </a:lnTo>
                  <a:lnTo>
                    <a:pt x="3060" y="1405"/>
                  </a:lnTo>
                  <a:lnTo>
                    <a:pt x="3063" y="1405"/>
                  </a:lnTo>
                  <a:lnTo>
                    <a:pt x="3062" y="1402"/>
                  </a:lnTo>
                  <a:lnTo>
                    <a:pt x="3064" y="1394"/>
                  </a:lnTo>
                  <a:lnTo>
                    <a:pt x="3069" y="1391"/>
                  </a:lnTo>
                  <a:lnTo>
                    <a:pt x="3076" y="1402"/>
                  </a:lnTo>
                  <a:lnTo>
                    <a:pt x="3077" y="1403"/>
                  </a:lnTo>
                  <a:lnTo>
                    <a:pt x="3083" y="1405"/>
                  </a:lnTo>
                  <a:lnTo>
                    <a:pt x="3088" y="1405"/>
                  </a:lnTo>
                  <a:lnTo>
                    <a:pt x="3092" y="1407"/>
                  </a:lnTo>
                  <a:lnTo>
                    <a:pt x="3094" y="1405"/>
                  </a:lnTo>
                  <a:lnTo>
                    <a:pt x="3103" y="1408"/>
                  </a:lnTo>
                  <a:lnTo>
                    <a:pt x="3110" y="1411"/>
                  </a:lnTo>
                  <a:lnTo>
                    <a:pt x="3113" y="1408"/>
                  </a:lnTo>
                  <a:lnTo>
                    <a:pt x="3115" y="1405"/>
                  </a:lnTo>
                  <a:lnTo>
                    <a:pt x="3124" y="1395"/>
                  </a:lnTo>
                  <a:lnTo>
                    <a:pt x="3131" y="1398"/>
                  </a:lnTo>
                  <a:lnTo>
                    <a:pt x="3134" y="1394"/>
                  </a:lnTo>
                  <a:lnTo>
                    <a:pt x="3133" y="1386"/>
                  </a:lnTo>
                  <a:lnTo>
                    <a:pt x="3127" y="1379"/>
                  </a:lnTo>
                  <a:lnTo>
                    <a:pt x="3133" y="1381"/>
                  </a:lnTo>
                  <a:lnTo>
                    <a:pt x="3137" y="1379"/>
                  </a:lnTo>
                  <a:lnTo>
                    <a:pt x="3141" y="1373"/>
                  </a:lnTo>
                  <a:lnTo>
                    <a:pt x="3143" y="1369"/>
                  </a:lnTo>
                  <a:lnTo>
                    <a:pt x="3145" y="1369"/>
                  </a:lnTo>
                  <a:lnTo>
                    <a:pt x="3151" y="1369"/>
                  </a:lnTo>
                  <a:lnTo>
                    <a:pt x="3149" y="1369"/>
                  </a:lnTo>
                  <a:lnTo>
                    <a:pt x="3147" y="1368"/>
                  </a:lnTo>
                  <a:lnTo>
                    <a:pt x="3147" y="1366"/>
                  </a:lnTo>
                  <a:lnTo>
                    <a:pt x="3152" y="1366"/>
                  </a:lnTo>
                  <a:lnTo>
                    <a:pt x="3152" y="1363"/>
                  </a:lnTo>
                  <a:lnTo>
                    <a:pt x="3159" y="1373"/>
                  </a:lnTo>
                  <a:lnTo>
                    <a:pt x="3166" y="1385"/>
                  </a:lnTo>
                  <a:lnTo>
                    <a:pt x="3169" y="1386"/>
                  </a:lnTo>
                  <a:lnTo>
                    <a:pt x="3174" y="1386"/>
                  </a:lnTo>
                  <a:lnTo>
                    <a:pt x="3187" y="1395"/>
                  </a:lnTo>
                  <a:lnTo>
                    <a:pt x="3188" y="1395"/>
                  </a:lnTo>
                  <a:lnTo>
                    <a:pt x="3190" y="1399"/>
                  </a:lnTo>
                  <a:lnTo>
                    <a:pt x="3190" y="1403"/>
                  </a:lnTo>
                  <a:lnTo>
                    <a:pt x="3191" y="1408"/>
                  </a:lnTo>
                  <a:lnTo>
                    <a:pt x="3191" y="1435"/>
                  </a:lnTo>
                  <a:lnTo>
                    <a:pt x="3194" y="1440"/>
                  </a:lnTo>
                  <a:lnTo>
                    <a:pt x="3202" y="1449"/>
                  </a:lnTo>
                  <a:lnTo>
                    <a:pt x="3202" y="1456"/>
                  </a:lnTo>
                  <a:lnTo>
                    <a:pt x="3201" y="1457"/>
                  </a:lnTo>
                  <a:lnTo>
                    <a:pt x="3197" y="1469"/>
                  </a:lnTo>
                  <a:lnTo>
                    <a:pt x="3180" y="1493"/>
                  </a:lnTo>
                  <a:lnTo>
                    <a:pt x="3168" y="1509"/>
                  </a:lnTo>
                  <a:lnTo>
                    <a:pt x="3165" y="1524"/>
                  </a:lnTo>
                  <a:lnTo>
                    <a:pt x="3160" y="1531"/>
                  </a:lnTo>
                  <a:lnTo>
                    <a:pt x="3162" y="1534"/>
                  </a:lnTo>
                  <a:lnTo>
                    <a:pt x="3158" y="1537"/>
                  </a:lnTo>
                  <a:lnTo>
                    <a:pt x="3152" y="1542"/>
                  </a:lnTo>
                  <a:lnTo>
                    <a:pt x="3131" y="1567"/>
                  </a:lnTo>
                  <a:lnTo>
                    <a:pt x="3127" y="1577"/>
                  </a:lnTo>
                  <a:lnTo>
                    <a:pt x="3123" y="1581"/>
                  </a:lnTo>
                  <a:lnTo>
                    <a:pt x="3124" y="1585"/>
                  </a:lnTo>
                  <a:lnTo>
                    <a:pt x="3122" y="1590"/>
                  </a:lnTo>
                  <a:lnTo>
                    <a:pt x="3120" y="1598"/>
                  </a:lnTo>
                  <a:lnTo>
                    <a:pt x="3119" y="1602"/>
                  </a:lnTo>
                  <a:lnTo>
                    <a:pt x="3119" y="1604"/>
                  </a:lnTo>
                  <a:lnTo>
                    <a:pt x="3120" y="1604"/>
                  </a:lnTo>
                  <a:lnTo>
                    <a:pt x="3120" y="1607"/>
                  </a:lnTo>
                  <a:lnTo>
                    <a:pt x="3120" y="1611"/>
                  </a:lnTo>
                  <a:lnTo>
                    <a:pt x="3115" y="1621"/>
                  </a:lnTo>
                  <a:lnTo>
                    <a:pt x="3116" y="1631"/>
                  </a:lnTo>
                  <a:lnTo>
                    <a:pt x="3115" y="1631"/>
                  </a:lnTo>
                  <a:lnTo>
                    <a:pt x="3117" y="1635"/>
                  </a:lnTo>
                  <a:lnTo>
                    <a:pt x="3110" y="1647"/>
                  </a:lnTo>
                  <a:lnTo>
                    <a:pt x="3101" y="1654"/>
                  </a:lnTo>
                  <a:lnTo>
                    <a:pt x="3091" y="1669"/>
                  </a:lnTo>
                  <a:lnTo>
                    <a:pt x="3083" y="1680"/>
                  </a:lnTo>
                  <a:lnTo>
                    <a:pt x="3081" y="1682"/>
                  </a:lnTo>
                  <a:lnTo>
                    <a:pt x="3077" y="1688"/>
                  </a:lnTo>
                  <a:lnTo>
                    <a:pt x="3076" y="1686"/>
                  </a:lnTo>
                  <a:lnTo>
                    <a:pt x="3074" y="1684"/>
                  </a:lnTo>
                  <a:lnTo>
                    <a:pt x="3080" y="1680"/>
                  </a:lnTo>
                  <a:lnTo>
                    <a:pt x="3078" y="1679"/>
                  </a:lnTo>
                  <a:lnTo>
                    <a:pt x="3074" y="1679"/>
                  </a:lnTo>
                  <a:lnTo>
                    <a:pt x="3070" y="1676"/>
                  </a:lnTo>
                  <a:lnTo>
                    <a:pt x="3063" y="1680"/>
                  </a:lnTo>
                  <a:lnTo>
                    <a:pt x="3063" y="1685"/>
                  </a:lnTo>
                  <a:lnTo>
                    <a:pt x="3059" y="1685"/>
                  </a:lnTo>
                  <a:lnTo>
                    <a:pt x="3059" y="1686"/>
                  </a:lnTo>
                  <a:lnTo>
                    <a:pt x="3058" y="1692"/>
                  </a:lnTo>
                  <a:lnTo>
                    <a:pt x="3059" y="1692"/>
                  </a:lnTo>
                  <a:lnTo>
                    <a:pt x="3063" y="1694"/>
                  </a:lnTo>
                  <a:lnTo>
                    <a:pt x="3067" y="1692"/>
                  </a:lnTo>
                  <a:lnTo>
                    <a:pt x="3064" y="1698"/>
                  </a:lnTo>
                  <a:lnTo>
                    <a:pt x="3055" y="1702"/>
                  </a:lnTo>
                  <a:lnTo>
                    <a:pt x="3045" y="1709"/>
                  </a:lnTo>
                  <a:lnTo>
                    <a:pt x="3042" y="1715"/>
                  </a:lnTo>
                  <a:lnTo>
                    <a:pt x="3041" y="1719"/>
                  </a:lnTo>
                  <a:lnTo>
                    <a:pt x="3035" y="1718"/>
                  </a:lnTo>
                  <a:lnTo>
                    <a:pt x="3035" y="1721"/>
                  </a:lnTo>
                  <a:lnTo>
                    <a:pt x="3024" y="1725"/>
                  </a:lnTo>
                  <a:lnTo>
                    <a:pt x="3008" y="1736"/>
                  </a:lnTo>
                  <a:lnTo>
                    <a:pt x="2999" y="1744"/>
                  </a:lnTo>
                  <a:lnTo>
                    <a:pt x="2997" y="1750"/>
                  </a:lnTo>
                  <a:lnTo>
                    <a:pt x="2997" y="1754"/>
                  </a:lnTo>
                  <a:lnTo>
                    <a:pt x="2994" y="1760"/>
                  </a:lnTo>
                  <a:lnTo>
                    <a:pt x="2977" y="1781"/>
                  </a:lnTo>
                  <a:lnTo>
                    <a:pt x="2973" y="1793"/>
                  </a:lnTo>
                  <a:lnTo>
                    <a:pt x="2966" y="1800"/>
                  </a:lnTo>
                  <a:lnTo>
                    <a:pt x="2958" y="1814"/>
                  </a:lnTo>
                  <a:lnTo>
                    <a:pt x="2958" y="1818"/>
                  </a:lnTo>
                  <a:lnTo>
                    <a:pt x="2950" y="1830"/>
                  </a:lnTo>
                  <a:lnTo>
                    <a:pt x="2937" y="1848"/>
                  </a:lnTo>
                  <a:lnTo>
                    <a:pt x="2919" y="1863"/>
                  </a:lnTo>
                  <a:lnTo>
                    <a:pt x="2913" y="1867"/>
                  </a:lnTo>
                  <a:lnTo>
                    <a:pt x="2908" y="1876"/>
                  </a:lnTo>
                  <a:lnTo>
                    <a:pt x="2905" y="1880"/>
                  </a:lnTo>
                  <a:lnTo>
                    <a:pt x="2878" y="1905"/>
                  </a:lnTo>
                  <a:lnTo>
                    <a:pt x="2869" y="1912"/>
                  </a:lnTo>
                  <a:lnTo>
                    <a:pt x="2855" y="1925"/>
                  </a:lnTo>
                  <a:lnTo>
                    <a:pt x="2848" y="1934"/>
                  </a:lnTo>
                  <a:lnTo>
                    <a:pt x="2846" y="1937"/>
                  </a:lnTo>
                  <a:lnTo>
                    <a:pt x="2837" y="1945"/>
                  </a:lnTo>
                  <a:lnTo>
                    <a:pt x="2824" y="1959"/>
                  </a:lnTo>
                  <a:lnTo>
                    <a:pt x="2804" y="1974"/>
                  </a:lnTo>
                  <a:lnTo>
                    <a:pt x="2785" y="1999"/>
                  </a:lnTo>
                  <a:lnTo>
                    <a:pt x="2785" y="2005"/>
                  </a:lnTo>
                  <a:lnTo>
                    <a:pt x="2781" y="2004"/>
                  </a:lnTo>
                  <a:lnTo>
                    <a:pt x="2763" y="2012"/>
                  </a:lnTo>
                  <a:lnTo>
                    <a:pt x="2756" y="2016"/>
                  </a:lnTo>
                  <a:lnTo>
                    <a:pt x="2754" y="2013"/>
                  </a:lnTo>
                  <a:lnTo>
                    <a:pt x="2757" y="2009"/>
                  </a:lnTo>
                  <a:lnTo>
                    <a:pt x="2771" y="2005"/>
                  </a:lnTo>
                  <a:lnTo>
                    <a:pt x="2773" y="2002"/>
                  </a:lnTo>
                  <a:lnTo>
                    <a:pt x="2773" y="1991"/>
                  </a:lnTo>
                  <a:lnTo>
                    <a:pt x="2771" y="1989"/>
                  </a:lnTo>
                  <a:lnTo>
                    <a:pt x="2768" y="2001"/>
                  </a:lnTo>
                  <a:lnTo>
                    <a:pt x="2763" y="2001"/>
                  </a:lnTo>
                  <a:lnTo>
                    <a:pt x="2759" y="2005"/>
                  </a:lnTo>
                  <a:lnTo>
                    <a:pt x="2756" y="2005"/>
                  </a:lnTo>
                  <a:lnTo>
                    <a:pt x="2750" y="2012"/>
                  </a:lnTo>
                  <a:lnTo>
                    <a:pt x="2750" y="2021"/>
                  </a:lnTo>
                  <a:lnTo>
                    <a:pt x="2753" y="2024"/>
                  </a:lnTo>
                  <a:lnTo>
                    <a:pt x="2757" y="2024"/>
                  </a:lnTo>
                  <a:lnTo>
                    <a:pt x="2752" y="2028"/>
                  </a:lnTo>
                  <a:lnTo>
                    <a:pt x="2745" y="2047"/>
                  </a:lnTo>
                  <a:lnTo>
                    <a:pt x="2739" y="2051"/>
                  </a:lnTo>
                  <a:lnTo>
                    <a:pt x="2727" y="2050"/>
                  </a:lnTo>
                  <a:lnTo>
                    <a:pt x="2717" y="2053"/>
                  </a:lnTo>
                  <a:lnTo>
                    <a:pt x="2710" y="2059"/>
                  </a:lnTo>
                  <a:lnTo>
                    <a:pt x="2707" y="2064"/>
                  </a:lnTo>
                  <a:lnTo>
                    <a:pt x="2706" y="2075"/>
                  </a:lnTo>
                  <a:lnTo>
                    <a:pt x="2709" y="2073"/>
                  </a:lnTo>
                  <a:lnTo>
                    <a:pt x="2715" y="2061"/>
                  </a:lnTo>
                  <a:lnTo>
                    <a:pt x="2721" y="2054"/>
                  </a:lnTo>
                  <a:lnTo>
                    <a:pt x="2739" y="2057"/>
                  </a:lnTo>
                  <a:lnTo>
                    <a:pt x="2748" y="2057"/>
                  </a:lnTo>
                  <a:lnTo>
                    <a:pt x="2752" y="2051"/>
                  </a:lnTo>
                  <a:lnTo>
                    <a:pt x="2756" y="2046"/>
                  </a:lnTo>
                  <a:lnTo>
                    <a:pt x="2762" y="2041"/>
                  </a:lnTo>
                  <a:lnTo>
                    <a:pt x="2762" y="2030"/>
                  </a:lnTo>
                  <a:lnTo>
                    <a:pt x="2764" y="2028"/>
                  </a:lnTo>
                  <a:lnTo>
                    <a:pt x="2765" y="2028"/>
                  </a:lnTo>
                  <a:lnTo>
                    <a:pt x="2767" y="2032"/>
                  </a:lnTo>
                  <a:lnTo>
                    <a:pt x="2764" y="2045"/>
                  </a:lnTo>
                  <a:lnTo>
                    <a:pt x="2764" y="2053"/>
                  </a:lnTo>
                  <a:lnTo>
                    <a:pt x="2749" y="2073"/>
                  </a:lnTo>
                  <a:lnTo>
                    <a:pt x="2742" y="2087"/>
                  </a:lnTo>
                  <a:lnTo>
                    <a:pt x="2742" y="2089"/>
                  </a:lnTo>
                  <a:lnTo>
                    <a:pt x="2743" y="2091"/>
                  </a:lnTo>
                  <a:lnTo>
                    <a:pt x="2737" y="2101"/>
                  </a:lnTo>
                  <a:lnTo>
                    <a:pt x="2735" y="2106"/>
                  </a:lnTo>
                  <a:lnTo>
                    <a:pt x="2735" y="2108"/>
                  </a:lnTo>
                  <a:lnTo>
                    <a:pt x="2738" y="2108"/>
                  </a:lnTo>
                  <a:lnTo>
                    <a:pt x="2739" y="2109"/>
                  </a:lnTo>
                  <a:lnTo>
                    <a:pt x="2739" y="2113"/>
                  </a:lnTo>
                  <a:lnTo>
                    <a:pt x="2731" y="2120"/>
                  </a:lnTo>
                  <a:lnTo>
                    <a:pt x="2715" y="2143"/>
                  </a:lnTo>
                  <a:lnTo>
                    <a:pt x="2706" y="2150"/>
                  </a:lnTo>
                  <a:lnTo>
                    <a:pt x="2702" y="2151"/>
                  </a:lnTo>
                  <a:lnTo>
                    <a:pt x="2696" y="2157"/>
                  </a:lnTo>
                  <a:lnTo>
                    <a:pt x="2684" y="2183"/>
                  </a:lnTo>
                  <a:lnTo>
                    <a:pt x="2682" y="2191"/>
                  </a:lnTo>
                  <a:lnTo>
                    <a:pt x="2677" y="2203"/>
                  </a:lnTo>
                  <a:lnTo>
                    <a:pt x="2656" y="2218"/>
                  </a:lnTo>
                  <a:lnTo>
                    <a:pt x="2646" y="2228"/>
                  </a:lnTo>
                  <a:lnTo>
                    <a:pt x="2638" y="2237"/>
                  </a:lnTo>
                  <a:lnTo>
                    <a:pt x="2624" y="2248"/>
                  </a:lnTo>
                  <a:lnTo>
                    <a:pt x="2607" y="2246"/>
                  </a:lnTo>
                  <a:lnTo>
                    <a:pt x="2589" y="2250"/>
                  </a:lnTo>
                  <a:lnTo>
                    <a:pt x="2586" y="2248"/>
                  </a:lnTo>
                  <a:lnTo>
                    <a:pt x="2588" y="2248"/>
                  </a:lnTo>
                  <a:lnTo>
                    <a:pt x="2586" y="2248"/>
                  </a:lnTo>
                  <a:lnTo>
                    <a:pt x="2584" y="2250"/>
                  </a:lnTo>
                  <a:lnTo>
                    <a:pt x="2579" y="2250"/>
                  </a:lnTo>
                  <a:lnTo>
                    <a:pt x="2576" y="2246"/>
                  </a:lnTo>
                  <a:lnTo>
                    <a:pt x="2578" y="2241"/>
                  </a:lnTo>
                  <a:lnTo>
                    <a:pt x="2576" y="2241"/>
                  </a:lnTo>
                  <a:lnTo>
                    <a:pt x="2578" y="2240"/>
                  </a:lnTo>
                  <a:lnTo>
                    <a:pt x="2576" y="2237"/>
                  </a:lnTo>
                  <a:lnTo>
                    <a:pt x="2564" y="2218"/>
                  </a:lnTo>
                  <a:lnTo>
                    <a:pt x="2564" y="2213"/>
                  </a:lnTo>
                  <a:lnTo>
                    <a:pt x="2570" y="2207"/>
                  </a:lnTo>
                  <a:lnTo>
                    <a:pt x="2575" y="2207"/>
                  </a:lnTo>
                  <a:lnTo>
                    <a:pt x="2576" y="2203"/>
                  </a:lnTo>
                  <a:lnTo>
                    <a:pt x="2572" y="2193"/>
                  </a:lnTo>
                  <a:lnTo>
                    <a:pt x="2568" y="2195"/>
                  </a:lnTo>
                  <a:lnTo>
                    <a:pt x="2567" y="2196"/>
                  </a:lnTo>
                  <a:lnTo>
                    <a:pt x="2564" y="2196"/>
                  </a:lnTo>
                  <a:lnTo>
                    <a:pt x="2564" y="2199"/>
                  </a:lnTo>
                  <a:lnTo>
                    <a:pt x="2560" y="2202"/>
                  </a:lnTo>
                  <a:lnTo>
                    <a:pt x="2561" y="2211"/>
                  </a:lnTo>
                  <a:lnTo>
                    <a:pt x="2556" y="2215"/>
                  </a:lnTo>
                  <a:lnTo>
                    <a:pt x="2558" y="2221"/>
                  </a:lnTo>
                  <a:lnTo>
                    <a:pt x="2560" y="2225"/>
                  </a:lnTo>
                  <a:lnTo>
                    <a:pt x="2564" y="2229"/>
                  </a:lnTo>
                  <a:lnTo>
                    <a:pt x="2565" y="2229"/>
                  </a:lnTo>
                  <a:lnTo>
                    <a:pt x="2565" y="2244"/>
                  </a:lnTo>
                  <a:lnTo>
                    <a:pt x="2563" y="2246"/>
                  </a:lnTo>
                  <a:lnTo>
                    <a:pt x="2558" y="2246"/>
                  </a:lnTo>
                  <a:lnTo>
                    <a:pt x="2546" y="2241"/>
                  </a:lnTo>
                  <a:lnTo>
                    <a:pt x="2542" y="2241"/>
                  </a:lnTo>
                  <a:lnTo>
                    <a:pt x="2546" y="2252"/>
                  </a:lnTo>
                  <a:lnTo>
                    <a:pt x="2544" y="2252"/>
                  </a:lnTo>
                  <a:lnTo>
                    <a:pt x="2543" y="2260"/>
                  </a:lnTo>
                  <a:lnTo>
                    <a:pt x="2539" y="2263"/>
                  </a:lnTo>
                  <a:lnTo>
                    <a:pt x="2535" y="2263"/>
                  </a:lnTo>
                  <a:lnTo>
                    <a:pt x="2526" y="2268"/>
                  </a:lnTo>
                  <a:lnTo>
                    <a:pt x="2519" y="2268"/>
                  </a:lnTo>
                  <a:lnTo>
                    <a:pt x="2507" y="2274"/>
                  </a:lnTo>
                  <a:lnTo>
                    <a:pt x="2501" y="2273"/>
                  </a:lnTo>
                  <a:lnTo>
                    <a:pt x="2496" y="2278"/>
                  </a:lnTo>
                  <a:lnTo>
                    <a:pt x="2480" y="2281"/>
                  </a:lnTo>
                  <a:lnTo>
                    <a:pt x="2476" y="2278"/>
                  </a:lnTo>
                  <a:lnTo>
                    <a:pt x="2469" y="2268"/>
                  </a:lnTo>
                  <a:lnTo>
                    <a:pt x="2465" y="2266"/>
                  </a:lnTo>
                  <a:lnTo>
                    <a:pt x="2464" y="2262"/>
                  </a:lnTo>
                  <a:lnTo>
                    <a:pt x="2458" y="2260"/>
                  </a:lnTo>
                  <a:lnTo>
                    <a:pt x="2460" y="2266"/>
                  </a:lnTo>
                  <a:lnTo>
                    <a:pt x="2468" y="2270"/>
                  </a:lnTo>
                  <a:lnTo>
                    <a:pt x="2474" y="2282"/>
                  </a:lnTo>
                  <a:lnTo>
                    <a:pt x="2478" y="2286"/>
                  </a:lnTo>
                  <a:lnTo>
                    <a:pt x="2485" y="2286"/>
                  </a:lnTo>
                  <a:lnTo>
                    <a:pt x="2493" y="2286"/>
                  </a:lnTo>
                  <a:lnTo>
                    <a:pt x="2503" y="2282"/>
                  </a:lnTo>
                  <a:lnTo>
                    <a:pt x="2494" y="2293"/>
                  </a:lnTo>
                  <a:lnTo>
                    <a:pt x="2486" y="2293"/>
                  </a:lnTo>
                  <a:lnTo>
                    <a:pt x="2485" y="2297"/>
                  </a:lnTo>
                  <a:lnTo>
                    <a:pt x="2480" y="2299"/>
                  </a:lnTo>
                  <a:lnTo>
                    <a:pt x="2474" y="2311"/>
                  </a:lnTo>
                  <a:lnTo>
                    <a:pt x="2476" y="2312"/>
                  </a:lnTo>
                  <a:lnTo>
                    <a:pt x="2479" y="2307"/>
                  </a:lnTo>
                  <a:lnTo>
                    <a:pt x="2486" y="2323"/>
                  </a:lnTo>
                  <a:lnTo>
                    <a:pt x="2486" y="2335"/>
                  </a:lnTo>
                  <a:lnTo>
                    <a:pt x="2489" y="2341"/>
                  </a:lnTo>
                  <a:lnTo>
                    <a:pt x="2489" y="2345"/>
                  </a:lnTo>
                  <a:lnTo>
                    <a:pt x="2493" y="2352"/>
                  </a:lnTo>
                  <a:lnTo>
                    <a:pt x="2499" y="2356"/>
                  </a:lnTo>
                  <a:lnTo>
                    <a:pt x="2499" y="2357"/>
                  </a:lnTo>
                  <a:lnTo>
                    <a:pt x="2504" y="2360"/>
                  </a:lnTo>
                  <a:lnTo>
                    <a:pt x="2508" y="2368"/>
                  </a:lnTo>
                  <a:lnTo>
                    <a:pt x="2514" y="2372"/>
                  </a:lnTo>
                  <a:lnTo>
                    <a:pt x="2514" y="2376"/>
                  </a:lnTo>
                  <a:lnTo>
                    <a:pt x="2515" y="2379"/>
                  </a:lnTo>
                  <a:lnTo>
                    <a:pt x="2504" y="2382"/>
                  </a:lnTo>
                  <a:lnTo>
                    <a:pt x="2497" y="2386"/>
                  </a:lnTo>
                  <a:lnTo>
                    <a:pt x="2501" y="2386"/>
                  </a:lnTo>
                  <a:lnTo>
                    <a:pt x="2507" y="2384"/>
                  </a:lnTo>
                  <a:lnTo>
                    <a:pt x="2519" y="2384"/>
                  </a:lnTo>
                  <a:lnTo>
                    <a:pt x="2521" y="2386"/>
                  </a:lnTo>
                  <a:lnTo>
                    <a:pt x="2521" y="2389"/>
                  </a:lnTo>
                  <a:lnTo>
                    <a:pt x="2525" y="2389"/>
                  </a:lnTo>
                  <a:lnTo>
                    <a:pt x="2532" y="2397"/>
                  </a:lnTo>
                  <a:lnTo>
                    <a:pt x="2530" y="2398"/>
                  </a:lnTo>
                  <a:lnTo>
                    <a:pt x="2533" y="2401"/>
                  </a:lnTo>
                  <a:lnTo>
                    <a:pt x="2538" y="2402"/>
                  </a:lnTo>
                  <a:lnTo>
                    <a:pt x="2544" y="2401"/>
                  </a:lnTo>
                  <a:lnTo>
                    <a:pt x="2547" y="2402"/>
                  </a:lnTo>
                  <a:lnTo>
                    <a:pt x="2546" y="2406"/>
                  </a:lnTo>
                  <a:lnTo>
                    <a:pt x="2540" y="2409"/>
                  </a:lnTo>
                  <a:lnTo>
                    <a:pt x="2499" y="2424"/>
                  </a:lnTo>
                  <a:lnTo>
                    <a:pt x="2494" y="2428"/>
                  </a:lnTo>
                  <a:lnTo>
                    <a:pt x="2491" y="2434"/>
                  </a:lnTo>
                  <a:lnTo>
                    <a:pt x="2490" y="2432"/>
                  </a:lnTo>
                  <a:lnTo>
                    <a:pt x="2489" y="2431"/>
                  </a:lnTo>
                  <a:lnTo>
                    <a:pt x="2482" y="2432"/>
                  </a:lnTo>
                  <a:lnTo>
                    <a:pt x="2479" y="2435"/>
                  </a:lnTo>
                  <a:lnTo>
                    <a:pt x="2472" y="2439"/>
                  </a:lnTo>
                  <a:lnTo>
                    <a:pt x="2474" y="2441"/>
                  </a:lnTo>
                  <a:lnTo>
                    <a:pt x="2476" y="2441"/>
                  </a:lnTo>
                  <a:lnTo>
                    <a:pt x="2483" y="2435"/>
                  </a:lnTo>
                  <a:lnTo>
                    <a:pt x="2488" y="2434"/>
                  </a:lnTo>
                  <a:lnTo>
                    <a:pt x="2489" y="2439"/>
                  </a:lnTo>
                  <a:lnTo>
                    <a:pt x="2482" y="2446"/>
                  </a:lnTo>
                  <a:lnTo>
                    <a:pt x="2438" y="2468"/>
                  </a:lnTo>
                  <a:lnTo>
                    <a:pt x="2429" y="2473"/>
                  </a:lnTo>
                  <a:lnTo>
                    <a:pt x="2428" y="2473"/>
                  </a:lnTo>
                  <a:lnTo>
                    <a:pt x="2430" y="2469"/>
                  </a:lnTo>
                  <a:lnTo>
                    <a:pt x="2429" y="2465"/>
                  </a:lnTo>
                  <a:lnTo>
                    <a:pt x="2426" y="2465"/>
                  </a:lnTo>
                  <a:lnTo>
                    <a:pt x="2424" y="2473"/>
                  </a:lnTo>
                  <a:lnTo>
                    <a:pt x="2426" y="2473"/>
                  </a:lnTo>
                  <a:lnTo>
                    <a:pt x="2426" y="2477"/>
                  </a:lnTo>
                  <a:lnTo>
                    <a:pt x="2400" y="2496"/>
                  </a:lnTo>
                  <a:lnTo>
                    <a:pt x="2390" y="2499"/>
                  </a:lnTo>
                  <a:lnTo>
                    <a:pt x="2369" y="2509"/>
                  </a:lnTo>
                  <a:lnTo>
                    <a:pt x="2361" y="2514"/>
                  </a:lnTo>
                  <a:lnTo>
                    <a:pt x="2358" y="2516"/>
                  </a:lnTo>
                  <a:lnTo>
                    <a:pt x="2354" y="2522"/>
                  </a:lnTo>
                  <a:lnTo>
                    <a:pt x="2341" y="2533"/>
                  </a:lnTo>
                  <a:lnTo>
                    <a:pt x="2322" y="2540"/>
                  </a:lnTo>
                  <a:lnTo>
                    <a:pt x="2305" y="2547"/>
                  </a:lnTo>
                  <a:lnTo>
                    <a:pt x="2294" y="2551"/>
                  </a:lnTo>
                  <a:lnTo>
                    <a:pt x="2290" y="2555"/>
                  </a:lnTo>
                  <a:lnTo>
                    <a:pt x="2289" y="2563"/>
                  </a:lnTo>
                  <a:lnTo>
                    <a:pt x="2286" y="2566"/>
                  </a:lnTo>
                  <a:lnTo>
                    <a:pt x="2283" y="2571"/>
                  </a:lnTo>
                  <a:lnTo>
                    <a:pt x="2276" y="2576"/>
                  </a:lnTo>
                  <a:lnTo>
                    <a:pt x="2229" y="2603"/>
                  </a:lnTo>
                  <a:lnTo>
                    <a:pt x="2187" y="2625"/>
                  </a:lnTo>
                  <a:lnTo>
                    <a:pt x="2125" y="2651"/>
                  </a:lnTo>
                  <a:lnTo>
                    <a:pt x="2116" y="2655"/>
                  </a:lnTo>
                  <a:lnTo>
                    <a:pt x="2109" y="2663"/>
                  </a:lnTo>
                  <a:lnTo>
                    <a:pt x="2093" y="2675"/>
                  </a:lnTo>
                  <a:lnTo>
                    <a:pt x="2094" y="2679"/>
                  </a:lnTo>
                  <a:lnTo>
                    <a:pt x="2090" y="2675"/>
                  </a:lnTo>
                  <a:lnTo>
                    <a:pt x="2087" y="2675"/>
                  </a:lnTo>
                  <a:lnTo>
                    <a:pt x="2087" y="2673"/>
                  </a:lnTo>
                  <a:lnTo>
                    <a:pt x="2086" y="2671"/>
                  </a:lnTo>
                  <a:lnTo>
                    <a:pt x="2076" y="2675"/>
                  </a:lnTo>
                  <a:lnTo>
                    <a:pt x="2065" y="2675"/>
                  </a:lnTo>
                  <a:lnTo>
                    <a:pt x="2062" y="2673"/>
                  </a:lnTo>
                  <a:lnTo>
                    <a:pt x="2051" y="2656"/>
                  </a:lnTo>
                  <a:lnTo>
                    <a:pt x="2051" y="2648"/>
                  </a:lnTo>
                  <a:lnTo>
                    <a:pt x="2054" y="2646"/>
                  </a:lnTo>
                  <a:lnTo>
                    <a:pt x="2054" y="2642"/>
                  </a:lnTo>
                  <a:lnTo>
                    <a:pt x="2044" y="2622"/>
                  </a:lnTo>
                  <a:lnTo>
                    <a:pt x="2044" y="2611"/>
                  </a:lnTo>
                  <a:lnTo>
                    <a:pt x="2043" y="2611"/>
                  </a:lnTo>
                  <a:lnTo>
                    <a:pt x="2040" y="2615"/>
                  </a:lnTo>
                  <a:lnTo>
                    <a:pt x="2040" y="2620"/>
                  </a:lnTo>
                  <a:lnTo>
                    <a:pt x="2040" y="2626"/>
                  </a:lnTo>
                  <a:lnTo>
                    <a:pt x="2044" y="2634"/>
                  </a:lnTo>
                  <a:lnTo>
                    <a:pt x="2044" y="2652"/>
                  </a:lnTo>
                  <a:lnTo>
                    <a:pt x="2045" y="2660"/>
                  </a:lnTo>
                  <a:lnTo>
                    <a:pt x="2050" y="2667"/>
                  </a:lnTo>
                  <a:lnTo>
                    <a:pt x="2047" y="2670"/>
                  </a:lnTo>
                  <a:lnTo>
                    <a:pt x="2044" y="2671"/>
                  </a:lnTo>
                  <a:lnTo>
                    <a:pt x="2026" y="2668"/>
                  </a:lnTo>
                  <a:lnTo>
                    <a:pt x="2023" y="2671"/>
                  </a:lnTo>
                  <a:lnTo>
                    <a:pt x="2030" y="2675"/>
                  </a:lnTo>
                  <a:lnTo>
                    <a:pt x="2037" y="2679"/>
                  </a:lnTo>
                  <a:lnTo>
                    <a:pt x="2039" y="2683"/>
                  </a:lnTo>
                  <a:lnTo>
                    <a:pt x="2051" y="2683"/>
                  </a:lnTo>
                  <a:lnTo>
                    <a:pt x="2056" y="2690"/>
                  </a:lnTo>
                  <a:lnTo>
                    <a:pt x="2062" y="2687"/>
                  </a:lnTo>
                  <a:lnTo>
                    <a:pt x="2064" y="2687"/>
                  </a:lnTo>
                  <a:lnTo>
                    <a:pt x="2066" y="2683"/>
                  </a:lnTo>
                  <a:lnTo>
                    <a:pt x="2072" y="2685"/>
                  </a:lnTo>
                  <a:lnTo>
                    <a:pt x="2062" y="2693"/>
                  </a:lnTo>
                  <a:lnTo>
                    <a:pt x="2041" y="2705"/>
                  </a:lnTo>
                  <a:lnTo>
                    <a:pt x="2001" y="2732"/>
                  </a:lnTo>
                  <a:lnTo>
                    <a:pt x="1981" y="2754"/>
                  </a:lnTo>
                  <a:lnTo>
                    <a:pt x="1967" y="2772"/>
                  </a:lnTo>
                  <a:lnTo>
                    <a:pt x="1967" y="2776"/>
                  </a:lnTo>
                  <a:lnTo>
                    <a:pt x="1966" y="2776"/>
                  </a:lnTo>
                  <a:lnTo>
                    <a:pt x="1966" y="2772"/>
                  </a:lnTo>
                  <a:lnTo>
                    <a:pt x="1965" y="2763"/>
                  </a:lnTo>
                  <a:lnTo>
                    <a:pt x="1959" y="2757"/>
                  </a:lnTo>
                  <a:lnTo>
                    <a:pt x="1958" y="2746"/>
                  </a:lnTo>
                  <a:lnTo>
                    <a:pt x="1956" y="2742"/>
                  </a:lnTo>
                  <a:lnTo>
                    <a:pt x="1956" y="2738"/>
                  </a:lnTo>
                  <a:lnTo>
                    <a:pt x="1960" y="2735"/>
                  </a:lnTo>
                  <a:lnTo>
                    <a:pt x="1962" y="2732"/>
                  </a:lnTo>
                  <a:lnTo>
                    <a:pt x="1963" y="2726"/>
                  </a:lnTo>
                  <a:lnTo>
                    <a:pt x="1962" y="2724"/>
                  </a:lnTo>
                  <a:lnTo>
                    <a:pt x="1951" y="2715"/>
                  </a:lnTo>
                  <a:lnTo>
                    <a:pt x="1948" y="2713"/>
                  </a:lnTo>
                  <a:lnTo>
                    <a:pt x="1946" y="2708"/>
                  </a:lnTo>
                  <a:lnTo>
                    <a:pt x="1946" y="2701"/>
                  </a:lnTo>
                  <a:lnTo>
                    <a:pt x="1942" y="2690"/>
                  </a:lnTo>
                  <a:lnTo>
                    <a:pt x="1935" y="2689"/>
                  </a:lnTo>
                  <a:lnTo>
                    <a:pt x="1934" y="2683"/>
                  </a:lnTo>
                  <a:lnTo>
                    <a:pt x="1929" y="2685"/>
                  </a:lnTo>
                  <a:lnTo>
                    <a:pt x="1926" y="2681"/>
                  </a:lnTo>
                  <a:lnTo>
                    <a:pt x="1921" y="2681"/>
                  </a:lnTo>
                  <a:lnTo>
                    <a:pt x="1919" y="2675"/>
                  </a:lnTo>
                  <a:lnTo>
                    <a:pt x="1916" y="2673"/>
                  </a:lnTo>
                  <a:lnTo>
                    <a:pt x="1915" y="2668"/>
                  </a:lnTo>
                  <a:lnTo>
                    <a:pt x="1912" y="2663"/>
                  </a:lnTo>
                  <a:lnTo>
                    <a:pt x="1913" y="2656"/>
                  </a:lnTo>
                  <a:lnTo>
                    <a:pt x="1912" y="2652"/>
                  </a:lnTo>
                  <a:lnTo>
                    <a:pt x="1912" y="2648"/>
                  </a:lnTo>
                  <a:lnTo>
                    <a:pt x="1910" y="2646"/>
                  </a:lnTo>
                  <a:lnTo>
                    <a:pt x="1910" y="2645"/>
                  </a:lnTo>
                  <a:lnTo>
                    <a:pt x="1904" y="2638"/>
                  </a:lnTo>
                  <a:lnTo>
                    <a:pt x="1899" y="2638"/>
                  </a:lnTo>
                  <a:lnTo>
                    <a:pt x="1894" y="2630"/>
                  </a:lnTo>
                  <a:lnTo>
                    <a:pt x="1890" y="2628"/>
                  </a:lnTo>
                  <a:lnTo>
                    <a:pt x="1891" y="2622"/>
                  </a:lnTo>
                  <a:lnTo>
                    <a:pt x="1890" y="2618"/>
                  </a:lnTo>
                  <a:lnTo>
                    <a:pt x="1892" y="2610"/>
                  </a:lnTo>
                  <a:lnTo>
                    <a:pt x="1890" y="2600"/>
                  </a:lnTo>
                  <a:lnTo>
                    <a:pt x="1890" y="2593"/>
                  </a:lnTo>
                  <a:lnTo>
                    <a:pt x="1885" y="2592"/>
                  </a:lnTo>
                  <a:lnTo>
                    <a:pt x="1884" y="2588"/>
                  </a:lnTo>
                  <a:lnTo>
                    <a:pt x="1882" y="2585"/>
                  </a:lnTo>
                  <a:lnTo>
                    <a:pt x="1880" y="2585"/>
                  </a:lnTo>
                  <a:lnTo>
                    <a:pt x="1874" y="2584"/>
                  </a:lnTo>
                  <a:lnTo>
                    <a:pt x="1870" y="2580"/>
                  </a:lnTo>
                  <a:lnTo>
                    <a:pt x="1867" y="2581"/>
                  </a:lnTo>
                  <a:lnTo>
                    <a:pt x="1863" y="2581"/>
                  </a:lnTo>
                  <a:lnTo>
                    <a:pt x="1862" y="2577"/>
                  </a:lnTo>
                  <a:lnTo>
                    <a:pt x="1859" y="2580"/>
                  </a:lnTo>
                  <a:lnTo>
                    <a:pt x="1856" y="2577"/>
                  </a:lnTo>
                  <a:lnTo>
                    <a:pt x="1855" y="2577"/>
                  </a:lnTo>
                  <a:lnTo>
                    <a:pt x="1851" y="2575"/>
                  </a:lnTo>
                  <a:lnTo>
                    <a:pt x="1851" y="2571"/>
                  </a:lnTo>
                  <a:lnTo>
                    <a:pt x="1845" y="2569"/>
                  </a:lnTo>
                  <a:lnTo>
                    <a:pt x="1845" y="2563"/>
                  </a:lnTo>
                  <a:lnTo>
                    <a:pt x="1842" y="2561"/>
                  </a:lnTo>
                  <a:lnTo>
                    <a:pt x="1841" y="2559"/>
                  </a:lnTo>
                  <a:lnTo>
                    <a:pt x="1844" y="2553"/>
                  </a:lnTo>
                  <a:lnTo>
                    <a:pt x="1841" y="2544"/>
                  </a:lnTo>
                  <a:lnTo>
                    <a:pt x="1844" y="2540"/>
                  </a:lnTo>
                  <a:lnTo>
                    <a:pt x="1845" y="2535"/>
                  </a:lnTo>
                  <a:lnTo>
                    <a:pt x="1851" y="2526"/>
                  </a:lnTo>
                  <a:lnTo>
                    <a:pt x="1849" y="2518"/>
                  </a:lnTo>
                  <a:lnTo>
                    <a:pt x="1851" y="2514"/>
                  </a:lnTo>
                  <a:lnTo>
                    <a:pt x="1849" y="2510"/>
                  </a:lnTo>
                  <a:lnTo>
                    <a:pt x="1854" y="2499"/>
                  </a:lnTo>
                  <a:lnTo>
                    <a:pt x="1851" y="2494"/>
                  </a:lnTo>
                  <a:lnTo>
                    <a:pt x="1852" y="2488"/>
                  </a:lnTo>
                  <a:lnTo>
                    <a:pt x="1860" y="2482"/>
                  </a:lnTo>
                  <a:lnTo>
                    <a:pt x="1863" y="2477"/>
                  </a:lnTo>
                  <a:lnTo>
                    <a:pt x="1867" y="2479"/>
                  </a:lnTo>
                  <a:lnTo>
                    <a:pt x="1869" y="2477"/>
                  </a:lnTo>
                  <a:lnTo>
                    <a:pt x="1873" y="2477"/>
                  </a:lnTo>
                  <a:lnTo>
                    <a:pt x="1876" y="2477"/>
                  </a:lnTo>
                  <a:lnTo>
                    <a:pt x="1884" y="2477"/>
                  </a:lnTo>
                  <a:lnTo>
                    <a:pt x="1885" y="2476"/>
                  </a:lnTo>
                  <a:lnTo>
                    <a:pt x="1885" y="2468"/>
                  </a:lnTo>
                  <a:lnTo>
                    <a:pt x="1880" y="2461"/>
                  </a:lnTo>
                  <a:lnTo>
                    <a:pt x="1877" y="2454"/>
                  </a:lnTo>
                  <a:lnTo>
                    <a:pt x="1870" y="2451"/>
                  </a:lnTo>
                  <a:lnTo>
                    <a:pt x="1869" y="2439"/>
                  </a:lnTo>
                  <a:lnTo>
                    <a:pt x="1873" y="2435"/>
                  </a:lnTo>
                  <a:lnTo>
                    <a:pt x="1873" y="2434"/>
                  </a:lnTo>
                  <a:lnTo>
                    <a:pt x="1881" y="2431"/>
                  </a:lnTo>
                  <a:lnTo>
                    <a:pt x="1885" y="2424"/>
                  </a:lnTo>
                  <a:lnTo>
                    <a:pt x="1884" y="2419"/>
                  </a:lnTo>
                  <a:lnTo>
                    <a:pt x="1887" y="2412"/>
                  </a:lnTo>
                  <a:lnTo>
                    <a:pt x="1885" y="2394"/>
                  </a:lnTo>
                  <a:lnTo>
                    <a:pt x="1884" y="2393"/>
                  </a:lnTo>
                  <a:lnTo>
                    <a:pt x="1876" y="2389"/>
                  </a:lnTo>
                  <a:lnTo>
                    <a:pt x="1874" y="2379"/>
                  </a:lnTo>
                  <a:lnTo>
                    <a:pt x="1863" y="2370"/>
                  </a:lnTo>
                  <a:lnTo>
                    <a:pt x="1863" y="2368"/>
                  </a:lnTo>
                  <a:lnTo>
                    <a:pt x="1866" y="2364"/>
                  </a:lnTo>
                  <a:lnTo>
                    <a:pt x="1866" y="2360"/>
                  </a:lnTo>
                  <a:lnTo>
                    <a:pt x="1865" y="2356"/>
                  </a:lnTo>
                  <a:lnTo>
                    <a:pt x="1860" y="2353"/>
                  </a:lnTo>
                  <a:lnTo>
                    <a:pt x="1860" y="2349"/>
                  </a:lnTo>
                  <a:lnTo>
                    <a:pt x="1855" y="2341"/>
                  </a:lnTo>
                  <a:lnTo>
                    <a:pt x="1855" y="2335"/>
                  </a:lnTo>
                  <a:lnTo>
                    <a:pt x="1854" y="2327"/>
                  </a:lnTo>
                  <a:lnTo>
                    <a:pt x="1859" y="2322"/>
                  </a:lnTo>
                  <a:lnTo>
                    <a:pt x="1857" y="2319"/>
                  </a:lnTo>
                  <a:lnTo>
                    <a:pt x="1856" y="2318"/>
                  </a:lnTo>
                  <a:lnTo>
                    <a:pt x="1845" y="2304"/>
                  </a:lnTo>
                  <a:lnTo>
                    <a:pt x="1846" y="2297"/>
                  </a:lnTo>
                  <a:lnTo>
                    <a:pt x="1846" y="2290"/>
                  </a:lnTo>
                  <a:lnTo>
                    <a:pt x="1838" y="2274"/>
                  </a:lnTo>
                  <a:lnTo>
                    <a:pt x="1837" y="2273"/>
                  </a:lnTo>
                  <a:lnTo>
                    <a:pt x="1831" y="2274"/>
                  </a:lnTo>
                  <a:lnTo>
                    <a:pt x="1820" y="2273"/>
                  </a:lnTo>
                  <a:lnTo>
                    <a:pt x="1807" y="2262"/>
                  </a:lnTo>
                  <a:lnTo>
                    <a:pt x="1807" y="2252"/>
                  </a:lnTo>
                  <a:lnTo>
                    <a:pt x="1801" y="2248"/>
                  </a:lnTo>
                  <a:lnTo>
                    <a:pt x="1799" y="2241"/>
                  </a:lnTo>
                  <a:lnTo>
                    <a:pt x="1799" y="2237"/>
                  </a:lnTo>
                  <a:lnTo>
                    <a:pt x="1796" y="2229"/>
                  </a:lnTo>
                  <a:lnTo>
                    <a:pt x="1788" y="2219"/>
                  </a:lnTo>
                  <a:lnTo>
                    <a:pt x="1788" y="2206"/>
                  </a:lnTo>
                  <a:lnTo>
                    <a:pt x="1785" y="2199"/>
                  </a:lnTo>
                  <a:lnTo>
                    <a:pt x="1785" y="2188"/>
                  </a:lnTo>
                  <a:lnTo>
                    <a:pt x="1788" y="2187"/>
                  </a:lnTo>
                  <a:lnTo>
                    <a:pt x="1792" y="2185"/>
                  </a:lnTo>
                  <a:lnTo>
                    <a:pt x="1794" y="2183"/>
                  </a:lnTo>
                  <a:lnTo>
                    <a:pt x="1787" y="2174"/>
                  </a:lnTo>
                  <a:lnTo>
                    <a:pt x="1785" y="2169"/>
                  </a:lnTo>
                  <a:lnTo>
                    <a:pt x="1787" y="2166"/>
                  </a:lnTo>
                  <a:lnTo>
                    <a:pt x="1791" y="2162"/>
                  </a:lnTo>
                  <a:lnTo>
                    <a:pt x="1798" y="2153"/>
                  </a:lnTo>
                  <a:lnTo>
                    <a:pt x="1805" y="2151"/>
                  </a:lnTo>
                  <a:lnTo>
                    <a:pt x="1806" y="2148"/>
                  </a:lnTo>
                  <a:lnTo>
                    <a:pt x="1805" y="2146"/>
                  </a:lnTo>
                  <a:lnTo>
                    <a:pt x="1799" y="2146"/>
                  </a:lnTo>
                  <a:lnTo>
                    <a:pt x="1798" y="2144"/>
                  </a:lnTo>
                  <a:lnTo>
                    <a:pt x="1795" y="2140"/>
                  </a:lnTo>
                  <a:lnTo>
                    <a:pt x="1794" y="2125"/>
                  </a:lnTo>
                  <a:lnTo>
                    <a:pt x="1791" y="2124"/>
                  </a:lnTo>
                  <a:lnTo>
                    <a:pt x="1788" y="2117"/>
                  </a:lnTo>
                  <a:lnTo>
                    <a:pt x="1784" y="2113"/>
                  </a:lnTo>
                  <a:lnTo>
                    <a:pt x="1781" y="2109"/>
                  </a:lnTo>
                  <a:lnTo>
                    <a:pt x="1781" y="2108"/>
                  </a:lnTo>
                  <a:lnTo>
                    <a:pt x="1787" y="2094"/>
                  </a:lnTo>
                  <a:lnTo>
                    <a:pt x="1787" y="2091"/>
                  </a:lnTo>
                  <a:lnTo>
                    <a:pt x="1785" y="2083"/>
                  </a:lnTo>
                  <a:lnTo>
                    <a:pt x="1777" y="2082"/>
                  </a:lnTo>
                  <a:lnTo>
                    <a:pt x="1776" y="2079"/>
                  </a:lnTo>
                  <a:lnTo>
                    <a:pt x="1769" y="2076"/>
                  </a:lnTo>
                  <a:lnTo>
                    <a:pt x="1771" y="2069"/>
                  </a:lnTo>
                  <a:lnTo>
                    <a:pt x="1770" y="2063"/>
                  </a:lnTo>
                  <a:lnTo>
                    <a:pt x="1769" y="2059"/>
                  </a:lnTo>
                  <a:lnTo>
                    <a:pt x="1749" y="2053"/>
                  </a:lnTo>
                  <a:lnTo>
                    <a:pt x="1749" y="2046"/>
                  </a:lnTo>
                  <a:lnTo>
                    <a:pt x="1751" y="2041"/>
                  </a:lnTo>
                  <a:lnTo>
                    <a:pt x="1748" y="2034"/>
                  </a:lnTo>
                  <a:lnTo>
                    <a:pt x="1749" y="2032"/>
                  </a:lnTo>
                  <a:lnTo>
                    <a:pt x="1752" y="2032"/>
                  </a:lnTo>
                  <a:lnTo>
                    <a:pt x="1753" y="2028"/>
                  </a:lnTo>
                  <a:lnTo>
                    <a:pt x="1751" y="2025"/>
                  </a:lnTo>
                  <a:lnTo>
                    <a:pt x="1752" y="2019"/>
                  </a:lnTo>
                  <a:lnTo>
                    <a:pt x="1751" y="2013"/>
                  </a:lnTo>
                  <a:lnTo>
                    <a:pt x="1752" y="2009"/>
                  </a:lnTo>
                  <a:lnTo>
                    <a:pt x="1752" y="2005"/>
                  </a:lnTo>
                  <a:lnTo>
                    <a:pt x="1746" y="2001"/>
                  </a:lnTo>
                  <a:lnTo>
                    <a:pt x="1742" y="1995"/>
                  </a:lnTo>
                  <a:lnTo>
                    <a:pt x="1737" y="1991"/>
                  </a:lnTo>
                  <a:lnTo>
                    <a:pt x="1730" y="1991"/>
                  </a:lnTo>
                  <a:lnTo>
                    <a:pt x="1728" y="1991"/>
                  </a:lnTo>
                  <a:lnTo>
                    <a:pt x="1727" y="1988"/>
                  </a:lnTo>
                  <a:lnTo>
                    <a:pt x="1730" y="1983"/>
                  </a:lnTo>
                  <a:lnTo>
                    <a:pt x="1730" y="1980"/>
                  </a:lnTo>
                  <a:lnTo>
                    <a:pt x="1732" y="1976"/>
                  </a:lnTo>
                  <a:lnTo>
                    <a:pt x="1732" y="1966"/>
                  </a:lnTo>
                  <a:lnTo>
                    <a:pt x="1730" y="1963"/>
                  </a:lnTo>
                  <a:lnTo>
                    <a:pt x="1723" y="1960"/>
                  </a:lnTo>
                  <a:lnTo>
                    <a:pt x="1713" y="1960"/>
                  </a:lnTo>
                  <a:lnTo>
                    <a:pt x="1710" y="1958"/>
                  </a:lnTo>
                  <a:lnTo>
                    <a:pt x="1709" y="1938"/>
                  </a:lnTo>
                  <a:lnTo>
                    <a:pt x="1709" y="1934"/>
                  </a:lnTo>
                  <a:lnTo>
                    <a:pt x="1707" y="1932"/>
                  </a:lnTo>
                  <a:lnTo>
                    <a:pt x="1710" y="1925"/>
                  </a:lnTo>
                  <a:lnTo>
                    <a:pt x="1710" y="1924"/>
                  </a:lnTo>
                  <a:lnTo>
                    <a:pt x="1702" y="1920"/>
                  </a:lnTo>
                  <a:lnTo>
                    <a:pt x="1696" y="1908"/>
                  </a:lnTo>
                  <a:lnTo>
                    <a:pt x="1697" y="1889"/>
                  </a:lnTo>
                  <a:lnTo>
                    <a:pt x="1691" y="1885"/>
                  </a:lnTo>
                  <a:lnTo>
                    <a:pt x="1685" y="1880"/>
                  </a:lnTo>
                  <a:lnTo>
                    <a:pt x="1685" y="1876"/>
                  </a:lnTo>
                  <a:lnTo>
                    <a:pt x="1681" y="1871"/>
                  </a:lnTo>
                  <a:lnTo>
                    <a:pt x="1681" y="1865"/>
                  </a:lnTo>
                  <a:lnTo>
                    <a:pt x="1680" y="1863"/>
                  </a:lnTo>
                  <a:lnTo>
                    <a:pt x="1675" y="1863"/>
                  </a:lnTo>
                  <a:lnTo>
                    <a:pt x="1667" y="1871"/>
                  </a:lnTo>
                  <a:lnTo>
                    <a:pt x="1659" y="1870"/>
                  </a:lnTo>
                  <a:lnTo>
                    <a:pt x="1653" y="1870"/>
                  </a:lnTo>
                  <a:lnTo>
                    <a:pt x="1649" y="1867"/>
                  </a:lnTo>
                  <a:lnTo>
                    <a:pt x="1644" y="1865"/>
                  </a:lnTo>
                  <a:lnTo>
                    <a:pt x="1644" y="1859"/>
                  </a:lnTo>
                  <a:lnTo>
                    <a:pt x="1641" y="1852"/>
                  </a:lnTo>
                  <a:lnTo>
                    <a:pt x="1634" y="1852"/>
                  </a:lnTo>
                  <a:lnTo>
                    <a:pt x="1631" y="1847"/>
                  </a:lnTo>
                  <a:lnTo>
                    <a:pt x="1622" y="1840"/>
                  </a:lnTo>
                  <a:lnTo>
                    <a:pt x="1616" y="1840"/>
                  </a:lnTo>
                  <a:lnTo>
                    <a:pt x="1610" y="1830"/>
                  </a:lnTo>
                  <a:lnTo>
                    <a:pt x="1610" y="1822"/>
                  </a:lnTo>
                  <a:lnTo>
                    <a:pt x="1607" y="1817"/>
                  </a:lnTo>
                  <a:lnTo>
                    <a:pt x="1609" y="1814"/>
                  </a:lnTo>
                  <a:lnTo>
                    <a:pt x="1606" y="1805"/>
                  </a:lnTo>
                  <a:lnTo>
                    <a:pt x="1603" y="1802"/>
                  </a:lnTo>
                  <a:lnTo>
                    <a:pt x="1599" y="1793"/>
                  </a:lnTo>
                  <a:lnTo>
                    <a:pt x="1588" y="1792"/>
                  </a:lnTo>
                  <a:lnTo>
                    <a:pt x="1582" y="1795"/>
                  </a:lnTo>
                  <a:lnTo>
                    <a:pt x="1570" y="1796"/>
                  </a:lnTo>
                  <a:lnTo>
                    <a:pt x="1559" y="1796"/>
                  </a:lnTo>
                  <a:lnTo>
                    <a:pt x="1549" y="1793"/>
                  </a:lnTo>
                  <a:lnTo>
                    <a:pt x="1546" y="1789"/>
                  </a:lnTo>
                  <a:lnTo>
                    <a:pt x="1535" y="1792"/>
                  </a:lnTo>
                  <a:lnTo>
                    <a:pt x="1531" y="1792"/>
                  </a:lnTo>
                  <a:lnTo>
                    <a:pt x="1528" y="1790"/>
                  </a:lnTo>
                  <a:lnTo>
                    <a:pt x="1525" y="1786"/>
                  </a:lnTo>
                  <a:lnTo>
                    <a:pt x="1524" y="1783"/>
                  </a:lnTo>
                  <a:lnTo>
                    <a:pt x="1520" y="1783"/>
                  </a:lnTo>
                  <a:lnTo>
                    <a:pt x="1520" y="1780"/>
                  </a:lnTo>
                  <a:lnTo>
                    <a:pt x="1517" y="1777"/>
                  </a:lnTo>
                  <a:lnTo>
                    <a:pt x="1511" y="1773"/>
                  </a:lnTo>
                  <a:lnTo>
                    <a:pt x="1507" y="1773"/>
                  </a:lnTo>
                  <a:lnTo>
                    <a:pt x="1505" y="1772"/>
                  </a:lnTo>
                  <a:lnTo>
                    <a:pt x="1499" y="1765"/>
                  </a:lnTo>
                  <a:lnTo>
                    <a:pt x="1495" y="1760"/>
                  </a:lnTo>
                  <a:lnTo>
                    <a:pt x="1485" y="1747"/>
                  </a:lnTo>
                  <a:lnTo>
                    <a:pt x="1479" y="1743"/>
                  </a:lnTo>
                  <a:lnTo>
                    <a:pt x="1478" y="1733"/>
                  </a:lnTo>
                  <a:lnTo>
                    <a:pt x="1472" y="1725"/>
                  </a:lnTo>
                  <a:lnTo>
                    <a:pt x="1471" y="1723"/>
                  </a:lnTo>
                  <a:lnTo>
                    <a:pt x="1470" y="1723"/>
                  </a:lnTo>
                  <a:lnTo>
                    <a:pt x="1463" y="1715"/>
                  </a:lnTo>
                  <a:lnTo>
                    <a:pt x="1450" y="1706"/>
                  </a:lnTo>
                  <a:lnTo>
                    <a:pt x="1445" y="1706"/>
                  </a:lnTo>
                  <a:lnTo>
                    <a:pt x="1439" y="1708"/>
                  </a:lnTo>
                  <a:lnTo>
                    <a:pt x="1432" y="1708"/>
                  </a:lnTo>
                  <a:lnTo>
                    <a:pt x="1428" y="1705"/>
                  </a:lnTo>
                  <a:lnTo>
                    <a:pt x="1426" y="1698"/>
                  </a:lnTo>
                  <a:lnTo>
                    <a:pt x="1424" y="1697"/>
                  </a:lnTo>
                  <a:lnTo>
                    <a:pt x="1412" y="1696"/>
                  </a:lnTo>
                  <a:lnTo>
                    <a:pt x="1406" y="1689"/>
                  </a:lnTo>
                  <a:lnTo>
                    <a:pt x="1403" y="1686"/>
                  </a:lnTo>
                  <a:lnTo>
                    <a:pt x="1403" y="1676"/>
                  </a:lnTo>
                  <a:lnTo>
                    <a:pt x="1399" y="1672"/>
                  </a:lnTo>
                  <a:lnTo>
                    <a:pt x="1399" y="1665"/>
                  </a:lnTo>
                  <a:lnTo>
                    <a:pt x="1397" y="1663"/>
                  </a:lnTo>
                  <a:lnTo>
                    <a:pt x="1395" y="1661"/>
                  </a:lnTo>
                  <a:lnTo>
                    <a:pt x="1393" y="1657"/>
                  </a:lnTo>
                  <a:lnTo>
                    <a:pt x="1392" y="1656"/>
                  </a:lnTo>
                  <a:lnTo>
                    <a:pt x="1389" y="1654"/>
                  </a:lnTo>
                  <a:lnTo>
                    <a:pt x="1381" y="1657"/>
                  </a:lnTo>
                  <a:lnTo>
                    <a:pt x="1375" y="1656"/>
                  </a:lnTo>
                  <a:lnTo>
                    <a:pt x="1371" y="1656"/>
                  </a:lnTo>
                  <a:lnTo>
                    <a:pt x="1370" y="1654"/>
                  </a:lnTo>
                  <a:lnTo>
                    <a:pt x="1362" y="1644"/>
                  </a:lnTo>
                  <a:lnTo>
                    <a:pt x="1358" y="1644"/>
                  </a:lnTo>
                  <a:lnTo>
                    <a:pt x="1354" y="1636"/>
                  </a:lnTo>
                  <a:lnTo>
                    <a:pt x="1348" y="1631"/>
                  </a:lnTo>
                  <a:lnTo>
                    <a:pt x="1346" y="1630"/>
                  </a:lnTo>
                  <a:lnTo>
                    <a:pt x="1346" y="1624"/>
                  </a:lnTo>
                  <a:lnTo>
                    <a:pt x="1342" y="1621"/>
                  </a:lnTo>
                  <a:lnTo>
                    <a:pt x="1326" y="1622"/>
                  </a:lnTo>
                  <a:lnTo>
                    <a:pt x="1311" y="1621"/>
                  </a:lnTo>
                  <a:lnTo>
                    <a:pt x="1308" y="1618"/>
                  </a:lnTo>
                  <a:lnTo>
                    <a:pt x="1308" y="1611"/>
                  </a:lnTo>
                  <a:lnTo>
                    <a:pt x="1303" y="1609"/>
                  </a:lnTo>
                  <a:lnTo>
                    <a:pt x="1290" y="1614"/>
                  </a:lnTo>
                  <a:lnTo>
                    <a:pt x="1276" y="1617"/>
                  </a:lnTo>
                  <a:lnTo>
                    <a:pt x="1261" y="1611"/>
                  </a:lnTo>
                  <a:lnTo>
                    <a:pt x="1256" y="1602"/>
                  </a:lnTo>
                  <a:lnTo>
                    <a:pt x="1251" y="1601"/>
                  </a:lnTo>
                  <a:lnTo>
                    <a:pt x="1243" y="1609"/>
                  </a:lnTo>
                  <a:lnTo>
                    <a:pt x="1231" y="1614"/>
                  </a:lnTo>
                  <a:lnTo>
                    <a:pt x="1225" y="1612"/>
                  </a:lnTo>
                  <a:lnTo>
                    <a:pt x="1217" y="1609"/>
                  </a:lnTo>
                  <a:lnTo>
                    <a:pt x="1214" y="1605"/>
                  </a:lnTo>
                  <a:lnTo>
                    <a:pt x="1204" y="1604"/>
                  </a:lnTo>
                  <a:lnTo>
                    <a:pt x="1196" y="1596"/>
                  </a:lnTo>
                  <a:lnTo>
                    <a:pt x="1192" y="1593"/>
                  </a:lnTo>
                  <a:lnTo>
                    <a:pt x="1190" y="1586"/>
                  </a:lnTo>
                  <a:lnTo>
                    <a:pt x="1183" y="1579"/>
                  </a:lnTo>
                  <a:lnTo>
                    <a:pt x="1183" y="1573"/>
                  </a:lnTo>
                  <a:lnTo>
                    <a:pt x="1186" y="1572"/>
                  </a:lnTo>
                  <a:lnTo>
                    <a:pt x="1186" y="1569"/>
                  </a:lnTo>
                  <a:lnTo>
                    <a:pt x="1180" y="1564"/>
                  </a:lnTo>
                  <a:lnTo>
                    <a:pt x="1176" y="1565"/>
                  </a:lnTo>
                  <a:lnTo>
                    <a:pt x="1172" y="1564"/>
                  </a:lnTo>
                  <a:lnTo>
                    <a:pt x="1162" y="1556"/>
                  </a:lnTo>
                  <a:lnTo>
                    <a:pt x="1158" y="1557"/>
                  </a:lnTo>
                  <a:lnTo>
                    <a:pt x="1154" y="1556"/>
                  </a:lnTo>
                  <a:lnTo>
                    <a:pt x="1154" y="1549"/>
                  </a:lnTo>
                  <a:lnTo>
                    <a:pt x="1154" y="1542"/>
                  </a:lnTo>
                  <a:lnTo>
                    <a:pt x="1160" y="1536"/>
                  </a:lnTo>
                  <a:lnTo>
                    <a:pt x="1164" y="1524"/>
                  </a:lnTo>
                  <a:lnTo>
                    <a:pt x="1162" y="1523"/>
                  </a:lnTo>
                  <a:lnTo>
                    <a:pt x="1154" y="1524"/>
                  </a:lnTo>
                  <a:lnTo>
                    <a:pt x="1143" y="1528"/>
                  </a:lnTo>
                  <a:lnTo>
                    <a:pt x="1138" y="1528"/>
                  </a:lnTo>
                  <a:lnTo>
                    <a:pt x="1135" y="1522"/>
                  </a:lnTo>
                  <a:lnTo>
                    <a:pt x="1127" y="1519"/>
                  </a:lnTo>
                  <a:lnTo>
                    <a:pt x="1127" y="1518"/>
                  </a:lnTo>
                  <a:lnTo>
                    <a:pt x="1132" y="1515"/>
                  </a:lnTo>
                  <a:lnTo>
                    <a:pt x="1132" y="1511"/>
                  </a:lnTo>
                  <a:lnTo>
                    <a:pt x="1126" y="1509"/>
                  </a:lnTo>
                  <a:lnTo>
                    <a:pt x="1126" y="1507"/>
                  </a:lnTo>
                  <a:lnTo>
                    <a:pt x="1119" y="1511"/>
                  </a:lnTo>
                  <a:lnTo>
                    <a:pt x="1115" y="1509"/>
                  </a:lnTo>
                  <a:lnTo>
                    <a:pt x="1110" y="1515"/>
                  </a:lnTo>
                  <a:lnTo>
                    <a:pt x="1105" y="1515"/>
                  </a:lnTo>
                  <a:lnTo>
                    <a:pt x="1100" y="1511"/>
                  </a:lnTo>
                  <a:lnTo>
                    <a:pt x="1096" y="1511"/>
                  </a:lnTo>
                  <a:lnTo>
                    <a:pt x="1090" y="1507"/>
                  </a:lnTo>
                  <a:lnTo>
                    <a:pt x="1091" y="1502"/>
                  </a:lnTo>
                  <a:lnTo>
                    <a:pt x="1090" y="1498"/>
                  </a:lnTo>
                  <a:lnTo>
                    <a:pt x="1086" y="1498"/>
                  </a:lnTo>
                  <a:lnTo>
                    <a:pt x="1083" y="1500"/>
                  </a:lnTo>
                  <a:lnTo>
                    <a:pt x="1083" y="1507"/>
                  </a:lnTo>
                  <a:lnTo>
                    <a:pt x="1082" y="1509"/>
                  </a:lnTo>
                  <a:lnTo>
                    <a:pt x="1073" y="1505"/>
                  </a:lnTo>
                  <a:lnTo>
                    <a:pt x="1065" y="1495"/>
                  </a:lnTo>
                  <a:lnTo>
                    <a:pt x="1058" y="1493"/>
                  </a:lnTo>
                  <a:lnTo>
                    <a:pt x="1054" y="1489"/>
                  </a:lnTo>
                  <a:lnTo>
                    <a:pt x="1050" y="1475"/>
                  </a:lnTo>
                  <a:lnTo>
                    <a:pt x="1054" y="1474"/>
                  </a:lnTo>
                  <a:lnTo>
                    <a:pt x="1051" y="1464"/>
                  </a:lnTo>
                  <a:lnTo>
                    <a:pt x="1054" y="1460"/>
                  </a:lnTo>
                  <a:lnTo>
                    <a:pt x="1052" y="1457"/>
                  </a:lnTo>
                  <a:lnTo>
                    <a:pt x="1041" y="1457"/>
                  </a:lnTo>
                  <a:lnTo>
                    <a:pt x="1029" y="1449"/>
                  </a:lnTo>
                  <a:lnTo>
                    <a:pt x="1027" y="1448"/>
                  </a:lnTo>
                  <a:lnTo>
                    <a:pt x="1029" y="1447"/>
                  </a:lnTo>
                  <a:lnTo>
                    <a:pt x="1026" y="1444"/>
                  </a:lnTo>
                  <a:lnTo>
                    <a:pt x="1018" y="1443"/>
                  </a:lnTo>
                  <a:lnTo>
                    <a:pt x="1016" y="1444"/>
                  </a:lnTo>
                  <a:lnTo>
                    <a:pt x="1005" y="1437"/>
                  </a:lnTo>
                  <a:lnTo>
                    <a:pt x="998" y="1436"/>
                  </a:lnTo>
                  <a:lnTo>
                    <a:pt x="987" y="1433"/>
                  </a:lnTo>
                  <a:lnTo>
                    <a:pt x="975" y="1433"/>
                  </a:lnTo>
                  <a:lnTo>
                    <a:pt x="972" y="1435"/>
                  </a:lnTo>
                  <a:lnTo>
                    <a:pt x="968" y="1430"/>
                  </a:lnTo>
                  <a:lnTo>
                    <a:pt x="963" y="1433"/>
                  </a:lnTo>
                  <a:lnTo>
                    <a:pt x="958" y="1436"/>
                  </a:lnTo>
                  <a:lnTo>
                    <a:pt x="955" y="1440"/>
                  </a:lnTo>
                  <a:lnTo>
                    <a:pt x="951" y="1440"/>
                  </a:lnTo>
                  <a:lnTo>
                    <a:pt x="946" y="1433"/>
                  </a:lnTo>
                  <a:lnTo>
                    <a:pt x="941" y="1433"/>
                  </a:lnTo>
                  <a:lnTo>
                    <a:pt x="937" y="1428"/>
                  </a:lnTo>
                  <a:lnTo>
                    <a:pt x="936" y="1425"/>
                  </a:lnTo>
                  <a:lnTo>
                    <a:pt x="930" y="1427"/>
                  </a:lnTo>
                  <a:lnTo>
                    <a:pt x="929" y="1422"/>
                  </a:lnTo>
                  <a:lnTo>
                    <a:pt x="922" y="1418"/>
                  </a:lnTo>
                  <a:lnTo>
                    <a:pt x="920" y="1413"/>
                  </a:lnTo>
                  <a:lnTo>
                    <a:pt x="915" y="1413"/>
                  </a:lnTo>
                  <a:lnTo>
                    <a:pt x="912" y="1412"/>
                  </a:lnTo>
                  <a:lnTo>
                    <a:pt x="909" y="1415"/>
                  </a:lnTo>
                  <a:lnTo>
                    <a:pt x="905" y="1416"/>
                  </a:lnTo>
                  <a:lnTo>
                    <a:pt x="900" y="1418"/>
                  </a:lnTo>
                  <a:lnTo>
                    <a:pt x="897" y="1418"/>
                  </a:lnTo>
                  <a:lnTo>
                    <a:pt x="892" y="1418"/>
                  </a:lnTo>
                  <a:lnTo>
                    <a:pt x="891" y="1422"/>
                  </a:lnTo>
                  <a:lnTo>
                    <a:pt x="884" y="1422"/>
                  </a:lnTo>
                  <a:lnTo>
                    <a:pt x="880" y="1422"/>
                  </a:lnTo>
                  <a:lnTo>
                    <a:pt x="869" y="1422"/>
                  </a:lnTo>
                  <a:lnTo>
                    <a:pt x="867" y="1422"/>
                  </a:lnTo>
                  <a:lnTo>
                    <a:pt x="856" y="1418"/>
                  </a:lnTo>
                  <a:lnTo>
                    <a:pt x="841" y="1427"/>
                  </a:lnTo>
                  <a:lnTo>
                    <a:pt x="837" y="1427"/>
                  </a:lnTo>
                  <a:lnTo>
                    <a:pt x="830" y="1436"/>
                  </a:lnTo>
                  <a:lnTo>
                    <a:pt x="824" y="1440"/>
                  </a:lnTo>
                  <a:lnTo>
                    <a:pt x="822" y="1440"/>
                  </a:lnTo>
                  <a:lnTo>
                    <a:pt x="819" y="1443"/>
                  </a:lnTo>
                  <a:lnTo>
                    <a:pt x="803" y="1447"/>
                  </a:lnTo>
                  <a:lnTo>
                    <a:pt x="798" y="1444"/>
                  </a:lnTo>
                  <a:lnTo>
                    <a:pt x="797" y="1443"/>
                  </a:lnTo>
                  <a:lnTo>
                    <a:pt x="797" y="1444"/>
                  </a:lnTo>
                  <a:lnTo>
                    <a:pt x="794" y="1447"/>
                  </a:lnTo>
                  <a:lnTo>
                    <a:pt x="788" y="1440"/>
                  </a:lnTo>
                  <a:lnTo>
                    <a:pt x="786" y="1444"/>
                  </a:lnTo>
                  <a:lnTo>
                    <a:pt x="784" y="1444"/>
                  </a:lnTo>
                  <a:lnTo>
                    <a:pt x="783" y="1440"/>
                  </a:lnTo>
                  <a:lnTo>
                    <a:pt x="776" y="1440"/>
                  </a:lnTo>
                  <a:lnTo>
                    <a:pt x="772" y="1440"/>
                  </a:lnTo>
                  <a:lnTo>
                    <a:pt x="766" y="1440"/>
                  </a:lnTo>
                  <a:lnTo>
                    <a:pt x="763" y="1440"/>
                  </a:lnTo>
                  <a:lnTo>
                    <a:pt x="761" y="1438"/>
                  </a:lnTo>
                  <a:lnTo>
                    <a:pt x="758" y="1440"/>
                  </a:lnTo>
                  <a:lnTo>
                    <a:pt x="755" y="1437"/>
                  </a:lnTo>
                  <a:lnTo>
                    <a:pt x="752" y="1438"/>
                  </a:lnTo>
                  <a:lnTo>
                    <a:pt x="749" y="1438"/>
                  </a:lnTo>
                  <a:lnTo>
                    <a:pt x="747" y="1440"/>
                  </a:lnTo>
                  <a:lnTo>
                    <a:pt x="744" y="1437"/>
                  </a:lnTo>
                  <a:lnTo>
                    <a:pt x="742" y="1433"/>
                  </a:lnTo>
                  <a:lnTo>
                    <a:pt x="739" y="1431"/>
                  </a:lnTo>
                  <a:lnTo>
                    <a:pt x="739" y="1430"/>
                  </a:lnTo>
                  <a:lnTo>
                    <a:pt x="741" y="1430"/>
                  </a:lnTo>
                  <a:lnTo>
                    <a:pt x="741" y="1428"/>
                  </a:lnTo>
                  <a:lnTo>
                    <a:pt x="742" y="1427"/>
                  </a:lnTo>
                  <a:lnTo>
                    <a:pt x="742" y="1424"/>
                  </a:lnTo>
                  <a:lnTo>
                    <a:pt x="739" y="1422"/>
                  </a:lnTo>
                  <a:lnTo>
                    <a:pt x="742" y="1418"/>
                  </a:lnTo>
                  <a:lnTo>
                    <a:pt x="741" y="1418"/>
                  </a:lnTo>
                  <a:lnTo>
                    <a:pt x="741" y="1415"/>
                  </a:lnTo>
                  <a:lnTo>
                    <a:pt x="739" y="1411"/>
                  </a:lnTo>
                  <a:lnTo>
                    <a:pt x="736" y="1412"/>
                  </a:lnTo>
                  <a:lnTo>
                    <a:pt x="734" y="1408"/>
                  </a:lnTo>
                  <a:lnTo>
                    <a:pt x="733" y="1411"/>
                  </a:lnTo>
                  <a:lnTo>
                    <a:pt x="730" y="1408"/>
                  </a:lnTo>
                  <a:lnTo>
                    <a:pt x="728" y="1405"/>
                  </a:lnTo>
                  <a:lnTo>
                    <a:pt x="724" y="1402"/>
                  </a:lnTo>
                  <a:lnTo>
                    <a:pt x="720" y="1405"/>
                  </a:lnTo>
                  <a:lnTo>
                    <a:pt x="717" y="1405"/>
                  </a:lnTo>
                  <a:lnTo>
                    <a:pt x="716" y="1399"/>
                  </a:lnTo>
                  <a:lnTo>
                    <a:pt x="713" y="1399"/>
                  </a:lnTo>
                  <a:lnTo>
                    <a:pt x="705" y="1388"/>
                  </a:lnTo>
                  <a:lnTo>
                    <a:pt x="701" y="1386"/>
                  </a:lnTo>
                  <a:lnTo>
                    <a:pt x="698" y="1382"/>
                  </a:lnTo>
                  <a:lnTo>
                    <a:pt x="694" y="1382"/>
                  </a:lnTo>
                  <a:lnTo>
                    <a:pt x="688" y="1378"/>
                  </a:lnTo>
                  <a:lnTo>
                    <a:pt x="688" y="1375"/>
                  </a:lnTo>
                  <a:lnTo>
                    <a:pt x="686" y="1373"/>
                  </a:lnTo>
                  <a:lnTo>
                    <a:pt x="686" y="1371"/>
                  </a:lnTo>
                  <a:lnTo>
                    <a:pt x="677" y="1363"/>
                  </a:lnTo>
                  <a:lnTo>
                    <a:pt x="676" y="1363"/>
                  </a:lnTo>
                  <a:lnTo>
                    <a:pt x="676" y="1362"/>
                  </a:lnTo>
                  <a:lnTo>
                    <a:pt x="674" y="1363"/>
                  </a:lnTo>
                  <a:lnTo>
                    <a:pt x="672" y="1363"/>
                  </a:lnTo>
                  <a:lnTo>
                    <a:pt x="670" y="1366"/>
                  </a:lnTo>
                  <a:lnTo>
                    <a:pt x="667" y="1368"/>
                  </a:lnTo>
                  <a:lnTo>
                    <a:pt x="663" y="1360"/>
                  </a:lnTo>
                  <a:lnTo>
                    <a:pt x="663" y="1358"/>
                  </a:lnTo>
                  <a:lnTo>
                    <a:pt x="660" y="1358"/>
                  </a:lnTo>
                  <a:lnTo>
                    <a:pt x="659" y="1353"/>
                  </a:lnTo>
                  <a:lnTo>
                    <a:pt x="656" y="1350"/>
                  </a:lnTo>
                  <a:lnTo>
                    <a:pt x="652" y="1353"/>
                  </a:lnTo>
                  <a:lnTo>
                    <a:pt x="651" y="1350"/>
                  </a:lnTo>
                  <a:lnTo>
                    <a:pt x="647" y="1356"/>
                  </a:lnTo>
                  <a:lnTo>
                    <a:pt x="647" y="1354"/>
                  </a:lnTo>
                  <a:lnTo>
                    <a:pt x="641" y="1362"/>
                  </a:lnTo>
                  <a:lnTo>
                    <a:pt x="637" y="1366"/>
                  </a:lnTo>
                  <a:lnTo>
                    <a:pt x="634" y="1369"/>
                  </a:lnTo>
                  <a:lnTo>
                    <a:pt x="630" y="1373"/>
                  </a:lnTo>
                  <a:lnTo>
                    <a:pt x="627" y="1379"/>
                  </a:lnTo>
                  <a:lnTo>
                    <a:pt x="621" y="1382"/>
                  </a:lnTo>
                  <a:lnTo>
                    <a:pt x="614" y="1388"/>
                  </a:lnTo>
                  <a:lnTo>
                    <a:pt x="614" y="1391"/>
                  </a:lnTo>
                  <a:lnTo>
                    <a:pt x="610" y="1391"/>
                  </a:lnTo>
                  <a:lnTo>
                    <a:pt x="602" y="1395"/>
                  </a:lnTo>
                  <a:lnTo>
                    <a:pt x="598" y="1395"/>
                  </a:lnTo>
                  <a:lnTo>
                    <a:pt x="595" y="1399"/>
                  </a:lnTo>
                  <a:lnTo>
                    <a:pt x="593" y="1398"/>
                  </a:lnTo>
                  <a:lnTo>
                    <a:pt x="591" y="1399"/>
                  </a:lnTo>
                  <a:lnTo>
                    <a:pt x="588" y="1399"/>
                  </a:lnTo>
                  <a:lnTo>
                    <a:pt x="585" y="1398"/>
                  </a:lnTo>
                  <a:lnTo>
                    <a:pt x="584" y="1399"/>
                  </a:lnTo>
                  <a:lnTo>
                    <a:pt x="581" y="1398"/>
                  </a:lnTo>
                  <a:lnTo>
                    <a:pt x="571" y="1402"/>
                  </a:lnTo>
                  <a:lnTo>
                    <a:pt x="570" y="1399"/>
                  </a:lnTo>
                  <a:lnTo>
                    <a:pt x="570" y="1395"/>
                  </a:lnTo>
                  <a:lnTo>
                    <a:pt x="568" y="1394"/>
                  </a:lnTo>
                  <a:lnTo>
                    <a:pt x="571" y="1385"/>
                  </a:lnTo>
                  <a:lnTo>
                    <a:pt x="571" y="1377"/>
                  </a:lnTo>
                  <a:lnTo>
                    <a:pt x="568" y="1369"/>
                  </a:lnTo>
                  <a:lnTo>
                    <a:pt x="570" y="1360"/>
                  </a:lnTo>
                  <a:lnTo>
                    <a:pt x="567" y="1357"/>
                  </a:lnTo>
                  <a:lnTo>
                    <a:pt x="542" y="1331"/>
                  </a:lnTo>
                  <a:lnTo>
                    <a:pt x="537" y="1333"/>
                  </a:lnTo>
                  <a:lnTo>
                    <a:pt x="531" y="1341"/>
                  </a:lnTo>
                  <a:lnTo>
                    <a:pt x="527" y="1344"/>
                  </a:lnTo>
                  <a:lnTo>
                    <a:pt x="513" y="1358"/>
                  </a:lnTo>
                  <a:lnTo>
                    <a:pt x="509" y="1356"/>
                  </a:lnTo>
                  <a:lnTo>
                    <a:pt x="506" y="1357"/>
                  </a:lnTo>
                  <a:lnTo>
                    <a:pt x="501" y="1356"/>
                  </a:lnTo>
                  <a:lnTo>
                    <a:pt x="498" y="1350"/>
                  </a:lnTo>
                  <a:lnTo>
                    <a:pt x="493" y="1350"/>
                  </a:lnTo>
                  <a:lnTo>
                    <a:pt x="493" y="1346"/>
                  </a:lnTo>
                  <a:lnTo>
                    <a:pt x="491" y="1346"/>
                  </a:lnTo>
                  <a:lnTo>
                    <a:pt x="479" y="1344"/>
                  </a:lnTo>
                  <a:lnTo>
                    <a:pt x="477" y="1337"/>
                  </a:lnTo>
                  <a:lnTo>
                    <a:pt x="477" y="1333"/>
                  </a:lnTo>
                  <a:lnTo>
                    <a:pt x="473" y="1324"/>
                  </a:lnTo>
                  <a:lnTo>
                    <a:pt x="467" y="1324"/>
                  </a:lnTo>
                  <a:lnTo>
                    <a:pt x="463" y="1328"/>
                  </a:lnTo>
                  <a:lnTo>
                    <a:pt x="460" y="1324"/>
                  </a:lnTo>
                  <a:lnTo>
                    <a:pt x="459" y="1323"/>
                  </a:lnTo>
                  <a:lnTo>
                    <a:pt x="446" y="1287"/>
                  </a:lnTo>
                  <a:lnTo>
                    <a:pt x="442" y="1279"/>
                  </a:lnTo>
                  <a:lnTo>
                    <a:pt x="441" y="1278"/>
                  </a:lnTo>
                  <a:lnTo>
                    <a:pt x="441" y="1275"/>
                  </a:lnTo>
                  <a:lnTo>
                    <a:pt x="439" y="1274"/>
                  </a:lnTo>
                  <a:lnTo>
                    <a:pt x="441" y="1273"/>
                  </a:lnTo>
                  <a:lnTo>
                    <a:pt x="439" y="1269"/>
                  </a:lnTo>
                  <a:lnTo>
                    <a:pt x="438" y="1266"/>
                  </a:lnTo>
                  <a:lnTo>
                    <a:pt x="438" y="1265"/>
                  </a:lnTo>
                  <a:lnTo>
                    <a:pt x="434" y="1270"/>
                  </a:lnTo>
                  <a:lnTo>
                    <a:pt x="435" y="1273"/>
                  </a:lnTo>
                  <a:lnTo>
                    <a:pt x="435" y="1275"/>
                  </a:lnTo>
                  <a:lnTo>
                    <a:pt x="432" y="1274"/>
                  </a:lnTo>
                  <a:lnTo>
                    <a:pt x="427" y="1275"/>
                  </a:lnTo>
                  <a:lnTo>
                    <a:pt x="423" y="1273"/>
                  </a:lnTo>
                  <a:lnTo>
                    <a:pt x="414" y="1270"/>
                  </a:lnTo>
                  <a:lnTo>
                    <a:pt x="410" y="1266"/>
                  </a:lnTo>
                  <a:lnTo>
                    <a:pt x="410" y="1262"/>
                  </a:lnTo>
                  <a:lnTo>
                    <a:pt x="404" y="1251"/>
                  </a:lnTo>
                  <a:lnTo>
                    <a:pt x="395" y="1249"/>
                  </a:lnTo>
                  <a:lnTo>
                    <a:pt x="44" y="1249"/>
                  </a:lnTo>
                  <a:lnTo>
                    <a:pt x="0" y="1249"/>
                  </a:lnTo>
                  <a:lnTo>
                    <a:pt x="3" y="1244"/>
                  </a:lnTo>
                  <a:lnTo>
                    <a:pt x="8" y="1244"/>
                  </a:lnTo>
                  <a:lnTo>
                    <a:pt x="9" y="1242"/>
                  </a:lnTo>
                  <a:lnTo>
                    <a:pt x="12" y="1240"/>
                  </a:lnTo>
                  <a:lnTo>
                    <a:pt x="19" y="1234"/>
                  </a:lnTo>
                  <a:lnTo>
                    <a:pt x="22" y="1231"/>
                  </a:lnTo>
                  <a:lnTo>
                    <a:pt x="29" y="1221"/>
                  </a:lnTo>
                  <a:lnTo>
                    <a:pt x="34" y="1220"/>
                  </a:lnTo>
                  <a:lnTo>
                    <a:pt x="37" y="1216"/>
                  </a:lnTo>
                  <a:lnTo>
                    <a:pt x="42" y="1204"/>
                  </a:lnTo>
                  <a:lnTo>
                    <a:pt x="50" y="1199"/>
                  </a:lnTo>
                  <a:lnTo>
                    <a:pt x="57" y="1194"/>
                  </a:lnTo>
                  <a:lnTo>
                    <a:pt x="55" y="1188"/>
                  </a:lnTo>
                  <a:lnTo>
                    <a:pt x="60" y="1180"/>
                  </a:lnTo>
                  <a:lnTo>
                    <a:pt x="57" y="1176"/>
                  </a:lnTo>
                  <a:lnTo>
                    <a:pt x="55" y="1175"/>
                  </a:lnTo>
                  <a:lnTo>
                    <a:pt x="60" y="1172"/>
                  </a:lnTo>
                  <a:lnTo>
                    <a:pt x="69" y="1171"/>
                  </a:lnTo>
                  <a:lnTo>
                    <a:pt x="71" y="1171"/>
                  </a:lnTo>
                  <a:lnTo>
                    <a:pt x="76" y="1163"/>
                  </a:lnTo>
                  <a:lnTo>
                    <a:pt x="76" y="1162"/>
                  </a:lnTo>
                  <a:lnTo>
                    <a:pt x="83" y="1159"/>
                  </a:lnTo>
                  <a:lnTo>
                    <a:pt x="85" y="1154"/>
                  </a:lnTo>
                  <a:lnTo>
                    <a:pt x="92" y="1146"/>
                  </a:lnTo>
                  <a:lnTo>
                    <a:pt x="94" y="1141"/>
                  </a:lnTo>
                  <a:lnTo>
                    <a:pt x="100" y="1141"/>
                  </a:lnTo>
                  <a:lnTo>
                    <a:pt x="105" y="1141"/>
                  </a:lnTo>
                  <a:lnTo>
                    <a:pt x="113" y="1137"/>
                  </a:lnTo>
                  <a:lnTo>
                    <a:pt x="113" y="1134"/>
                  </a:lnTo>
                  <a:lnTo>
                    <a:pt x="107" y="1133"/>
                  </a:lnTo>
                  <a:lnTo>
                    <a:pt x="107" y="1130"/>
                  </a:lnTo>
                  <a:lnTo>
                    <a:pt x="108" y="1118"/>
                  </a:lnTo>
                  <a:lnTo>
                    <a:pt x="111" y="1117"/>
                  </a:lnTo>
                  <a:lnTo>
                    <a:pt x="114" y="1120"/>
                  </a:lnTo>
                  <a:lnTo>
                    <a:pt x="117" y="1120"/>
                  </a:lnTo>
                  <a:lnTo>
                    <a:pt x="119" y="1118"/>
                  </a:lnTo>
                  <a:lnTo>
                    <a:pt x="121" y="1115"/>
                  </a:lnTo>
                  <a:lnTo>
                    <a:pt x="119" y="1113"/>
                  </a:lnTo>
                  <a:lnTo>
                    <a:pt x="117" y="1115"/>
                  </a:lnTo>
                  <a:lnTo>
                    <a:pt x="113" y="1110"/>
                  </a:lnTo>
                  <a:lnTo>
                    <a:pt x="113" y="1105"/>
                  </a:lnTo>
                  <a:lnTo>
                    <a:pt x="115" y="1100"/>
                  </a:lnTo>
                  <a:lnTo>
                    <a:pt x="124" y="1091"/>
                  </a:lnTo>
                  <a:lnTo>
                    <a:pt x="127" y="1085"/>
                  </a:lnTo>
                  <a:lnTo>
                    <a:pt x="130" y="1083"/>
                  </a:lnTo>
                  <a:lnTo>
                    <a:pt x="136" y="1079"/>
                  </a:lnTo>
                  <a:lnTo>
                    <a:pt x="142" y="1078"/>
                  </a:lnTo>
                  <a:lnTo>
                    <a:pt x="149" y="1072"/>
                  </a:lnTo>
                  <a:lnTo>
                    <a:pt x="152" y="1070"/>
                  </a:lnTo>
                  <a:lnTo>
                    <a:pt x="150" y="1066"/>
                  </a:lnTo>
                  <a:lnTo>
                    <a:pt x="152" y="1062"/>
                  </a:lnTo>
                  <a:lnTo>
                    <a:pt x="167" y="1057"/>
                  </a:lnTo>
                  <a:lnTo>
                    <a:pt x="174" y="1050"/>
                  </a:lnTo>
                  <a:lnTo>
                    <a:pt x="182" y="1047"/>
                  </a:lnTo>
                  <a:lnTo>
                    <a:pt x="188" y="1047"/>
                  </a:lnTo>
                  <a:lnTo>
                    <a:pt x="192" y="1043"/>
                  </a:lnTo>
                  <a:lnTo>
                    <a:pt x="196" y="1042"/>
                  </a:lnTo>
                  <a:lnTo>
                    <a:pt x="199" y="1034"/>
                  </a:lnTo>
                  <a:lnTo>
                    <a:pt x="200" y="1033"/>
                  </a:lnTo>
                  <a:lnTo>
                    <a:pt x="199" y="1026"/>
                  </a:lnTo>
                  <a:lnTo>
                    <a:pt x="203" y="1020"/>
                  </a:lnTo>
                  <a:lnTo>
                    <a:pt x="210" y="1016"/>
                  </a:lnTo>
                  <a:lnTo>
                    <a:pt x="214" y="1017"/>
                  </a:lnTo>
                  <a:lnTo>
                    <a:pt x="217" y="1012"/>
                  </a:lnTo>
                  <a:lnTo>
                    <a:pt x="224" y="1010"/>
                  </a:lnTo>
                  <a:lnTo>
                    <a:pt x="233" y="1004"/>
                  </a:lnTo>
                  <a:lnTo>
                    <a:pt x="247" y="989"/>
                  </a:lnTo>
                  <a:lnTo>
                    <a:pt x="256" y="988"/>
                  </a:lnTo>
                  <a:lnTo>
                    <a:pt x="271" y="981"/>
                  </a:lnTo>
                  <a:lnTo>
                    <a:pt x="275" y="981"/>
                  </a:lnTo>
                  <a:lnTo>
                    <a:pt x="282" y="981"/>
                  </a:lnTo>
                  <a:lnTo>
                    <a:pt x="290" y="976"/>
                  </a:lnTo>
                  <a:lnTo>
                    <a:pt x="300" y="971"/>
                  </a:lnTo>
                  <a:lnTo>
                    <a:pt x="306" y="963"/>
                  </a:lnTo>
                  <a:lnTo>
                    <a:pt x="311" y="961"/>
                  </a:lnTo>
                  <a:lnTo>
                    <a:pt x="314" y="961"/>
                  </a:lnTo>
                  <a:lnTo>
                    <a:pt x="317" y="961"/>
                  </a:lnTo>
                  <a:lnTo>
                    <a:pt x="319" y="959"/>
                  </a:lnTo>
                  <a:lnTo>
                    <a:pt x="331" y="950"/>
                  </a:lnTo>
                  <a:lnTo>
                    <a:pt x="335" y="946"/>
                  </a:lnTo>
                  <a:lnTo>
                    <a:pt x="342" y="939"/>
                  </a:lnTo>
                  <a:lnTo>
                    <a:pt x="356" y="933"/>
                  </a:lnTo>
                  <a:lnTo>
                    <a:pt x="363" y="923"/>
                  </a:lnTo>
                  <a:lnTo>
                    <a:pt x="367" y="921"/>
                  </a:lnTo>
                  <a:lnTo>
                    <a:pt x="370" y="921"/>
                  </a:lnTo>
                  <a:lnTo>
                    <a:pt x="375" y="923"/>
                  </a:lnTo>
                  <a:lnTo>
                    <a:pt x="382" y="923"/>
                  </a:lnTo>
                  <a:lnTo>
                    <a:pt x="392" y="918"/>
                  </a:lnTo>
                  <a:lnTo>
                    <a:pt x="401" y="930"/>
                  </a:lnTo>
                  <a:lnTo>
                    <a:pt x="410" y="936"/>
                  </a:lnTo>
                  <a:lnTo>
                    <a:pt x="413" y="936"/>
                  </a:lnTo>
                  <a:lnTo>
                    <a:pt x="416" y="936"/>
                  </a:lnTo>
                  <a:lnTo>
                    <a:pt x="420" y="933"/>
                  </a:lnTo>
                  <a:lnTo>
                    <a:pt x="423" y="931"/>
                  </a:lnTo>
                  <a:lnTo>
                    <a:pt x="431" y="934"/>
                  </a:lnTo>
                  <a:lnTo>
                    <a:pt x="434" y="931"/>
                  </a:lnTo>
                  <a:lnTo>
                    <a:pt x="435" y="923"/>
                  </a:lnTo>
                  <a:lnTo>
                    <a:pt x="442" y="923"/>
                  </a:lnTo>
                  <a:lnTo>
                    <a:pt x="445" y="922"/>
                  </a:lnTo>
                  <a:lnTo>
                    <a:pt x="448" y="922"/>
                  </a:lnTo>
                  <a:lnTo>
                    <a:pt x="452" y="917"/>
                  </a:lnTo>
                  <a:lnTo>
                    <a:pt x="460" y="911"/>
                  </a:lnTo>
                  <a:lnTo>
                    <a:pt x="468" y="910"/>
                  </a:lnTo>
                  <a:lnTo>
                    <a:pt x="479" y="905"/>
                  </a:lnTo>
                  <a:lnTo>
                    <a:pt x="493" y="900"/>
                  </a:lnTo>
                  <a:lnTo>
                    <a:pt x="498" y="897"/>
                  </a:lnTo>
                  <a:lnTo>
                    <a:pt x="503" y="896"/>
                  </a:lnTo>
                  <a:lnTo>
                    <a:pt x="516" y="888"/>
                  </a:lnTo>
                  <a:lnTo>
                    <a:pt x="520" y="883"/>
                  </a:lnTo>
                  <a:lnTo>
                    <a:pt x="518" y="879"/>
                  </a:lnTo>
                  <a:lnTo>
                    <a:pt x="516" y="877"/>
                  </a:lnTo>
                  <a:lnTo>
                    <a:pt x="517" y="874"/>
                  </a:lnTo>
                  <a:lnTo>
                    <a:pt x="523" y="872"/>
                  </a:lnTo>
                  <a:lnTo>
                    <a:pt x="528" y="867"/>
                  </a:lnTo>
                  <a:lnTo>
                    <a:pt x="537" y="864"/>
                  </a:lnTo>
                  <a:lnTo>
                    <a:pt x="539" y="861"/>
                  </a:lnTo>
                  <a:lnTo>
                    <a:pt x="543" y="852"/>
                  </a:lnTo>
                  <a:lnTo>
                    <a:pt x="552" y="847"/>
                  </a:lnTo>
                  <a:lnTo>
                    <a:pt x="556" y="842"/>
                  </a:lnTo>
                  <a:lnTo>
                    <a:pt x="562" y="838"/>
                  </a:lnTo>
                  <a:lnTo>
                    <a:pt x="563" y="834"/>
                  </a:lnTo>
                  <a:lnTo>
                    <a:pt x="570" y="834"/>
                  </a:lnTo>
                  <a:lnTo>
                    <a:pt x="577" y="829"/>
                  </a:lnTo>
                  <a:lnTo>
                    <a:pt x="581" y="829"/>
                  </a:lnTo>
                  <a:lnTo>
                    <a:pt x="581" y="821"/>
                  </a:lnTo>
                  <a:lnTo>
                    <a:pt x="584" y="811"/>
                  </a:lnTo>
                  <a:lnTo>
                    <a:pt x="582" y="807"/>
                  </a:lnTo>
                  <a:lnTo>
                    <a:pt x="582" y="805"/>
                  </a:lnTo>
                  <a:lnTo>
                    <a:pt x="593" y="794"/>
                  </a:lnTo>
                  <a:lnTo>
                    <a:pt x="601" y="789"/>
                  </a:lnTo>
                  <a:lnTo>
                    <a:pt x="613" y="784"/>
                  </a:lnTo>
                  <a:lnTo>
                    <a:pt x="623" y="779"/>
                  </a:lnTo>
                  <a:lnTo>
                    <a:pt x="623" y="772"/>
                  </a:lnTo>
                  <a:lnTo>
                    <a:pt x="626" y="769"/>
                  </a:lnTo>
                  <a:lnTo>
                    <a:pt x="627" y="762"/>
                  </a:lnTo>
                  <a:lnTo>
                    <a:pt x="628" y="759"/>
                  </a:lnTo>
                  <a:lnTo>
                    <a:pt x="633" y="759"/>
                  </a:lnTo>
                  <a:lnTo>
                    <a:pt x="635" y="754"/>
                  </a:lnTo>
                  <a:lnTo>
                    <a:pt x="641" y="752"/>
                  </a:lnTo>
                  <a:lnTo>
                    <a:pt x="645" y="754"/>
                  </a:lnTo>
                  <a:lnTo>
                    <a:pt x="655" y="754"/>
                  </a:lnTo>
                  <a:lnTo>
                    <a:pt x="664" y="757"/>
                  </a:lnTo>
                  <a:lnTo>
                    <a:pt x="670" y="761"/>
                  </a:lnTo>
                  <a:lnTo>
                    <a:pt x="674" y="767"/>
                  </a:lnTo>
                  <a:lnTo>
                    <a:pt x="678" y="768"/>
                  </a:lnTo>
                  <a:lnTo>
                    <a:pt x="687" y="769"/>
                  </a:lnTo>
                  <a:lnTo>
                    <a:pt x="691" y="768"/>
                  </a:lnTo>
                  <a:lnTo>
                    <a:pt x="695" y="762"/>
                  </a:lnTo>
                  <a:lnTo>
                    <a:pt x="701" y="762"/>
                  </a:lnTo>
                  <a:lnTo>
                    <a:pt x="701" y="761"/>
                  </a:lnTo>
                  <a:lnTo>
                    <a:pt x="701" y="757"/>
                  </a:lnTo>
                  <a:lnTo>
                    <a:pt x="708" y="751"/>
                  </a:lnTo>
                  <a:lnTo>
                    <a:pt x="708" y="748"/>
                  </a:lnTo>
                  <a:lnTo>
                    <a:pt x="711" y="745"/>
                  </a:lnTo>
                  <a:lnTo>
                    <a:pt x="714" y="745"/>
                  </a:lnTo>
                  <a:lnTo>
                    <a:pt x="722" y="739"/>
                  </a:lnTo>
                  <a:lnTo>
                    <a:pt x="733" y="730"/>
                  </a:lnTo>
                  <a:lnTo>
                    <a:pt x="739" y="727"/>
                  </a:lnTo>
                  <a:lnTo>
                    <a:pt x="741" y="723"/>
                  </a:lnTo>
                  <a:lnTo>
                    <a:pt x="741" y="720"/>
                  </a:lnTo>
                  <a:lnTo>
                    <a:pt x="736" y="710"/>
                  </a:lnTo>
                  <a:lnTo>
                    <a:pt x="736" y="703"/>
                  </a:lnTo>
                  <a:lnTo>
                    <a:pt x="731" y="695"/>
                  </a:lnTo>
                  <a:lnTo>
                    <a:pt x="730" y="692"/>
                  </a:lnTo>
                  <a:lnTo>
                    <a:pt x="731" y="687"/>
                  </a:lnTo>
                  <a:lnTo>
                    <a:pt x="730" y="682"/>
                  </a:lnTo>
                  <a:lnTo>
                    <a:pt x="733" y="678"/>
                  </a:lnTo>
                  <a:lnTo>
                    <a:pt x="741" y="674"/>
                  </a:lnTo>
                  <a:lnTo>
                    <a:pt x="749" y="677"/>
                  </a:lnTo>
                  <a:lnTo>
                    <a:pt x="755" y="678"/>
                  </a:lnTo>
                  <a:lnTo>
                    <a:pt x="761" y="678"/>
                  </a:lnTo>
                  <a:lnTo>
                    <a:pt x="769" y="673"/>
                  </a:lnTo>
                  <a:lnTo>
                    <a:pt x="770" y="669"/>
                  </a:lnTo>
                  <a:lnTo>
                    <a:pt x="774" y="669"/>
                  </a:lnTo>
                  <a:lnTo>
                    <a:pt x="777" y="669"/>
                  </a:lnTo>
                  <a:lnTo>
                    <a:pt x="787" y="665"/>
                  </a:lnTo>
                  <a:lnTo>
                    <a:pt x="799" y="665"/>
                  </a:lnTo>
                  <a:lnTo>
                    <a:pt x="802" y="665"/>
                  </a:lnTo>
                  <a:lnTo>
                    <a:pt x="806" y="669"/>
                  </a:lnTo>
                  <a:lnTo>
                    <a:pt x="817" y="686"/>
                  </a:lnTo>
                  <a:lnTo>
                    <a:pt x="819" y="687"/>
                  </a:lnTo>
                  <a:lnTo>
                    <a:pt x="824" y="686"/>
                  </a:lnTo>
                  <a:lnTo>
                    <a:pt x="833" y="686"/>
                  </a:lnTo>
                  <a:lnTo>
                    <a:pt x="841" y="678"/>
                  </a:lnTo>
                  <a:lnTo>
                    <a:pt x="842" y="674"/>
                  </a:lnTo>
                  <a:lnTo>
                    <a:pt x="847" y="672"/>
                  </a:lnTo>
                  <a:lnTo>
                    <a:pt x="853" y="672"/>
                  </a:lnTo>
                  <a:lnTo>
                    <a:pt x="858" y="665"/>
                  </a:lnTo>
                  <a:lnTo>
                    <a:pt x="865" y="665"/>
                  </a:lnTo>
                  <a:lnTo>
                    <a:pt x="870" y="660"/>
                  </a:lnTo>
                  <a:lnTo>
                    <a:pt x="870" y="658"/>
                  </a:lnTo>
                  <a:lnTo>
                    <a:pt x="874" y="652"/>
                  </a:lnTo>
                  <a:lnTo>
                    <a:pt x="876" y="647"/>
                  </a:lnTo>
                  <a:lnTo>
                    <a:pt x="880" y="643"/>
                  </a:lnTo>
                  <a:lnTo>
                    <a:pt x="887" y="643"/>
                  </a:lnTo>
                  <a:lnTo>
                    <a:pt x="890" y="645"/>
                  </a:lnTo>
                  <a:lnTo>
                    <a:pt x="897" y="647"/>
                  </a:lnTo>
                  <a:lnTo>
                    <a:pt x="904" y="647"/>
                  </a:lnTo>
                  <a:lnTo>
                    <a:pt x="916" y="651"/>
                  </a:lnTo>
                  <a:lnTo>
                    <a:pt x="926" y="647"/>
                  </a:lnTo>
                  <a:lnTo>
                    <a:pt x="933" y="645"/>
                  </a:lnTo>
                  <a:lnTo>
                    <a:pt x="947" y="658"/>
                  </a:lnTo>
                  <a:lnTo>
                    <a:pt x="951" y="664"/>
                  </a:lnTo>
                  <a:lnTo>
                    <a:pt x="950" y="669"/>
                  </a:lnTo>
                  <a:lnTo>
                    <a:pt x="962" y="674"/>
                  </a:lnTo>
                  <a:lnTo>
                    <a:pt x="969" y="685"/>
                  </a:lnTo>
                  <a:lnTo>
                    <a:pt x="982" y="697"/>
                  </a:lnTo>
                  <a:lnTo>
                    <a:pt x="990" y="701"/>
                  </a:lnTo>
                  <a:lnTo>
                    <a:pt x="994" y="701"/>
                  </a:lnTo>
                  <a:lnTo>
                    <a:pt x="997" y="698"/>
                  </a:lnTo>
                  <a:lnTo>
                    <a:pt x="1004" y="695"/>
                  </a:lnTo>
                  <a:lnTo>
                    <a:pt x="1010" y="690"/>
                  </a:lnTo>
                  <a:lnTo>
                    <a:pt x="1015" y="684"/>
                  </a:lnTo>
                  <a:lnTo>
                    <a:pt x="1022" y="678"/>
                  </a:lnTo>
                  <a:lnTo>
                    <a:pt x="1022" y="674"/>
                  </a:lnTo>
                  <a:lnTo>
                    <a:pt x="1026" y="669"/>
                  </a:lnTo>
                  <a:lnTo>
                    <a:pt x="1043" y="660"/>
                  </a:lnTo>
                  <a:lnTo>
                    <a:pt x="1055" y="652"/>
                  </a:lnTo>
                  <a:lnTo>
                    <a:pt x="1063" y="647"/>
                  </a:lnTo>
                  <a:lnTo>
                    <a:pt x="1066" y="647"/>
                  </a:lnTo>
                  <a:lnTo>
                    <a:pt x="1075" y="647"/>
                  </a:lnTo>
                  <a:lnTo>
                    <a:pt x="1077" y="647"/>
                  </a:lnTo>
                  <a:lnTo>
                    <a:pt x="1082" y="649"/>
                  </a:lnTo>
                  <a:lnTo>
                    <a:pt x="1090" y="651"/>
                  </a:lnTo>
                  <a:lnTo>
                    <a:pt x="1100" y="651"/>
                  </a:lnTo>
                  <a:lnTo>
                    <a:pt x="1104" y="656"/>
                  </a:lnTo>
                  <a:lnTo>
                    <a:pt x="1111" y="658"/>
                  </a:lnTo>
                  <a:lnTo>
                    <a:pt x="1119" y="656"/>
                  </a:lnTo>
                  <a:lnTo>
                    <a:pt x="1127" y="651"/>
                  </a:lnTo>
                  <a:lnTo>
                    <a:pt x="1129" y="647"/>
                  </a:lnTo>
                  <a:lnTo>
                    <a:pt x="1136" y="651"/>
                  </a:lnTo>
                  <a:lnTo>
                    <a:pt x="1140" y="655"/>
                  </a:lnTo>
                  <a:lnTo>
                    <a:pt x="1148" y="656"/>
                  </a:lnTo>
                  <a:lnTo>
                    <a:pt x="1157" y="645"/>
                  </a:lnTo>
                  <a:lnTo>
                    <a:pt x="1168" y="637"/>
                  </a:lnTo>
                  <a:lnTo>
                    <a:pt x="1176" y="633"/>
                  </a:lnTo>
                  <a:lnTo>
                    <a:pt x="1196" y="632"/>
                  </a:lnTo>
                  <a:lnTo>
                    <a:pt x="1200" y="630"/>
                  </a:lnTo>
                  <a:lnTo>
                    <a:pt x="1206" y="627"/>
                  </a:lnTo>
                  <a:lnTo>
                    <a:pt x="1212" y="616"/>
                  </a:lnTo>
                  <a:lnTo>
                    <a:pt x="1222" y="607"/>
                  </a:lnTo>
                  <a:lnTo>
                    <a:pt x="1223" y="603"/>
                  </a:lnTo>
                  <a:lnTo>
                    <a:pt x="1229" y="598"/>
                  </a:lnTo>
                  <a:lnTo>
                    <a:pt x="1231" y="597"/>
                  </a:lnTo>
                  <a:lnTo>
                    <a:pt x="1236" y="597"/>
                  </a:lnTo>
                  <a:lnTo>
                    <a:pt x="1245" y="585"/>
                  </a:lnTo>
                  <a:lnTo>
                    <a:pt x="1251" y="581"/>
                  </a:lnTo>
                  <a:lnTo>
                    <a:pt x="1260" y="580"/>
                  </a:lnTo>
                  <a:lnTo>
                    <a:pt x="1262" y="578"/>
                  </a:lnTo>
                  <a:lnTo>
                    <a:pt x="1268" y="580"/>
                  </a:lnTo>
                  <a:lnTo>
                    <a:pt x="1272" y="576"/>
                  </a:lnTo>
                  <a:lnTo>
                    <a:pt x="1275" y="571"/>
                  </a:lnTo>
                  <a:lnTo>
                    <a:pt x="1278" y="571"/>
                  </a:lnTo>
                  <a:lnTo>
                    <a:pt x="1287" y="571"/>
                  </a:lnTo>
                  <a:lnTo>
                    <a:pt x="1296" y="565"/>
                  </a:lnTo>
                  <a:lnTo>
                    <a:pt x="1300" y="565"/>
                  </a:lnTo>
                  <a:lnTo>
                    <a:pt x="1318" y="576"/>
                  </a:lnTo>
                  <a:lnTo>
                    <a:pt x="1323" y="576"/>
                  </a:lnTo>
                  <a:lnTo>
                    <a:pt x="1328" y="571"/>
                  </a:lnTo>
                  <a:lnTo>
                    <a:pt x="1329" y="566"/>
                  </a:lnTo>
                  <a:lnTo>
                    <a:pt x="1333" y="562"/>
                  </a:lnTo>
                  <a:lnTo>
                    <a:pt x="1339" y="561"/>
                  </a:lnTo>
                  <a:lnTo>
                    <a:pt x="1342" y="558"/>
                  </a:lnTo>
                  <a:lnTo>
                    <a:pt x="1347" y="558"/>
                  </a:lnTo>
                  <a:lnTo>
                    <a:pt x="1356" y="557"/>
                  </a:lnTo>
                  <a:lnTo>
                    <a:pt x="1372" y="548"/>
                  </a:lnTo>
                  <a:lnTo>
                    <a:pt x="1392" y="545"/>
                  </a:lnTo>
                  <a:lnTo>
                    <a:pt x="1397" y="540"/>
                  </a:lnTo>
                  <a:lnTo>
                    <a:pt x="1400" y="540"/>
                  </a:lnTo>
                  <a:lnTo>
                    <a:pt x="1404" y="540"/>
                  </a:lnTo>
                  <a:lnTo>
                    <a:pt x="1411" y="545"/>
                  </a:lnTo>
                  <a:lnTo>
                    <a:pt x="1432" y="549"/>
                  </a:lnTo>
                  <a:lnTo>
                    <a:pt x="1439" y="553"/>
                  </a:lnTo>
                  <a:lnTo>
                    <a:pt x="1443" y="556"/>
                  </a:lnTo>
                  <a:lnTo>
                    <a:pt x="1447" y="562"/>
                  </a:lnTo>
                  <a:lnTo>
                    <a:pt x="1452" y="565"/>
                  </a:lnTo>
                  <a:lnTo>
                    <a:pt x="1460" y="570"/>
                  </a:lnTo>
                  <a:lnTo>
                    <a:pt x="1471" y="574"/>
                  </a:lnTo>
                  <a:lnTo>
                    <a:pt x="1474" y="574"/>
                  </a:lnTo>
                  <a:lnTo>
                    <a:pt x="1479" y="568"/>
                  </a:lnTo>
                  <a:lnTo>
                    <a:pt x="1486" y="568"/>
                  </a:lnTo>
                  <a:lnTo>
                    <a:pt x="1497" y="562"/>
                  </a:lnTo>
                  <a:lnTo>
                    <a:pt x="1509" y="568"/>
                  </a:lnTo>
                  <a:lnTo>
                    <a:pt x="1521" y="569"/>
                  </a:lnTo>
                  <a:lnTo>
                    <a:pt x="1527" y="576"/>
                  </a:lnTo>
                  <a:lnTo>
                    <a:pt x="1528" y="576"/>
                  </a:lnTo>
                  <a:lnTo>
                    <a:pt x="1534" y="576"/>
                  </a:lnTo>
                  <a:lnTo>
                    <a:pt x="1545" y="569"/>
                  </a:lnTo>
                  <a:lnTo>
                    <a:pt x="1547" y="568"/>
                  </a:lnTo>
                  <a:lnTo>
                    <a:pt x="1549" y="569"/>
                  </a:lnTo>
                  <a:lnTo>
                    <a:pt x="1553" y="566"/>
                  </a:lnTo>
                  <a:lnTo>
                    <a:pt x="1563" y="566"/>
                  </a:lnTo>
                  <a:lnTo>
                    <a:pt x="1567" y="562"/>
                  </a:lnTo>
                  <a:lnTo>
                    <a:pt x="1570" y="562"/>
                  </a:lnTo>
                  <a:lnTo>
                    <a:pt x="1575" y="558"/>
                  </a:lnTo>
                  <a:lnTo>
                    <a:pt x="1581" y="557"/>
                  </a:lnTo>
                  <a:lnTo>
                    <a:pt x="1594" y="558"/>
                  </a:lnTo>
                  <a:lnTo>
                    <a:pt x="1605" y="568"/>
                  </a:lnTo>
                  <a:lnTo>
                    <a:pt x="1611" y="566"/>
                  </a:lnTo>
                  <a:lnTo>
                    <a:pt x="1620" y="570"/>
                  </a:lnTo>
                  <a:lnTo>
                    <a:pt x="1625" y="569"/>
                  </a:lnTo>
                  <a:lnTo>
                    <a:pt x="1627" y="568"/>
                  </a:lnTo>
                  <a:lnTo>
                    <a:pt x="1632" y="558"/>
                  </a:lnTo>
                  <a:lnTo>
                    <a:pt x="1638" y="553"/>
                  </a:lnTo>
                  <a:lnTo>
                    <a:pt x="1655" y="545"/>
                  </a:lnTo>
                  <a:lnTo>
                    <a:pt x="1660" y="544"/>
                  </a:lnTo>
                  <a:lnTo>
                    <a:pt x="1667" y="540"/>
                  </a:lnTo>
                  <a:lnTo>
                    <a:pt x="1682" y="529"/>
                  </a:lnTo>
                  <a:lnTo>
                    <a:pt x="1686" y="529"/>
                  </a:lnTo>
                  <a:lnTo>
                    <a:pt x="1691" y="536"/>
                  </a:lnTo>
                  <a:lnTo>
                    <a:pt x="1695" y="540"/>
                  </a:lnTo>
                  <a:lnTo>
                    <a:pt x="1699" y="540"/>
                  </a:lnTo>
                  <a:lnTo>
                    <a:pt x="1709" y="535"/>
                  </a:lnTo>
                  <a:lnTo>
                    <a:pt x="1713" y="533"/>
                  </a:lnTo>
                  <a:lnTo>
                    <a:pt x="1720" y="531"/>
                  </a:lnTo>
                  <a:lnTo>
                    <a:pt x="1727" y="523"/>
                  </a:lnTo>
                  <a:lnTo>
                    <a:pt x="1735" y="520"/>
                  </a:lnTo>
                  <a:lnTo>
                    <a:pt x="1741" y="514"/>
                  </a:lnTo>
                  <a:lnTo>
                    <a:pt x="1748" y="504"/>
                  </a:lnTo>
                  <a:lnTo>
                    <a:pt x="1756" y="501"/>
                  </a:lnTo>
                  <a:lnTo>
                    <a:pt x="1765" y="498"/>
                  </a:lnTo>
                  <a:lnTo>
                    <a:pt x="1773" y="495"/>
                  </a:lnTo>
                  <a:lnTo>
                    <a:pt x="1798" y="482"/>
                  </a:lnTo>
                  <a:lnTo>
                    <a:pt x="1807" y="482"/>
                  </a:lnTo>
                  <a:lnTo>
                    <a:pt x="1813" y="478"/>
                  </a:lnTo>
                  <a:lnTo>
                    <a:pt x="1817" y="473"/>
                  </a:lnTo>
                  <a:lnTo>
                    <a:pt x="1827" y="467"/>
                  </a:lnTo>
                  <a:lnTo>
                    <a:pt x="1830" y="462"/>
                  </a:lnTo>
                  <a:lnTo>
                    <a:pt x="1838" y="459"/>
                  </a:lnTo>
                  <a:lnTo>
                    <a:pt x="1846" y="456"/>
                  </a:lnTo>
                  <a:lnTo>
                    <a:pt x="1851" y="456"/>
                  </a:lnTo>
                  <a:lnTo>
                    <a:pt x="1859" y="454"/>
                  </a:lnTo>
                  <a:lnTo>
                    <a:pt x="1863" y="456"/>
                  </a:lnTo>
                  <a:lnTo>
                    <a:pt x="1871" y="456"/>
                  </a:lnTo>
                  <a:lnTo>
                    <a:pt x="1877" y="458"/>
                  </a:lnTo>
                  <a:lnTo>
                    <a:pt x="1888" y="456"/>
                  </a:lnTo>
                  <a:lnTo>
                    <a:pt x="1904" y="442"/>
                  </a:lnTo>
                  <a:lnTo>
                    <a:pt x="1917" y="433"/>
                  </a:lnTo>
                  <a:lnTo>
                    <a:pt x="1921" y="428"/>
                  </a:lnTo>
                  <a:lnTo>
                    <a:pt x="1921" y="420"/>
                  </a:lnTo>
                  <a:lnTo>
                    <a:pt x="1923" y="416"/>
                  </a:lnTo>
                  <a:lnTo>
                    <a:pt x="1932" y="414"/>
                  </a:lnTo>
                  <a:lnTo>
                    <a:pt x="1937" y="411"/>
                  </a:lnTo>
                  <a:lnTo>
                    <a:pt x="1945" y="406"/>
                  </a:lnTo>
                  <a:lnTo>
                    <a:pt x="1951" y="402"/>
                  </a:lnTo>
                  <a:lnTo>
                    <a:pt x="1959" y="400"/>
                  </a:lnTo>
                  <a:lnTo>
                    <a:pt x="1969" y="394"/>
                  </a:lnTo>
                  <a:lnTo>
                    <a:pt x="1977" y="394"/>
                  </a:lnTo>
                  <a:lnTo>
                    <a:pt x="1983" y="400"/>
                  </a:lnTo>
                  <a:lnTo>
                    <a:pt x="1994" y="404"/>
                  </a:lnTo>
                  <a:lnTo>
                    <a:pt x="1998" y="407"/>
                  </a:lnTo>
                  <a:lnTo>
                    <a:pt x="2001" y="411"/>
                  </a:lnTo>
                  <a:lnTo>
                    <a:pt x="2006" y="415"/>
                  </a:lnTo>
                  <a:lnTo>
                    <a:pt x="2016" y="409"/>
                  </a:lnTo>
                  <a:lnTo>
                    <a:pt x="2020" y="404"/>
                  </a:lnTo>
                  <a:lnTo>
                    <a:pt x="2036" y="400"/>
                  </a:lnTo>
                  <a:lnTo>
                    <a:pt x="2041" y="396"/>
                  </a:lnTo>
                  <a:lnTo>
                    <a:pt x="2045" y="394"/>
                  </a:lnTo>
                  <a:lnTo>
                    <a:pt x="2048" y="392"/>
                  </a:lnTo>
                  <a:lnTo>
                    <a:pt x="2050" y="384"/>
                  </a:lnTo>
                  <a:lnTo>
                    <a:pt x="2054" y="383"/>
                  </a:lnTo>
                  <a:lnTo>
                    <a:pt x="2059" y="383"/>
                  </a:lnTo>
                  <a:lnTo>
                    <a:pt x="2064" y="381"/>
                  </a:lnTo>
                  <a:lnTo>
                    <a:pt x="2070" y="379"/>
                  </a:lnTo>
                  <a:lnTo>
                    <a:pt x="2075" y="374"/>
                  </a:lnTo>
                  <a:lnTo>
                    <a:pt x="2076" y="369"/>
                  </a:lnTo>
                  <a:lnTo>
                    <a:pt x="2083" y="365"/>
                  </a:lnTo>
                  <a:lnTo>
                    <a:pt x="2087" y="362"/>
                  </a:lnTo>
                  <a:lnTo>
                    <a:pt x="2094" y="365"/>
                  </a:lnTo>
                  <a:lnTo>
                    <a:pt x="2104" y="362"/>
                  </a:lnTo>
                  <a:lnTo>
                    <a:pt x="2108" y="358"/>
                  </a:lnTo>
                  <a:lnTo>
                    <a:pt x="2111" y="361"/>
                  </a:lnTo>
                  <a:lnTo>
                    <a:pt x="2112" y="358"/>
                  </a:lnTo>
                  <a:lnTo>
                    <a:pt x="2119" y="358"/>
                  </a:lnTo>
                  <a:lnTo>
                    <a:pt x="2125" y="353"/>
                  </a:lnTo>
                  <a:lnTo>
                    <a:pt x="2131" y="353"/>
                  </a:lnTo>
                  <a:lnTo>
                    <a:pt x="2134" y="349"/>
                  </a:lnTo>
                  <a:lnTo>
                    <a:pt x="2136" y="338"/>
                  </a:lnTo>
                  <a:lnTo>
                    <a:pt x="2140" y="336"/>
                  </a:lnTo>
                  <a:lnTo>
                    <a:pt x="2145" y="336"/>
                  </a:lnTo>
                  <a:lnTo>
                    <a:pt x="2148" y="333"/>
                  </a:lnTo>
                  <a:lnTo>
                    <a:pt x="2155" y="333"/>
                  </a:lnTo>
                  <a:lnTo>
                    <a:pt x="2156" y="327"/>
                  </a:lnTo>
                  <a:lnTo>
                    <a:pt x="2159" y="327"/>
                  </a:lnTo>
                  <a:lnTo>
                    <a:pt x="2165" y="325"/>
                  </a:lnTo>
                  <a:lnTo>
                    <a:pt x="2169" y="327"/>
                  </a:lnTo>
                  <a:lnTo>
                    <a:pt x="2178" y="325"/>
                  </a:lnTo>
                  <a:lnTo>
                    <a:pt x="2180" y="322"/>
                  </a:lnTo>
                  <a:lnTo>
                    <a:pt x="2187" y="321"/>
                  </a:lnTo>
                  <a:lnTo>
                    <a:pt x="2194" y="325"/>
                  </a:lnTo>
                  <a:lnTo>
                    <a:pt x="2203" y="325"/>
                  </a:lnTo>
                  <a:lnTo>
                    <a:pt x="2206" y="321"/>
                  </a:lnTo>
                  <a:lnTo>
                    <a:pt x="2206" y="317"/>
                  </a:lnTo>
                  <a:lnTo>
                    <a:pt x="2208" y="316"/>
                  </a:lnTo>
                  <a:lnTo>
                    <a:pt x="2216" y="312"/>
                  </a:lnTo>
                  <a:lnTo>
                    <a:pt x="2219" y="307"/>
                  </a:lnTo>
                  <a:lnTo>
                    <a:pt x="2226" y="304"/>
                  </a:lnTo>
                  <a:lnTo>
                    <a:pt x="2226" y="300"/>
                  </a:lnTo>
                  <a:lnTo>
                    <a:pt x="2230" y="297"/>
                  </a:lnTo>
                  <a:lnTo>
                    <a:pt x="2233" y="290"/>
                  </a:lnTo>
                  <a:lnTo>
                    <a:pt x="2234" y="278"/>
                  </a:lnTo>
                  <a:lnTo>
                    <a:pt x="2240" y="272"/>
                  </a:lnTo>
                  <a:lnTo>
                    <a:pt x="2251" y="267"/>
                  </a:lnTo>
                  <a:lnTo>
                    <a:pt x="2254" y="267"/>
                  </a:lnTo>
                  <a:lnTo>
                    <a:pt x="2254" y="263"/>
                  </a:lnTo>
                  <a:lnTo>
                    <a:pt x="2264" y="259"/>
                  </a:lnTo>
                  <a:lnTo>
                    <a:pt x="2265" y="255"/>
                  </a:lnTo>
                  <a:lnTo>
                    <a:pt x="2268" y="255"/>
                  </a:lnTo>
                  <a:lnTo>
                    <a:pt x="2268" y="251"/>
                  </a:lnTo>
                  <a:lnTo>
                    <a:pt x="2271" y="251"/>
                  </a:lnTo>
                  <a:lnTo>
                    <a:pt x="2279" y="250"/>
                  </a:lnTo>
                  <a:lnTo>
                    <a:pt x="2282" y="249"/>
                  </a:lnTo>
                  <a:lnTo>
                    <a:pt x="2284" y="249"/>
                  </a:lnTo>
                  <a:lnTo>
                    <a:pt x="2289" y="246"/>
                  </a:lnTo>
                  <a:lnTo>
                    <a:pt x="2296" y="249"/>
                  </a:lnTo>
                  <a:lnTo>
                    <a:pt x="2304" y="249"/>
                  </a:lnTo>
                  <a:lnTo>
                    <a:pt x="2305" y="245"/>
                  </a:lnTo>
                  <a:lnTo>
                    <a:pt x="2307" y="245"/>
                  </a:lnTo>
                  <a:lnTo>
                    <a:pt x="2316" y="245"/>
                  </a:lnTo>
                  <a:lnTo>
                    <a:pt x="2321" y="241"/>
                  </a:lnTo>
                  <a:lnTo>
                    <a:pt x="2322" y="237"/>
                  </a:lnTo>
                  <a:lnTo>
                    <a:pt x="2326" y="233"/>
                  </a:lnTo>
                  <a:lnTo>
                    <a:pt x="2328" y="233"/>
                  </a:lnTo>
                  <a:lnTo>
                    <a:pt x="2332" y="229"/>
                  </a:lnTo>
                  <a:lnTo>
                    <a:pt x="2336" y="229"/>
                  </a:lnTo>
                  <a:lnTo>
                    <a:pt x="2344" y="233"/>
                  </a:lnTo>
                  <a:lnTo>
                    <a:pt x="2350" y="232"/>
                  </a:lnTo>
                  <a:lnTo>
                    <a:pt x="2353" y="229"/>
                  </a:lnTo>
                  <a:lnTo>
                    <a:pt x="2357" y="228"/>
                  </a:lnTo>
                  <a:lnTo>
                    <a:pt x="2365" y="229"/>
                  </a:lnTo>
                  <a:lnTo>
                    <a:pt x="2371" y="226"/>
                  </a:lnTo>
                  <a:lnTo>
                    <a:pt x="2375" y="229"/>
                  </a:lnTo>
                  <a:lnTo>
                    <a:pt x="2380" y="228"/>
                  </a:lnTo>
                  <a:lnTo>
                    <a:pt x="2385" y="223"/>
                  </a:lnTo>
                  <a:lnTo>
                    <a:pt x="2388" y="220"/>
                  </a:lnTo>
                  <a:lnTo>
                    <a:pt x="2393" y="218"/>
                  </a:lnTo>
                  <a:lnTo>
                    <a:pt x="2394" y="213"/>
                  </a:lnTo>
                  <a:lnTo>
                    <a:pt x="2399" y="209"/>
                  </a:lnTo>
                  <a:lnTo>
                    <a:pt x="2418" y="205"/>
                  </a:lnTo>
                  <a:lnTo>
                    <a:pt x="2428" y="197"/>
                  </a:lnTo>
                  <a:lnTo>
                    <a:pt x="2432" y="191"/>
                  </a:lnTo>
                  <a:lnTo>
                    <a:pt x="2441" y="188"/>
                  </a:lnTo>
                  <a:lnTo>
                    <a:pt x="2451" y="183"/>
                  </a:lnTo>
                  <a:lnTo>
                    <a:pt x="2453" y="175"/>
                  </a:lnTo>
                  <a:lnTo>
                    <a:pt x="2458" y="173"/>
                  </a:lnTo>
                  <a:lnTo>
                    <a:pt x="2465" y="175"/>
                  </a:lnTo>
                  <a:lnTo>
                    <a:pt x="2471" y="179"/>
                  </a:lnTo>
                  <a:lnTo>
                    <a:pt x="2475" y="179"/>
                  </a:lnTo>
                  <a:lnTo>
                    <a:pt x="2486" y="187"/>
                  </a:lnTo>
                  <a:lnTo>
                    <a:pt x="2490" y="184"/>
                  </a:lnTo>
                  <a:lnTo>
                    <a:pt x="2497" y="187"/>
                  </a:lnTo>
                  <a:lnTo>
                    <a:pt x="2503" y="184"/>
                  </a:lnTo>
                  <a:lnTo>
                    <a:pt x="2507" y="188"/>
                  </a:lnTo>
                  <a:lnTo>
                    <a:pt x="2510" y="188"/>
                  </a:lnTo>
                  <a:lnTo>
                    <a:pt x="2518" y="184"/>
                  </a:lnTo>
                  <a:lnTo>
                    <a:pt x="2521" y="184"/>
                  </a:lnTo>
                  <a:lnTo>
                    <a:pt x="2526" y="187"/>
                  </a:lnTo>
                  <a:lnTo>
                    <a:pt x="2542" y="187"/>
                  </a:lnTo>
                  <a:lnTo>
                    <a:pt x="2546" y="183"/>
                  </a:lnTo>
                  <a:lnTo>
                    <a:pt x="2547" y="179"/>
                  </a:lnTo>
                  <a:lnTo>
                    <a:pt x="2551" y="175"/>
                  </a:lnTo>
                  <a:lnTo>
                    <a:pt x="2558" y="170"/>
                  </a:lnTo>
                  <a:lnTo>
                    <a:pt x="2561" y="168"/>
                  </a:lnTo>
                  <a:lnTo>
                    <a:pt x="2567" y="166"/>
                  </a:lnTo>
                  <a:lnTo>
                    <a:pt x="2571" y="162"/>
                  </a:lnTo>
                  <a:lnTo>
                    <a:pt x="2575" y="156"/>
                  </a:lnTo>
                  <a:lnTo>
                    <a:pt x="2582" y="153"/>
                  </a:lnTo>
                  <a:lnTo>
                    <a:pt x="2590" y="138"/>
                  </a:lnTo>
                  <a:lnTo>
                    <a:pt x="2593" y="138"/>
                  </a:lnTo>
                  <a:lnTo>
                    <a:pt x="2601" y="129"/>
                  </a:lnTo>
                  <a:lnTo>
                    <a:pt x="2604" y="122"/>
                  </a:lnTo>
                  <a:lnTo>
                    <a:pt x="2600" y="120"/>
                  </a:lnTo>
                  <a:lnTo>
                    <a:pt x="2601" y="112"/>
                  </a:lnTo>
                  <a:lnTo>
                    <a:pt x="2613" y="104"/>
                  </a:lnTo>
                  <a:lnTo>
                    <a:pt x="2615" y="103"/>
                  </a:lnTo>
                  <a:lnTo>
                    <a:pt x="2620" y="103"/>
                  </a:lnTo>
                  <a:lnTo>
                    <a:pt x="2624" y="100"/>
                  </a:lnTo>
                  <a:lnTo>
                    <a:pt x="2640" y="91"/>
                  </a:lnTo>
                  <a:lnTo>
                    <a:pt x="2646" y="77"/>
                  </a:lnTo>
                  <a:lnTo>
                    <a:pt x="2649" y="76"/>
                  </a:lnTo>
                  <a:lnTo>
                    <a:pt x="2656" y="64"/>
                  </a:lnTo>
                  <a:lnTo>
                    <a:pt x="2656" y="55"/>
                  </a:lnTo>
                  <a:lnTo>
                    <a:pt x="2656" y="50"/>
                  </a:lnTo>
                  <a:lnTo>
                    <a:pt x="2673" y="48"/>
                  </a:lnTo>
                  <a:lnTo>
                    <a:pt x="2681" y="46"/>
                  </a:lnTo>
                  <a:lnTo>
                    <a:pt x="2686" y="42"/>
                  </a:lnTo>
                  <a:lnTo>
                    <a:pt x="2696" y="41"/>
                  </a:lnTo>
                  <a:lnTo>
                    <a:pt x="2731" y="27"/>
                  </a:lnTo>
                  <a:lnTo>
                    <a:pt x="2743" y="27"/>
                  </a:lnTo>
                  <a:lnTo>
                    <a:pt x="2748" y="23"/>
                  </a:lnTo>
                  <a:lnTo>
                    <a:pt x="2748" y="19"/>
                  </a:lnTo>
                  <a:lnTo>
                    <a:pt x="2746" y="14"/>
                  </a:lnTo>
                  <a:lnTo>
                    <a:pt x="2742" y="6"/>
                  </a:lnTo>
                  <a:lnTo>
                    <a:pt x="2739" y="1"/>
                  </a:lnTo>
                  <a:lnTo>
                    <a:pt x="2742" y="0"/>
                  </a:lnTo>
                  <a:lnTo>
                    <a:pt x="2753" y="0"/>
                  </a:lnTo>
                  <a:lnTo>
                    <a:pt x="2767" y="1"/>
                  </a:lnTo>
                  <a:lnTo>
                    <a:pt x="2771" y="10"/>
                  </a:lnTo>
                  <a:lnTo>
                    <a:pt x="2774" y="14"/>
                  </a:lnTo>
                  <a:lnTo>
                    <a:pt x="2789" y="13"/>
                  </a:lnTo>
                  <a:lnTo>
                    <a:pt x="2803" y="14"/>
                  </a:lnTo>
                  <a:lnTo>
                    <a:pt x="2806" y="23"/>
                  </a:lnTo>
                  <a:lnTo>
                    <a:pt x="2813" y="23"/>
                  </a:lnTo>
                  <a:lnTo>
                    <a:pt x="2816" y="27"/>
                  </a:lnTo>
                  <a:lnTo>
                    <a:pt x="2820" y="31"/>
                  </a:lnTo>
                  <a:lnTo>
                    <a:pt x="2823" y="37"/>
                  </a:lnTo>
                  <a:lnTo>
                    <a:pt x="2827" y="42"/>
                  </a:lnTo>
                  <a:lnTo>
                    <a:pt x="2835" y="42"/>
                  </a:lnTo>
                  <a:lnTo>
                    <a:pt x="2838" y="37"/>
                  </a:lnTo>
                  <a:lnTo>
                    <a:pt x="2845" y="31"/>
                  </a:lnTo>
                  <a:lnTo>
                    <a:pt x="2857" y="31"/>
                  </a:lnTo>
                  <a:lnTo>
                    <a:pt x="2863" y="27"/>
                  </a:lnTo>
                  <a:lnTo>
                    <a:pt x="2869" y="29"/>
                  </a:lnTo>
                  <a:lnTo>
                    <a:pt x="2881" y="26"/>
                  </a:lnTo>
                  <a:lnTo>
                    <a:pt x="2887" y="19"/>
                  </a:lnTo>
                  <a:lnTo>
                    <a:pt x="2895" y="14"/>
                  </a:lnTo>
                  <a:lnTo>
                    <a:pt x="2910" y="22"/>
                  </a:lnTo>
                  <a:lnTo>
                    <a:pt x="2914" y="19"/>
                  </a:lnTo>
                  <a:lnTo>
                    <a:pt x="2920" y="18"/>
                  </a:lnTo>
                  <a:lnTo>
                    <a:pt x="2923" y="14"/>
                  </a:lnTo>
                  <a:lnTo>
                    <a:pt x="2931" y="10"/>
                  </a:lnTo>
                  <a:lnTo>
                    <a:pt x="2935" y="9"/>
                  </a:lnTo>
                  <a:lnTo>
                    <a:pt x="2939" y="9"/>
                  </a:lnTo>
                  <a:lnTo>
                    <a:pt x="2942" y="6"/>
                  </a:lnTo>
                  <a:lnTo>
                    <a:pt x="2952" y="6"/>
                  </a:lnTo>
                  <a:lnTo>
                    <a:pt x="2960" y="10"/>
                  </a:lnTo>
                  <a:lnTo>
                    <a:pt x="2966" y="10"/>
                  </a:lnTo>
                  <a:lnTo>
                    <a:pt x="2973" y="9"/>
                  </a:lnTo>
                  <a:lnTo>
                    <a:pt x="2981" y="10"/>
                  </a:lnTo>
                  <a:lnTo>
                    <a:pt x="2989" y="6"/>
                  </a:lnTo>
                  <a:lnTo>
                    <a:pt x="2992" y="6"/>
                  </a:lnTo>
                  <a:lnTo>
                    <a:pt x="2997" y="10"/>
                  </a:lnTo>
                  <a:lnTo>
                    <a:pt x="3002" y="14"/>
                  </a:lnTo>
                  <a:lnTo>
                    <a:pt x="3005" y="18"/>
                  </a:lnTo>
                  <a:lnTo>
                    <a:pt x="3013" y="18"/>
                  </a:lnTo>
                  <a:lnTo>
                    <a:pt x="3016" y="19"/>
                  </a:lnTo>
                  <a:lnTo>
                    <a:pt x="3017" y="23"/>
                  </a:lnTo>
                  <a:lnTo>
                    <a:pt x="3019" y="33"/>
                  </a:lnTo>
                  <a:lnTo>
                    <a:pt x="3017" y="41"/>
                  </a:lnTo>
                  <a:lnTo>
                    <a:pt x="3020" y="46"/>
                  </a:lnTo>
                  <a:lnTo>
                    <a:pt x="3023" y="50"/>
                  </a:lnTo>
                  <a:lnTo>
                    <a:pt x="3025" y="55"/>
                  </a:lnTo>
                  <a:lnTo>
                    <a:pt x="3033" y="55"/>
                  </a:lnTo>
                  <a:lnTo>
                    <a:pt x="3039" y="62"/>
                  </a:lnTo>
                  <a:lnTo>
                    <a:pt x="3042" y="62"/>
                  </a:lnTo>
                  <a:lnTo>
                    <a:pt x="3049" y="63"/>
                  </a:lnTo>
                  <a:lnTo>
                    <a:pt x="3056" y="62"/>
                  </a:lnTo>
                  <a:lnTo>
                    <a:pt x="3060" y="59"/>
                  </a:lnTo>
                  <a:lnTo>
                    <a:pt x="3063" y="59"/>
                  </a:lnTo>
                  <a:lnTo>
                    <a:pt x="3066" y="58"/>
                  </a:lnTo>
                  <a:lnTo>
                    <a:pt x="3072" y="62"/>
                  </a:lnTo>
                  <a:lnTo>
                    <a:pt x="3080" y="55"/>
                  </a:lnTo>
                  <a:lnTo>
                    <a:pt x="3083" y="64"/>
                  </a:lnTo>
                  <a:lnTo>
                    <a:pt x="3092" y="75"/>
                  </a:lnTo>
                  <a:lnTo>
                    <a:pt x="3088" y="72"/>
                  </a:lnTo>
                  <a:lnTo>
                    <a:pt x="3081" y="76"/>
                  </a:lnTo>
                  <a:lnTo>
                    <a:pt x="3076" y="75"/>
                  </a:lnTo>
                  <a:lnTo>
                    <a:pt x="3074" y="75"/>
                  </a:lnTo>
                  <a:lnTo>
                    <a:pt x="3087" y="80"/>
                  </a:lnTo>
                  <a:lnTo>
                    <a:pt x="3088" y="87"/>
                  </a:lnTo>
                  <a:lnTo>
                    <a:pt x="3094" y="89"/>
                  </a:lnTo>
                  <a:lnTo>
                    <a:pt x="3092" y="93"/>
                  </a:lnTo>
                  <a:lnTo>
                    <a:pt x="3092" y="94"/>
                  </a:lnTo>
                  <a:lnTo>
                    <a:pt x="3095" y="97"/>
                  </a:lnTo>
                  <a:lnTo>
                    <a:pt x="3094" y="93"/>
                  </a:lnTo>
                  <a:lnTo>
                    <a:pt x="3095" y="91"/>
                  </a:lnTo>
                  <a:lnTo>
                    <a:pt x="3095" y="87"/>
                  </a:lnTo>
                  <a:lnTo>
                    <a:pt x="3091" y="84"/>
                  </a:lnTo>
                  <a:lnTo>
                    <a:pt x="3092" y="80"/>
                  </a:lnTo>
                  <a:lnTo>
                    <a:pt x="3091" y="77"/>
                  </a:lnTo>
                  <a:lnTo>
                    <a:pt x="3094" y="77"/>
                  </a:lnTo>
                  <a:lnTo>
                    <a:pt x="3103" y="91"/>
                  </a:lnTo>
                  <a:lnTo>
                    <a:pt x="3115" y="98"/>
                  </a:lnTo>
                  <a:lnTo>
                    <a:pt x="3122" y="100"/>
                  </a:lnTo>
                  <a:lnTo>
                    <a:pt x="3129" y="97"/>
                  </a:lnTo>
                  <a:lnTo>
                    <a:pt x="3131" y="93"/>
                  </a:lnTo>
                  <a:lnTo>
                    <a:pt x="3130" y="89"/>
                  </a:lnTo>
                  <a:lnTo>
                    <a:pt x="3131" y="84"/>
                  </a:lnTo>
                  <a:lnTo>
                    <a:pt x="3134" y="84"/>
                  </a:lnTo>
                  <a:lnTo>
                    <a:pt x="3138" y="87"/>
                  </a:lnTo>
                  <a:lnTo>
                    <a:pt x="3138" y="94"/>
                  </a:lnTo>
                  <a:lnTo>
                    <a:pt x="3135" y="98"/>
                  </a:lnTo>
                  <a:lnTo>
                    <a:pt x="3134" y="104"/>
                  </a:lnTo>
                  <a:lnTo>
                    <a:pt x="3133" y="106"/>
                  </a:lnTo>
                  <a:lnTo>
                    <a:pt x="3129" y="112"/>
                  </a:lnTo>
                  <a:lnTo>
                    <a:pt x="3115" y="116"/>
                  </a:lnTo>
                  <a:lnTo>
                    <a:pt x="3110" y="117"/>
                  </a:lnTo>
                  <a:lnTo>
                    <a:pt x="3108" y="121"/>
                  </a:lnTo>
                  <a:lnTo>
                    <a:pt x="3103" y="126"/>
                  </a:lnTo>
                  <a:lnTo>
                    <a:pt x="3097" y="133"/>
                  </a:lnTo>
                  <a:lnTo>
                    <a:pt x="3092" y="138"/>
                  </a:lnTo>
                  <a:lnTo>
                    <a:pt x="3092" y="143"/>
                  </a:lnTo>
                  <a:lnTo>
                    <a:pt x="3087" y="153"/>
                  </a:lnTo>
                  <a:lnTo>
                    <a:pt x="3088" y="162"/>
                  </a:lnTo>
                  <a:lnTo>
                    <a:pt x="3088" y="164"/>
                  </a:lnTo>
                  <a:lnTo>
                    <a:pt x="3089" y="173"/>
                  </a:lnTo>
                  <a:lnTo>
                    <a:pt x="3091" y="192"/>
                  </a:lnTo>
                  <a:lnTo>
                    <a:pt x="3092" y="193"/>
                  </a:lnTo>
                  <a:lnTo>
                    <a:pt x="3095" y="200"/>
                  </a:lnTo>
                  <a:lnTo>
                    <a:pt x="3103" y="201"/>
                  </a:lnTo>
                  <a:lnTo>
                    <a:pt x="3106" y="204"/>
                  </a:lnTo>
                  <a:lnTo>
                    <a:pt x="3115" y="210"/>
                  </a:lnTo>
                  <a:lnTo>
                    <a:pt x="3117" y="216"/>
                  </a:lnTo>
                  <a:lnTo>
                    <a:pt x="3117" y="259"/>
                  </a:lnTo>
                  <a:lnTo>
                    <a:pt x="3120" y="271"/>
                  </a:lnTo>
                  <a:lnTo>
                    <a:pt x="3126" y="282"/>
                  </a:lnTo>
                  <a:lnTo>
                    <a:pt x="3124" y="294"/>
                  </a:lnTo>
                  <a:lnTo>
                    <a:pt x="3127" y="299"/>
                  </a:lnTo>
                  <a:lnTo>
                    <a:pt x="3127" y="312"/>
                  </a:lnTo>
                  <a:lnTo>
                    <a:pt x="3130" y="333"/>
                  </a:lnTo>
                  <a:lnTo>
                    <a:pt x="3129" y="353"/>
                  </a:lnTo>
                  <a:lnTo>
                    <a:pt x="3133" y="362"/>
                  </a:lnTo>
                  <a:lnTo>
                    <a:pt x="3140" y="370"/>
                  </a:lnTo>
                  <a:lnTo>
                    <a:pt x="3151" y="384"/>
                  </a:lnTo>
                  <a:lnTo>
                    <a:pt x="3154" y="407"/>
                  </a:lnTo>
                  <a:lnTo>
                    <a:pt x="3152" y="419"/>
                  </a:lnTo>
                  <a:lnTo>
                    <a:pt x="3155" y="420"/>
                  </a:lnTo>
                  <a:lnTo>
                    <a:pt x="3157" y="428"/>
                  </a:lnTo>
                  <a:lnTo>
                    <a:pt x="3157" y="432"/>
                  </a:lnTo>
                  <a:lnTo>
                    <a:pt x="3154" y="433"/>
                  </a:lnTo>
                  <a:lnTo>
                    <a:pt x="3148" y="428"/>
                  </a:lnTo>
                  <a:lnTo>
                    <a:pt x="3137" y="432"/>
                  </a:lnTo>
                  <a:lnTo>
                    <a:pt x="3135" y="432"/>
                  </a:lnTo>
                  <a:lnTo>
                    <a:pt x="3137" y="428"/>
                  </a:lnTo>
                  <a:lnTo>
                    <a:pt x="3135" y="427"/>
                  </a:lnTo>
                  <a:lnTo>
                    <a:pt x="3127" y="424"/>
                  </a:lnTo>
                  <a:lnTo>
                    <a:pt x="3122" y="428"/>
                  </a:lnTo>
                  <a:lnTo>
                    <a:pt x="3120" y="432"/>
                  </a:lnTo>
                  <a:lnTo>
                    <a:pt x="3119" y="437"/>
                  </a:lnTo>
                  <a:lnTo>
                    <a:pt x="3119" y="442"/>
                  </a:lnTo>
                  <a:lnTo>
                    <a:pt x="3131" y="451"/>
                  </a:lnTo>
                  <a:lnTo>
                    <a:pt x="3137" y="451"/>
                  </a:lnTo>
                  <a:lnTo>
                    <a:pt x="3141" y="451"/>
                  </a:lnTo>
                  <a:lnTo>
                    <a:pt x="3145" y="451"/>
                  </a:lnTo>
                  <a:lnTo>
                    <a:pt x="3144" y="446"/>
                  </a:lnTo>
                  <a:lnTo>
                    <a:pt x="3147" y="442"/>
                  </a:lnTo>
                  <a:lnTo>
                    <a:pt x="3149" y="442"/>
                  </a:lnTo>
                  <a:lnTo>
                    <a:pt x="3152" y="442"/>
                  </a:lnTo>
                  <a:lnTo>
                    <a:pt x="3154" y="442"/>
                  </a:lnTo>
                  <a:lnTo>
                    <a:pt x="3157" y="442"/>
                  </a:lnTo>
                  <a:lnTo>
                    <a:pt x="3159" y="456"/>
                  </a:lnTo>
                  <a:lnTo>
                    <a:pt x="3163" y="458"/>
                  </a:lnTo>
                  <a:lnTo>
                    <a:pt x="3168" y="459"/>
                  </a:lnTo>
                  <a:lnTo>
                    <a:pt x="3169" y="465"/>
                  </a:lnTo>
                  <a:lnTo>
                    <a:pt x="3166" y="469"/>
                  </a:lnTo>
                  <a:lnTo>
                    <a:pt x="3165" y="482"/>
                  </a:lnTo>
                  <a:lnTo>
                    <a:pt x="3162" y="486"/>
                  </a:lnTo>
                  <a:lnTo>
                    <a:pt x="3163" y="487"/>
                  </a:lnTo>
                  <a:lnTo>
                    <a:pt x="3163" y="491"/>
                  </a:lnTo>
                  <a:lnTo>
                    <a:pt x="3163" y="495"/>
                  </a:lnTo>
                  <a:lnTo>
                    <a:pt x="3160" y="501"/>
                  </a:lnTo>
                  <a:lnTo>
                    <a:pt x="3159" y="507"/>
                  </a:lnTo>
                  <a:lnTo>
                    <a:pt x="3159" y="510"/>
                  </a:lnTo>
                  <a:lnTo>
                    <a:pt x="3157" y="510"/>
                  </a:lnTo>
                  <a:lnTo>
                    <a:pt x="3155" y="510"/>
                  </a:lnTo>
                  <a:lnTo>
                    <a:pt x="3152" y="512"/>
                  </a:lnTo>
                  <a:lnTo>
                    <a:pt x="3148" y="516"/>
                  </a:lnTo>
                  <a:lnTo>
                    <a:pt x="3143" y="516"/>
                  </a:lnTo>
                  <a:lnTo>
                    <a:pt x="3140" y="518"/>
                  </a:lnTo>
                  <a:lnTo>
                    <a:pt x="3134" y="516"/>
                  </a:lnTo>
                  <a:lnTo>
                    <a:pt x="3130" y="518"/>
                  </a:lnTo>
                  <a:lnTo>
                    <a:pt x="3129" y="523"/>
                  </a:lnTo>
                  <a:lnTo>
                    <a:pt x="3130" y="526"/>
                  </a:lnTo>
                  <a:lnTo>
                    <a:pt x="3133" y="527"/>
                  </a:lnTo>
                  <a:lnTo>
                    <a:pt x="3134" y="526"/>
                  </a:lnTo>
                  <a:lnTo>
                    <a:pt x="3137" y="527"/>
                  </a:lnTo>
                  <a:lnTo>
                    <a:pt x="3138" y="527"/>
                  </a:lnTo>
                  <a:lnTo>
                    <a:pt x="3140" y="531"/>
                  </a:lnTo>
                  <a:lnTo>
                    <a:pt x="3143" y="531"/>
                  </a:lnTo>
                  <a:lnTo>
                    <a:pt x="3144" y="531"/>
                  </a:lnTo>
                  <a:lnTo>
                    <a:pt x="3144" y="533"/>
                  </a:lnTo>
                  <a:lnTo>
                    <a:pt x="3143" y="533"/>
                  </a:lnTo>
                  <a:lnTo>
                    <a:pt x="3144" y="543"/>
                  </a:lnTo>
                  <a:lnTo>
                    <a:pt x="3148" y="543"/>
                  </a:lnTo>
                  <a:lnTo>
                    <a:pt x="3143" y="548"/>
                  </a:lnTo>
                  <a:lnTo>
                    <a:pt x="3141" y="553"/>
                  </a:lnTo>
                  <a:lnTo>
                    <a:pt x="3143" y="556"/>
                  </a:lnTo>
                  <a:lnTo>
                    <a:pt x="3147" y="558"/>
                  </a:lnTo>
                  <a:lnTo>
                    <a:pt x="3143" y="558"/>
                  </a:lnTo>
                  <a:lnTo>
                    <a:pt x="3137" y="562"/>
                  </a:lnTo>
                  <a:lnTo>
                    <a:pt x="3130" y="565"/>
                  </a:lnTo>
                  <a:lnTo>
                    <a:pt x="3127" y="568"/>
                  </a:lnTo>
                  <a:lnTo>
                    <a:pt x="3123" y="566"/>
                  </a:lnTo>
                  <a:lnTo>
                    <a:pt x="3108" y="568"/>
                  </a:lnTo>
                  <a:lnTo>
                    <a:pt x="3106" y="566"/>
                  </a:lnTo>
                  <a:lnTo>
                    <a:pt x="3108" y="558"/>
                  </a:lnTo>
                  <a:lnTo>
                    <a:pt x="3105" y="558"/>
                  </a:lnTo>
                  <a:lnTo>
                    <a:pt x="3105" y="562"/>
                  </a:lnTo>
                  <a:lnTo>
                    <a:pt x="3103" y="569"/>
                  </a:lnTo>
                  <a:lnTo>
                    <a:pt x="3098" y="570"/>
                  </a:lnTo>
                  <a:lnTo>
                    <a:pt x="3089" y="570"/>
                  </a:lnTo>
                  <a:lnTo>
                    <a:pt x="3088" y="571"/>
                  </a:lnTo>
                  <a:lnTo>
                    <a:pt x="3087" y="571"/>
                  </a:lnTo>
                  <a:lnTo>
                    <a:pt x="3084" y="574"/>
                  </a:lnTo>
                  <a:lnTo>
                    <a:pt x="3080" y="580"/>
                  </a:lnTo>
                  <a:lnTo>
                    <a:pt x="3077" y="581"/>
                  </a:lnTo>
                  <a:lnTo>
                    <a:pt x="3077" y="585"/>
                  </a:lnTo>
                  <a:lnTo>
                    <a:pt x="3078" y="581"/>
                  </a:lnTo>
                  <a:lnTo>
                    <a:pt x="3080" y="583"/>
                  </a:lnTo>
                  <a:lnTo>
                    <a:pt x="3080" y="589"/>
                  </a:lnTo>
                  <a:lnTo>
                    <a:pt x="3081" y="593"/>
                  </a:lnTo>
                  <a:lnTo>
                    <a:pt x="3083" y="591"/>
                  </a:lnTo>
                  <a:lnTo>
                    <a:pt x="3087" y="605"/>
                  </a:lnTo>
                  <a:lnTo>
                    <a:pt x="3088" y="606"/>
                  </a:lnTo>
                  <a:lnTo>
                    <a:pt x="3094" y="607"/>
                  </a:lnTo>
                  <a:lnTo>
                    <a:pt x="3095" y="611"/>
                  </a:lnTo>
                  <a:lnTo>
                    <a:pt x="3103" y="620"/>
                  </a:lnTo>
                  <a:lnTo>
                    <a:pt x="3101" y="623"/>
                  </a:lnTo>
                  <a:lnTo>
                    <a:pt x="3101" y="627"/>
                  </a:lnTo>
                  <a:lnTo>
                    <a:pt x="3095" y="627"/>
                  </a:lnTo>
                  <a:lnTo>
                    <a:pt x="3094" y="630"/>
                  </a:lnTo>
                  <a:lnTo>
                    <a:pt x="3098" y="632"/>
                  </a:lnTo>
                  <a:lnTo>
                    <a:pt x="3106" y="633"/>
                  </a:lnTo>
                  <a:lnTo>
                    <a:pt x="3106" y="632"/>
                  </a:lnTo>
                  <a:lnTo>
                    <a:pt x="3105" y="627"/>
                  </a:lnTo>
                  <a:lnTo>
                    <a:pt x="3106" y="624"/>
                  </a:lnTo>
                  <a:lnTo>
                    <a:pt x="3112" y="632"/>
                  </a:lnTo>
                  <a:lnTo>
                    <a:pt x="3115" y="632"/>
                  </a:lnTo>
                  <a:lnTo>
                    <a:pt x="3117" y="628"/>
                  </a:lnTo>
                  <a:lnTo>
                    <a:pt x="3113" y="623"/>
                  </a:lnTo>
                  <a:lnTo>
                    <a:pt x="3112" y="623"/>
                  </a:lnTo>
                  <a:lnTo>
                    <a:pt x="3110" y="619"/>
                  </a:lnTo>
                  <a:lnTo>
                    <a:pt x="3113" y="616"/>
                  </a:lnTo>
                  <a:lnTo>
                    <a:pt x="3113" y="615"/>
                  </a:lnTo>
                  <a:lnTo>
                    <a:pt x="3115" y="616"/>
                  </a:lnTo>
                  <a:lnTo>
                    <a:pt x="3116" y="615"/>
                  </a:lnTo>
                  <a:lnTo>
                    <a:pt x="3117" y="615"/>
                  </a:lnTo>
                  <a:lnTo>
                    <a:pt x="3117" y="616"/>
                  </a:lnTo>
                  <a:lnTo>
                    <a:pt x="3119" y="619"/>
                  </a:lnTo>
                  <a:lnTo>
                    <a:pt x="3122" y="619"/>
                  </a:lnTo>
                  <a:lnTo>
                    <a:pt x="3123" y="616"/>
                  </a:lnTo>
                  <a:lnTo>
                    <a:pt x="3122" y="615"/>
                  </a:lnTo>
                  <a:lnTo>
                    <a:pt x="3123" y="611"/>
                  </a:lnTo>
                  <a:lnTo>
                    <a:pt x="3126" y="610"/>
                  </a:lnTo>
                  <a:lnTo>
                    <a:pt x="3127" y="615"/>
                  </a:lnTo>
                  <a:lnTo>
                    <a:pt x="3127" y="616"/>
                  </a:lnTo>
                  <a:lnTo>
                    <a:pt x="3129" y="616"/>
                  </a:lnTo>
                  <a:lnTo>
                    <a:pt x="3135" y="620"/>
                  </a:lnTo>
                  <a:lnTo>
                    <a:pt x="3133" y="623"/>
                  </a:lnTo>
                  <a:lnTo>
                    <a:pt x="3133" y="627"/>
                  </a:lnTo>
                  <a:lnTo>
                    <a:pt x="3131" y="628"/>
                  </a:lnTo>
                  <a:lnTo>
                    <a:pt x="3131" y="630"/>
                  </a:lnTo>
                  <a:lnTo>
                    <a:pt x="3127" y="633"/>
                  </a:lnTo>
                  <a:lnTo>
                    <a:pt x="3129" y="637"/>
                  </a:lnTo>
                  <a:lnTo>
                    <a:pt x="3131" y="640"/>
                  </a:lnTo>
                  <a:lnTo>
                    <a:pt x="3134" y="641"/>
                  </a:lnTo>
                  <a:lnTo>
                    <a:pt x="3138" y="647"/>
                  </a:lnTo>
                  <a:lnTo>
                    <a:pt x="3137" y="649"/>
                  </a:lnTo>
                  <a:lnTo>
                    <a:pt x="3138" y="649"/>
                  </a:lnTo>
                  <a:lnTo>
                    <a:pt x="3138" y="651"/>
                  </a:lnTo>
                  <a:lnTo>
                    <a:pt x="3133" y="655"/>
                  </a:lnTo>
                  <a:lnTo>
                    <a:pt x="3133" y="658"/>
                  </a:lnTo>
                  <a:lnTo>
                    <a:pt x="3134" y="660"/>
                  </a:lnTo>
                  <a:lnTo>
                    <a:pt x="3135" y="662"/>
                  </a:lnTo>
                  <a:lnTo>
                    <a:pt x="3134" y="665"/>
                  </a:lnTo>
                  <a:lnTo>
                    <a:pt x="3137" y="668"/>
                  </a:lnTo>
                  <a:lnTo>
                    <a:pt x="3147" y="662"/>
                  </a:lnTo>
                  <a:lnTo>
                    <a:pt x="3147" y="664"/>
                  </a:lnTo>
                  <a:lnTo>
                    <a:pt x="3145" y="668"/>
                  </a:lnTo>
                  <a:lnTo>
                    <a:pt x="3145" y="669"/>
                  </a:lnTo>
                  <a:lnTo>
                    <a:pt x="3144" y="672"/>
                  </a:lnTo>
                  <a:lnTo>
                    <a:pt x="3147" y="674"/>
                  </a:lnTo>
                  <a:lnTo>
                    <a:pt x="3145" y="672"/>
                  </a:lnTo>
                  <a:lnTo>
                    <a:pt x="3147" y="669"/>
                  </a:lnTo>
                  <a:lnTo>
                    <a:pt x="3147" y="668"/>
                  </a:lnTo>
                  <a:lnTo>
                    <a:pt x="3151" y="660"/>
                  </a:lnTo>
                  <a:lnTo>
                    <a:pt x="3152" y="649"/>
                  </a:lnTo>
                  <a:lnTo>
                    <a:pt x="3152" y="647"/>
                  </a:lnTo>
                  <a:lnTo>
                    <a:pt x="3148" y="641"/>
                  </a:lnTo>
                  <a:lnTo>
                    <a:pt x="3149" y="640"/>
                  </a:lnTo>
                  <a:lnTo>
                    <a:pt x="3149" y="637"/>
                  </a:lnTo>
                  <a:lnTo>
                    <a:pt x="3152" y="633"/>
                  </a:lnTo>
                  <a:lnTo>
                    <a:pt x="3152" y="628"/>
                  </a:lnTo>
                  <a:lnTo>
                    <a:pt x="3151" y="627"/>
                  </a:lnTo>
                  <a:lnTo>
                    <a:pt x="3155" y="624"/>
                  </a:lnTo>
                  <a:lnTo>
                    <a:pt x="3155" y="619"/>
                  </a:lnTo>
                  <a:lnTo>
                    <a:pt x="3162" y="616"/>
                  </a:lnTo>
                  <a:lnTo>
                    <a:pt x="3165" y="619"/>
                  </a:lnTo>
                  <a:lnTo>
                    <a:pt x="3165" y="620"/>
                  </a:lnTo>
                  <a:lnTo>
                    <a:pt x="3168" y="620"/>
                  </a:lnTo>
                  <a:lnTo>
                    <a:pt x="3170" y="616"/>
                  </a:lnTo>
                  <a:lnTo>
                    <a:pt x="3172" y="616"/>
                  </a:lnTo>
                  <a:lnTo>
                    <a:pt x="3172" y="615"/>
                  </a:lnTo>
                  <a:lnTo>
                    <a:pt x="3170" y="615"/>
                  </a:lnTo>
                  <a:lnTo>
                    <a:pt x="3170" y="611"/>
                  </a:lnTo>
                  <a:lnTo>
                    <a:pt x="3174" y="610"/>
                  </a:lnTo>
                  <a:lnTo>
                    <a:pt x="3179" y="605"/>
                  </a:lnTo>
                  <a:lnTo>
                    <a:pt x="3190" y="602"/>
                  </a:lnTo>
                  <a:lnTo>
                    <a:pt x="3191" y="598"/>
                  </a:lnTo>
                  <a:lnTo>
                    <a:pt x="3194" y="605"/>
                  </a:lnTo>
                  <a:lnTo>
                    <a:pt x="3202" y="607"/>
                  </a:lnTo>
                  <a:lnTo>
                    <a:pt x="3205" y="607"/>
                  </a:lnTo>
                  <a:lnTo>
                    <a:pt x="3209" y="603"/>
                  </a:lnTo>
                  <a:lnTo>
                    <a:pt x="3213" y="594"/>
                  </a:lnTo>
                  <a:lnTo>
                    <a:pt x="3218" y="594"/>
                  </a:lnTo>
                  <a:lnTo>
                    <a:pt x="3223" y="597"/>
                  </a:lnTo>
                  <a:lnTo>
                    <a:pt x="3227" y="607"/>
                  </a:lnTo>
                  <a:lnTo>
                    <a:pt x="3233" y="611"/>
                  </a:lnTo>
                  <a:lnTo>
                    <a:pt x="3229" y="628"/>
                  </a:lnTo>
                  <a:lnTo>
                    <a:pt x="3230" y="633"/>
                  </a:lnTo>
                  <a:lnTo>
                    <a:pt x="3229" y="643"/>
                  </a:lnTo>
                  <a:lnTo>
                    <a:pt x="3230" y="651"/>
                  </a:lnTo>
                  <a:lnTo>
                    <a:pt x="3240" y="658"/>
                  </a:lnTo>
                  <a:lnTo>
                    <a:pt x="3247" y="660"/>
                  </a:lnTo>
                  <a:lnTo>
                    <a:pt x="3249" y="665"/>
                  </a:lnTo>
                  <a:lnTo>
                    <a:pt x="3245" y="684"/>
                  </a:lnTo>
                  <a:lnTo>
                    <a:pt x="3244" y="695"/>
                  </a:lnTo>
                  <a:lnTo>
                    <a:pt x="3244" y="699"/>
                  </a:lnTo>
                  <a:lnTo>
                    <a:pt x="3247" y="701"/>
                  </a:lnTo>
                  <a:lnTo>
                    <a:pt x="3244" y="710"/>
                  </a:lnTo>
                  <a:lnTo>
                    <a:pt x="3245" y="710"/>
                  </a:lnTo>
                  <a:lnTo>
                    <a:pt x="3243" y="712"/>
                  </a:lnTo>
                  <a:lnTo>
                    <a:pt x="3241" y="717"/>
                  </a:lnTo>
                  <a:lnTo>
                    <a:pt x="3238" y="718"/>
                  </a:lnTo>
                  <a:lnTo>
                    <a:pt x="3234" y="722"/>
                  </a:lnTo>
                  <a:lnTo>
                    <a:pt x="3230" y="723"/>
                  </a:lnTo>
                  <a:lnTo>
                    <a:pt x="3223" y="723"/>
                  </a:lnTo>
                  <a:lnTo>
                    <a:pt x="3213" y="739"/>
                  </a:lnTo>
                  <a:lnTo>
                    <a:pt x="3207" y="743"/>
                  </a:lnTo>
                  <a:lnTo>
                    <a:pt x="3201" y="754"/>
                  </a:lnTo>
                  <a:lnTo>
                    <a:pt x="3197" y="754"/>
                  </a:lnTo>
                  <a:lnTo>
                    <a:pt x="3190" y="748"/>
                  </a:lnTo>
                  <a:lnTo>
                    <a:pt x="3183" y="736"/>
                  </a:lnTo>
                  <a:lnTo>
                    <a:pt x="3183" y="731"/>
                  </a:lnTo>
                  <a:lnTo>
                    <a:pt x="3174" y="720"/>
                  </a:lnTo>
                  <a:lnTo>
                    <a:pt x="3169" y="710"/>
                  </a:lnTo>
                  <a:lnTo>
                    <a:pt x="3163" y="710"/>
                  </a:lnTo>
                  <a:lnTo>
                    <a:pt x="3162" y="710"/>
                  </a:lnTo>
                  <a:lnTo>
                    <a:pt x="3160" y="709"/>
                  </a:lnTo>
                  <a:lnTo>
                    <a:pt x="3158" y="707"/>
                  </a:lnTo>
                  <a:lnTo>
                    <a:pt x="3155" y="710"/>
                  </a:lnTo>
                  <a:lnTo>
                    <a:pt x="3158" y="714"/>
                  </a:lnTo>
                  <a:lnTo>
                    <a:pt x="3163" y="714"/>
                  </a:lnTo>
                  <a:lnTo>
                    <a:pt x="3165" y="718"/>
                  </a:lnTo>
                  <a:lnTo>
                    <a:pt x="3165" y="723"/>
                  </a:lnTo>
                  <a:lnTo>
                    <a:pt x="3166" y="723"/>
                  </a:lnTo>
                  <a:lnTo>
                    <a:pt x="3163" y="727"/>
                  </a:lnTo>
                  <a:lnTo>
                    <a:pt x="3165" y="731"/>
                  </a:lnTo>
                  <a:lnTo>
                    <a:pt x="3169" y="735"/>
                  </a:lnTo>
                  <a:lnTo>
                    <a:pt x="3168" y="740"/>
                  </a:lnTo>
                  <a:lnTo>
                    <a:pt x="3168" y="743"/>
                  </a:lnTo>
                  <a:lnTo>
                    <a:pt x="3170" y="745"/>
                  </a:lnTo>
                  <a:lnTo>
                    <a:pt x="3169" y="754"/>
                  </a:lnTo>
                  <a:lnTo>
                    <a:pt x="3173" y="754"/>
                  </a:lnTo>
                  <a:lnTo>
                    <a:pt x="3176" y="754"/>
                  </a:lnTo>
                  <a:lnTo>
                    <a:pt x="3177" y="754"/>
                  </a:lnTo>
                  <a:lnTo>
                    <a:pt x="3177" y="759"/>
                  </a:lnTo>
                  <a:lnTo>
                    <a:pt x="3173" y="762"/>
                  </a:lnTo>
                  <a:lnTo>
                    <a:pt x="3170" y="769"/>
                  </a:lnTo>
                  <a:lnTo>
                    <a:pt x="3169" y="776"/>
                  </a:lnTo>
                  <a:lnTo>
                    <a:pt x="3169" y="785"/>
                  </a:lnTo>
                  <a:lnTo>
                    <a:pt x="3172" y="797"/>
                  </a:lnTo>
                  <a:lnTo>
                    <a:pt x="3179" y="810"/>
                  </a:lnTo>
                  <a:lnTo>
                    <a:pt x="3184" y="815"/>
                  </a:lnTo>
                  <a:lnTo>
                    <a:pt x="3194" y="821"/>
                  </a:lnTo>
                  <a:lnTo>
                    <a:pt x="3193" y="823"/>
                  </a:lnTo>
                  <a:lnTo>
                    <a:pt x="3184" y="823"/>
                  </a:lnTo>
                  <a:lnTo>
                    <a:pt x="3173" y="817"/>
                  </a:lnTo>
                  <a:lnTo>
                    <a:pt x="3162" y="814"/>
                  </a:lnTo>
                  <a:lnTo>
                    <a:pt x="3158" y="817"/>
                  </a:lnTo>
                  <a:lnTo>
                    <a:pt x="3157" y="826"/>
                  </a:lnTo>
                  <a:lnTo>
                    <a:pt x="3159" y="834"/>
                  </a:lnTo>
                  <a:lnTo>
                    <a:pt x="3162" y="838"/>
                  </a:lnTo>
                  <a:lnTo>
                    <a:pt x="3168" y="839"/>
                  </a:lnTo>
                  <a:lnTo>
                    <a:pt x="3170" y="839"/>
                  </a:lnTo>
                  <a:lnTo>
                    <a:pt x="3176" y="838"/>
                  </a:lnTo>
                  <a:lnTo>
                    <a:pt x="3179" y="832"/>
                  </a:lnTo>
                  <a:lnTo>
                    <a:pt x="3183" y="832"/>
                  </a:lnTo>
                  <a:lnTo>
                    <a:pt x="3184" y="829"/>
                  </a:lnTo>
                  <a:lnTo>
                    <a:pt x="3187" y="830"/>
                  </a:lnTo>
                  <a:lnTo>
                    <a:pt x="3182" y="839"/>
                  </a:lnTo>
                  <a:lnTo>
                    <a:pt x="3176" y="839"/>
                  </a:lnTo>
                  <a:lnTo>
                    <a:pt x="3173" y="843"/>
                  </a:lnTo>
                  <a:lnTo>
                    <a:pt x="3163" y="846"/>
                  </a:lnTo>
                  <a:lnTo>
                    <a:pt x="3162" y="847"/>
                  </a:lnTo>
                  <a:lnTo>
                    <a:pt x="3163" y="851"/>
                  </a:lnTo>
                  <a:lnTo>
                    <a:pt x="3163" y="855"/>
                  </a:lnTo>
                  <a:lnTo>
                    <a:pt x="3154" y="863"/>
                  </a:lnTo>
                  <a:lnTo>
                    <a:pt x="3155" y="866"/>
                  </a:lnTo>
                  <a:lnTo>
                    <a:pt x="3158" y="864"/>
                  </a:lnTo>
                  <a:lnTo>
                    <a:pt x="3163" y="866"/>
                  </a:lnTo>
                  <a:lnTo>
                    <a:pt x="3169" y="864"/>
                  </a:lnTo>
                  <a:lnTo>
                    <a:pt x="3177" y="868"/>
                  </a:lnTo>
                  <a:lnTo>
                    <a:pt x="3174" y="869"/>
                  </a:lnTo>
                  <a:lnTo>
                    <a:pt x="3169" y="874"/>
                  </a:lnTo>
                  <a:lnTo>
                    <a:pt x="3165" y="879"/>
                  </a:lnTo>
                  <a:lnTo>
                    <a:pt x="3165" y="885"/>
                  </a:lnTo>
                  <a:lnTo>
                    <a:pt x="3159" y="889"/>
                  </a:lnTo>
                  <a:lnTo>
                    <a:pt x="3159" y="892"/>
                  </a:lnTo>
                  <a:lnTo>
                    <a:pt x="3162" y="901"/>
                  </a:lnTo>
                  <a:lnTo>
                    <a:pt x="3160" y="904"/>
                  </a:lnTo>
                  <a:lnTo>
                    <a:pt x="3160" y="898"/>
                  </a:lnTo>
                  <a:lnTo>
                    <a:pt x="3159" y="900"/>
                  </a:lnTo>
                  <a:lnTo>
                    <a:pt x="3159" y="908"/>
                  </a:lnTo>
                  <a:lnTo>
                    <a:pt x="3158" y="909"/>
                  </a:lnTo>
                  <a:lnTo>
                    <a:pt x="3159" y="913"/>
                  </a:lnTo>
                  <a:lnTo>
                    <a:pt x="3159" y="914"/>
                  </a:lnTo>
                  <a:lnTo>
                    <a:pt x="3158" y="914"/>
                  </a:lnTo>
                  <a:lnTo>
                    <a:pt x="3158" y="917"/>
                  </a:lnTo>
                  <a:lnTo>
                    <a:pt x="3157" y="917"/>
                  </a:lnTo>
                  <a:lnTo>
                    <a:pt x="3157" y="918"/>
                  </a:lnTo>
                  <a:lnTo>
                    <a:pt x="3159" y="921"/>
                  </a:lnTo>
                  <a:lnTo>
                    <a:pt x="3152" y="923"/>
                  </a:lnTo>
                  <a:lnTo>
                    <a:pt x="3151" y="933"/>
                  </a:lnTo>
                  <a:lnTo>
                    <a:pt x="3162" y="934"/>
                  </a:lnTo>
                  <a:lnTo>
                    <a:pt x="3162" y="928"/>
                  </a:lnTo>
                  <a:lnTo>
                    <a:pt x="3160" y="928"/>
                  </a:lnTo>
                  <a:lnTo>
                    <a:pt x="3155" y="928"/>
                  </a:lnTo>
                  <a:lnTo>
                    <a:pt x="3160" y="923"/>
                  </a:lnTo>
                  <a:lnTo>
                    <a:pt x="3163" y="922"/>
                  </a:lnTo>
                  <a:lnTo>
                    <a:pt x="3165" y="917"/>
                  </a:lnTo>
                  <a:lnTo>
                    <a:pt x="3169" y="913"/>
                  </a:lnTo>
                  <a:lnTo>
                    <a:pt x="3169" y="909"/>
                  </a:lnTo>
                  <a:lnTo>
                    <a:pt x="3170" y="908"/>
                  </a:lnTo>
                  <a:lnTo>
                    <a:pt x="3179" y="908"/>
                  </a:lnTo>
                  <a:lnTo>
                    <a:pt x="3180" y="905"/>
                  </a:lnTo>
                  <a:lnTo>
                    <a:pt x="3179" y="905"/>
                  </a:lnTo>
                  <a:lnTo>
                    <a:pt x="3184" y="905"/>
                  </a:lnTo>
                  <a:lnTo>
                    <a:pt x="3187" y="900"/>
                  </a:lnTo>
                  <a:lnTo>
                    <a:pt x="3194" y="892"/>
                  </a:lnTo>
                  <a:lnTo>
                    <a:pt x="3195" y="891"/>
                  </a:lnTo>
                  <a:lnTo>
                    <a:pt x="3194" y="888"/>
                  </a:lnTo>
                  <a:lnTo>
                    <a:pt x="3194" y="885"/>
                  </a:lnTo>
                  <a:lnTo>
                    <a:pt x="3190" y="881"/>
                  </a:lnTo>
                  <a:lnTo>
                    <a:pt x="3194" y="877"/>
                  </a:lnTo>
                  <a:lnTo>
                    <a:pt x="3195" y="877"/>
                  </a:lnTo>
                  <a:lnTo>
                    <a:pt x="3198" y="874"/>
                  </a:lnTo>
                  <a:lnTo>
                    <a:pt x="3199" y="867"/>
                  </a:lnTo>
                  <a:lnTo>
                    <a:pt x="3199" y="860"/>
                  </a:lnTo>
                  <a:lnTo>
                    <a:pt x="3195" y="852"/>
                  </a:lnTo>
                  <a:lnTo>
                    <a:pt x="3197" y="849"/>
                  </a:lnTo>
                  <a:lnTo>
                    <a:pt x="3195" y="847"/>
                  </a:lnTo>
                  <a:lnTo>
                    <a:pt x="3201" y="846"/>
                  </a:lnTo>
                  <a:lnTo>
                    <a:pt x="3204" y="830"/>
                  </a:lnTo>
                  <a:lnTo>
                    <a:pt x="3204" y="821"/>
                  </a:lnTo>
                  <a:lnTo>
                    <a:pt x="3202" y="821"/>
                  </a:lnTo>
                  <a:lnTo>
                    <a:pt x="3204" y="819"/>
                  </a:lnTo>
                  <a:lnTo>
                    <a:pt x="3204" y="817"/>
                  </a:lnTo>
                  <a:lnTo>
                    <a:pt x="3198" y="814"/>
                  </a:lnTo>
                  <a:lnTo>
                    <a:pt x="3204" y="811"/>
                  </a:lnTo>
                  <a:lnTo>
                    <a:pt x="3207" y="807"/>
                  </a:lnTo>
                  <a:lnTo>
                    <a:pt x="3219" y="805"/>
                  </a:lnTo>
                  <a:lnTo>
                    <a:pt x="3224" y="801"/>
                  </a:lnTo>
                  <a:lnTo>
                    <a:pt x="3240" y="798"/>
                  </a:lnTo>
                  <a:lnTo>
                    <a:pt x="3245" y="798"/>
                  </a:lnTo>
                  <a:lnTo>
                    <a:pt x="3249" y="794"/>
                  </a:lnTo>
                  <a:lnTo>
                    <a:pt x="3255" y="792"/>
                  </a:lnTo>
                  <a:lnTo>
                    <a:pt x="3257" y="789"/>
                  </a:lnTo>
                  <a:lnTo>
                    <a:pt x="3258" y="789"/>
                  </a:lnTo>
                  <a:lnTo>
                    <a:pt x="3263" y="785"/>
                  </a:lnTo>
                  <a:lnTo>
                    <a:pt x="3263" y="781"/>
                  </a:lnTo>
                  <a:lnTo>
                    <a:pt x="3274" y="784"/>
                  </a:lnTo>
                  <a:lnTo>
                    <a:pt x="3276" y="781"/>
                  </a:lnTo>
                  <a:lnTo>
                    <a:pt x="3280" y="780"/>
                  </a:lnTo>
                  <a:lnTo>
                    <a:pt x="3287" y="781"/>
                  </a:lnTo>
                  <a:lnTo>
                    <a:pt x="3294" y="780"/>
                  </a:lnTo>
                  <a:lnTo>
                    <a:pt x="3299" y="779"/>
                  </a:lnTo>
                  <a:lnTo>
                    <a:pt x="3301" y="776"/>
                  </a:lnTo>
                  <a:lnTo>
                    <a:pt x="3302" y="774"/>
                  </a:lnTo>
                  <a:lnTo>
                    <a:pt x="3305" y="776"/>
                  </a:lnTo>
                  <a:lnTo>
                    <a:pt x="3307" y="781"/>
                  </a:lnTo>
                  <a:lnTo>
                    <a:pt x="3312" y="789"/>
                  </a:lnTo>
                  <a:lnTo>
                    <a:pt x="3319" y="806"/>
                  </a:lnTo>
                  <a:lnTo>
                    <a:pt x="3321" y="814"/>
                  </a:lnTo>
                  <a:lnTo>
                    <a:pt x="3321" y="834"/>
                  </a:lnTo>
                  <a:lnTo>
                    <a:pt x="3323" y="836"/>
                  </a:lnTo>
                  <a:lnTo>
                    <a:pt x="3324" y="846"/>
                  </a:lnTo>
                  <a:lnTo>
                    <a:pt x="3322" y="852"/>
                  </a:lnTo>
                  <a:lnTo>
                    <a:pt x="3318" y="855"/>
                  </a:lnTo>
                  <a:lnTo>
                    <a:pt x="3319" y="863"/>
                  </a:lnTo>
                  <a:lnTo>
                    <a:pt x="3315" y="864"/>
                  </a:lnTo>
                  <a:lnTo>
                    <a:pt x="3307" y="863"/>
                  </a:lnTo>
                  <a:lnTo>
                    <a:pt x="3305" y="866"/>
                  </a:lnTo>
                  <a:lnTo>
                    <a:pt x="3298" y="863"/>
                  </a:lnTo>
                  <a:lnTo>
                    <a:pt x="3286" y="868"/>
                  </a:lnTo>
                  <a:lnTo>
                    <a:pt x="3283" y="873"/>
                  </a:lnTo>
                  <a:lnTo>
                    <a:pt x="3272" y="879"/>
                  </a:lnTo>
                  <a:lnTo>
                    <a:pt x="3272" y="883"/>
                  </a:lnTo>
                  <a:lnTo>
                    <a:pt x="3269" y="883"/>
                  </a:lnTo>
                  <a:lnTo>
                    <a:pt x="3268" y="888"/>
                  </a:lnTo>
                  <a:lnTo>
                    <a:pt x="3266" y="892"/>
                  </a:lnTo>
                  <a:lnTo>
                    <a:pt x="3270" y="896"/>
                  </a:lnTo>
                  <a:lnTo>
                    <a:pt x="3277" y="897"/>
                  </a:lnTo>
                  <a:lnTo>
                    <a:pt x="3282" y="894"/>
                  </a:lnTo>
                  <a:lnTo>
                    <a:pt x="3286" y="896"/>
                  </a:lnTo>
                  <a:lnTo>
                    <a:pt x="3290" y="896"/>
                  </a:lnTo>
                  <a:lnTo>
                    <a:pt x="3293" y="885"/>
                  </a:lnTo>
                  <a:lnTo>
                    <a:pt x="3290" y="879"/>
                  </a:lnTo>
                  <a:lnTo>
                    <a:pt x="3294" y="879"/>
                  </a:lnTo>
                  <a:lnTo>
                    <a:pt x="3298" y="877"/>
                  </a:lnTo>
                  <a:lnTo>
                    <a:pt x="3299" y="873"/>
                  </a:lnTo>
                  <a:lnTo>
                    <a:pt x="3299" y="869"/>
                  </a:lnTo>
                  <a:lnTo>
                    <a:pt x="3299" y="868"/>
                  </a:lnTo>
                  <a:lnTo>
                    <a:pt x="3304" y="869"/>
                  </a:lnTo>
                  <a:lnTo>
                    <a:pt x="3307" y="868"/>
                  </a:lnTo>
                  <a:lnTo>
                    <a:pt x="3309" y="869"/>
                  </a:lnTo>
                  <a:lnTo>
                    <a:pt x="3312" y="869"/>
                  </a:lnTo>
                  <a:lnTo>
                    <a:pt x="3316" y="869"/>
                  </a:lnTo>
                  <a:lnTo>
                    <a:pt x="3319" y="874"/>
                  </a:lnTo>
                  <a:lnTo>
                    <a:pt x="3321" y="883"/>
                  </a:lnTo>
                  <a:lnTo>
                    <a:pt x="3323" y="881"/>
                  </a:lnTo>
                  <a:lnTo>
                    <a:pt x="3327" y="879"/>
                  </a:lnTo>
                  <a:lnTo>
                    <a:pt x="3330" y="879"/>
                  </a:lnTo>
                  <a:lnTo>
                    <a:pt x="3330" y="881"/>
                  </a:lnTo>
                  <a:lnTo>
                    <a:pt x="3330" y="883"/>
                  </a:lnTo>
                  <a:lnTo>
                    <a:pt x="3323" y="892"/>
                  </a:lnTo>
                  <a:close/>
                  <a:moveTo>
                    <a:pt x="2614" y="2304"/>
                  </a:moveTo>
                  <a:lnTo>
                    <a:pt x="2589" y="2337"/>
                  </a:lnTo>
                  <a:lnTo>
                    <a:pt x="2582" y="2348"/>
                  </a:lnTo>
                  <a:lnTo>
                    <a:pt x="2581" y="2357"/>
                  </a:lnTo>
                  <a:lnTo>
                    <a:pt x="2578" y="2364"/>
                  </a:lnTo>
                  <a:lnTo>
                    <a:pt x="2579" y="2368"/>
                  </a:lnTo>
                  <a:lnTo>
                    <a:pt x="2582" y="2368"/>
                  </a:lnTo>
                  <a:lnTo>
                    <a:pt x="2584" y="2368"/>
                  </a:lnTo>
                  <a:lnTo>
                    <a:pt x="2588" y="2374"/>
                  </a:lnTo>
                  <a:lnTo>
                    <a:pt x="2588" y="2376"/>
                  </a:lnTo>
                  <a:lnTo>
                    <a:pt x="2584" y="2382"/>
                  </a:lnTo>
                  <a:lnTo>
                    <a:pt x="2572" y="2393"/>
                  </a:lnTo>
                  <a:lnTo>
                    <a:pt x="2561" y="2390"/>
                  </a:lnTo>
                  <a:lnTo>
                    <a:pt x="2540" y="2394"/>
                  </a:lnTo>
                  <a:lnTo>
                    <a:pt x="2539" y="2393"/>
                  </a:lnTo>
                  <a:lnTo>
                    <a:pt x="2540" y="2390"/>
                  </a:lnTo>
                  <a:lnTo>
                    <a:pt x="2539" y="2386"/>
                  </a:lnTo>
                  <a:lnTo>
                    <a:pt x="2526" y="2379"/>
                  </a:lnTo>
                  <a:lnTo>
                    <a:pt x="2526" y="2376"/>
                  </a:lnTo>
                  <a:lnTo>
                    <a:pt x="2521" y="2364"/>
                  </a:lnTo>
                  <a:lnTo>
                    <a:pt x="2510" y="2349"/>
                  </a:lnTo>
                  <a:lnTo>
                    <a:pt x="2505" y="2345"/>
                  </a:lnTo>
                  <a:lnTo>
                    <a:pt x="2494" y="2340"/>
                  </a:lnTo>
                  <a:lnTo>
                    <a:pt x="2493" y="2335"/>
                  </a:lnTo>
                  <a:lnTo>
                    <a:pt x="2493" y="2327"/>
                  </a:lnTo>
                  <a:lnTo>
                    <a:pt x="2494" y="2323"/>
                  </a:lnTo>
                  <a:lnTo>
                    <a:pt x="2501" y="2316"/>
                  </a:lnTo>
                  <a:lnTo>
                    <a:pt x="2504" y="2303"/>
                  </a:lnTo>
                  <a:lnTo>
                    <a:pt x="2505" y="2303"/>
                  </a:lnTo>
                  <a:lnTo>
                    <a:pt x="2507" y="2304"/>
                  </a:lnTo>
                  <a:lnTo>
                    <a:pt x="2508" y="2303"/>
                  </a:lnTo>
                  <a:lnTo>
                    <a:pt x="2516" y="2290"/>
                  </a:lnTo>
                  <a:lnTo>
                    <a:pt x="2519" y="2286"/>
                  </a:lnTo>
                  <a:lnTo>
                    <a:pt x="2525" y="2286"/>
                  </a:lnTo>
                  <a:lnTo>
                    <a:pt x="2532" y="2282"/>
                  </a:lnTo>
                  <a:lnTo>
                    <a:pt x="2535" y="2282"/>
                  </a:lnTo>
                  <a:lnTo>
                    <a:pt x="2539" y="2282"/>
                  </a:lnTo>
                  <a:lnTo>
                    <a:pt x="2560" y="2274"/>
                  </a:lnTo>
                  <a:lnTo>
                    <a:pt x="2563" y="2274"/>
                  </a:lnTo>
                  <a:lnTo>
                    <a:pt x="2563" y="2277"/>
                  </a:lnTo>
                  <a:lnTo>
                    <a:pt x="2560" y="2278"/>
                  </a:lnTo>
                  <a:lnTo>
                    <a:pt x="2560" y="2282"/>
                  </a:lnTo>
                  <a:lnTo>
                    <a:pt x="2560" y="2285"/>
                  </a:lnTo>
                  <a:lnTo>
                    <a:pt x="2560" y="2289"/>
                  </a:lnTo>
                  <a:lnTo>
                    <a:pt x="2546" y="2297"/>
                  </a:lnTo>
                  <a:lnTo>
                    <a:pt x="2542" y="2300"/>
                  </a:lnTo>
                  <a:lnTo>
                    <a:pt x="2539" y="2300"/>
                  </a:lnTo>
                  <a:lnTo>
                    <a:pt x="2538" y="2304"/>
                  </a:lnTo>
                  <a:lnTo>
                    <a:pt x="2540" y="2308"/>
                  </a:lnTo>
                  <a:lnTo>
                    <a:pt x="2539" y="2311"/>
                  </a:lnTo>
                  <a:lnTo>
                    <a:pt x="2540" y="2312"/>
                  </a:lnTo>
                  <a:lnTo>
                    <a:pt x="2542" y="2312"/>
                  </a:lnTo>
                  <a:lnTo>
                    <a:pt x="2543" y="2311"/>
                  </a:lnTo>
                  <a:lnTo>
                    <a:pt x="2542" y="2304"/>
                  </a:lnTo>
                  <a:lnTo>
                    <a:pt x="2546" y="2300"/>
                  </a:lnTo>
                  <a:lnTo>
                    <a:pt x="2557" y="2295"/>
                  </a:lnTo>
                  <a:lnTo>
                    <a:pt x="2564" y="2289"/>
                  </a:lnTo>
                  <a:lnTo>
                    <a:pt x="2568" y="2289"/>
                  </a:lnTo>
                  <a:lnTo>
                    <a:pt x="2570" y="2289"/>
                  </a:lnTo>
                  <a:lnTo>
                    <a:pt x="2565" y="2285"/>
                  </a:lnTo>
                  <a:lnTo>
                    <a:pt x="2567" y="2278"/>
                  </a:lnTo>
                  <a:lnTo>
                    <a:pt x="2574" y="2274"/>
                  </a:lnTo>
                  <a:lnTo>
                    <a:pt x="2584" y="2274"/>
                  </a:lnTo>
                  <a:lnTo>
                    <a:pt x="2584" y="2277"/>
                  </a:lnTo>
                  <a:lnTo>
                    <a:pt x="2588" y="2282"/>
                  </a:lnTo>
                  <a:lnTo>
                    <a:pt x="2589" y="2286"/>
                  </a:lnTo>
                  <a:lnTo>
                    <a:pt x="2592" y="2286"/>
                  </a:lnTo>
                  <a:lnTo>
                    <a:pt x="2593" y="2289"/>
                  </a:lnTo>
                  <a:lnTo>
                    <a:pt x="2592" y="2293"/>
                  </a:lnTo>
                  <a:lnTo>
                    <a:pt x="2586" y="2297"/>
                  </a:lnTo>
                  <a:lnTo>
                    <a:pt x="2585" y="2300"/>
                  </a:lnTo>
                  <a:lnTo>
                    <a:pt x="2576" y="2307"/>
                  </a:lnTo>
                  <a:lnTo>
                    <a:pt x="2572" y="2311"/>
                  </a:lnTo>
                  <a:lnTo>
                    <a:pt x="2574" y="2312"/>
                  </a:lnTo>
                  <a:lnTo>
                    <a:pt x="2575" y="2312"/>
                  </a:lnTo>
                  <a:lnTo>
                    <a:pt x="2571" y="2316"/>
                  </a:lnTo>
                  <a:lnTo>
                    <a:pt x="2568" y="2319"/>
                  </a:lnTo>
                  <a:lnTo>
                    <a:pt x="2570" y="2319"/>
                  </a:lnTo>
                  <a:lnTo>
                    <a:pt x="2570" y="2318"/>
                  </a:lnTo>
                  <a:lnTo>
                    <a:pt x="2576" y="2316"/>
                  </a:lnTo>
                  <a:lnTo>
                    <a:pt x="2576" y="2312"/>
                  </a:lnTo>
                  <a:lnTo>
                    <a:pt x="2579" y="2308"/>
                  </a:lnTo>
                  <a:lnTo>
                    <a:pt x="2586" y="2308"/>
                  </a:lnTo>
                  <a:lnTo>
                    <a:pt x="2595" y="2300"/>
                  </a:lnTo>
                  <a:lnTo>
                    <a:pt x="2600" y="2297"/>
                  </a:lnTo>
                  <a:lnTo>
                    <a:pt x="2596" y="2304"/>
                  </a:lnTo>
                  <a:lnTo>
                    <a:pt x="2595" y="2308"/>
                  </a:lnTo>
                  <a:lnTo>
                    <a:pt x="2598" y="2312"/>
                  </a:lnTo>
                  <a:lnTo>
                    <a:pt x="2596" y="2312"/>
                  </a:lnTo>
                  <a:lnTo>
                    <a:pt x="2589" y="2312"/>
                  </a:lnTo>
                  <a:lnTo>
                    <a:pt x="2585" y="2316"/>
                  </a:lnTo>
                  <a:lnTo>
                    <a:pt x="2585" y="2323"/>
                  </a:lnTo>
                  <a:lnTo>
                    <a:pt x="2588" y="2327"/>
                  </a:lnTo>
                  <a:lnTo>
                    <a:pt x="2588" y="2331"/>
                  </a:lnTo>
                  <a:lnTo>
                    <a:pt x="2585" y="2335"/>
                  </a:lnTo>
                  <a:lnTo>
                    <a:pt x="2589" y="2331"/>
                  </a:lnTo>
                  <a:lnTo>
                    <a:pt x="2590" y="2327"/>
                  </a:lnTo>
                  <a:lnTo>
                    <a:pt x="2586" y="2319"/>
                  </a:lnTo>
                  <a:lnTo>
                    <a:pt x="2586" y="2318"/>
                  </a:lnTo>
                  <a:lnTo>
                    <a:pt x="2589" y="2316"/>
                  </a:lnTo>
                  <a:lnTo>
                    <a:pt x="2598" y="2318"/>
                  </a:lnTo>
                  <a:lnTo>
                    <a:pt x="2601" y="2316"/>
                  </a:lnTo>
                  <a:lnTo>
                    <a:pt x="2604" y="2312"/>
                  </a:lnTo>
                  <a:lnTo>
                    <a:pt x="2607" y="2299"/>
                  </a:lnTo>
                  <a:lnTo>
                    <a:pt x="2614" y="2295"/>
                  </a:lnTo>
                  <a:lnTo>
                    <a:pt x="2617" y="2295"/>
                  </a:lnTo>
                  <a:lnTo>
                    <a:pt x="2617" y="2299"/>
                  </a:lnTo>
                  <a:lnTo>
                    <a:pt x="2614" y="2304"/>
                  </a:lnTo>
                  <a:close/>
                  <a:moveTo>
                    <a:pt x="2499" y="2300"/>
                  </a:moveTo>
                  <a:lnTo>
                    <a:pt x="2500" y="2304"/>
                  </a:lnTo>
                  <a:lnTo>
                    <a:pt x="2497" y="2312"/>
                  </a:lnTo>
                  <a:lnTo>
                    <a:pt x="2491" y="2322"/>
                  </a:lnTo>
                  <a:lnTo>
                    <a:pt x="2490" y="2327"/>
                  </a:lnTo>
                  <a:lnTo>
                    <a:pt x="2491" y="2333"/>
                  </a:lnTo>
                  <a:lnTo>
                    <a:pt x="2490" y="2333"/>
                  </a:lnTo>
                  <a:lnTo>
                    <a:pt x="2489" y="2327"/>
                  </a:lnTo>
                  <a:lnTo>
                    <a:pt x="2486" y="2323"/>
                  </a:lnTo>
                  <a:lnTo>
                    <a:pt x="2486" y="2316"/>
                  </a:lnTo>
                  <a:lnTo>
                    <a:pt x="2482" y="2308"/>
                  </a:lnTo>
                  <a:lnTo>
                    <a:pt x="2483" y="2304"/>
                  </a:lnTo>
                  <a:lnTo>
                    <a:pt x="2496" y="2299"/>
                  </a:lnTo>
                  <a:lnTo>
                    <a:pt x="2499" y="2300"/>
                  </a:lnTo>
                  <a:close/>
                  <a:moveTo>
                    <a:pt x="3322" y="1128"/>
                  </a:moveTo>
                  <a:lnTo>
                    <a:pt x="3323" y="1128"/>
                  </a:lnTo>
                  <a:lnTo>
                    <a:pt x="3322" y="1137"/>
                  </a:lnTo>
                  <a:lnTo>
                    <a:pt x="3316" y="1145"/>
                  </a:lnTo>
                  <a:lnTo>
                    <a:pt x="3311" y="1149"/>
                  </a:lnTo>
                  <a:lnTo>
                    <a:pt x="3313" y="1141"/>
                  </a:lnTo>
                  <a:lnTo>
                    <a:pt x="3315" y="1141"/>
                  </a:lnTo>
                  <a:lnTo>
                    <a:pt x="3318" y="1140"/>
                  </a:lnTo>
                  <a:lnTo>
                    <a:pt x="3319" y="1134"/>
                  </a:lnTo>
                  <a:lnTo>
                    <a:pt x="3315" y="1135"/>
                  </a:lnTo>
                  <a:lnTo>
                    <a:pt x="3316" y="1133"/>
                  </a:lnTo>
                  <a:lnTo>
                    <a:pt x="3308" y="1128"/>
                  </a:lnTo>
                  <a:lnTo>
                    <a:pt x="3313" y="1132"/>
                  </a:lnTo>
                  <a:lnTo>
                    <a:pt x="3318" y="1132"/>
                  </a:lnTo>
                  <a:lnTo>
                    <a:pt x="3322" y="1128"/>
                  </a:lnTo>
                  <a:close/>
                  <a:moveTo>
                    <a:pt x="3255" y="1270"/>
                  </a:moveTo>
                  <a:lnTo>
                    <a:pt x="3254" y="1274"/>
                  </a:lnTo>
                  <a:lnTo>
                    <a:pt x="3249" y="1275"/>
                  </a:lnTo>
                  <a:lnTo>
                    <a:pt x="3251" y="1275"/>
                  </a:lnTo>
                  <a:lnTo>
                    <a:pt x="3249" y="1278"/>
                  </a:lnTo>
                  <a:lnTo>
                    <a:pt x="3247" y="1278"/>
                  </a:lnTo>
                  <a:lnTo>
                    <a:pt x="3244" y="1282"/>
                  </a:lnTo>
                  <a:lnTo>
                    <a:pt x="3244" y="1284"/>
                  </a:lnTo>
                  <a:lnTo>
                    <a:pt x="3240" y="1286"/>
                  </a:lnTo>
                  <a:lnTo>
                    <a:pt x="3240" y="1284"/>
                  </a:lnTo>
                  <a:lnTo>
                    <a:pt x="3240" y="1279"/>
                  </a:lnTo>
                  <a:lnTo>
                    <a:pt x="3245" y="1274"/>
                  </a:lnTo>
                  <a:lnTo>
                    <a:pt x="3254" y="1270"/>
                  </a:lnTo>
                  <a:lnTo>
                    <a:pt x="3255" y="1270"/>
                  </a:lnTo>
                  <a:close/>
                  <a:moveTo>
                    <a:pt x="3279" y="1308"/>
                  </a:moveTo>
                  <a:lnTo>
                    <a:pt x="3280" y="1308"/>
                  </a:lnTo>
                  <a:lnTo>
                    <a:pt x="3279" y="1315"/>
                  </a:lnTo>
                  <a:lnTo>
                    <a:pt x="3274" y="1321"/>
                  </a:lnTo>
                  <a:lnTo>
                    <a:pt x="3274" y="1319"/>
                  </a:lnTo>
                  <a:lnTo>
                    <a:pt x="3276" y="1315"/>
                  </a:lnTo>
                  <a:lnTo>
                    <a:pt x="3270" y="1311"/>
                  </a:lnTo>
                  <a:lnTo>
                    <a:pt x="3274" y="1311"/>
                  </a:lnTo>
                  <a:lnTo>
                    <a:pt x="3277" y="1308"/>
                  </a:lnTo>
                  <a:lnTo>
                    <a:pt x="3279" y="1311"/>
                  </a:lnTo>
                  <a:lnTo>
                    <a:pt x="3279" y="1308"/>
                  </a:lnTo>
                  <a:close/>
                  <a:moveTo>
                    <a:pt x="3290" y="1286"/>
                  </a:moveTo>
                  <a:lnTo>
                    <a:pt x="3291" y="1287"/>
                  </a:lnTo>
                  <a:lnTo>
                    <a:pt x="3288" y="1291"/>
                  </a:lnTo>
                  <a:lnTo>
                    <a:pt x="3288" y="1292"/>
                  </a:lnTo>
                  <a:lnTo>
                    <a:pt x="3287" y="1295"/>
                  </a:lnTo>
                  <a:lnTo>
                    <a:pt x="3284" y="1295"/>
                  </a:lnTo>
                  <a:lnTo>
                    <a:pt x="3283" y="1288"/>
                  </a:lnTo>
                  <a:lnTo>
                    <a:pt x="3286" y="1287"/>
                  </a:lnTo>
                  <a:lnTo>
                    <a:pt x="3286" y="1288"/>
                  </a:lnTo>
                  <a:lnTo>
                    <a:pt x="3288" y="1288"/>
                  </a:lnTo>
                  <a:lnTo>
                    <a:pt x="3290" y="1286"/>
                  </a:lnTo>
                  <a:close/>
                  <a:moveTo>
                    <a:pt x="3324" y="1088"/>
                  </a:moveTo>
                  <a:lnTo>
                    <a:pt x="3323" y="1087"/>
                  </a:lnTo>
                  <a:lnTo>
                    <a:pt x="3324" y="1084"/>
                  </a:lnTo>
                  <a:lnTo>
                    <a:pt x="3324" y="1087"/>
                  </a:lnTo>
                  <a:lnTo>
                    <a:pt x="3326" y="1087"/>
                  </a:lnTo>
                  <a:lnTo>
                    <a:pt x="3326" y="1079"/>
                  </a:lnTo>
                  <a:lnTo>
                    <a:pt x="3322" y="1083"/>
                  </a:lnTo>
                  <a:lnTo>
                    <a:pt x="3324" y="1079"/>
                  </a:lnTo>
                  <a:lnTo>
                    <a:pt x="3326" y="1079"/>
                  </a:lnTo>
                  <a:lnTo>
                    <a:pt x="3327" y="1079"/>
                  </a:lnTo>
                  <a:lnTo>
                    <a:pt x="3326" y="1088"/>
                  </a:lnTo>
                  <a:lnTo>
                    <a:pt x="3324" y="108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12" name="Freeform 311"/>
            <p:cNvSpPr>
              <a:spLocks noEditPoints="1"/>
            </p:cNvSpPr>
            <p:nvPr/>
          </p:nvSpPr>
          <p:spPr bwMode="auto">
            <a:xfrm>
              <a:off x="8023062" y="2628696"/>
              <a:ext cx="639562" cy="846336"/>
            </a:xfrm>
            <a:custGeom>
              <a:avLst/>
              <a:gdLst>
                <a:gd name="T0" fmla="*/ 3171 w 3208"/>
                <a:gd name="T1" fmla="*/ 1568 h 3136"/>
                <a:gd name="T2" fmla="*/ 2844 w 3208"/>
                <a:gd name="T3" fmla="*/ 1629 h 3136"/>
                <a:gd name="T4" fmla="*/ 2772 w 3208"/>
                <a:gd name="T5" fmla="*/ 1694 h 3136"/>
                <a:gd name="T6" fmla="*/ 2698 w 3208"/>
                <a:gd name="T7" fmla="*/ 1688 h 3136"/>
                <a:gd name="T8" fmla="*/ 2492 w 3208"/>
                <a:gd name="T9" fmla="*/ 1796 h 3136"/>
                <a:gd name="T10" fmla="*/ 2389 w 3208"/>
                <a:gd name="T11" fmla="*/ 1747 h 3136"/>
                <a:gd name="T12" fmla="*/ 2349 w 3208"/>
                <a:gd name="T13" fmla="*/ 1834 h 3136"/>
                <a:gd name="T14" fmla="*/ 2331 w 3208"/>
                <a:gd name="T15" fmla="*/ 1871 h 3136"/>
                <a:gd name="T16" fmla="*/ 2040 w 3208"/>
                <a:gd name="T17" fmla="*/ 1998 h 3136"/>
                <a:gd name="T18" fmla="*/ 1829 w 3208"/>
                <a:gd name="T19" fmla="*/ 2111 h 3136"/>
                <a:gd name="T20" fmla="*/ 1626 w 3208"/>
                <a:gd name="T21" fmla="*/ 2170 h 3136"/>
                <a:gd name="T22" fmla="*/ 1460 w 3208"/>
                <a:gd name="T23" fmla="*/ 2413 h 3136"/>
                <a:gd name="T24" fmla="*/ 1412 w 3208"/>
                <a:gd name="T25" fmla="*/ 2395 h 3136"/>
                <a:gd name="T26" fmla="*/ 1337 w 3208"/>
                <a:gd name="T27" fmla="*/ 2560 h 3136"/>
                <a:gd name="T28" fmla="*/ 1271 w 3208"/>
                <a:gd name="T29" fmla="*/ 2668 h 3136"/>
                <a:gd name="T30" fmla="*/ 1084 w 3208"/>
                <a:gd name="T31" fmla="*/ 2836 h 3136"/>
                <a:gd name="T32" fmla="*/ 1021 w 3208"/>
                <a:gd name="T33" fmla="*/ 2945 h 3136"/>
                <a:gd name="T34" fmla="*/ 908 w 3208"/>
                <a:gd name="T35" fmla="*/ 3036 h 3136"/>
                <a:gd name="T36" fmla="*/ 910 w 3208"/>
                <a:gd name="T37" fmla="*/ 3111 h 3136"/>
                <a:gd name="T38" fmla="*/ 807 w 3208"/>
                <a:gd name="T39" fmla="*/ 2998 h 3136"/>
                <a:gd name="T40" fmla="*/ 799 w 3208"/>
                <a:gd name="T41" fmla="*/ 2884 h 3136"/>
                <a:gd name="T42" fmla="*/ 623 w 3208"/>
                <a:gd name="T43" fmla="*/ 2613 h 3136"/>
                <a:gd name="T44" fmla="*/ 340 w 3208"/>
                <a:gd name="T45" fmla="*/ 2413 h 3136"/>
                <a:gd name="T46" fmla="*/ 172 w 3208"/>
                <a:gd name="T47" fmla="*/ 2222 h 3136"/>
                <a:gd name="T48" fmla="*/ 145 w 3208"/>
                <a:gd name="T49" fmla="*/ 2050 h 3136"/>
                <a:gd name="T50" fmla="*/ 156 w 3208"/>
                <a:gd name="T51" fmla="*/ 1879 h 3136"/>
                <a:gd name="T52" fmla="*/ 132 w 3208"/>
                <a:gd name="T53" fmla="*/ 1766 h 3136"/>
                <a:gd name="T54" fmla="*/ 127 w 3208"/>
                <a:gd name="T55" fmla="*/ 1605 h 3136"/>
                <a:gd name="T56" fmla="*/ 71 w 3208"/>
                <a:gd name="T57" fmla="*/ 1332 h 3136"/>
                <a:gd name="T58" fmla="*/ 122 w 3208"/>
                <a:gd name="T59" fmla="*/ 1091 h 3136"/>
                <a:gd name="T60" fmla="*/ 317 w 3208"/>
                <a:gd name="T61" fmla="*/ 932 h 3136"/>
                <a:gd name="T62" fmla="*/ 566 w 3208"/>
                <a:gd name="T63" fmla="*/ 368 h 3136"/>
                <a:gd name="T64" fmla="*/ 797 w 3208"/>
                <a:gd name="T65" fmla="*/ 355 h 3136"/>
                <a:gd name="T66" fmla="*/ 829 w 3208"/>
                <a:gd name="T67" fmla="*/ 366 h 3136"/>
                <a:gd name="T68" fmla="*/ 907 w 3208"/>
                <a:gd name="T69" fmla="*/ 352 h 3136"/>
                <a:gd name="T70" fmla="*/ 905 w 3208"/>
                <a:gd name="T71" fmla="*/ 315 h 3136"/>
                <a:gd name="T72" fmla="*/ 928 w 3208"/>
                <a:gd name="T73" fmla="*/ 295 h 3136"/>
                <a:gd name="T74" fmla="*/ 946 w 3208"/>
                <a:gd name="T75" fmla="*/ 275 h 3136"/>
                <a:gd name="T76" fmla="*/ 963 w 3208"/>
                <a:gd name="T77" fmla="*/ 251 h 3136"/>
                <a:gd name="T78" fmla="*/ 974 w 3208"/>
                <a:gd name="T79" fmla="*/ 233 h 3136"/>
                <a:gd name="T80" fmla="*/ 1010 w 3208"/>
                <a:gd name="T81" fmla="*/ 224 h 3136"/>
                <a:gd name="T82" fmla="*/ 1065 w 3208"/>
                <a:gd name="T83" fmla="*/ 201 h 3136"/>
                <a:gd name="T84" fmla="*/ 1181 w 3208"/>
                <a:gd name="T85" fmla="*/ 124 h 3136"/>
                <a:gd name="T86" fmla="*/ 1248 w 3208"/>
                <a:gd name="T87" fmla="*/ 14 h 3136"/>
                <a:gd name="T88" fmla="*/ 1722 w 3208"/>
                <a:gd name="T89" fmla="*/ 88 h 3136"/>
                <a:gd name="T90" fmla="*/ 1859 w 3208"/>
                <a:gd name="T91" fmla="*/ 142 h 3136"/>
                <a:gd name="T92" fmla="*/ 1961 w 3208"/>
                <a:gd name="T93" fmla="*/ 150 h 3136"/>
                <a:gd name="T94" fmla="*/ 2029 w 3208"/>
                <a:gd name="T95" fmla="*/ 195 h 3136"/>
                <a:gd name="T96" fmla="*/ 2186 w 3208"/>
                <a:gd name="T97" fmla="*/ 184 h 3136"/>
                <a:gd name="T98" fmla="*/ 2336 w 3208"/>
                <a:gd name="T99" fmla="*/ 253 h 3136"/>
                <a:gd name="T100" fmla="*/ 2435 w 3208"/>
                <a:gd name="T101" fmla="*/ 337 h 3136"/>
                <a:gd name="T102" fmla="*/ 2640 w 3208"/>
                <a:gd name="T103" fmla="*/ 412 h 3136"/>
                <a:gd name="T104" fmla="*/ 2776 w 3208"/>
                <a:gd name="T105" fmla="*/ 543 h 3136"/>
                <a:gd name="T106" fmla="*/ 2942 w 3208"/>
                <a:gd name="T107" fmla="*/ 640 h 3136"/>
                <a:gd name="T108" fmla="*/ 2994 w 3208"/>
                <a:gd name="T109" fmla="*/ 804 h 3136"/>
                <a:gd name="T110" fmla="*/ 3033 w 3208"/>
                <a:gd name="T111" fmla="*/ 970 h 3136"/>
                <a:gd name="T112" fmla="*/ 3130 w 3208"/>
                <a:gd name="T113" fmla="*/ 1175 h 3136"/>
                <a:gd name="T114" fmla="*/ 3096 w 3208"/>
                <a:gd name="T115" fmla="*/ 1326 h 3136"/>
                <a:gd name="T116" fmla="*/ 3174 w 3208"/>
                <a:gd name="T117" fmla="*/ 1436 h 3136"/>
                <a:gd name="T118" fmla="*/ 1416 w 3208"/>
                <a:gd name="T119" fmla="*/ 2392 h 3136"/>
                <a:gd name="T120" fmla="*/ 1388 w 3208"/>
                <a:gd name="T121" fmla="*/ 2319 h 3136"/>
                <a:gd name="T122" fmla="*/ 1848 w 3208"/>
                <a:gd name="T123" fmla="*/ 2102 h 31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208"/>
                <a:gd name="T187" fmla="*/ 0 h 3136"/>
                <a:gd name="T188" fmla="*/ 3208 w 3208"/>
                <a:gd name="T189" fmla="*/ 3136 h 31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208" h="3136">
                  <a:moveTo>
                    <a:pt x="3208" y="1522"/>
                  </a:moveTo>
                  <a:lnTo>
                    <a:pt x="3208" y="1526"/>
                  </a:lnTo>
                  <a:lnTo>
                    <a:pt x="3204" y="1531"/>
                  </a:lnTo>
                  <a:lnTo>
                    <a:pt x="3200" y="1535"/>
                  </a:lnTo>
                  <a:lnTo>
                    <a:pt x="3199" y="1534"/>
                  </a:lnTo>
                  <a:lnTo>
                    <a:pt x="3201" y="1527"/>
                  </a:lnTo>
                  <a:lnTo>
                    <a:pt x="3201" y="1526"/>
                  </a:lnTo>
                  <a:lnTo>
                    <a:pt x="3197" y="1527"/>
                  </a:lnTo>
                  <a:lnTo>
                    <a:pt x="3194" y="1534"/>
                  </a:lnTo>
                  <a:lnTo>
                    <a:pt x="3191" y="1534"/>
                  </a:lnTo>
                  <a:lnTo>
                    <a:pt x="3193" y="1535"/>
                  </a:lnTo>
                  <a:lnTo>
                    <a:pt x="3187" y="1538"/>
                  </a:lnTo>
                  <a:lnTo>
                    <a:pt x="3183" y="1538"/>
                  </a:lnTo>
                  <a:lnTo>
                    <a:pt x="3176" y="1542"/>
                  </a:lnTo>
                  <a:lnTo>
                    <a:pt x="3171" y="1542"/>
                  </a:lnTo>
                  <a:lnTo>
                    <a:pt x="3166" y="1548"/>
                  </a:lnTo>
                  <a:lnTo>
                    <a:pt x="3162" y="1550"/>
                  </a:lnTo>
                  <a:lnTo>
                    <a:pt x="3155" y="1548"/>
                  </a:lnTo>
                  <a:lnTo>
                    <a:pt x="3157" y="1552"/>
                  </a:lnTo>
                  <a:lnTo>
                    <a:pt x="3149" y="1553"/>
                  </a:lnTo>
                  <a:lnTo>
                    <a:pt x="3147" y="1558"/>
                  </a:lnTo>
                  <a:lnTo>
                    <a:pt x="3149" y="1561"/>
                  </a:lnTo>
                  <a:lnTo>
                    <a:pt x="3146" y="1564"/>
                  </a:lnTo>
                  <a:lnTo>
                    <a:pt x="3144" y="1567"/>
                  </a:lnTo>
                  <a:lnTo>
                    <a:pt x="3137" y="1568"/>
                  </a:lnTo>
                  <a:lnTo>
                    <a:pt x="3133" y="1568"/>
                  </a:lnTo>
                  <a:lnTo>
                    <a:pt x="3126" y="1571"/>
                  </a:lnTo>
                  <a:lnTo>
                    <a:pt x="3130" y="1572"/>
                  </a:lnTo>
                  <a:lnTo>
                    <a:pt x="3141" y="1571"/>
                  </a:lnTo>
                  <a:lnTo>
                    <a:pt x="3151" y="1572"/>
                  </a:lnTo>
                  <a:lnTo>
                    <a:pt x="3164" y="1575"/>
                  </a:lnTo>
                  <a:lnTo>
                    <a:pt x="3166" y="1572"/>
                  </a:lnTo>
                  <a:lnTo>
                    <a:pt x="3171" y="1568"/>
                  </a:lnTo>
                  <a:lnTo>
                    <a:pt x="3171" y="1556"/>
                  </a:lnTo>
                  <a:lnTo>
                    <a:pt x="3175" y="1550"/>
                  </a:lnTo>
                  <a:lnTo>
                    <a:pt x="3177" y="1550"/>
                  </a:lnTo>
                  <a:lnTo>
                    <a:pt x="3186" y="1550"/>
                  </a:lnTo>
                  <a:lnTo>
                    <a:pt x="3191" y="1553"/>
                  </a:lnTo>
                  <a:lnTo>
                    <a:pt x="3197" y="1553"/>
                  </a:lnTo>
                  <a:lnTo>
                    <a:pt x="3196" y="1563"/>
                  </a:lnTo>
                  <a:lnTo>
                    <a:pt x="3186" y="1575"/>
                  </a:lnTo>
                  <a:lnTo>
                    <a:pt x="3161" y="1612"/>
                  </a:lnTo>
                  <a:lnTo>
                    <a:pt x="3157" y="1615"/>
                  </a:lnTo>
                  <a:lnTo>
                    <a:pt x="3152" y="1617"/>
                  </a:lnTo>
                  <a:lnTo>
                    <a:pt x="3149" y="1617"/>
                  </a:lnTo>
                  <a:lnTo>
                    <a:pt x="3121" y="1613"/>
                  </a:lnTo>
                  <a:lnTo>
                    <a:pt x="3083" y="1617"/>
                  </a:lnTo>
                  <a:lnTo>
                    <a:pt x="3057" y="1623"/>
                  </a:lnTo>
                  <a:lnTo>
                    <a:pt x="3001" y="1646"/>
                  </a:lnTo>
                  <a:lnTo>
                    <a:pt x="2968" y="1655"/>
                  </a:lnTo>
                  <a:lnTo>
                    <a:pt x="2956" y="1656"/>
                  </a:lnTo>
                  <a:lnTo>
                    <a:pt x="2950" y="1658"/>
                  </a:lnTo>
                  <a:lnTo>
                    <a:pt x="2933" y="1662"/>
                  </a:lnTo>
                  <a:lnTo>
                    <a:pt x="2911" y="1664"/>
                  </a:lnTo>
                  <a:lnTo>
                    <a:pt x="2886" y="1665"/>
                  </a:lnTo>
                  <a:lnTo>
                    <a:pt x="2866" y="1674"/>
                  </a:lnTo>
                  <a:lnTo>
                    <a:pt x="2856" y="1672"/>
                  </a:lnTo>
                  <a:lnTo>
                    <a:pt x="2847" y="1665"/>
                  </a:lnTo>
                  <a:lnTo>
                    <a:pt x="2842" y="1656"/>
                  </a:lnTo>
                  <a:lnTo>
                    <a:pt x="2841" y="1646"/>
                  </a:lnTo>
                  <a:lnTo>
                    <a:pt x="2837" y="1646"/>
                  </a:lnTo>
                  <a:lnTo>
                    <a:pt x="2833" y="1642"/>
                  </a:lnTo>
                  <a:lnTo>
                    <a:pt x="2833" y="1638"/>
                  </a:lnTo>
                  <a:lnTo>
                    <a:pt x="2834" y="1635"/>
                  </a:lnTo>
                  <a:lnTo>
                    <a:pt x="2845" y="1631"/>
                  </a:lnTo>
                  <a:lnTo>
                    <a:pt x="2844" y="1629"/>
                  </a:lnTo>
                  <a:lnTo>
                    <a:pt x="2839" y="1625"/>
                  </a:lnTo>
                  <a:lnTo>
                    <a:pt x="2840" y="1629"/>
                  </a:lnTo>
                  <a:lnTo>
                    <a:pt x="2840" y="1631"/>
                  </a:lnTo>
                  <a:lnTo>
                    <a:pt x="2833" y="1631"/>
                  </a:lnTo>
                  <a:lnTo>
                    <a:pt x="2830" y="1634"/>
                  </a:lnTo>
                  <a:lnTo>
                    <a:pt x="2826" y="1643"/>
                  </a:lnTo>
                  <a:lnTo>
                    <a:pt x="2823" y="1639"/>
                  </a:lnTo>
                  <a:lnTo>
                    <a:pt x="2822" y="1643"/>
                  </a:lnTo>
                  <a:lnTo>
                    <a:pt x="2823" y="1647"/>
                  </a:lnTo>
                  <a:lnTo>
                    <a:pt x="2829" y="1647"/>
                  </a:lnTo>
                  <a:lnTo>
                    <a:pt x="2833" y="1651"/>
                  </a:lnTo>
                  <a:lnTo>
                    <a:pt x="2834" y="1656"/>
                  </a:lnTo>
                  <a:lnTo>
                    <a:pt x="2833" y="1660"/>
                  </a:lnTo>
                  <a:lnTo>
                    <a:pt x="2829" y="1665"/>
                  </a:lnTo>
                  <a:lnTo>
                    <a:pt x="2826" y="1665"/>
                  </a:lnTo>
                  <a:lnTo>
                    <a:pt x="2826" y="1664"/>
                  </a:lnTo>
                  <a:lnTo>
                    <a:pt x="2823" y="1665"/>
                  </a:lnTo>
                  <a:lnTo>
                    <a:pt x="2819" y="1669"/>
                  </a:lnTo>
                  <a:lnTo>
                    <a:pt x="2816" y="1676"/>
                  </a:lnTo>
                  <a:lnTo>
                    <a:pt x="2812" y="1680"/>
                  </a:lnTo>
                  <a:lnTo>
                    <a:pt x="2817" y="1680"/>
                  </a:lnTo>
                  <a:lnTo>
                    <a:pt x="2825" y="1674"/>
                  </a:lnTo>
                  <a:lnTo>
                    <a:pt x="2833" y="1674"/>
                  </a:lnTo>
                  <a:lnTo>
                    <a:pt x="2836" y="1669"/>
                  </a:lnTo>
                  <a:lnTo>
                    <a:pt x="2839" y="1669"/>
                  </a:lnTo>
                  <a:lnTo>
                    <a:pt x="2842" y="1669"/>
                  </a:lnTo>
                  <a:lnTo>
                    <a:pt x="2844" y="1672"/>
                  </a:lnTo>
                  <a:lnTo>
                    <a:pt x="2842" y="1676"/>
                  </a:lnTo>
                  <a:lnTo>
                    <a:pt x="2840" y="1677"/>
                  </a:lnTo>
                  <a:lnTo>
                    <a:pt x="2809" y="1688"/>
                  </a:lnTo>
                  <a:lnTo>
                    <a:pt x="2763" y="1699"/>
                  </a:lnTo>
                  <a:lnTo>
                    <a:pt x="2765" y="1696"/>
                  </a:lnTo>
                  <a:lnTo>
                    <a:pt x="2772" y="1694"/>
                  </a:lnTo>
                  <a:lnTo>
                    <a:pt x="2775" y="1692"/>
                  </a:lnTo>
                  <a:lnTo>
                    <a:pt x="2777" y="1688"/>
                  </a:lnTo>
                  <a:lnTo>
                    <a:pt x="2777" y="1684"/>
                  </a:lnTo>
                  <a:lnTo>
                    <a:pt x="2775" y="1684"/>
                  </a:lnTo>
                  <a:lnTo>
                    <a:pt x="2775" y="1688"/>
                  </a:lnTo>
                  <a:lnTo>
                    <a:pt x="2773" y="1691"/>
                  </a:lnTo>
                  <a:lnTo>
                    <a:pt x="2770" y="1691"/>
                  </a:lnTo>
                  <a:lnTo>
                    <a:pt x="2770" y="1676"/>
                  </a:lnTo>
                  <a:lnTo>
                    <a:pt x="2769" y="1674"/>
                  </a:lnTo>
                  <a:lnTo>
                    <a:pt x="2767" y="1680"/>
                  </a:lnTo>
                  <a:lnTo>
                    <a:pt x="2765" y="1680"/>
                  </a:lnTo>
                  <a:lnTo>
                    <a:pt x="2756" y="1662"/>
                  </a:lnTo>
                  <a:lnTo>
                    <a:pt x="2754" y="1665"/>
                  </a:lnTo>
                  <a:lnTo>
                    <a:pt x="2759" y="1679"/>
                  </a:lnTo>
                  <a:lnTo>
                    <a:pt x="2759" y="1684"/>
                  </a:lnTo>
                  <a:lnTo>
                    <a:pt x="2762" y="1688"/>
                  </a:lnTo>
                  <a:lnTo>
                    <a:pt x="2762" y="1691"/>
                  </a:lnTo>
                  <a:lnTo>
                    <a:pt x="2761" y="1692"/>
                  </a:lnTo>
                  <a:lnTo>
                    <a:pt x="2744" y="1699"/>
                  </a:lnTo>
                  <a:lnTo>
                    <a:pt x="2742" y="1702"/>
                  </a:lnTo>
                  <a:lnTo>
                    <a:pt x="2745" y="1702"/>
                  </a:lnTo>
                  <a:lnTo>
                    <a:pt x="2747" y="1706"/>
                  </a:lnTo>
                  <a:lnTo>
                    <a:pt x="2744" y="1709"/>
                  </a:lnTo>
                  <a:lnTo>
                    <a:pt x="2720" y="1714"/>
                  </a:lnTo>
                  <a:lnTo>
                    <a:pt x="2716" y="1714"/>
                  </a:lnTo>
                  <a:lnTo>
                    <a:pt x="2715" y="1710"/>
                  </a:lnTo>
                  <a:lnTo>
                    <a:pt x="2716" y="1706"/>
                  </a:lnTo>
                  <a:lnTo>
                    <a:pt x="2715" y="1702"/>
                  </a:lnTo>
                  <a:lnTo>
                    <a:pt x="2710" y="1705"/>
                  </a:lnTo>
                  <a:lnTo>
                    <a:pt x="2702" y="1701"/>
                  </a:lnTo>
                  <a:lnTo>
                    <a:pt x="2701" y="1694"/>
                  </a:lnTo>
                  <a:lnTo>
                    <a:pt x="2697" y="1691"/>
                  </a:lnTo>
                  <a:lnTo>
                    <a:pt x="2698" y="1688"/>
                  </a:lnTo>
                  <a:lnTo>
                    <a:pt x="2701" y="1688"/>
                  </a:lnTo>
                  <a:lnTo>
                    <a:pt x="2701" y="1684"/>
                  </a:lnTo>
                  <a:lnTo>
                    <a:pt x="2697" y="1688"/>
                  </a:lnTo>
                  <a:lnTo>
                    <a:pt x="2697" y="1694"/>
                  </a:lnTo>
                  <a:lnTo>
                    <a:pt x="2695" y="1696"/>
                  </a:lnTo>
                  <a:lnTo>
                    <a:pt x="2694" y="1699"/>
                  </a:lnTo>
                  <a:lnTo>
                    <a:pt x="2688" y="1694"/>
                  </a:lnTo>
                  <a:lnTo>
                    <a:pt x="2687" y="1694"/>
                  </a:lnTo>
                  <a:lnTo>
                    <a:pt x="2687" y="1701"/>
                  </a:lnTo>
                  <a:lnTo>
                    <a:pt x="2690" y="1702"/>
                  </a:lnTo>
                  <a:lnTo>
                    <a:pt x="2690" y="1705"/>
                  </a:lnTo>
                  <a:lnTo>
                    <a:pt x="2678" y="1714"/>
                  </a:lnTo>
                  <a:lnTo>
                    <a:pt x="2673" y="1718"/>
                  </a:lnTo>
                  <a:lnTo>
                    <a:pt x="2665" y="1721"/>
                  </a:lnTo>
                  <a:lnTo>
                    <a:pt x="2656" y="1721"/>
                  </a:lnTo>
                  <a:lnTo>
                    <a:pt x="2656" y="1722"/>
                  </a:lnTo>
                  <a:lnTo>
                    <a:pt x="2653" y="1725"/>
                  </a:lnTo>
                  <a:lnTo>
                    <a:pt x="2653" y="1726"/>
                  </a:lnTo>
                  <a:lnTo>
                    <a:pt x="2663" y="1727"/>
                  </a:lnTo>
                  <a:lnTo>
                    <a:pt x="2673" y="1726"/>
                  </a:lnTo>
                  <a:lnTo>
                    <a:pt x="2677" y="1725"/>
                  </a:lnTo>
                  <a:lnTo>
                    <a:pt x="2684" y="1717"/>
                  </a:lnTo>
                  <a:lnTo>
                    <a:pt x="2695" y="1713"/>
                  </a:lnTo>
                  <a:lnTo>
                    <a:pt x="2701" y="1714"/>
                  </a:lnTo>
                  <a:lnTo>
                    <a:pt x="2699" y="1718"/>
                  </a:lnTo>
                  <a:lnTo>
                    <a:pt x="2697" y="1721"/>
                  </a:lnTo>
                  <a:lnTo>
                    <a:pt x="2670" y="1729"/>
                  </a:lnTo>
                  <a:lnTo>
                    <a:pt x="2652" y="1733"/>
                  </a:lnTo>
                  <a:lnTo>
                    <a:pt x="2623" y="1747"/>
                  </a:lnTo>
                  <a:lnTo>
                    <a:pt x="2605" y="1751"/>
                  </a:lnTo>
                  <a:lnTo>
                    <a:pt x="2541" y="1778"/>
                  </a:lnTo>
                  <a:lnTo>
                    <a:pt x="2495" y="1794"/>
                  </a:lnTo>
                  <a:lnTo>
                    <a:pt x="2492" y="1796"/>
                  </a:lnTo>
                  <a:lnTo>
                    <a:pt x="2470" y="1804"/>
                  </a:lnTo>
                  <a:lnTo>
                    <a:pt x="2448" y="1816"/>
                  </a:lnTo>
                  <a:lnTo>
                    <a:pt x="2446" y="1818"/>
                  </a:lnTo>
                  <a:lnTo>
                    <a:pt x="2443" y="1825"/>
                  </a:lnTo>
                  <a:lnTo>
                    <a:pt x="2443" y="1830"/>
                  </a:lnTo>
                  <a:lnTo>
                    <a:pt x="2441" y="1833"/>
                  </a:lnTo>
                  <a:lnTo>
                    <a:pt x="2432" y="1834"/>
                  </a:lnTo>
                  <a:lnTo>
                    <a:pt x="2421" y="1843"/>
                  </a:lnTo>
                  <a:lnTo>
                    <a:pt x="2407" y="1845"/>
                  </a:lnTo>
                  <a:lnTo>
                    <a:pt x="2405" y="1845"/>
                  </a:lnTo>
                  <a:lnTo>
                    <a:pt x="2403" y="1843"/>
                  </a:lnTo>
                  <a:lnTo>
                    <a:pt x="2399" y="1838"/>
                  </a:lnTo>
                  <a:lnTo>
                    <a:pt x="2397" y="1829"/>
                  </a:lnTo>
                  <a:lnTo>
                    <a:pt x="2396" y="1812"/>
                  </a:lnTo>
                  <a:lnTo>
                    <a:pt x="2393" y="1792"/>
                  </a:lnTo>
                  <a:lnTo>
                    <a:pt x="2395" y="1789"/>
                  </a:lnTo>
                  <a:lnTo>
                    <a:pt x="2405" y="1781"/>
                  </a:lnTo>
                  <a:lnTo>
                    <a:pt x="2403" y="1781"/>
                  </a:lnTo>
                  <a:lnTo>
                    <a:pt x="2393" y="1786"/>
                  </a:lnTo>
                  <a:lnTo>
                    <a:pt x="2389" y="1778"/>
                  </a:lnTo>
                  <a:lnTo>
                    <a:pt x="2389" y="1776"/>
                  </a:lnTo>
                  <a:lnTo>
                    <a:pt x="2395" y="1763"/>
                  </a:lnTo>
                  <a:lnTo>
                    <a:pt x="2396" y="1754"/>
                  </a:lnTo>
                  <a:lnTo>
                    <a:pt x="2395" y="1751"/>
                  </a:lnTo>
                  <a:lnTo>
                    <a:pt x="2392" y="1754"/>
                  </a:lnTo>
                  <a:lnTo>
                    <a:pt x="2391" y="1751"/>
                  </a:lnTo>
                  <a:lnTo>
                    <a:pt x="2393" y="1744"/>
                  </a:lnTo>
                  <a:lnTo>
                    <a:pt x="2392" y="1741"/>
                  </a:lnTo>
                  <a:lnTo>
                    <a:pt x="2389" y="1741"/>
                  </a:lnTo>
                  <a:lnTo>
                    <a:pt x="2385" y="1741"/>
                  </a:lnTo>
                  <a:lnTo>
                    <a:pt x="2386" y="1743"/>
                  </a:lnTo>
                  <a:lnTo>
                    <a:pt x="2389" y="1744"/>
                  </a:lnTo>
                  <a:lnTo>
                    <a:pt x="2389" y="1747"/>
                  </a:lnTo>
                  <a:lnTo>
                    <a:pt x="2386" y="1749"/>
                  </a:lnTo>
                  <a:lnTo>
                    <a:pt x="2386" y="1750"/>
                  </a:lnTo>
                  <a:lnTo>
                    <a:pt x="2392" y="1759"/>
                  </a:lnTo>
                  <a:lnTo>
                    <a:pt x="2391" y="1767"/>
                  </a:lnTo>
                  <a:lnTo>
                    <a:pt x="2386" y="1769"/>
                  </a:lnTo>
                  <a:lnTo>
                    <a:pt x="2386" y="1776"/>
                  </a:lnTo>
                  <a:lnTo>
                    <a:pt x="2382" y="1778"/>
                  </a:lnTo>
                  <a:lnTo>
                    <a:pt x="2378" y="1780"/>
                  </a:lnTo>
                  <a:lnTo>
                    <a:pt x="2375" y="1778"/>
                  </a:lnTo>
                  <a:lnTo>
                    <a:pt x="2370" y="1772"/>
                  </a:lnTo>
                  <a:lnTo>
                    <a:pt x="2363" y="1767"/>
                  </a:lnTo>
                  <a:lnTo>
                    <a:pt x="2356" y="1766"/>
                  </a:lnTo>
                  <a:lnTo>
                    <a:pt x="2352" y="1767"/>
                  </a:lnTo>
                  <a:lnTo>
                    <a:pt x="2349" y="1767"/>
                  </a:lnTo>
                  <a:lnTo>
                    <a:pt x="2349" y="1771"/>
                  </a:lnTo>
                  <a:lnTo>
                    <a:pt x="2347" y="1772"/>
                  </a:lnTo>
                  <a:lnTo>
                    <a:pt x="2357" y="1784"/>
                  </a:lnTo>
                  <a:lnTo>
                    <a:pt x="2366" y="1792"/>
                  </a:lnTo>
                  <a:lnTo>
                    <a:pt x="2385" y="1803"/>
                  </a:lnTo>
                  <a:lnTo>
                    <a:pt x="2386" y="1808"/>
                  </a:lnTo>
                  <a:lnTo>
                    <a:pt x="2386" y="1820"/>
                  </a:lnTo>
                  <a:lnTo>
                    <a:pt x="2381" y="1822"/>
                  </a:lnTo>
                  <a:lnTo>
                    <a:pt x="2377" y="1834"/>
                  </a:lnTo>
                  <a:lnTo>
                    <a:pt x="2372" y="1834"/>
                  </a:lnTo>
                  <a:lnTo>
                    <a:pt x="2357" y="1826"/>
                  </a:lnTo>
                  <a:lnTo>
                    <a:pt x="2346" y="1826"/>
                  </a:lnTo>
                  <a:lnTo>
                    <a:pt x="2343" y="1826"/>
                  </a:lnTo>
                  <a:lnTo>
                    <a:pt x="2342" y="1816"/>
                  </a:lnTo>
                  <a:lnTo>
                    <a:pt x="2339" y="1816"/>
                  </a:lnTo>
                  <a:lnTo>
                    <a:pt x="2339" y="1822"/>
                  </a:lnTo>
                  <a:lnTo>
                    <a:pt x="2338" y="1825"/>
                  </a:lnTo>
                  <a:lnTo>
                    <a:pt x="2342" y="1830"/>
                  </a:lnTo>
                  <a:lnTo>
                    <a:pt x="2349" y="1834"/>
                  </a:lnTo>
                  <a:lnTo>
                    <a:pt x="2356" y="1833"/>
                  </a:lnTo>
                  <a:lnTo>
                    <a:pt x="2370" y="1838"/>
                  </a:lnTo>
                  <a:lnTo>
                    <a:pt x="2370" y="1842"/>
                  </a:lnTo>
                  <a:lnTo>
                    <a:pt x="2361" y="1841"/>
                  </a:lnTo>
                  <a:lnTo>
                    <a:pt x="2360" y="1841"/>
                  </a:lnTo>
                  <a:lnTo>
                    <a:pt x="2360" y="1842"/>
                  </a:lnTo>
                  <a:lnTo>
                    <a:pt x="2368" y="1845"/>
                  </a:lnTo>
                  <a:lnTo>
                    <a:pt x="2381" y="1843"/>
                  </a:lnTo>
                  <a:lnTo>
                    <a:pt x="2385" y="1845"/>
                  </a:lnTo>
                  <a:lnTo>
                    <a:pt x="2383" y="1848"/>
                  </a:lnTo>
                  <a:lnTo>
                    <a:pt x="2381" y="1849"/>
                  </a:lnTo>
                  <a:lnTo>
                    <a:pt x="2363" y="1856"/>
                  </a:lnTo>
                  <a:lnTo>
                    <a:pt x="2361" y="1865"/>
                  </a:lnTo>
                  <a:lnTo>
                    <a:pt x="2349" y="1866"/>
                  </a:lnTo>
                  <a:lnTo>
                    <a:pt x="2339" y="1867"/>
                  </a:lnTo>
                  <a:lnTo>
                    <a:pt x="2338" y="1867"/>
                  </a:lnTo>
                  <a:lnTo>
                    <a:pt x="2336" y="1866"/>
                  </a:lnTo>
                  <a:lnTo>
                    <a:pt x="2333" y="1867"/>
                  </a:lnTo>
                  <a:lnTo>
                    <a:pt x="2330" y="1856"/>
                  </a:lnTo>
                  <a:lnTo>
                    <a:pt x="2325" y="1853"/>
                  </a:lnTo>
                  <a:lnTo>
                    <a:pt x="2311" y="1845"/>
                  </a:lnTo>
                  <a:lnTo>
                    <a:pt x="2303" y="1830"/>
                  </a:lnTo>
                  <a:lnTo>
                    <a:pt x="2302" y="1830"/>
                  </a:lnTo>
                  <a:lnTo>
                    <a:pt x="2302" y="1833"/>
                  </a:lnTo>
                  <a:lnTo>
                    <a:pt x="2302" y="1838"/>
                  </a:lnTo>
                  <a:lnTo>
                    <a:pt x="2300" y="1838"/>
                  </a:lnTo>
                  <a:lnTo>
                    <a:pt x="2293" y="1834"/>
                  </a:lnTo>
                  <a:lnTo>
                    <a:pt x="2300" y="1842"/>
                  </a:lnTo>
                  <a:lnTo>
                    <a:pt x="2311" y="1851"/>
                  </a:lnTo>
                  <a:lnTo>
                    <a:pt x="2318" y="1853"/>
                  </a:lnTo>
                  <a:lnTo>
                    <a:pt x="2322" y="1856"/>
                  </a:lnTo>
                  <a:lnTo>
                    <a:pt x="2332" y="1871"/>
                  </a:lnTo>
                  <a:lnTo>
                    <a:pt x="2331" y="1871"/>
                  </a:lnTo>
                  <a:lnTo>
                    <a:pt x="2310" y="1878"/>
                  </a:lnTo>
                  <a:lnTo>
                    <a:pt x="2300" y="1881"/>
                  </a:lnTo>
                  <a:lnTo>
                    <a:pt x="2285" y="1883"/>
                  </a:lnTo>
                  <a:lnTo>
                    <a:pt x="2246" y="1898"/>
                  </a:lnTo>
                  <a:lnTo>
                    <a:pt x="2235" y="1904"/>
                  </a:lnTo>
                  <a:lnTo>
                    <a:pt x="2214" y="1913"/>
                  </a:lnTo>
                  <a:lnTo>
                    <a:pt x="2202" y="1920"/>
                  </a:lnTo>
                  <a:lnTo>
                    <a:pt x="2161" y="1937"/>
                  </a:lnTo>
                  <a:lnTo>
                    <a:pt x="2115" y="1961"/>
                  </a:lnTo>
                  <a:lnTo>
                    <a:pt x="2073" y="1986"/>
                  </a:lnTo>
                  <a:lnTo>
                    <a:pt x="2057" y="1991"/>
                  </a:lnTo>
                  <a:lnTo>
                    <a:pt x="2053" y="1991"/>
                  </a:lnTo>
                  <a:lnTo>
                    <a:pt x="2053" y="1987"/>
                  </a:lnTo>
                  <a:lnTo>
                    <a:pt x="2053" y="1986"/>
                  </a:lnTo>
                  <a:lnTo>
                    <a:pt x="2060" y="1983"/>
                  </a:lnTo>
                  <a:lnTo>
                    <a:pt x="2076" y="1968"/>
                  </a:lnTo>
                  <a:lnTo>
                    <a:pt x="2082" y="1968"/>
                  </a:lnTo>
                  <a:lnTo>
                    <a:pt x="2089" y="1968"/>
                  </a:lnTo>
                  <a:lnTo>
                    <a:pt x="2097" y="1968"/>
                  </a:lnTo>
                  <a:lnTo>
                    <a:pt x="2098" y="1968"/>
                  </a:lnTo>
                  <a:lnTo>
                    <a:pt x="2098" y="1965"/>
                  </a:lnTo>
                  <a:lnTo>
                    <a:pt x="2098" y="1968"/>
                  </a:lnTo>
                  <a:lnTo>
                    <a:pt x="2096" y="1968"/>
                  </a:lnTo>
                  <a:lnTo>
                    <a:pt x="2087" y="1967"/>
                  </a:lnTo>
                  <a:lnTo>
                    <a:pt x="2082" y="1965"/>
                  </a:lnTo>
                  <a:lnTo>
                    <a:pt x="2076" y="1965"/>
                  </a:lnTo>
                  <a:lnTo>
                    <a:pt x="2068" y="1968"/>
                  </a:lnTo>
                  <a:lnTo>
                    <a:pt x="2060" y="1977"/>
                  </a:lnTo>
                  <a:lnTo>
                    <a:pt x="2051" y="1980"/>
                  </a:lnTo>
                  <a:lnTo>
                    <a:pt x="2047" y="1983"/>
                  </a:lnTo>
                  <a:lnTo>
                    <a:pt x="2044" y="1983"/>
                  </a:lnTo>
                  <a:lnTo>
                    <a:pt x="2040" y="1987"/>
                  </a:lnTo>
                  <a:lnTo>
                    <a:pt x="2040" y="1998"/>
                  </a:lnTo>
                  <a:lnTo>
                    <a:pt x="2037" y="2003"/>
                  </a:lnTo>
                  <a:lnTo>
                    <a:pt x="2001" y="2022"/>
                  </a:lnTo>
                  <a:lnTo>
                    <a:pt x="1978" y="2036"/>
                  </a:lnTo>
                  <a:lnTo>
                    <a:pt x="1972" y="2036"/>
                  </a:lnTo>
                  <a:lnTo>
                    <a:pt x="1965" y="2032"/>
                  </a:lnTo>
                  <a:lnTo>
                    <a:pt x="1950" y="2032"/>
                  </a:lnTo>
                  <a:lnTo>
                    <a:pt x="1944" y="2028"/>
                  </a:lnTo>
                  <a:lnTo>
                    <a:pt x="1942" y="2028"/>
                  </a:lnTo>
                  <a:lnTo>
                    <a:pt x="1933" y="2030"/>
                  </a:lnTo>
                  <a:lnTo>
                    <a:pt x="1932" y="2036"/>
                  </a:lnTo>
                  <a:lnTo>
                    <a:pt x="1934" y="2042"/>
                  </a:lnTo>
                  <a:lnTo>
                    <a:pt x="1936" y="2036"/>
                  </a:lnTo>
                  <a:lnTo>
                    <a:pt x="1940" y="2032"/>
                  </a:lnTo>
                  <a:lnTo>
                    <a:pt x="1953" y="2036"/>
                  </a:lnTo>
                  <a:lnTo>
                    <a:pt x="1954" y="2039"/>
                  </a:lnTo>
                  <a:lnTo>
                    <a:pt x="1956" y="2042"/>
                  </a:lnTo>
                  <a:lnTo>
                    <a:pt x="1956" y="2044"/>
                  </a:lnTo>
                  <a:lnTo>
                    <a:pt x="1946" y="2052"/>
                  </a:lnTo>
                  <a:lnTo>
                    <a:pt x="1921" y="2065"/>
                  </a:lnTo>
                  <a:lnTo>
                    <a:pt x="1879" y="2083"/>
                  </a:lnTo>
                  <a:lnTo>
                    <a:pt x="1854" y="2097"/>
                  </a:lnTo>
                  <a:lnTo>
                    <a:pt x="1852" y="2097"/>
                  </a:lnTo>
                  <a:lnTo>
                    <a:pt x="1852" y="2091"/>
                  </a:lnTo>
                  <a:lnTo>
                    <a:pt x="1851" y="2089"/>
                  </a:lnTo>
                  <a:lnTo>
                    <a:pt x="1847" y="2085"/>
                  </a:lnTo>
                  <a:lnTo>
                    <a:pt x="1850" y="2091"/>
                  </a:lnTo>
                  <a:lnTo>
                    <a:pt x="1847" y="2097"/>
                  </a:lnTo>
                  <a:lnTo>
                    <a:pt x="1843" y="2097"/>
                  </a:lnTo>
                  <a:lnTo>
                    <a:pt x="1836" y="2097"/>
                  </a:lnTo>
                  <a:lnTo>
                    <a:pt x="1832" y="2097"/>
                  </a:lnTo>
                  <a:lnTo>
                    <a:pt x="1830" y="2100"/>
                  </a:lnTo>
                  <a:lnTo>
                    <a:pt x="1830" y="2107"/>
                  </a:lnTo>
                  <a:lnTo>
                    <a:pt x="1829" y="2111"/>
                  </a:lnTo>
                  <a:lnTo>
                    <a:pt x="1776" y="2141"/>
                  </a:lnTo>
                  <a:lnTo>
                    <a:pt x="1771" y="2145"/>
                  </a:lnTo>
                  <a:lnTo>
                    <a:pt x="1769" y="2145"/>
                  </a:lnTo>
                  <a:lnTo>
                    <a:pt x="1769" y="2144"/>
                  </a:lnTo>
                  <a:lnTo>
                    <a:pt x="1782" y="2137"/>
                  </a:lnTo>
                  <a:lnTo>
                    <a:pt x="1786" y="2133"/>
                  </a:lnTo>
                  <a:lnTo>
                    <a:pt x="1779" y="2136"/>
                  </a:lnTo>
                  <a:lnTo>
                    <a:pt x="1779" y="2128"/>
                  </a:lnTo>
                  <a:lnTo>
                    <a:pt x="1772" y="2136"/>
                  </a:lnTo>
                  <a:lnTo>
                    <a:pt x="1755" y="2145"/>
                  </a:lnTo>
                  <a:lnTo>
                    <a:pt x="1754" y="2154"/>
                  </a:lnTo>
                  <a:lnTo>
                    <a:pt x="1749" y="2160"/>
                  </a:lnTo>
                  <a:lnTo>
                    <a:pt x="1743" y="2160"/>
                  </a:lnTo>
                  <a:lnTo>
                    <a:pt x="1737" y="2160"/>
                  </a:lnTo>
                  <a:lnTo>
                    <a:pt x="1729" y="2158"/>
                  </a:lnTo>
                  <a:lnTo>
                    <a:pt x="1724" y="2160"/>
                  </a:lnTo>
                  <a:lnTo>
                    <a:pt x="1723" y="2162"/>
                  </a:lnTo>
                  <a:lnTo>
                    <a:pt x="1723" y="2166"/>
                  </a:lnTo>
                  <a:lnTo>
                    <a:pt x="1729" y="2164"/>
                  </a:lnTo>
                  <a:lnTo>
                    <a:pt x="1729" y="2166"/>
                  </a:lnTo>
                  <a:lnTo>
                    <a:pt x="1727" y="2168"/>
                  </a:lnTo>
                  <a:lnTo>
                    <a:pt x="1688" y="2195"/>
                  </a:lnTo>
                  <a:lnTo>
                    <a:pt x="1674" y="2208"/>
                  </a:lnTo>
                  <a:lnTo>
                    <a:pt x="1669" y="2215"/>
                  </a:lnTo>
                  <a:lnTo>
                    <a:pt x="1663" y="2219"/>
                  </a:lnTo>
                  <a:lnTo>
                    <a:pt x="1659" y="2219"/>
                  </a:lnTo>
                  <a:lnTo>
                    <a:pt x="1657" y="2216"/>
                  </a:lnTo>
                  <a:lnTo>
                    <a:pt x="1649" y="2201"/>
                  </a:lnTo>
                  <a:lnTo>
                    <a:pt x="1643" y="2189"/>
                  </a:lnTo>
                  <a:lnTo>
                    <a:pt x="1641" y="2181"/>
                  </a:lnTo>
                  <a:lnTo>
                    <a:pt x="1638" y="2174"/>
                  </a:lnTo>
                  <a:lnTo>
                    <a:pt x="1630" y="2170"/>
                  </a:lnTo>
                  <a:lnTo>
                    <a:pt x="1626" y="2170"/>
                  </a:lnTo>
                  <a:lnTo>
                    <a:pt x="1613" y="2177"/>
                  </a:lnTo>
                  <a:lnTo>
                    <a:pt x="1611" y="2177"/>
                  </a:lnTo>
                  <a:lnTo>
                    <a:pt x="1608" y="2174"/>
                  </a:lnTo>
                  <a:lnTo>
                    <a:pt x="1611" y="2178"/>
                  </a:lnTo>
                  <a:lnTo>
                    <a:pt x="1613" y="2181"/>
                  </a:lnTo>
                  <a:lnTo>
                    <a:pt x="1627" y="2174"/>
                  </a:lnTo>
                  <a:lnTo>
                    <a:pt x="1632" y="2178"/>
                  </a:lnTo>
                  <a:lnTo>
                    <a:pt x="1633" y="2182"/>
                  </a:lnTo>
                  <a:lnTo>
                    <a:pt x="1636" y="2194"/>
                  </a:lnTo>
                  <a:lnTo>
                    <a:pt x="1634" y="2201"/>
                  </a:lnTo>
                  <a:lnTo>
                    <a:pt x="1636" y="2204"/>
                  </a:lnTo>
                  <a:lnTo>
                    <a:pt x="1638" y="2201"/>
                  </a:lnTo>
                  <a:lnTo>
                    <a:pt x="1640" y="2201"/>
                  </a:lnTo>
                  <a:lnTo>
                    <a:pt x="1641" y="2208"/>
                  </a:lnTo>
                  <a:lnTo>
                    <a:pt x="1648" y="2216"/>
                  </a:lnTo>
                  <a:lnTo>
                    <a:pt x="1648" y="2219"/>
                  </a:lnTo>
                  <a:lnTo>
                    <a:pt x="1646" y="2226"/>
                  </a:lnTo>
                  <a:lnTo>
                    <a:pt x="1638" y="2235"/>
                  </a:lnTo>
                  <a:lnTo>
                    <a:pt x="1622" y="2245"/>
                  </a:lnTo>
                  <a:lnTo>
                    <a:pt x="1612" y="2257"/>
                  </a:lnTo>
                  <a:lnTo>
                    <a:pt x="1602" y="2265"/>
                  </a:lnTo>
                  <a:lnTo>
                    <a:pt x="1576" y="2294"/>
                  </a:lnTo>
                  <a:lnTo>
                    <a:pt x="1531" y="2355"/>
                  </a:lnTo>
                  <a:lnTo>
                    <a:pt x="1520" y="2365"/>
                  </a:lnTo>
                  <a:lnTo>
                    <a:pt x="1506" y="2388"/>
                  </a:lnTo>
                  <a:lnTo>
                    <a:pt x="1491" y="2407"/>
                  </a:lnTo>
                  <a:lnTo>
                    <a:pt x="1489" y="2410"/>
                  </a:lnTo>
                  <a:lnTo>
                    <a:pt x="1480" y="2425"/>
                  </a:lnTo>
                  <a:lnTo>
                    <a:pt x="1474" y="2429"/>
                  </a:lnTo>
                  <a:lnTo>
                    <a:pt x="1470" y="2429"/>
                  </a:lnTo>
                  <a:lnTo>
                    <a:pt x="1464" y="2420"/>
                  </a:lnTo>
                  <a:lnTo>
                    <a:pt x="1463" y="2417"/>
                  </a:lnTo>
                  <a:lnTo>
                    <a:pt x="1460" y="2413"/>
                  </a:lnTo>
                  <a:lnTo>
                    <a:pt x="1462" y="2410"/>
                  </a:lnTo>
                  <a:lnTo>
                    <a:pt x="1453" y="2395"/>
                  </a:lnTo>
                  <a:lnTo>
                    <a:pt x="1439" y="2385"/>
                  </a:lnTo>
                  <a:lnTo>
                    <a:pt x="1428" y="2380"/>
                  </a:lnTo>
                  <a:lnTo>
                    <a:pt x="1427" y="2377"/>
                  </a:lnTo>
                  <a:lnTo>
                    <a:pt x="1425" y="2373"/>
                  </a:lnTo>
                  <a:lnTo>
                    <a:pt x="1423" y="2368"/>
                  </a:lnTo>
                  <a:lnTo>
                    <a:pt x="1423" y="2369"/>
                  </a:lnTo>
                  <a:lnTo>
                    <a:pt x="1423" y="2372"/>
                  </a:lnTo>
                  <a:lnTo>
                    <a:pt x="1422" y="2372"/>
                  </a:lnTo>
                  <a:lnTo>
                    <a:pt x="1419" y="2361"/>
                  </a:lnTo>
                  <a:lnTo>
                    <a:pt x="1417" y="2357"/>
                  </a:lnTo>
                  <a:lnTo>
                    <a:pt x="1420" y="2350"/>
                  </a:lnTo>
                  <a:lnTo>
                    <a:pt x="1420" y="2339"/>
                  </a:lnTo>
                  <a:lnTo>
                    <a:pt x="1417" y="2328"/>
                  </a:lnTo>
                  <a:lnTo>
                    <a:pt x="1412" y="2320"/>
                  </a:lnTo>
                  <a:lnTo>
                    <a:pt x="1403" y="2320"/>
                  </a:lnTo>
                  <a:lnTo>
                    <a:pt x="1394" y="2314"/>
                  </a:lnTo>
                  <a:lnTo>
                    <a:pt x="1387" y="2313"/>
                  </a:lnTo>
                  <a:lnTo>
                    <a:pt x="1375" y="2315"/>
                  </a:lnTo>
                  <a:lnTo>
                    <a:pt x="1369" y="2323"/>
                  </a:lnTo>
                  <a:lnTo>
                    <a:pt x="1364" y="2325"/>
                  </a:lnTo>
                  <a:lnTo>
                    <a:pt x="1356" y="2327"/>
                  </a:lnTo>
                  <a:lnTo>
                    <a:pt x="1344" y="2332"/>
                  </a:lnTo>
                  <a:lnTo>
                    <a:pt x="1339" y="2338"/>
                  </a:lnTo>
                  <a:lnTo>
                    <a:pt x="1348" y="2338"/>
                  </a:lnTo>
                  <a:lnTo>
                    <a:pt x="1369" y="2331"/>
                  </a:lnTo>
                  <a:lnTo>
                    <a:pt x="1394" y="2325"/>
                  </a:lnTo>
                  <a:lnTo>
                    <a:pt x="1398" y="2325"/>
                  </a:lnTo>
                  <a:lnTo>
                    <a:pt x="1399" y="2336"/>
                  </a:lnTo>
                  <a:lnTo>
                    <a:pt x="1405" y="2360"/>
                  </a:lnTo>
                  <a:lnTo>
                    <a:pt x="1405" y="2373"/>
                  </a:lnTo>
                  <a:lnTo>
                    <a:pt x="1412" y="2395"/>
                  </a:lnTo>
                  <a:lnTo>
                    <a:pt x="1413" y="2410"/>
                  </a:lnTo>
                  <a:lnTo>
                    <a:pt x="1413" y="2417"/>
                  </a:lnTo>
                  <a:lnTo>
                    <a:pt x="1416" y="2426"/>
                  </a:lnTo>
                  <a:lnTo>
                    <a:pt x="1420" y="2431"/>
                  </a:lnTo>
                  <a:lnTo>
                    <a:pt x="1425" y="2435"/>
                  </a:lnTo>
                  <a:lnTo>
                    <a:pt x="1442" y="2435"/>
                  </a:lnTo>
                  <a:lnTo>
                    <a:pt x="1447" y="2440"/>
                  </a:lnTo>
                  <a:lnTo>
                    <a:pt x="1453" y="2440"/>
                  </a:lnTo>
                  <a:lnTo>
                    <a:pt x="1455" y="2444"/>
                  </a:lnTo>
                  <a:lnTo>
                    <a:pt x="1460" y="2440"/>
                  </a:lnTo>
                  <a:lnTo>
                    <a:pt x="1462" y="2443"/>
                  </a:lnTo>
                  <a:lnTo>
                    <a:pt x="1463" y="2444"/>
                  </a:lnTo>
                  <a:lnTo>
                    <a:pt x="1460" y="2452"/>
                  </a:lnTo>
                  <a:lnTo>
                    <a:pt x="1462" y="2459"/>
                  </a:lnTo>
                  <a:lnTo>
                    <a:pt x="1460" y="2463"/>
                  </a:lnTo>
                  <a:lnTo>
                    <a:pt x="1419" y="2506"/>
                  </a:lnTo>
                  <a:lnTo>
                    <a:pt x="1408" y="2519"/>
                  </a:lnTo>
                  <a:lnTo>
                    <a:pt x="1394" y="2538"/>
                  </a:lnTo>
                  <a:lnTo>
                    <a:pt x="1391" y="2549"/>
                  </a:lnTo>
                  <a:lnTo>
                    <a:pt x="1391" y="2560"/>
                  </a:lnTo>
                  <a:lnTo>
                    <a:pt x="1388" y="2563"/>
                  </a:lnTo>
                  <a:lnTo>
                    <a:pt x="1378" y="2559"/>
                  </a:lnTo>
                  <a:lnTo>
                    <a:pt x="1367" y="2556"/>
                  </a:lnTo>
                  <a:lnTo>
                    <a:pt x="1359" y="2552"/>
                  </a:lnTo>
                  <a:lnTo>
                    <a:pt x="1359" y="2551"/>
                  </a:lnTo>
                  <a:lnTo>
                    <a:pt x="1362" y="2550"/>
                  </a:lnTo>
                  <a:lnTo>
                    <a:pt x="1369" y="2550"/>
                  </a:lnTo>
                  <a:lnTo>
                    <a:pt x="1374" y="2547"/>
                  </a:lnTo>
                  <a:lnTo>
                    <a:pt x="1364" y="2544"/>
                  </a:lnTo>
                  <a:lnTo>
                    <a:pt x="1359" y="2546"/>
                  </a:lnTo>
                  <a:lnTo>
                    <a:pt x="1352" y="2552"/>
                  </a:lnTo>
                  <a:lnTo>
                    <a:pt x="1345" y="2552"/>
                  </a:lnTo>
                  <a:lnTo>
                    <a:pt x="1337" y="2560"/>
                  </a:lnTo>
                  <a:lnTo>
                    <a:pt x="1321" y="2568"/>
                  </a:lnTo>
                  <a:lnTo>
                    <a:pt x="1316" y="2577"/>
                  </a:lnTo>
                  <a:lnTo>
                    <a:pt x="1309" y="2579"/>
                  </a:lnTo>
                  <a:lnTo>
                    <a:pt x="1310" y="2581"/>
                  </a:lnTo>
                  <a:lnTo>
                    <a:pt x="1316" y="2581"/>
                  </a:lnTo>
                  <a:lnTo>
                    <a:pt x="1317" y="2583"/>
                  </a:lnTo>
                  <a:lnTo>
                    <a:pt x="1306" y="2591"/>
                  </a:lnTo>
                  <a:lnTo>
                    <a:pt x="1298" y="2605"/>
                  </a:lnTo>
                  <a:lnTo>
                    <a:pt x="1292" y="2609"/>
                  </a:lnTo>
                  <a:lnTo>
                    <a:pt x="1289" y="2605"/>
                  </a:lnTo>
                  <a:lnTo>
                    <a:pt x="1279" y="2591"/>
                  </a:lnTo>
                  <a:lnTo>
                    <a:pt x="1264" y="2575"/>
                  </a:lnTo>
                  <a:lnTo>
                    <a:pt x="1264" y="2559"/>
                  </a:lnTo>
                  <a:lnTo>
                    <a:pt x="1262" y="2552"/>
                  </a:lnTo>
                  <a:lnTo>
                    <a:pt x="1260" y="2549"/>
                  </a:lnTo>
                  <a:lnTo>
                    <a:pt x="1260" y="2567"/>
                  </a:lnTo>
                  <a:lnTo>
                    <a:pt x="1263" y="2579"/>
                  </a:lnTo>
                  <a:lnTo>
                    <a:pt x="1270" y="2587"/>
                  </a:lnTo>
                  <a:lnTo>
                    <a:pt x="1278" y="2605"/>
                  </a:lnTo>
                  <a:lnTo>
                    <a:pt x="1288" y="2612"/>
                  </a:lnTo>
                  <a:lnTo>
                    <a:pt x="1296" y="2612"/>
                  </a:lnTo>
                  <a:lnTo>
                    <a:pt x="1305" y="2605"/>
                  </a:lnTo>
                  <a:lnTo>
                    <a:pt x="1325" y="2597"/>
                  </a:lnTo>
                  <a:lnTo>
                    <a:pt x="1339" y="2583"/>
                  </a:lnTo>
                  <a:lnTo>
                    <a:pt x="1345" y="2579"/>
                  </a:lnTo>
                  <a:lnTo>
                    <a:pt x="1353" y="2579"/>
                  </a:lnTo>
                  <a:lnTo>
                    <a:pt x="1353" y="2583"/>
                  </a:lnTo>
                  <a:lnTo>
                    <a:pt x="1350" y="2587"/>
                  </a:lnTo>
                  <a:lnTo>
                    <a:pt x="1331" y="2609"/>
                  </a:lnTo>
                  <a:lnTo>
                    <a:pt x="1307" y="2634"/>
                  </a:lnTo>
                  <a:lnTo>
                    <a:pt x="1298" y="2642"/>
                  </a:lnTo>
                  <a:lnTo>
                    <a:pt x="1293" y="2649"/>
                  </a:lnTo>
                  <a:lnTo>
                    <a:pt x="1271" y="2668"/>
                  </a:lnTo>
                  <a:lnTo>
                    <a:pt x="1262" y="2680"/>
                  </a:lnTo>
                  <a:lnTo>
                    <a:pt x="1239" y="2703"/>
                  </a:lnTo>
                  <a:lnTo>
                    <a:pt x="1237" y="2703"/>
                  </a:lnTo>
                  <a:lnTo>
                    <a:pt x="1232" y="2703"/>
                  </a:lnTo>
                  <a:lnTo>
                    <a:pt x="1232" y="2705"/>
                  </a:lnTo>
                  <a:lnTo>
                    <a:pt x="1234" y="2706"/>
                  </a:lnTo>
                  <a:lnTo>
                    <a:pt x="1232" y="2711"/>
                  </a:lnTo>
                  <a:lnTo>
                    <a:pt x="1220" y="2720"/>
                  </a:lnTo>
                  <a:lnTo>
                    <a:pt x="1217" y="2717"/>
                  </a:lnTo>
                  <a:lnTo>
                    <a:pt x="1214" y="2720"/>
                  </a:lnTo>
                  <a:lnTo>
                    <a:pt x="1210" y="2721"/>
                  </a:lnTo>
                  <a:lnTo>
                    <a:pt x="1212" y="2725"/>
                  </a:lnTo>
                  <a:lnTo>
                    <a:pt x="1210" y="2729"/>
                  </a:lnTo>
                  <a:lnTo>
                    <a:pt x="1193" y="2743"/>
                  </a:lnTo>
                  <a:lnTo>
                    <a:pt x="1189" y="2743"/>
                  </a:lnTo>
                  <a:lnTo>
                    <a:pt x="1185" y="2742"/>
                  </a:lnTo>
                  <a:lnTo>
                    <a:pt x="1184" y="2751"/>
                  </a:lnTo>
                  <a:lnTo>
                    <a:pt x="1168" y="2766"/>
                  </a:lnTo>
                  <a:lnTo>
                    <a:pt x="1128" y="2807"/>
                  </a:lnTo>
                  <a:lnTo>
                    <a:pt x="1123" y="2811"/>
                  </a:lnTo>
                  <a:lnTo>
                    <a:pt x="1118" y="2807"/>
                  </a:lnTo>
                  <a:lnTo>
                    <a:pt x="1117" y="2807"/>
                  </a:lnTo>
                  <a:lnTo>
                    <a:pt x="1115" y="2811"/>
                  </a:lnTo>
                  <a:lnTo>
                    <a:pt x="1117" y="2819"/>
                  </a:lnTo>
                  <a:lnTo>
                    <a:pt x="1117" y="2822"/>
                  </a:lnTo>
                  <a:lnTo>
                    <a:pt x="1106" y="2837"/>
                  </a:lnTo>
                  <a:lnTo>
                    <a:pt x="1103" y="2837"/>
                  </a:lnTo>
                  <a:lnTo>
                    <a:pt x="1096" y="2837"/>
                  </a:lnTo>
                  <a:lnTo>
                    <a:pt x="1093" y="2837"/>
                  </a:lnTo>
                  <a:lnTo>
                    <a:pt x="1093" y="2832"/>
                  </a:lnTo>
                  <a:lnTo>
                    <a:pt x="1096" y="2825"/>
                  </a:lnTo>
                  <a:lnTo>
                    <a:pt x="1088" y="2830"/>
                  </a:lnTo>
                  <a:lnTo>
                    <a:pt x="1084" y="2836"/>
                  </a:lnTo>
                  <a:lnTo>
                    <a:pt x="1082" y="2841"/>
                  </a:lnTo>
                  <a:lnTo>
                    <a:pt x="1085" y="2844"/>
                  </a:lnTo>
                  <a:lnTo>
                    <a:pt x="1090" y="2845"/>
                  </a:lnTo>
                  <a:lnTo>
                    <a:pt x="1092" y="2847"/>
                  </a:lnTo>
                  <a:lnTo>
                    <a:pt x="1084" y="2866"/>
                  </a:lnTo>
                  <a:lnTo>
                    <a:pt x="1081" y="2867"/>
                  </a:lnTo>
                  <a:lnTo>
                    <a:pt x="1074" y="2867"/>
                  </a:lnTo>
                  <a:lnTo>
                    <a:pt x="1061" y="2862"/>
                  </a:lnTo>
                  <a:lnTo>
                    <a:pt x="1056" y="2859"/>
                  </a:lnTo>
                  <a:lnTo>
                    <a:pt x="1043" y="2863"/>
                  </a:lnTo>
                  <a:lnTo>
                    <a:pt x="1029" y="2863"/>
                  </a:lnTo>
                  <a:lnTo>
                    <a:pt x="1028" y="2858"/>
                  </a:lnTo>
                  <a:lnTo>
                    <a:pt x="1029" y="2841"/>
                  </a:lnTo>
                  <a:lnTo>
                    <a:pt x="1027" y="2845"/>
                  </a:lnTo>
                  <a:lnTo>
                    <a:pt x="1024" y="2854"/>
                  </a:lnTo>
                  <a:lnTo>
                    <a:pt x="1025" y="2863"/>
                  </a:lnTo>
                  <a:lnTo>
                    <a:pt x="1018" y="2871"/>
                  </a:lnTo>
                  <a:lnTo>
                    <a:pt x="1022" y="2874"/>
                  </a:lnTo>
                  <a:lnTo>
                    <a:pt x="1028" y="2870"/>
                  </a:lnTo>
                  <a:lnTo>
                    <a:pt x="1035" y="2870"/>
                  </a:lnTo>
                  <a:lnTo>
                    <a:pt x="1056" y="2874"/>
                  </a:lnTo>
                  <a:lnTo>
                    <a:pt x="1063" y="2878"/>
                  </a:lnTo>
                  <a:lnTo>
                    <a:pt x="1063" y="2886"/>
                  </a:lnTo>
                  <a:lnTo>
                    <a:pt x="1067" y="2890"/>
                  </a:lnTo>
                  <a:lnTo>
                    <a:pt x="1064" y="2896"/>
                  </a:lnTo>
                  <a:lnTo>
                    <a:pt x="1056" y="2900"/>
                  </a:lnTo>
                  <a:lnTo>
                    <a:pt x="1050" y="2904"/>
                  </a:lnTo>
                  <a:lnTo>
                    <a:pt x="1043" y="2908"/>
                  </a:lnTo>
                  <a:lnTo>
                    <a:pt x="1031" y="2919"/>
                  </a:lnTo>
                  <a:lnTo>
                    <a:pt x="1028" y="2925"/>
                  </a:lnTo>
                  <a:lnTo>
                    <a:pt x="1019" y="2933"/>
                  </a:lnTo>
                  <a:lnTo>
                    <a:pt x="1022" y="2941"/>
                  </a:lnTo>
                  <a:lnTo>
                    <a:pt x="1021" y="2945"/>
                  </a:lnTo>
                  <a:lnTo>
                    <a:pt x="1018" y="2957"/>
                  </a:lnTo>
                  <a:lnTo>
                    <a:pt x="1014" y="2961"/>
                  </a:lnTo>
                  <a:lnTo>
                    <a:pt x="1008" y="2965"/>
                  </a:lnTo>
                  <a:lnTo>
                    <a:pt x="1000" y="2967"/>
                  </a:lnTo>
                  <a:lnTo>
                    <a:pt x="992" y="2959"/>
                  </a:lnTo>
                  <a:lnTo>
                    <a:pt x="990" y="2971"/>
                  </a:lnTo>
                  <a:lnTo>
                    <a:pt x="985" y="2979"/>
                  </a:lnTo>
                  <a:lnTo>
                    <a:pt x="982" y="2991"/>
                  </a:lnTo>
                  <a:lnTo>
                    <a:pt x="974" y="3009"/>
                  </a:lnTo>
                  <a:lnTo>
                    <a:pt x="982" y="3002"/>
                  </a:lnTo>
                  <a:lnTo>
                    <a:pt x="983" y="3004"/>
                  </a:lnTo>
                  <a:lnTo>
                    <a:pt x="986" y="3006"/>
                  </a:lnTo>
                  <a:lnTo>
                    <a:pt x="990" y="2998"/>
                  </a:lnTo>
                  <a:lnTo>
                    <a:pt x="993" y="2998"/>
                  </a:lnTo>
                  <a:lnTo>
                    <a:pt x="996" y="2998"/>
                  </a:lnTo>
                  <a:lnTo>
                    <a:pt x="1000" y="2994"/>
                  </a:lnTo>
                  <a:lnTo>
                    <a:pt x="1002" y="2994"/>
                  </a:lnTo>
                  <a:lnTo>
                    <a:pt x="996" y="3018"/>
                  </a:lnTo>
                  <a:lnTo>
                    <a:pt x="996" y="3028"/>
                  </a:lnTo>
                  <a:lnTo>
                    <a:pt x="997" y="3036"/>
                  </a:lnTo>
                  <a:lnTo>
                    <a:pt x="996" y="3043"/>
                  </a:lnTo>
                  <a:lnTo>
                    <a:pt x="992" y="3045"/>
                  </a:lnTo>
                  <a:lnTo>
                    <a:pt x="989" y="3041"/>
                  </a:lnTo>
                  <a:lnTo>
                    <a:pt x="985" y="3043"/>
                  </a:lnTo>
                  <a:lnTo>
                    <a:pt x="980" y="3045"/>
                  </a:lnTo>
                  <a:lnTo>
                    <a:pt x="977" y="3051"/>
                  </a:lnTo>
                  <a:lnTo>
                    <a:pt x="969" y="3054"/>
                  </a:lnTo>
                  <a:lnTo>
                    <a:pt x="963" y="3057"/>
                  </a:lnTo>
                  <a:lnTo>
                    <a:pt x="958" y="3057"/>
                  </a:lnTo>
                  <a:lnTo>
                    <a:pt x="949" y="3054"/>
                  </a:lnTo>
                  <a:lnTo>
                    <a:pt x="940" y="3051"/>
                  </a:lnTo>
                  <a:lnTo>
                    <a:pt x="922" y="3049"/>
                  </a:lnTo>
                  <a:lnTo>
                    <a:pt x="908" y="3036"/>
                  </a:lnTo>
                  <a:lnTo>
                    <a:pt x="899" y="3032"/>
                  </a:lnTo>
                  <a:lnTo>
                    <a:pt x="903" y="3043"/>
                  </a:lnTo>
                  <a:lnTo>
                    <a:pt x="914" y="3049"/>
                  </a:lnTo>
                  <a:lnTo>
                    <a:pt x="933" y="3054"/>
                  </a:lnTo>
                  <a:lnTo>
                    <a:pt x="947" y="3064"/>
                  </a:lnTo>
                  <a:lnTo>
                    <a:pt x="963" y="3068"/>
                  </a:lnTo>
                  <a:lnTo>
                    <a:pt x="972" y="3066"/>
                  </a:lnTo>
                  <a:lnTo>
                    <a:pt x="974" y="3068"/>
                  </a:lnTo>
                  <a:lnTo>
                    <a:pt x="974" y="3069"/>
                  </a:lnTo>
                  <a:lnTo>
                    <a:pt x="971" y="3073"/>
                  </a:lnTo>
                  <a:lnTo>
                    <a:pt x="936" y="3106"/>
                  </a:lnTo>
                  <a:lnTo>
                    <a:pt x="933" y="3107"/>
                  </a:lnTo>
                  <a:lnTo>
                    <a:pt x="930" y="3103"/>
                  </a:lnTo>
                  <a:lnTo>
                    <a:pt x="926" y="3085"/>
                  </a:lnTo>
                  <a:lnTo>
                    <a:pt x="922" y="3081"/>
                  </a:lnTo>
                  <a:lnTo>
                    <a:pt x="900" y="3064"/>
                  </a:lnTo>
                  <a:lnTo>
                    <a:pt x="885" y="3044"/>
                  </a:lnTo>
                  <a:lnTo>
                    <a:pt x="883" y="3041"/>
                  </a:lnTo>
                  <a:lnTo>
                    <a:pt x="883" y="3036"/>
                  </a:lnTo>
                  <a:lnTo>
                    <a:pt x="878" y="3036"/>
                  </a:lnTo>
                  <a:lnTo>
                    <a:pt x="871" y="3045"/>
                  </a:lnTo>
                  <a:lnTo>
                    <a:pt x="871" y="3049"/>
                  </a:lnTo>
                  <a:lnTo>
                    <a:pt x="883" y="3054"/>
                  </a:lnTo>
                  <a:lnTo>
                    <a:pt x="900" y="3083"/>
                  </a:lnTo>
                  <a:lnTo>
                    <a:pt x="907" y="3090"/>
                  </a:lnTo>
                  <a:lnTo>
                    <a:pt x="914" y="3099"/>
                  </a:lnTo>
                  <a:lnTo>
                    <a:pt x="919" y="3099"/>
                  </a:lnTo>
                  <a:lnTo>
                    <a:pt x="919" y="3102"/>
                  </a:lnTo>
                  <a:lnTo>
                    <a:pt x="921" y="3106"/>
                  </a:lnTo>
                  <a:lnTo>
                    <a:pt x="915" y="3113"/>
                  </a:lnTo>
                  <a:lnTo>
                    <a:pt x="914" y="3113"/>
                  </a:lnTo>
                  <a:lnTo>
                    <a:pt x="913" y="3111"/>
                  </a:lnTo>
                  <a:lnTo>
                    <a:pt x="910" y="3111"/>
                  </a:lnTo>
                  <a:lnTo>
                    <a:pt x="904" y="3114"/>
                  </a:lnTo>
                  <a:lnTo>
                    <a:pt x="905" y="3114"/>
                  </a:lnTo>
                  <a:lnTo>
                    <a:pt x="910" y="3118"/>
                  </a:lnTo>
                  <a:lnTo>
                    <a:pt x="911" y="3118"/>
                  </a:lnTo>
                  <a:lnTo>
                    <a:pt x="904" y="3122"/>
                  </a:lnTo>
                  <a:lnTo>
                    <a:pt x="854" y="3128"/>
                  </a:lnTo>
                  <a:lnTo>
                    <a:pt x="816" y="3136"/>
                  </a:lnTo>
                  <a:lnTo>
                    <a:pt x="804" y="3136"/>
                  </a:lnTo>
                  <a:lnTo>
                    <a:pt x="801" y="3132"/>
                  </a:lnTo>
                  <a:lnTo>
                    <a:pt x="810" y="3128"/>
                  </a:lnTo>
                  <a:lnTo>
                    <a:pt x="805" y="3124"/>
                  </a:lnTo>
                  <a:lnTo>
                    <a:pt x="797" y="3111"/>
                  </a:lnTo>
                  <a:lnTo>
                    <a:pt x="793" y="3095"/>
                  </a:lnTo>
                  <a:lnTo>
                    <a:pt x="787" y="3089"/>
                  </a:lnTo>
                  <a:lnTo>
                    <a:pt x="787" y="3085"/>
                  </a:lnTo>
                  <a:lnTo>
                    <a:pt x="790" y="3073"/>
                  </a:lnTo>
                  <a:lnTo>
                    <a:pt x="796" y="3063"/>
                  </a:lnTo>
                  <a:lnTo>
                    <a:pt x="813" y="3051"/>
                  </a:lnTo>
                  <a:lnTo>
                    <a:pt x="814" y="3049"/>
                  </a:lnTo>
                  <a:lnTo>
                    <a:pt x="813" y="3036"/>
                  </a:lnTo>
                  <a:lnTo>
                    <a:pt x="815" y="3032"/>
                  </a:lnTo>
                  <a:lnTo>
                    <a:pt x="818" y="3031"/>
                  </a:lnTo>
                  <a:lnTo>
                    <a:pt x="835" y="3031"/>
                  </a:lnTo>
                  <a:lnTo>
                    <a:pt x="838" y="3028"/>
                  </a:lnTo>
                  <a:lnTo>
                    <a:pt x="839" y="3027"/>
                  </a:lnTo>
                  <a:lnTo>
                    <a:pt x="836" y="3020"/>
                  </a:lnTo>
                  <a:lnTo>
                    <a:pt x="828" y="3014"/>
                  </a:lnTo>
                  <a:lnTo>
                    <a:pt x="824" y="3008"/>
                  </a:lnTo>
                  <a:lnTo>
                    <a:pt x="819" y="2996"/>
                  </a:lnTo>
                  <a:lnTo>
                    <a:pt x="816" y="2996"/>
                  </a:lnTo>
                  <a:lnTo>
                    <a:pt x="813" y="3002"/>
                  </a:lnTo>
                  <a:lnTo>
                    <a:pt x="810" y="3002"/>
                  </a:lnTo>
                  <a:lnTo>
                    <a:pt x="807" y="2998"/>
                  </a:lnTo>
                  <a:lnTo>
                    <a:pt x="805" y="2990"/>
                  </a:lnTo>
                  <a:lnTo>
                    <a:pt x="804" y="2987"/>
                  </a:lnTo>
                  <a:lnTo>
                    <a:pt x="794" y="2986"/>
                  </a:lnTo>
                  <a:lnTo>
                    <a:pt x="787" y="2987"/>
                  </a:lnTo>
                  <a:lnTo>
                    <a:pt x="776" y="2995"/>
                  </a:lnTo>
                  <a:lnTo>
                    <a:pt x="773" y="2995"/>
                  </a:lnTo>
                  <a:lnTo>
                    <a:pt x="769" y="2990"/>
                  </a:lnTo>
                  <a:lnTo>
                    <a:pt x="761" y="2987"/>
                  </a:lnTo>
                  <a:lnTo>
                    <a:pt x="761" y="2983"/>
                  </a:lnTo>
                  <a:lnTo>
                    <a:pt x="762" y="2976"/>
                  </a:lnTo>
                  <a:lnTo>
                    <a:pt x="778" y="2976"/>
                  </a:lnTo>
                  <a:lnTo>
                    <a:pt x="779" y="2976"/>
                  </a:lnTo>
                  <a:lnTo>
                    <a:pt x="780" y="2973"/>
                  </a:lnTo>
                  <a:lnTo>
                    <a:pt x="779" y="2969"/>
                  </a:lnTo>
                  <a:lnTo>
                    <a:pt x="772" y="2964"/>
                  </a:lnTo>
                  <a:lnTo>
                    <a:pt x="769" y="2961"/>
                  </a:lnTo>
                  <a:lnTo>
                    <a:pt x="769" y="2953"/>
                  </a:lnTo>
                  <a:lnTo>
                    <a:pt x="775" y="2945"/>
                  </a:lnTo>
                  <a:lnTo>
                    <a:pt x="776" y="2939"/>
                  </a:lnTo>
                  <a:lnTo>
                    <a:pt x="773" y="2927"/>
                  </a:lnTo>
                  <a:lnTo>
                    <a:pt x="766" y="2920"/>
                  </a:lnTo>
                  <a:lnTo>
                    <a:pt x="766" y="2915"/>
                  </a:lnTo>
                  <a:lnTo>
                    <a:pt x="768" y="2912"/>
                  </a:lnTo>
                  <a:lnTo>
                    <a:pt x="772" y="2908"/>
                  </a:lnTo>
                  <a:lnTo>
                    <a:pt x="789" y="2904"/>
                  </a:lnTo>
                  <a:lnTo>
                    <a:pt x="789" y="2903"/>
                  </a:lnTo>
                  <a:lnTo>
                    <a:pt x="785" y="2897"/>
                  </a:lnTo>
                  <a:lnTo>
                    <a:pt x="787" y="2892"/>
                  </a:lnTo>
                  <a:lnTo>
                    <a:pt x="805" y="2892"/>
                  </a:lnTo>
                  <a:lnTo>
                    <a:pt x="810" y="2890"/>
                  </a:lnTo>
                  <a:lnTo>
                    <a:pt x="813" y="2886"/>
                  </a:lnTo>
                  <a:lnTo>
                    <a:pt x="810" y="2882"/>
                  </a:lnTo>
                  <a:lnTo>
                    <a:pt x="799" y="2884"/>
                  </a:lnTo>
                  <a:lnTo>
                    <a:pt x="796" y="2882"/>
                  </a:lnTo>
                  <a:lnTo>
                    <a:pt x="800" y="2875"/>
                  </a:lnTo>
                  <a:lnTo>
                    <a:pt x="797" y="2866"/>
                  </a:lnTo>
                  <a:lnTo>
                    <a:pt x="800" y="2862"/>
                  </a:lnTo>
                  <a:lnTo>
                    <a:pt x="799" y="2855"/>
                  </a:lnTo>
                  <a:lnTo>
                    <a:pt x="800" y="2849"/>
                  </a:lnTo>
                  <a:lnTo>
                    <a:pt x="799" y="2845"/>
                  </a:lnTo>
                  <a:lnTo>
                    <a:pt x="787" y="2832"/>
                  </a:lnTo>
                  <a:lnTo>
                    <a:pt x="789" y="2825"/>
                  </a:lnTo>
                  <a:lnTo>
                    <a:pt x="791" y="2821"/>
                  </a:lnTo>
                  <a:lnTo>
                    <a:pt x="791" y="2817"/>
                  </a:lnTo>
                  <a:lnTo>
                    <a:pt x="783" y="2799"/>
                  </a:lnTo>
                  <a:lnTo>
                    <a:pt x="780" y="2784"/>
                  </a:lnTo>
                  <a:lnTo>
                    <a:pt x="769" y="2759"/>
                  </a:lnTo>
                  <a:lnTo>
                    <a:pt x="762" y="2747"/>
                  </a:lnTo>
                  <a:lnTo>
                    <a:pt x="759" y="2743"/>
                  </a:lnTo>
                  <a:lnTo>
                    <a:pt x="747" y="2706"/>
                  </a:lnTo>
                  <a:lnTo>
                    <a:pt x="734" y="2703"/>
                  </a:lnTo>
                  <a:lnTo>
                    <a:pt x="723" y="2691"/>
                  </a:lnTo>
                  <a:lnTo>
                    <a:pt x="706" y="2688"/>
                  </a:lnTo>
                  <a:lnTo>
                    <a:pt x="700" y="2675"/>
                  </a:lnTo>
                  <a:lnTo>
                    <a:pt x="695" y="2668"/>
                  </a:lnTo>
                  <a:lnTo>
                    <a:pt x="687" y="2663"/>
                  </a:lnTo>
                  <a:lnTo>
                    <a:pt x="686" y="2658"/>
                  </a:lnTo>
                  <a:lnTo>
                    <a:pt x="680" y="2653"/>
                  </a:lnTo>
                  <a:lnTo>
                    <a:pt x="673" y="2650"/>
                  </a:lnTo>
                  <a:lnTo>
                    <a:pt x="665" y="2645"/>
                  </a:lnTo>
                  <a:lnTo>
                    <a:pt x="655" y="2643"/>
                  </a:lnTo>
                  <a:lnTo>
                    <a:pt x="651" y="2642"/>
                  </a:lnTo>
                  <a:lnTo>
                    <a:pt x="648" y="2631"/>
                  </a:lnTo>
                  <a:lnTo>
                    <a:pt x="643" y="2626"/>
                  </a:lnTo>
                  <a:lnTo>
                    <a:pt x="634" y="2619"/>
                  </a:lnTo>
                  <a:lnTo>
                    <a:pt x="623" y="2613"/>
                  </a:lnTo>
                  <a:lnTo>
                    <a:pt x="606" y="2613"/>
                  </a:lnTo>
                  <a:lnTo>
                    <a:pt x="604" y="2609"/>
                  </a:lnTo>
                  <a:lnTo>
                    <a:pt x="600" y="2605"/>
                  </a:lnTo>
                  <a:lnTo>
                    <a:pt x="597" y="2597"/>
                  </a:lnTo>
                  <a:lnTo>
                    <a:pt x="597" y="2583"/>
                  </a:lnTo>
                  <a:lnTo>
                    <a:pt x="595" y="2579"/>
                  </a:lnTo>
                  <a:lnTo>
                    <a:pt x="586" y="2568"/>
                  </a:lnTo>
                  <a:lnTo>
                    <a:pt x="572" y="2559"/>
                  </a:lnTo>
                  <a:lnTo>
                    <a:pt x="566" y="2551"/>
                  </a:lnTo>
                  <a:lnTo>
                    <a:pt x="562" y="2537"/>
                  </a:lnTo>
                  <a:lnTo>
                    <a:pt x="562" y="2530"/>
                  </a:lnTo>
                  <a:lnTo>
                    <a:pt x="565" y="2519"/>
                  </a:lnTo>
                  <a:lnTo>
                    <a:pt x="565" y="2514"/>
                  </a:lnTo>
                  <a:lnTo>
                    <a:pt x="555" y="2504"/>
                  </a:lnTo>
                  <a:lnTo>
                    <a:pt x="547" y="2497"/>
                  </a:lnTo>
                  <a:lnTo>
                    <a:pt x="541" y="2493"/>
                  </a:lnTo>
                  <a:lnTo>
                    <a:pt x="527" y="2492"/>
                  </a:lnTo>
                  <a:lnTo>
                    <a:pt x="513" y="2479"/>
                  </a:lnTo>
                  <a:lnTo>
                    <a:pt x="508" y="2475"/>
                  </a:lnTo>
                  <a:lnTo>
                    <a:pt x="490" y="2471"/>
                  </a:lnTo>
                  <a:lnTo>
                    <a:pt x="477" y="2462"/>
                  </a:lnTo>
                  <a:lnTo>
                    <a:pt x="468" y="2457"/>
                  </a:lnTo>
                  <a:lnTo>
                    <a:pt x="460" y="2451"/>
                  </a:lnTo>
                  <a:lnTo>
                    <a:pt x="451" y="2444"/>
                  </a:lnTo>
                  <a:lnTo>
                    <a:pt x="431" y="2440"/>
                  </a:lnTo>
                  <a:lnTo>
                    <a:pt x="410" y="2439"/>
                  </a:lnTo>
                  <a:lnTo>
                    <a:pt x="388" y="2431"/>
                  </a:lnTo>
                  <a:lnTo>
                    <a:pt x="369" y="2431"/>
                  </a:lnTo>
                  <a:lnTo>
                    <a:pt x="358" y="2430"/>
                  </a:lnTo>
                  <a:lnTo>
                    <a:pt x="354" y="2426"/>
                  </a:lnTo>
                  <a:lnTo>
                    <a:pt x="349" y="2418"/>
                  </a:lnTo>
                  <a:lnTo>
                    <a:pt x="345" y="2413"/>
                  </a:lnTo>
                  <a:lnTo>
                    <a:pt x="340" y="2413"/>
                  </a:lnTo>
                  <a:lnTo>
                    <a:pt x="331" y="2414"/>
                  </a:lnTo>
                  <a:lnTo>
                    <a:pt x="324" y="2414"/>
                  </a:lnTo>
                  <a:lnTo>
                    <a:pt x="301" y="2406"/>
                  </a:lnTo>
                  <a:lnTo>
                    <a:pt x="277" y="2392"/>
                  </a:lnTo>
                  <a:lnTo>
                    <a:pt x="276" y="2384"/>
                  </a:lnTo>
                  <a:lnTo>
                    <a:pt x="274" y="2382"/>
                  </a:lnTo>
                  <a:lnTo>
                    <a:pt x="263" y="2380"/>
                  </a:lnTo>
                  <a:lnTo>
                    <a:pt x="262" y="2376"/>
                  </a:lnTo>
                  <a:lnTo>
                    <a:pt x="262" y="2369"/>
                  </a:lnTo>
                  <a:lnTo>
                    <a:pt x="259" y="2365"/>
                  </a:lnTo>
                  <a:lnTo>
                    <a:pt x="245" y="2357"/>
                  </a:lnTo>
                  <a:lnTo>
                    <a:pt x="244" y="2355"/>
                  </a:lnTo>
                  <a:lnTo>
                    <a:pt x="244" y="2351"/>
                  </a:lnTo>
                  <a:lnTo>
                    <a:pt x="248" y="2347"/>
                  </a:lnTo>
                  <a:lnTo>
                    <a:pt x="249" y="2343"/>
                  </a:lnTo>
                  <a:lnTo>
                    <a:pt x="251" y="2338"/>
                  </a:lnTo>
                  <a:lnTo>
                    <a:pt x="255" y="2328"/>
                  </a:lnTo>
                  <a:lnTo>
                    <a:pt x="254" y="2327"/>
                  </a:lnTo>
                  <a:lnTo>
                    <a:pt x="252" y="2319"/>
                  </a:lnTo>
                  <a:lnTo>
                    <a:pt x="242" y="2294"/>
                  </a:lnTo>
                  <a:lnTo>
                    <a:pt x="244" y="2288"/>
                  </a:lnTo>
                  <a:lnTo>
                    <a:pt x="242" y="2280"/>
                  </a:lnTo>
                  <a:lnTo>
                    <a:pt x="234" y="2274"/>
                  </a:lnTo>
                  <a:lnTo>
                    <a:pt x="226" y="2265"/>
                  </a:lnTo>
                  <a:lnTo>
                    <a:pt x="221" y="2261"/>
                  </a:lnTo>
                  <a:lnTo>
                    <a:pt x="206" y="2257"/>
                  </a:lnTo>
                  <a:lnTo>
                    <a:pt x="203" y="2257"/>
                  </a:lnTo>
                  <a:lnTo>
                    <a:pt x="199" y="2245"/>
                  </a:lnTo>
                  <a:lnTo>
                    <a:pt x="195" y="2244"/>
                  </a:lnTo>
                  <a:lnTo>
                    <a:pt x="184" y="2243"/>
                  </a:lnTo>
                  <a:lnTo>
                    <a:pt x="177" y="2238"/>
                  </a:lnTo>
                  <a:lnTo>
                    <a:pt x="174" y="2231"/>
                  </a:lnTo>
                  <a:lnTo>
                    <a:pt x="172" y="2222"/>
                  </a:lnTo>
                  <a:lnTo>
                    <a:pt x="180" y="2211"/>
                  </a:lnTo>
                  <a:lnTo>
                    <a:pt x="180" y="2204"/>
                  </a:lnTo>
                  <a:lnTo>
                    <a:pt x="178" y="2197"/>
                  </a:lnTo>
                  <a:lnTo>
                    <a:pt x="169" y="2177"/>
                  </a:lnTo>
                  <a:lnTo>
                    <a:pt x="163" y="2166"/>
                  </a:lnTo>
                  <a:lnTo>
                    <a:pt x="160" y="2164"/>
                  </a:lnTo>
                  <a:lnTo>
                    <a:pt x="156" y="2162"/>
                  </a:lnTo>
                  <a:lnTo>
                    <a:pt x="149" y="2162"/>
                  </a:lnTo>
                  <a:lnTo>
                    <a:pt x="142" y="2166"/>
                  </a:lnTo>
                  <a:lnTo>
                    <a:pt x="138" y="2164"/>
                  </a:lnTo>
                  <a:lnTo>
                    <a:pt x="135" y="2162"/>
                  </a:lnTo>
                  <a:lnTo>
                    <a:pt x="135" y="2156"/>
                  </a:lnTo>
                  <a:lnTo>
                    <a:pt x="138" y="2154"/>
                  </a:lnTo>
                  <a:lnTo>
                    <a:pt x="145" y="2156"/>
                  </a:lnTo>
                  <a:lnTo>
                    <a:pt x="149" y="2156"/>
                  </a:lnTo>
                  <a:lnTo>
                    <a:pt x="153" y="2152"/>
                  </a:lnTo>
                  <a:lnTo>
                    <a:pt x="155" y="2149"/>
                  </a:lnTo>
                  <a:lnTo>
                    <a:pt x="153" y="2140"/>
                  </a:lnTo>
                  <a:lnTo>
                    <a:pt x="149" y="2133"/>
                  </a:lnTo>
                  <a:lnTo>
                    <a:pt x="146" y="2124"/>
                  </a:lnTo>
                  <a:lnTo>
                    <a:pt x="139" y="2107"/>
                  </a:lnTo>
                  <a:lnTo>
                    <a:pt x="139" y="2103"/>
                  </a:lnTo>
                  <a:lnTo>
                    <a:pt x="145" y="2099"/>
                  </a:lnTo>
                  <a:lnTo>
                    <a:pt x="146" y="2095"/>
                  </a:lnTo>
                  <a:lnTo>
                    <a:pt x="146" y="2092"/>
                  </a:lnTo>
                  <a:lnTo>
                    <a:pt x="142" y="2089"/>
                  </a:lnTo>
                  <a:lnTo>
                    <a:pt x="139" y="2085"/>
                  </a:lnTo>
                  <a:lnTo>
                    <a:pt x="139" y="2079"/>
                  </a:lnTo>
                  <a:lnTo>
                    <a:pt x="147" y="2066"/>
                  </a:lnTo>
                  <a:lnTo>
                    <a:pt x="150" y="2062"/>
                  </a:lnTo>
                  <a:lnTo>
                    <a:pt x="147" y="2057"/>
                  </a:lnTo>
                  <a:lnTo>
                    <a:pt x="145" y="2054"/>
                  </a:lnTo>
                  <a:lnTo>
                    <a:pt x="145" y="2050"/>
                  </a:lnTo>
                  <a:lnTo>
                    <a:pt x="147" y="2044"/>
                  </a:lnTo>
                  <a:lnTo>
                    <a:pt x="149" y="2036"/>
                  </a:lnTo>
                  <a:lnTo>
                    <a:pt x="152" y="2030"/>
                  </a:lnTo>
                  <a:lnTo>
                    <a:pt x="153" y="2022"/>
                  </a:lnTo>
                  <a:lnTo>
                    <a:pt x="160" y="2010"/>
                  </a:lnTo>
                  <a:lnTo>
                    <a:pt x="160" y="2003"/>
                  </a:lnTo>
                  <a:lnTo>
                    <a:pt x="153" y="1998"/>
                  </a:lnTo>
                  <a:lnTo>
                    <a:pt x="150" y="1995"/>
                  </a:lnTo>
                  <a:lnTo>
                    <a:pt x="150" y="1987"/>
                  </a:lnTo>
                  <a:lnTo>
                    <a:pt x="155" y="1977"/>
                  </a:lnTo>
                  <a:lnTo>
                    <a:pt x="155" y="1973"/>
                  </a:lnTo>
                  <a:lnTo>
                    <a:pt x="150" y="1968"/>
                  </a:lnTo>
                  <a:lnTo>
                    <a:pt x="156" y="1965"/>
                  </a:lnTo>
                  <a:lnTo>
                    <a:pt x="160" y="1953"/>
                  </a:lnTo>
                  <a:lnTo>
                    <a:pt x="159" y="1950"/>
                  </a:lnTo>
                  <a:lnTo>
                    <a:pt x="156" y="1953"/>
                  </a:lnTo>
                  <a:lnTo>
                    <a:pt x="153" y="1953"/>
                  </a:lnTo>
                  <a:lnTo>
                    <a:pt x="149" y="1945"/>
                  </a:lnTo>
                  <a:lnTo>
                    <a:pt x="142" y="1945"/>
                  </a:lnTo>
                  <a:lnTo>
                    <a:pt x="139" y="1942"/>
                  </a:lnTo>
                  <a:lnTo>
                    <a:pt x="138" y="1938"/>
                  </a:lnTo>
                  <a:lnTo>
                    <a:pt x="141" y="1926"/>
                  </a:lnTo>
                  <a:lnTo>
                    <a:pt x="139" y="1924"/>
                  </a:lnTo>
                  <a:lnTo>
                    <a:pt x="136" y="1924"/>
                  </a:lnTo>
                  <a:lnTo>
                    <a:pt x="135" y="1924"/>
                  </a:lnTo>
                  <a:lnTo>
                    <a:pt x="139" y="1920"/>
                  </a:lnTo>
                  <a:lnTo>
                    <a:pt x="142" y="1909"/>
                  </a:lnTo>
                  <a:lnTo>
                    <a:pt x="149" y="1905"/>
                  </a:lnTo>
                  <a:lnTo>
                    <a:pt x="156" y="1904"/>
                  </a:lnTo>
                  <a:lnTo>
                    <a:pt x="160" y="1898"/>
                  </a:lnTo>
                  <a:lnTo>
                    <a:pt x="160" y="1893"/>
                  </a:lnTo>
                  <a:lnTo>
                    <a:pt x="157" y="1883"/>
                  </a:lnTo>
                  <a:lnTo>
                    <a:pt x="156" y="1879"/>
                  </a:lnTo>
                  <a:lnTo>
                    <a:pt x="155" y="1875"/>
                  </a:lnTo>
                  <a:lnTo>
                    <a:pt x="153" y="1871"/>
                  </a:lnTo>
                  <a:lnTo>
                    <a:pt x="149" y="1871"/>
                  </a:lnTo>
                  <a:lnTo>
                    <a:pt x="145" y="1866"/>
                  </a:lnTo>
                  <a:lnTo>
                    <a:pt x="145" y="1863"/>
                  </a:lnTo>
                  <a:lnTo>
                    <a:pt x="146" y="1856"/>
                  </a:lnTo>
                  <a:lnTo>
                    <a:pt x="142" y="1853"/>
                  </a:lnTo>
                  <a:lnTo>
                    <a:pt x="142" y="1848"/>
                  </a:lnTo>
                  <a:lnTo>
                    <a:pt x="136" y="1841"/>
                  </a:lnTo>
                  <a:lnTo>
                    <a:pt x="136" y="1830"/>
                  </a:lnTo>
                  <a:lnTo>
                    <a:pt x="127" y="1825"/>
                  </a:lnTo>
                  <a:lnTo>
                    <a:pt x="120" y="1826"/>
                  </a:lnTo>
                  <a:lnTo>
                    <a:pt x="120" y="1825"/>
                  </a:lnTo>
                  <a:lnTo>
                    <a:pt x="122" y="1816"/>
                  </a:lnTo>
                  <a:lnTo>
                    <a:pt x="119" y="1811"/>
                  </a:lnTo>
                  <a:lnTo>
                    <a:pt x="125" y="1808"/>
                  </a:lnTo>
                  <a:lnTo>
                    <a:pt x="121" y="1800"/>
                  </a:lnTo>
                  <a:lnTo>
                    <a:pt x="128" y="1800"/>
                  </a:lnTo>
                  <a:lnTo>
                    <a:pt x="128" y="1799"/>
                  </a:lnTo>
                  <a:lnTo>
                    <a:pt x="127" y="1796"/>
                  </a:lnTo>
                  <a:lnTo>
                    <a:pt x="121" y="1796"/>
                  </a:lnTo>
                  <a:lnTo>
                    <a:pt x="120" y="1793"/>
                  </a:lnTo>
                  <a:lnTo>
                    <a:pt x="125" y="1792"/>
                  </a:lnTo>
                  <a:lnTo>
                    <a:pt x="124" y="1788"/>
                  </a:lnTo>
                  <a:lnTo>
                    <a:pt x="128" y="1786"/>
                  </a:lnTo>
                  <a:lnTo>
                    <a:pt x="128" y="1780"/>
                  </a:lnTo>
                  <a:lnTo>
                    <a:pt x="134" y="1776"/>
                  </a:lnTo>
                  <a:lnTo>
                    <a:pt x="135" y="1774"/>
                  </a:lnTo>
                  <a:lnTo>
                    <a:pt x="134" y="1772"/>
                  </a:lnTo>
                  <a:lnTo>
                    <a:pt x="130" y="1772"/>
                  </a:lnTo>
                  <a:lnTo>
                    <a:pt x="128" y="1771"/>
                  </a:lnTo>
                  <a:lnTo>
                    <a:pt x="128" y="1769"/>
                  </a:lnTo>
                  <a:lnTo>
                    <a:pt x="132" y="1766"/>
                  </a:lnTo>
                  <a:lnTo>
                    <a:pt x="132" y="1763"/>
                  </a:lnTo>
                  <a:lnTo>
                    <a:pt x="125" y="1759"/>
                  </a:lnTo>
                  <a:lnTo>
                    <a:pt x="124" y="1749"/>
                  </a:lnTo>
                  <a:lnTo>
                    <a:pt x="122" y="1747"/>
                  </a:lnTo>
                  <a:lnTo>
                    <a:pt x="119" y="1747"/>
                  </a:lnTo>
                  <a:lnTo>
                    <a:pt x="117" y="1744"/>
                  </a:lnTo>
                  <a:lnTo>
                    <a:pt x="117" y="1743"/>
                  </a:lnTo>
                  <a:lnTo>
                    <a:pt x="125" y="1741"/>
                  </a:lnTo>
                  <a:lnTo>
                    <a:pt x="128" y="1737"/>
                  </a:lnTo>
                  <a:lnTo>
                    <a:pt x="125" y="1729"/>
                  </a:lnTo>
                  <a:lnTo>
                    <a:pt x="130" y="1722"/>
                  </a:lnTo>
                  <a:lnTo>
                    <a:pt x="128" y="1718"/>
                  </a:lnTo>
                  <a:lnTo>
                    <a:pt x="127" y="1718"/>
                  </a:lnTo>
                  <a:lnTo>
                    <a:pt x="121" y="1721"/>
                  </a:lnTo>
                  <a:lnTo>
                    <a:pt x="119" y="1721"/>
                  </a:lnTo>
                  <a:lnTo>
                    <a:pt x="116" y="1718"/>
                  </a:lnTo>
                  <a:lnTo>
                    <a:pt x="121" y="1713"/>
                  </a:lnTo>
                  <a:lnTo>
                    <a:pt x="121" y="1710"/>
                  </a:lnTo>
                  <a:lnTo>
                    <a:pt x="132" y="1706"/>
                  </a:lnTo>
                  <a:lnTo>
                    <a:pt x="128" y="1700"/>
                  </a:lnTo>
                  <a:lnTo>
                    <a:pt x="130" y="1692"/>
                  </a:lnTo>
                  <a:lnTo>
                    <a:pt x="125" y="1684"/>
                  </a:lnTo>
                  <a:lnTo>
                    <a:pt x="132" y="1669"/>
                  </a:lnTo>
                  <a:lnTo>
                    <a:pt x="131" y="1662"/>
                  </a:lnTo>
                  <a:lnTo>
                    <a:pt x="136" y="1658"/>
                  </a:lnTo>
                  <a:lnTo>
                    <a:pt x="134" y="1655"/>
                  </a:lnTo>
                  <a:lnTo>
                    <a:pt x="134" y="1654"/>
                  </a:lnTo>
                  <a:lnTo>
                    <a:pt x="122" y="1655"/>
                  </a:lnTo>
                  <a:lnTo>
                    <a:pt x="125" y="1643"/>
                  </a:lnTo>
                  <a:lnTo>
                    <a:pt x="119" y="1634"/>
                  </a:lnTo>
                  <a:lnTo>
                    <a:pt x="122" y="1621"/>
                  </a:lnTo>
                  <a:lnTo>
                    <a:pt x="119" y="1612"/>
                  </a:lnTo>
                  <a:lnTo>
                    <a:pt x="127" y="1605"/>
                  </a:lnTo>
                  <a:lnTo>
                    <a:pt x="128" y="1594"/>
                  </a:lnTo>
                  <a:lnTo>
                    <a:pt x="121" y="1587"/>
                  </a:lnTo>
                  <a:lnTo>
                    <a:pt x="122" y="1584"/>
                  </a:lnTo>
                  <a:lnTo>
                    <a:pt x="120" y="1576"/>
                  </a:lnTo>
                  <a:lnTo>
                    <a:pt x="110" y="1580"/>
                  </a:lnTo>
                  <a:lnTo>
                    <a:pt x="99" y="1575"/>
                  </a:lnTo>
                  <a:lnTo>
                    <a:pt x="102" y="1568"/>
                  </a:lnTo>
                  <a:lnTo>
                    <a:pt x="94" y="1558"/>
                  </a:lnTo>
                  <a:lnTo>
                    <a:pt x="100" y="1558"/>
                  </a:lnTo>
                  <a:lnTo>
                    <a:pt x="99" y="1550"/>
                  </a:lnTo>
                  <a:lnTo>
                    <a:pt x="111" y="1526"/>
                  </a:lnTo>
                  <a:lnTo>
                    <a:pt x="110" y="1523"/>
                  </a:lnTo>
                  <a:lnTo>
                    <a:pt x="103" y="1523"/>
                  </a:lnTo>
                  <a:lnTo>
                    <a:pt x="102" y="1519"/>
                  </a:lnTo>
                  <a:lnTo>
                    <a:pt x="110" y="1515"/>
                  </a:lnTo>
                  <a:lnTo>
                    <a:pt x="109" y="1505"/>
                  </a:lnTo>
                  <a:lnTo>
                    <a:pt x="125" y="1493"/>
                  </a:lnTo>
                  <a:lnTo>
                    <a:pt x="130" y="1481"/>
                  </a:lnTo>
                  <a:lnTo>
                    <a:pt x="135" y="1471"/>
                  </a:lnTo>
                  <a:lnTo>
                    <a:pt x="128" y="1452"/>
                  </a:lnTo>
                  <a:lnTo>
                    <a:pt x="116" y="1441"/>
                  </a:lnTo>
                  <a:lnTo>
                    <a:pt x="116" y="1426"/>
                  </a:lnTo>
                  <a:lnTo>
                    <a:pt x="122" y="1419"/>
                  </a:lnTo>
                  <a:lnTo>
                    <a:pt x="113" y="1403"/>
                  </a:lnTo>
                  <a:lnTo>
                    <a:pt x="119" y="1397"/>
                  </a:lnTo>
                  <a:lnTo>
                    <a:pt x="109" y="1391"/>
                  </a:lnTo>
                  <a:lnTo>
                    <a:pt x="116" y="1376"/>
                  </a:lnTo>
                  <a:lnTo>
                    <a:pt x="97" y="1361"/>
                  </a:lnTo>
                  <a:lnTo>
                    <a:pt x="92" y="1349"/>
                  </a:lnTo>
                  <a:lnTo>
                    <a:pt x="82" y="1349"/>
                  </a:lnTo>
                  <a:lnTo>
                    <a:pt x="74" y="1343"/>
                  </a:lnTo>
                  <a:lnTo>
                    <a:pt x="70" y="1336"/>
                  </a:lnTo>
                  <a:lnTo>
                    <a:pt x="71" y="1332"/>
                  </a:lnTo>
                  <a:lnTo>
                    <a:pt x="67" y="1322"/>
                  </a:lnTo>
                  <a:lnTo>
                    <a:pt x="57" y="1328"/>
                  </a:lnTo>
                  <a:lnTo>
                    <a:pt x="50" y="1316"/>
                  </a:lnTo>
                  <a:lnTo>
                    <a:pt x="44" y="1314"/>
                  </a:lnTo>
                  <a:lnTo>
                    <a:pt x="35" y="1309"/>
                  </a:lnTo>
                  <a:lnTo>
                    <a:pt x="20" y="1302"/>
                  </a:lnTo>
                  <a:lnTo>
                    <a:pt x="19" y="1299"/>
                  </a:lnTo>
                  <a:lnTo>
                    <a:pt x="22" y="1291"/>
                  </a:lnTo>
                  <a:lnTo>
                    <a:pt x="13" y="1291"/>
                  </a:lnTo>
                  <a:lnTo>
                    <a:pt x="9" y="1284"/>
                  </a:lnTo>
                  <a:lnTo>
                    <a:pt x="10" y="1277"/>
                  </a:lnTo>
                  <a:lnTo>
                    <a:pt x="2" y="1265"/>
                  </a:lnTo>
                  <a:lnTo>
                    <a:pt x="6" y="1261"/>
                  </a:lnTo>
                  <a:lnTo>
                    <a:pt x="0" y="1254"/>
                  </a:lnTo>
                  <a:lnTo>
                    <a:pt x="21" y="1239"/>
                  </a:lnTo>
                  <a:lnTo>
                    <a:pt x="30" y="1223"/>
                  </a:lnTo>
                  <a:lnTo>
                    <a:pt x="36" y="1219"/>
                  </a:lnTo>
                  <a:lnTo>
                    <a:pt x="52" y="1216"/>
                  </a:lnTo>
                  <a:lnTo>
                    <a:pt x="52" y="1212"/>
                  </a:lnTo>
                  <a:lnTo>
                    <a:pt x="49" y="1208"/>
                  </a:lnTo>
                  <a:lnTo>
                    <a:pt x="57" y="1200"/>
                  </a:lnTo>
                  <a:lnTo>
                    <a:pt x="78" y="1198"/>
                  </a:lnTo>
                  <a:lnTo>
                    <a:pt x="91" y="1190"/>
                  </a:lnTo>
                  <a:lnTo>
                    <a:pt x="96" y="1167"/>
                  </a:lnTo>
                  <a:lnTo>
                    <a:pt x="94" y="1162"/>
                  </a:lnTo>
                  <a:lnTo>
                    <a:pt x="99" y="1153"/>
                  </a:lnTo>
                  <a:lnTo>
                    <a:pt x="92" y="1144"/>
                  </a:lnTo>
                  <a:lnTo>
                    <a:pt x="91" y="1137"/>
                  </a:lnTo>
                  <a:lnTo>
                    <a:pt x="95" y="1130"/>
                  </a:lnTo>
                  <a:lnTo>
                    <a:pt x="94" y="1127"/>
                  </a:lnTo>
                  <a:lnTo>
                    <a:pt x="102" y="1108"/>
                  </a:lnTo>
                  <a:lnTo>
                    <a:pt x="119" y="1095"/>
                  </a:lnTo>
                  <a:lnTo>
                    <a:pt x="122" y="1091"/>
                  </a:lnTo>
                  <a:lnTo>
                    <a:pt x="125" y="1078"/>
                  </a:lnTo>
                  <a:lnTo>
                    <a:pt x="106" y="1063"/>
                  </a:lnTo>
                  <a:lnTo>
                    <a:pt x="114" y="1037"/>
                  </a:lnTo>
                  <a:lnTo>
                    <a:pt x="119" y="1033"/>
                  </a:lnTo>
                  <a:lnTo>
                    <a:pt x="119" y="1024"/>
                  </a:lnTo>
                  <a:lnTo>
                    <a:pt x="122" y="1017"/>
                  </a:lnTo>
                  <a:lnTo>
                    <a:pt x="119" y="1001"/>
                  </a:lnTo>
                  <a:lnTo>
                    <a:pt x="120" y="988"/>
                  </a:lnTo>
                  <a:lnTo>
                    <a:pt x="130" y="984"/>
                  </a:lnTo>
                  <a:lnTo>
                    <a:pt x="130" y="979"/>
                  </a:lnTo>
                  <a:lnTo>
                    <a:pt x="131" y="972"/>
                  </a:lnTo>
                  <a:lnTo>
                    <a:pt x="160" y="954"/>
                  </a:lnTo>
                  <a:lnTo>
                    <a:pt x="164" y="944"/>
                  </a:lnTo>
                  <a:lnTo>
                    <a:pt x="175" y="936"/>
                  </a:lnTo>
                  <a:lnTo>
                    <a:pt x="185" y="927"/>
                  </a:lnTo>
                  <a:lnTo>
                    <a:pt x="192" y="926"/>
                  </a:lnTo>
                  <a:lnTo>
                    <a:pt x="200" y="921"/>
                  </a:lnTo>
                  <a:lnTo>
                    <a:pt x="209" y="902"/>
                  </a:lnTo>
                  <a:lnTo>
                    <a:pt x="234" y="895"/>
                  </a:lnTo>
                  <a:lnTo>
                    <a:pt x="244" y="895"/>
                  </a:lnTo>
                  <a:lnTo>
                    <a:pt x="256" y="901"/>
                  </a:lnTo>
                  <a:lnTo>
                    <a:pt x="269" y="899"/>
                  </a:lnTo>
                  <a:lnTo>
                    <a:pt x="270" y="902"/>
                  </a:lnTo>
                  <a:lnTo>
                    <a:pt x="274" y="901"/>
                  </a:lnTo>
                  <a:lnTo>
                    <a:pt x="274" y="916"/>
                  </a:lnTo>
                  <a:lnTo>
                    <a:pt x="285" y="924"/>
                  </a:lnTo>
                  <a:lnTo>
                    <a:pt x="283" y="927"/>
                  </a:lnTo>
                  <a:lnTo>
                    <a:pt x="301" y="932"/>
                  </a:lnTo>
                  <a:lnTo>
                    <a:pt x="302" y="938"/>
                  </a:lnTo>
                  <a:lnTo>
                    <a:pt x="310" y="934"/>
                  </a:lnTo>
                  <a:lnTo>
                    <a:pt x="312" y="927"/>
                  </a:lnTo>
                  <a:lnTo>
                    <a:pt x="315" y="932"/>
                  </a:lnTo>
                  <a:lnTo>
                    <a:pt x="317" y="932"/>
                  </a:lnTo>
                  <a:lnTo>
                    <a:pt x="319" y="921"/>
                  </a:lnTo>
                  <a:lnTo>
                    <a:pt x="321" y="913"/>
                  </a:lnTo>
                  <a:lnTo>
                    <a:pt x="330" y="909"/>
                  </a:lnTo>
                  <a:lnTo>
                    <a:pt x="330" y="901"/>
                  </a:lnTo>
                  <a:lnTo>
                    <a:pt x="341" y="909"/>
                  </a:lnTo>
                  <a:lnTo>
                    <a:pt x="344" y="909"/>
                  </a:lnTo>
                  <a:lnTo>
                    <a:pt x="341" y="905"/>
                  </a:lnTo>
                  <a:lnTo>
                    <a:pt x="349" y="904"/>
                  </a:lnTo>
                  <a:lnTo>
                    <a:pt x="360" y="909"/>
                  </a:lnTo>
                  <a:lnTo>
                    <a:pt x="362" y="905"/>
                  </a:lnTo>
                  <a:lnTo>
                    <a:pt x="387" y="902"/>
                  </a:lnTo>
                  <a:lnTo>
                    <a:pt x="387" y="895"/>
                  </a:lnTo>
                  <a:lnTo>
                    <a:pt x="419" y="882"/>
                  </a:lnTo>
                  <a:lnTo>
                    <a:pt x="429" y="882"/>
                  </a:lnTo>
                  <a:lnTo>
                    <a:pt x="430" y="887"/>
                  </a:lnTo>
                  <a:lnTo>
                    <a:pt x="441" y="883"/>
                  </a:lnTo>
                  <a:lnTo>
                    <a:pt x="451" y="885"/>
                  </a:lnTo>
                  <a:lnTo>
                    <a:pt x="454" y="879"/>
                  </a:lnTo>
                  <a:lnTo>
                    <a:pt x="472" y="868"/>
                  </a:lnTo>
                  <a:lnTo>
                    <a:pt x="474" y="864"/>
                  </a:lnTo>
                  <a:lnTo>
                    <a:pt x="495" y="859"/>
                  </a:lnTo>
                  <a:lnTo>
                    <a:pt x="500" y="846"/>
                  </a:lnTo>
                  <a:lnTo>
                    <a:pt x="509" y="846"/>
                  </a:lnTo>
                  <a:lnTo>
                    <a:pt x="537" y="830"/>
                  </a:lnTo>
                  <a:lnTo>
                    <a:pt x="541" y="815"/>
                  </a:lnTo>
                  <a:lnTo>
                    <a:pt x="541" y="804"/>
                  </a:lnTo>
                  <a:lnTo>
                    <a:pt x="531" y="797"/>
                  </a:lnTo>
                  <a:lnTo>
                    <a:pt x="531" y="773"/>
                  </a:lnTo>
                  <a:lnTo>
                    <a:pt x="536" y="750"/>
                  </a:lnTo>
                  <a:lnTo>
                    <a:pt x="537" y="742"/>
                  </a:lnTo>
                  <a:lnTo>
                    <a:pt x="543" y="676"/>
                  </a:lnTo>
                  <a:lnTo>
                    <a:pt x="544" y="663"/>
                  </a:lnTo>
                  <a:lnTo>
                    <a:pt x="566" y="368"/>
                  </a:lnTo>
                  <a:lnTo>
                    <a:pt x="566" y="360"/>
                  </a:lnTo>
                  <a:lnTo>
                    <a:pt x="568" y="355"/>
                  </a:lnTo>
                  <a:lnTo>
                    <a:pt x="686" y="358"/>
                  </a:lnTo>
                  <a:lnTo>
                    <a:pt x="712" y="360"/>
                  </a:lnTo>
                  <a:lnTo>
                    <a:pt x="726" y="360"/>
                  </a:lnTo>
                  <a:lnTo>
                    <a:pt x="757" y="360"/>
                  </a:lnTo>
                  <a:lnTo>
                    <a:pt x="773" y="347"/>
                  </a:lnTo>
                  <a:lnTo>
                    <a:pt x="775" y="347"/>
                  </a:lnTo>
                  <a:lnTo>
                    <a:pt x="776" y="347"/>
                  </a:lnTo>
                  <a:lnTo>
                    <a:pt x="778" y="347"/>
                  </a:lnTo>
                  <a:lnTo>
                    <a:pt x="779" y="345"/>
                  </a:lnTo>
                  <a:lnTo>
                    <a:pt x="780" y="345"/>
                  </a:lnTo>
                  <a:lnTo>
                    <a:pt x="782" y="345"/>
                  </a:lnTo>
                  <a:lnTo>
                    <a:pt x="783" y="345"/>
                  </a:lnTo>
                  <a:lnTo>
                    <a:pt x="785" y="345"/>
                  </a:lnTo>
                  <a:lnTo>
                    <a:pt x="786" y="345"/>
                  </a:lnTo>
                  <a:lnTo>
                    <a:pt x="786" y="347"/>
                  </a:lnTo>
                  <a:lnTo>
                    <a:pt x="787" y="347"/>
                  </a:lnTo>
                  <a:lnTo>
                    <a:pt x="786" y="347"/>
                  </a:lnTo>
                  <a:lnTo>
                    <a:pt x="786" y="349"/>
                  </a:lnTo>
                  <a:lnTo>
                    <a:pt x="787" y="349"/>
                  </a:lnTo>
                  <a:lnTo>
                    <a:pt x="789" y="347"/>
                  </a:lnTo>
                  <a:lnTo>
                    <a:pt x="789" y="349"/>
                  </a:lnTo>
                  <a:lnTo>
                    <a:pt x="790" y="349"/>
                  </a:lnTo>
                  <a:lnTo>
                    <a:pt x="791" y="349"/>
                  </a:lnTo>
                  <a:lnTo>
                    <a:pt x="791" y="350"/>
                  </a:lnTo>
                  <a:lnTo>
                    <a:pt x="791" y="352"/>
                  </a:lnTo>
                  <a:lnTo>
                    <a:pt x="793" y="352"/>
                  </a:lnTo>
                  <a:lnTo>
                    <a:pt x="794" y="352"/>
                  </a:lnTo>
                  <a:lnTo>
                    <a:pt x="796" y="352"/>
                  </a:lnTo>
                  <a:lnTo>
                    <a:pt x="796" y="353"/>
                  </a:lnTo>
                  <a:lnTo>
                    <a:pt x="797" y="353"/>
                  </a:lnTo>
                  <a:lnTo>
                    <a:pt x="797" y="355"/>
                  </a:lnTo>
                  <a:lnTo>
                    <a:pt x="799" y="355"/>
                  </a:lnTo>
                  <a:lnTo>
                    <a:pt x="799" y="356"/>
                  </a:lnTo>
                  <a:lnTo>
                    <a:pt x="800" y="356"/>
                  </a:lnTo>
                  <a:lnTo>
                    <a:pt x="801" y="356"/>
                  </a:lnTo>
                  <a:lnTo>
                    <a:pt x="801" y="355"/>
                  </a:lnTo>
                  <a:lnTo>
                    <a:pt x="803" y="355"/>
                  </a:lnTo>
                  <a:lnTo>
                    <a:pt x="804" y="355"/>
                  </a:lnTo>
                  <a:lnTo>
                    <a:pt x="805" y="355"/>
                  </a:lnTo>
                  <a:lnTo>
                    <a:pt x="807" y="355"/>
                  </a:lnTo>
                  <a:lnTo>
                    <a:pt x="808" y="355"/>
                  </a:lnTo>
                  <a:lnTo>
                    <a:pt x="810" y="355"/>
                  </a:lnTo>
                  <a:lnTo>
                    <a:pt x="811" y="355"/>
                  </a:lnTo>
                  <a:lnTo>
                    <a:pt x="813" y="355"/>
                  </a:lnTo>
                  <a:lnTo>
                    <a:pt x="814" y="355"/>
                  </a:lnTo>
                  <a:lnTo>
                    <a:pt x="814" y="356"/>
                  </a:lnTo>
                  <a:lnTo>
                    <a:pt x="815" y="356"/>
                  </a:lnTo>
                  <a:lnTo>
                    <a:pt x="816" y="356"/>
                  </a:lnTo>
                  <a:lnTo>
                    <a:pt x="816" y="358"/>
                  </a:lnTo>
                  <a:lnTo>
                    <a:pt x="818" y="358"/>
                  </a:lnTo>
                  <a:lnTo>
                    <a:pt x="819" y="358"/>
                  </a:lnTo>
                  <a:lnTo>
                    <a:pt x="818" y="360"/>
                  </a:lnTo>
                  <a:lnTo>
                    <a:pt x="819" y="360"/>
                  </a:lnTo>
                  <a:lnTo>
                    <a:pt x="821" y="360"/>
                  </a:lnTo>
                  <a:lnTo>
                    <a:pt x="822" y="360"/>
                  </a:lnTo>
                  <a:lnTo>
                    <a:pt x="822" y="362"/>
                  </a:lnTo>
                  <a:lnTo>
                    <a:pt x="824" y="362"/>
                  </a:lnTo>
                  <a:lnTo>
                    <a:pt x="824" y="363"/>
                  </a:lnTo>
                  <a:lnTo>
                    <a:pt x="825" y="363"/>
                  </a:lnTo>
                  <a:lnTo>
                    <a:pt x="825" y="365"/>
                  </a:lnTo>
                  <a:lnTo>
                    <a:pt x="826" y="365"/>
                  </a:lnTo>
                  <a:lnTo>
                    <a:pt x="828" y="365"/>
                  </a:lnTo>
                  <a:lnTo>
                    <a:pt x="829" y="365"/>
                  </a:lnTo>
                  <a:lnTo>
                    <a:pt x="829" y="366"/>
                  </a:lnTo>
                  <a:lnTo>
                    <a:pt x="830" y="366"/>
                  </a:lnTo>
                  <a:lnTo>
                    <a:pt x="832" y="366"/>
                  </a:lnTo>
                  <a:lnTo>
                    <a:pt x="832" y="365"/>
                  </a:lnTo>
                  <a:lnTo>
                    <a:pt x="833" y="365"/>
                  </a:lnTo>
                  <a:lnTo>
                    <a:pt x="835" y="365"/>
                  </a:lnTo>
                  <a:lnTo>
                    <a:pt x="836" y="363"/>
                  </a:lnTo>
                  <a:lnTo>
                    <a:pt x="838" y="363"/>
                  </a:lnTo>
                  <a:lnTo>
                    <a:pt x="886" y="381"/>
                  </a:lnTo>
                  <a:lnTo>
                    <a:pt x="908" y="385"/>
                  </a:lnTo>
                  <a:lnTo>
                    <a:pt x="911" y="381"/>
                  </a:lnTo>
                  <a:lnTo>
                    <a:pt x="915" y="373"/>
                  </a:lnTo>
                  <a:lnTo>
                    <a:pt x="915" y="372"/>
                  </a:lnTo>
                  <a:lnTo>
                    <a:pt x="915" y="369"/>
                  </a:lnTo>
                  <a:lnTo>
                    <a:pt x="917" y="369"/>
                  </a:lnTo>
                  <a:lnTo>
                    <a:pt x="918" y="369"/>
                  </a:lnTo>
                  <a:lnTo>
                    <a:pt x="918" y="368"/>
                  </a:lnTo>
                  <a:lnTo>
                    <a:pt x="919" y="366"/>
                  </a:lnTo>
                  <a:lnTo>
                    <a:pt x="919" y="365"/>
                  </a:lnTo>
                  <a:lnTo>
                    <a:pt x="918" y="365"/>
                  </a:lnTo>
                  <a:lnTo>
                    <a:pt x="918" y="363"/>
                  </a:lnTo>
                  <a:lnTo>
                    <a:pt x="919" y="362"/>
                  </a:lnTo>
                  <a:lnTo>
                    <a:pt x="918" y="360"/>
                  </a:lnTo>
                  <a:lnTo>
                    <a:pt x="917" y="360"/>
                  </a:lnTo>
                  <a:lnTo>
                    <a:pt x="915" y="360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3" y="358"/>
                  </a:lnTo>
                  <a:lnTo>
                    <a:pt x="913" y="356"/>
                  </a:lnTo>
                  <a:lnTo>
                    <a:pt x="911" y="356"/>
                  </a:lnTo>
                  <a:lnTo>
                    <a:pt x="910" y="356"/>
                  </a:lnTo>
                  <a:lnTo>
                    <a:pt x="910" y="353"/>
                  </a:lnTo>
                  <a:lnTo>
                    <a:pt x="908" y="353"/>
                  </a:lnTo>
                  <a:lnTo>
                    <a:pt x="907" y="352"/>
                  </a:lnTo>
                  <a:lnTo>
                    <a:pt x="905" y="352"/>
                  </a:lnTo>
                  <a:lnTo>
                    <a:pt x="904" y="350"/>
                  </a:lnTo>
                  <a:lnTo>
                    <a:pt x="903" y="347"/>
                  </a:lnTo>
                  <a:lnTo>
                    <a:pt x="901" y="345"/>
                  </a:lnTo>
                  <a:lnTo>
                    <a:pt x="903" y="345"/>
                  </a:lnTo>
                  <a:lnTo>
                    <a:pt x="903" y="344"/>
                  </a:lnTo>
                  <a:lnTo>
                    <a:pt x="903" y="343"/>
                  </a:lnTo>
                  <a:lnTo>
                    <a:pt x="904" y="343"/>
                  </a:lnTo>
                  <a:lnTo>
                    <a:pt x="904" y="341"/>
                  </a:lnTo>
                  <a:lnTo>
                    <a:pt x="904" y="340"/>
                  </a:lnTo>
                  <a:lnTo>
                    <a:pt x="903" y="340"/>
                  </a:lnTo>
                  <a:lnTo>
                    <a:pt x="903" y="337"/>
                  </a:lnTo>
                  <a:lnTo>
                    <a:pt x="901" y="337"/>
                  </a:lnTo>
                  <a:lnTo>
                    <a:pt x="901" y="336"/>
                  </a:lnTo>
                  <a:lnTo>
                    <a:pt x="901" y="333"/>
                  </a:lnTo>
                  <a:lnTo>
                    <a:pt x="903" y="333"/>
                  </a:lnTo>
                  <a:lnTo>
                    <a:pt x="903" y="332"/>
                  </a:lnTo>
                  <a:lnTo>
                    <a:pt x="901" y="332"/>
                  </a:lnTo>
                  <a:lnTo>
                    <a:pt x="901" y="331"/>
                  </a:lnTo>
                  <a:lnTo>
                    <a:pt x="901" y="330"/>
                  </a:lnTo>
                  <a:lnTo>
                    <a:pt x="901" y="328"/>
                  </a:lnTo>
                  <a:lnTo>
                    <a:pt x="901" y="327"/>
                  </a:lnTo>
                  <a:lnTo>
                    <a:pt x="901" y="324"/>
                  </a:lnTo>
                  <a:lnTo>
                    <a:pt x="901" y="323"/>
                  </a:lnTo>
                  <a:lnTo>
                    <a:pt x="901" y="320"/>
                  </a:lnTo>
                  <a:lnTo>
                    <a:pt x="901" y="319"/>
                  </a:lnTo>
                  <a:lnTo>
                    <a:pt x="901" y="316"/>
                  </a:lnTo>
                  <a:lnTo>
                    <a:pt x="901" y="315"/>
                  </a:lnTo>
                  <a:lnTo>
                    <a:pt x="901" y="316"/>
                  </a:lnTo>
                  <a:lnTo>
                    <a:pt x="903" y="316"/>
                  </a:lnTo>
                  <a:lnTo>
                    <a:pt x="903" y="315"/>
                  </a:lnTo>
                  <a:lnTo>
                    <a:pt x="904" y="315"/>
                  </a:lnTo>
                  <a:lnTo>
                    <a:pt x="905" y="315"/>
                  </a:lnTo>
                  <a:lnTo>
                    <a:pt x="907" y="315"/>
                  </a:lnTo>
                  <a:lnTo>
                    <a:pt x="907" y="316"/>
                  </a:lnTo>
                  <a:lnTo>
                    <a:pt x="908" y="316"/>
                  </a:lnTo>
                  <a:lnTo>
                    <a:pt x="910" y="316"/>
                  </a:lnTo>
                  <a:lnTo>
                    <a:pt x="910" y="315"/>
                  </a:lnTo>
                  <a:lnTo>
                    <a:pt x="911" y="315"/>
                  </a:lnTo>
                  <a:lnTo>
                    <a:pt x="913" y="315"/>
                  </a:lnTo>
                  <a:lnTo>
                    <a:pt x="914" y="315"/>
                  </a:lnTo>
                  <a:lnTo>
                    <a:pt x="915" y="315"/>
                  </a:lnTo>
                  <a:lnTo>
                    <a:pt x="915" y="313"/>
                  </a:lnTo>
                  <a:lnTo>
                    <a:pt x="917" y="313"/>
                  </a:lnTo>
                  <a:lnTo>
                    <a:pt x="917" y="311"/>
                  </a:lnTo>
                  <a:lnTo>
                    <a:pt x="917" y="310"/>
                  </a:lnTo>
                  <a:lnTo>
                    <a:pt x="918" y="310"/>
                  </a:lnTo>
                  <a:lnTo>
                    <a:pt x="918" y="308"/>
                  </a:lnTo>
                  <a:lnTo>
                    <a:pt x="919" y="307"/>
                  </a:lnTo>
                  <a:lnTo>
                    <a:pt x="919" y="306"/>
                  </a:lnTo>
                  <a:lnTo>
                    <a:pt x="921" y="304"/>
                  </a:lnTo>
                  <a:lnTo>
                    <a:pt x="922" y="302"/>
                  </a:lnTo>
                  <a:lnTo>
                    <a:pt x="924" y="302"/>
                  </a:lnTo>
                  <a:lnTo>
                    <a:pt x="925" y="302"/>
                  </a:lnTo>
                  <a:lnTo>
                    <a:pt x="925" y="300"/>
                  </a:lnTo>
                  <a:lnTo>
                    <a:pt x="925" y="298"/>
                  </a:lnTo>
                  <a:lnTo>
                    <a:pt x="926" y="298"/>
                  </a:lnTo>
                  <a:lnTo>
                    <a:pt x="928" y="298"/>
                  </a:lnTo>
                  <a:lnTo>
                    <a:pt x="928" y="296"/>
                  </a:lnTo>
                  <a:lnTo>
                    <a:pt x="928" y="295"/>
                  </a:lnTo>
                  <a:lnTo>
                    <a:pt x="928" y="296"/>
                  </a:lnTo>
                  <a:lnTo>
                    <a:pt x="929" y="296"/>
                  </a:lnTo>
                  <a:lnTo>
                    <a:pt x="929" y="295"/>
                  </a:lnTo>
                  <a:lnTo>
                    <a:pt x="928" y="295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9" y="295"/>
                  </a:lnTo>
                  <a:lnTo>
                    <a:pt x="929" y="294"/>
                  </a:lnTo>
                  <a:lnTo>
                    <a:pt x="929" y="293"/>
                  </a:lnTo>
                  <a:lnTo>
                    <a:pt x="930" y="293"/>
                  </a:lnTo>
                  <a:lnTo>
                    <a:pt x="932" y="293"/>
                  </a:lnTo>
                  <a:lnTo>
                    <a:pt x="933" y="293"/>
                  </a:lnTo>
                  <a:lnTo>
                    <a:pt x="935" y="293"/>
                  </a:lnTo>
                  <a:lnTo>
                    <a:pt x="935" y="291"/>
                  </a:lnTo>
                  <a:lnTo>
                    <a:pt x="936" y="291"/>
                  </a:lnTo>
                  <a:lnTo>
                    <a:pt x="936" y="288"/>
                  </a:lnTo>
                  <a:lnTo>
                    <a:pt x="935" y="288"/>
                  </a:lnTo>
                  <a:lnTo>
                    <a:pt x="936" y="288"/>
                  </a:lnTo>
                  <a:lnTo>
                    <a:pt x="938" y="288"/>
                  </a:lnTo>
                  <a:lnTo>
                    <a:pt x="938" y="287"/>
                  </a:lnTo>
                  <a:lnTo>
                    <a:pt x="936" y="287"/>
                  </a:lnTo>
                  <a:lnTo>
                    <a:pt x="938" y="287"/>
                  </a:lnTo>
                  <a:lnTo>
                    <a:pt x="938" y="285"/>
                  </a:lnTo>
                  <a:lnTo>
                    <a:pt x="939" y="285"/>
                  </a:lnTo>
                  <a:lnTo>
                    <a:pt x="940" y="285"/>
                  </a:lnTo>
                  <a:lnTo>
                    <a:pt x="940" y="283"/>
                  </a:lnTo>
                  <a:lnTo>
                    <a:pt x="942" y="283"/>
                  </a:lnTo>
                  <a:lnTo>
                    <a:pt x="942" y="282"/>
                  </a:lnTo>
                  <a:lnTo>
                    <a:pt x="940" y="282"/>
                  </a:lnTo>
                  <a:lnTo>
                    <a:pt x="940" y="279"/>
                  </a:lnTo>
                  <a:lnTo>
                    <a:pt x="942" y="279"/>
                  </a:lnTo>
                  <a:lnTo>
                    <a:pt x="943" y="279"/>
                  </a:lnTo>
                  <a:lnTo>
                    <a:pt x="942" y="279"/>
                  </a:lnTo>
                  <a:lnTo>
                    <a:pt x="940" y="278"/>
                  </a:lnTo>
                  <a:lnTo>
                    <a:pt x="942" y="278"/>
                  </a:lnTo>
                  <a:lnTo>
                    <a:pt x="942" y="275"/>
                  </a:lnTo>
                  <a:lnTo>
                    <a:pt x="943" y="275"/>
                  </a:lnTo>
                  <a:lnTo>
                    <a:pt x="944" y="275"/>
                  </a:lnTo>
                  <a:lnTo>
                    <a:pt x="946" y="275"/>
                  </a:lnTo>
                  <a:lnTo>
                    <a:pt x="947" y="275"/>
                  </a:lnTo>
                  <a:lnTo>
                    <a:pt x="949" y="275"/>
                  </a:lnTo>
                  <a:lnTo>
                    <a:pt x="949" y="274"/>
                  </a:lnTo>
                  <a:lnTo>
                    <a:pt x="950" y="274"/>
                  </a:lnTo>
                  <a:lnTo>
                    <a:pt x="949" y="274"/>
                  </a:lnTo>
                  <a:lnTo>
                    <a:pt x="949" y="273"/>
                  </a:lnTo>
                  <a:lnTo>
                    <a:pt x="950" y="271"/>
                  </a:lnTo>
                  <a:lnTo>
                    <a:pt x="949" y="271"/>
                  </a:lnTo>
                  <a:lnTo>
                    <a:pt x="949" y="270"/>
                  </a:lnTo>
                  <a:lnTo>
                    <a:pt x="950" y="270"/>
                  </a:lnTo>
                  <a:lnTo>
                    <a:pt x="949" y="269"/>
                  </a:lnTo>
                  <a:lnTo>
                    <a:pt x="950" y="269"/>
                  </a:lnTo>
                  <a:lnTo>
                    <a:pt x="951" y="269"/>
                  </a:lnTo>
                  <a:lnTo>
                    <a:pt x="951" y="266"/>
                  </a:lnTo>
                  <a:lnTo>
                    <a:pt x="953" y="266"/>
                  </a:lnTo>
                  <a:lnTo>
                    <a:pt x="953" y="265"/>
                  </a:lnTo>
                  <a:lnTo>
                    <a:pt x="954" y="265"/>
                  </a:lnTo>
                  <a:lnTo>
                    <a:pt x="953" y="265"/>
                  </a:lnTo>
                  <a:lnTo>
                    <a:pt x="953" y="262"/>
                  </a:lnTo>
                  <a:lnTo>
                    <a:pt x="954" y="262"/>
                  </a:lnTo>
                  <a:lnTo>
                    <a:pt x="955" y="262"/>
                  </a:lnTo>
                  <a:lnTo>
                    <a:pt x="955" y="260"/>
                  </a:lnTo>
                  <a:lnTo>
                    <a:pt x="954" y="260"/>
                  </a:lnTo>
                  <a:lnTo>
                    <a:pt x="955" y="260"/>
                  </a:lnTo>
                  <a:lnTo>
                    <a:pt x="957" y="258"/>
                  </a:lnTo>
                  <a:lnTo>
                    <a:pt x="958" y="257"/>
                  </a:lnTo>
                  <a:lnTo>
                    <a:pt x="958" y="256"/>
                  </a:lnTo>
                  <a:lnTo>
                    <a:pt x="960" y="256"/>
                  </a:lnTo>
                  <a:lnTo>
                    <a:pt x="960" y="253"/>
                  </a:lnTo>
                  <a:lnTo>
                    <a:pt x="963" y="253"/>
                  </a:lnTo>
                  <a:lnTo>
                    <a:pt x="961" y="253"/>
                  </a:lnTo>
                  <a:lnTo>
                    <a:pt x="961" y="251"/>
                  </a:lnTo>
                  <a:lnTo>
                    <a:pt x="963" y="251"/>
                  </a:lnTo>
                  <a:lnTo>
                    <a:pt x="964" y="253"/>
                  </a:lnTo>
                  <a:lnTo>
                    <a:pt x="964" y="251"/>
                  </a:lnTo>
                  <a:lnTo>
                    <a:pt x="964" y="249"/>
                  </a:lnTo>
                  <a:lnTo>
                    <a:pt x="965" y="249"/>
                  </a:lnTo>
                  <a:lnTo>
                    <a:pt x="965" y="251"/>
                  </a:lnTo>
                  <a:lnTo>
                    <a:pt x="965" y="249"/>
                  </a:lnTo>
                  <a:lnTo>
                    <a:pt x="967" y="249"/>
                  </a:lnTo>
                  <a:lnTo>
                    <a:pt x="968" y="249"/>
                  </a:lnTo>
                  <a:lnTo>
                    <a:pt x="968" y="248"/>
                  </a:lnTo>
                  <a:lnTo>
                    <a:pt x="968" y="246"/>
                  </a:lnTo>
                  <a:lnTo>
                    <a:pt x="967" y="246"/>
                  </a:lnTo>
                  <a:lnTo>
                    <a:pt x="968" y="246"/>
                  </a:lnTo>
                  <a:lnTo>
                    <a:pt x="968" y="244"/>
                  </a:lnTo>
                  <a:lnTo>
                    <a:pt x="968" y="243"/>
                  </a:lnTo>
                  <a:lnTo>
                    <a:pt x="968" y="240"/>
                  </a:lnTo>
                  <a:lnTo>
                    <a:pt x="968" y="237"/>
                  </a:lnTo>
                  <a:lnTo>
                    <a:pt x="969" y="237"/>
                  </a:lnTo>
                  <a:lnTo>
                    <a:pt x="971" y="237"/>
                  </a:lnTo>
                  <a:lnTo>
                    <a:pt x="969" y="237"/>
                  </a:lnTo>
                  <a:lnTo>
                    <a:pt x="968" y="237"/>
                  </a:lnTo>
                  <a:lnTo>
                    <a:pt x="969" y="237"/>
                  </a:lnTo>
                  <a:lnTo>
                    <a:pt x="969" y="236"/>
                  </a:lnTo>
                  <a:lnTo>
                    <a:pt x="969" y="237"/>
                  </a:lnTo>
                  <a:lnTo>
                    <a:pt x="971" y="237"/>
                  </a:lnTo>
                  <a:lnTo>
                    <a:pt x="971" y="236"/>
                  </a:lnTo>
                  <a:lnTo>
                    <a:pt x="971" y="234"/>
                  </a:lnTo>
                  <a:lnTo>
                    <a:pt x="972" y="234"/>
                  </a:lnTo>
                  <a:lnTo>
                    <a:pt x="972" y="236"/>
                  </a:lnTo>
                  <a:lnTo>
                    <a:pt x="974" y="236"/>
                  </a:lnTo>
                  <a:lnTo>
                    <a:pt x="974" y="234"/>
                  </a:lnTo>
                  <a:lnTo>
                    <a:pt x="972" y="234"/>
                  </a:lnTo>
                  <a:lnTo>
                    <a:pt x="974" y="234"/>
                  </a:lnTo>
                  <a:lnTo>
                    <a:pt x="974" y="233"/>
                  </a:lnTo>
                  <a:lnTo>
                    <a:pt x="972" y="233"/>
                  </a:lnTo>
                  <a:lnTo>
                    <a:pt x="972" y="231"/>
                  </a:lnTo>
                  <a:lnTo>
                    <a:pt x="974" y="231"/>
                  </a:lnTo>
                  <a:lnTo>
                    <a:pt x="975" y="231"/>
                  </a:lnTo>
                  <a:lnTo>
                    <a:pt x="977" y="231"/>
                  </a:lnTo>
                  <a:lnTo>
                    <a:pt x="978" y="231"/>
                  </a:lnTo>
                  <a:lnTo>
                    <a:pt x="980" y="231"/>
                  </a:lnTo>
                  <a:lnTo>
                    <a:pt x="982" y="231"/>
                  </a:lnTo>
                  <a:lnTo>
                    <a:pt x="983" y="231"/>
                  </a:lnTo>
                  <a:lnTo>
                    <a:pt x="985" y="231"/>
                  </a:lnTo>
                  <a:lnTo>
                    <a:pt x="985" y="229"/>
                  </a:lnTo>
                  <a:lnTo>
                    <a:pt x="986" y="229"/>
                  </a:lnTo>
                  <a:lnTo>
                    <a:pt x="988" y="229"/>
                  </a:lnTo>
                  <a:lnTo>
                    <a:pt x="989" y="229"/>
                  </a:lnTo>
                  <a:lnTo>
                    <a:pt x="990" y="229"/>
                  </a:lnTo>
                  <a:lnTo>
                    <a:pt x="990" y="226"/>
                  </a:lnTo>
                  <a:lnTo>
                    <a:pt x="992" y="229"/>
                  </a:lnTo>
                  <a:lnTo>
                    <a:pt x="992" y="226"/>
                  </a:lnTo>
                  <a:lnTo>
                    <a:pt x="993" y="226"/>
                  </a:lnTo>
                  <a:lnTo>
                    <a:pt x="994" y="226"/>
                  </a:lnTo>
                  <a:lnTo>
                    <a:pt x="996" y="226"/>
                  </a:lnTo>
                  <a:lnTo>
                    <a:pt x="997" y="226"/>
                  </a:lnTo>
                  <a:lnTo>
                    <a:pt x="999" y="226"/>
                  </a:lnTo>
                  <a:lnTo>
                    <a:pt x="999" y="225"/>
                  </a:lnTo>
                  <a:lnTo>
                    <a:pt x="1000" y="225"/>
                  </a:lnTo>
                  <a:lnTo>
                    <a:pt x="1002" y="225"/>
                  </a:lnTo>
                  <a:lnTo>
                    <a:pt x="1003" y="225"/>
                  </a:lnTo>
                  <a:lnTo>
                    <a:pt x="1004" y="224"/>
                  </a:lnTo>
                  <a:lnTo>
                    <a:pt x="1005" y="224"/>
                  </a:lnTo>
                  <a:lnTo>
                    <a:pt x="1008" y="224"/>
                  </a:lnTo>
                  <a:lnTo>
                    <a:pt x="1008" y="225"/>
                  </a:lnTo>
                  <a:lnTo>
                    <a:pt x="1010" y="225"/>
                  </a:lnTo>
                  <a:lnTo>
                    <a:pt x="1010" y="224"/>
                  </a:lnTo>
                  <a:lnTo>
                    <a:pt x="1010" y="223"/>
                  </a:lnTo>
                  <a:lnTo>
                    <a:pt x="1011" y="223"/>
                  </a:lnTo>
                  <a:lnTo>
                    <a:pt x="1013" y="223"/>
                  </a:lnTo>
                  <a:lnTo>
                    <a:pt x="1014" y="223"/>
                  </a:lnTo>
                  <a:lnTo>
                    <a:pt x="1015" y="223"/>
                  </a:lnTo>
                  <a:lnTo>
                    <a:pt x="1017" y="223"/>
                  </a:lnTo>
                  <a:lnTo>
                    <a:pt x="1018" y="223"/>
                  </a:lnTo>
                  <a:lnTo>
                    <a:pt x="1018" y="221"/>
                  </a:lnTo>
                  <a:lnTo>
                    <a:pt x="1019" y="221"/>
                  </a:lnTo>
                  <a:lnTo>
                    <a:pt x="1021" y="221"/>
                  </a:lnTo>
                  <a:lnTo>
                    <a:pt x="1022" y="221"/>
                  </a:lnTo>
                  <a:lnTo>
                    <a:pt x="1024" y="223"/>
                  </a:lnTo>
                  <a:lnTo>
                    <a:pt x="1025" y="223"/>
                  </a:lnTo>
                  <a:lnTo>
                    <a:pt x="1027" y="221"/>
                  </a:lnTo>
                  <a:lnTo>
                    <a:pt x="1027" y="220"/>
                  </a:lnTo>
                  <a:lnTo>
                    <a:pt x="1028" y="220"/>
                  </a:lnTo>
                  <a:lnTo>
                    <a:pt x="1029" y="220"/>
                  </a:lnTo>
                  <a:lnTo>
                    <a:pt x="1031" y="220"/>
                  </a:lnTo>
                  <a:lnTo>
                    <a:pt x="1031" y="217"/>
                  </a:lnTo>
                  <a:lnTo>
                    <a:pt x="1032" y="217"/>
                  </a:lnTo>
                  <a:lnTo>
                    <a:pt x="1033" y="217"/>
                  </a:lnTo>
                  <a:lnTo>
                    <a:pt x="1035" y="217"/>
                  </a:lnTo>
                  <a:lnTo>
                    <a:pt x="1033" y="217"/>
                  </a:lnTo>
                  <a:lnTo>
                    <a:pt x="1035" y="217"/>
                  </a:lnTo>
                  <a:lnTo>
                    <a:pt x="1035" y="215"/>
                  </a:lnTo>
                  <a:lnTo>
                    <a:pt x="1036" y="217"/>
                  </a:lnTo>
                  <a:lnTo>
                    <a:pt x="1042" y="215"/>
                  </a:lnTo>
                  <a:lnTo>
                    <a:pt x="1049" y="217"/>
                  </a:lnTo>
                  <a:lnTo>
                    <a:pt x="1054" y="215"/>
                  </a:lnTo>
                  <a:lnTo>
                    <a:pt x="1060" y="213"/>
                  </a:lnTo>
                  <a:lnTo>
                    <a:pt x="1061" y="208"/>
                  </a:lnTo>
                  <a:lnTo>
                    <a:pt x="1063" y="203"/>
                  </a:lnTo>
                  <a:lnTo>
                    <a:pt x="1065" y="201"/>
                  </a:lnTo>
                  <a:lnTo>
                    <a:pt x="1071" y="200"/>
                  </a:lnTo>
                  <a:lnTo>
                    <a:pt x="1078" y="203"/>
                  </a:lnTo>
                  <a:lnTo>
                    <a:pt x="1086" y="198"/>
                  </a:lnTo>
                  <a:lnTo>
                    <a:pt x="1088" y="199"/>
                  </a:lnTo>
                  <a:lnTo>
                    <a:pt x="1096" y="198"/>
                  </a:lnTo>
                  <a:lnTo>
                    <a:pt x="1098" y="195"/>
                  </a:lnTo>
                  <a:lnTo>
                    <a:pt x="1096" y="191"/>
                  </a:lnTo>
                  <a:lnTo>
                    <a:pt x="1100" y="189"/>
                  </a:lnTo>
                  <a:lnTo>
                    <a:pt x="1100" y="184"/>
                  </a:lnTo>
                  <a:lnTo>
                    <a:pt x="1107" y="182"/>
                  </a:lnTo>
                  <a:lnTo>
                    <a:pt x="1112" y="182"/>
                  </a:lnTo>
                  <a:lnTo>
                    <a:pt x="1117" y="182"/>
                  </a:lnTo>
                  <a:lnTo>
                    <a:pt x="1120" y="179"/>
                  </a:lnTo>
                  <a:lnTo>
                    <a:pt x="1120" y="173"/>
                  </a:lnTo>
                  <a:lnTo>
                    <a:pt x="1124" y="169"/>
                  </a:lnTo>
                  <a:lnTo>
                    <a:pt x="1124" y="173"/>
                  </a:lnTo>
                  <a:lnTo>
                    <a:pt x="1127" y="171"/>
                  </a:lnTo>
                  <a:lnTo>
                    <a:pt x="1128" y="171"/>
                  </a:lnTo>
                  <a:lnTo>
                    <a:pt x="1132" y="171"/>
                  </a:lnTo>
                  <a:lnTo>
                    <a:pt x="1135" y="166"/>
                  </a:lnTo>
                  <a:lnTo>
                    <a:pt x="1143" y="162"/>
                  </a:lnTo>
                  <a:lnTo>
                    <a:pt x="1145" y="153"/>
                  </a:lnTo>
                  <a:lnTo>
                    <a:pt x="1148" y="150"/>
                  </a:lnTo>
                  <a:lnTo>
                    <a:pt x="1152" y="142"/>
                  </a:lnTo>
                  <a:lnTo>
                    <a:pt x="1157" y="141"/>
                  </a:lnTo>
                  <a:lnTo>
                    <a:pt x="1156" y="137"/>
                  </a:lnTo>
                  <a:lnTo>
                    <a:pt x="1163" y="137"/>
                  </a:lnTo>
                  <a:lnTo>
                    <a:pt x="1167" y="137"/>
                  </a:lnTo>
                  <a:lnTo>
                    <a:pt x="1168" y="137"/>
                  </a:lnTo>
                  <a:lnTo>
                    <a:pt x="1173" y="129"/>
                  </a:lnTo>
                  <a:lnTo>
                    <a:pt x="1179" y="128"/>
                  </a:lnTo>
                  <a:lnTo>
                    <a:pt x="1182" y="126"/>
                  </a:lnTo>
                  <a:lnTo>
                    <a:pt x="1181" y="124"/>
                  </a:lnTo>
                  <a:lnTo>
                    <a:pt x="1182" y="122"/>
                  </a:lnTo>
                  <a:lnTo>
                    <a:pt x="1185" y="122"/>
                  </a:lnTo>
                  <a:lnTo>
                    <a:pt x="1184" y="119"/>
                  </a:lnTo>
                  <a:lnTo>
                    <a:pt x="1187" y="117"/>
                  </a:lnTo>
                  <a:lnTo>
                    <a:pt x="1188" y="113"/>
                  </a:lnTo>
                  <a:lnTo>
                    <a:pt x="1188" y="105"/>
                  </a:lnTo>
                  <a:lnTo>
                    <a:pt x="1190" y="96"/>
                  </a:lnTo>
                  <a:lnTo>
                    <a:pt x="1193" y="94"/>
                  </a:lnTo>
                  <a:lnTo>
                    <a:pt x="1199" y="84"/>
                  </a:lnTo>
                  <a:lnTo>
                    <a:pt x="1200" y="84"/>
                  </a:lnTo>
                  <a:lnTo>
                    <a:pt x="1202" y="84"/>
                  </a:lnTo>
                  <a:lnTo>
                    <a:pt x="1206" y="84"/>
                  </a:lnTo>
                  <a:lnTo>
                    <a:pt x="1212" y="88"/>
                  </a:lnTo>
                  <a:lnTo>
                    <a:pt x="1217" y="87"/>
                  </a:lnTo>
                  <a:lnTo>
                    <a:pt x="1218" y="75"/>
                  </a:lnTo>
                  <a:lnTo>
                    <a:pt x="1221" y="75"/>
                  </a:lnTo>
                  <a:lnTo>
                    <a:pt x="1220" y="74"/>
                  </a:lnTo>
                  <a:lnTo>
                    <a:pt x="1221" y="74"/>
                  </a:lnTo>
                  <a:lnTo>
                    <a:pt x="1221" y="71"/>
                  </a:lnTo>
                  <a:lnTo>
                    <a:pt x="1220" y="70"/>
                  </a:lnTo>
                  <a:lnTo>
                    <a:pt x="1221" y="62"/>
                  </a:lnTo>
                  <a:lnTo>
                    <a:pt x="1225" y="60"/>
                  </a:lnTo>
                  <a:lnTo>
                    <a:pt x="1227" y="62"/>
                  </a:lnTo>
                  <a:lnTo>
                    <a:pt x="1232" y="59"/>
                  </a:lnTo>
                  <a:lnTo>
                    <a:pt x="1232" y="52"/>
                  </a:lnTo>
                  <a:lnTo>
                    <a:pt x="1240" y="49"/>
                  </a:lnTo>
                  <a:lnTo>
                    <a:pt x="1239" y="46"/>
                  </a:lnTo>
                  <a:lnTo>
                    <a:pt x="1240" y="39"/>
                  </a:lnTo>
                  <a:lnTo>
                    <a:pt x="1248" y="37"/>
                  </a:lnTo>
                  <a:lnTo>
                    <a:pt x="1249" y="34"/>
                  </a:lnTo>
                  <a:lnTo>
                    <a:pt x="1246" y="20"/>
                  </a:lnTo>
                  <a:lnTo>
                    <a:pt x="1250" y="17"/>
                  </a:lnTo>
                  <a:lnTo>
                    <a:pt x="1248" y="14"/>
                  </a:lnTo>
                  <a:lnTo>
                    <a:pt x="1252" y="8"/>
                  </a:lnTo>
                  <a:lnTo>
                    <a:pt x="1252" y="4"/>
                  </a:lnTo>
                  <a:lnTo>
                    <a:pt x="1250" y="4"/>
                  </a:lnTo>
                  <a:lnTo>
                    <a:pt x="1248" y="2"/>
                  </a:lnTo>
                  <a:lnTo>
                    <a:pt x="1245" y="0"/>
                  </a:lnTo>
                  <a:lnTo>
                    <a:pt x="1289" y="0"/>
                  </a:lnTo>
                  <a:lnTo>
                    <a:pt x="1640" y="0"/>
                  </a:lnTo>
                  <a:lnTo>
                    <a:pt x="1649" y="2"/>
                  </a:lnTo>
                  <a:lnTo>
                    <a:pt x="1655" y="13"/>
                  </a:lnTo>
                  <a:lnTo>
                    <a:pt x="1655" y="17"/>
                  </a:lnTo>
                  <a:lnTo>
                    <a:pt x="1659" y="21"/>
                  </a:lnTo>
                  <a:lnTo>
                    <a:pt x="1668" y="24"/>
                  </a:lnTo>
                  <a:lnTo>
                    <a:pt x="1672" y="26"/>
                  </a:lnTo>
                  <a:lnTo>
                    <a:pt x="1677" y="25"/>
                  </a:lnTo>
                  <a:lnTo>
                    <a:pt x="1680" y="26"/>
                  </a:lnTo>
                  <a:lnTo>
                    <a:pt x="1680" y="24"/>
                  </a:lnTo>
                  <a:lnTo>
                    <a:pt x="1679" y="21"/>
                  </a:lnTo>
                  <a:lnTo>
                    <a:pt x="1683" y="16"/>
                  </a:lnTo>
                  <a:lnTo>
                    <a:pt x="1683" y="17"/>
                  </a:lnTo>
                  <a:lnTo>
                    <a:pt x="1684" y="20"/>
                  </a:lnTo>
                  <a:lnTo>
                    <a:pt x="1686" y="24"/>
                  </a:lnTo>
                  <a:lnTo>
                    <a:pt x="1684" y="25"/>
                  </a:lnTo>
                  <a:lnTo>
                    <a:pt x="1686" y="26"/>
                  </a:lnTo>
                  <a:lnTo>
                    <a:pt x="1686" y="29"/>
                  </a:lnTo>
                  <a:lnTo>
                    <a:pt x="1687" y="30"/>
                  </a:lnTo>
                  <a:lnTo>
                    <a:pt x="1691" y="38"/>
                  </a:lnTo>
                  <a:lnTo>
                    <a:pt x="1704" y="74"/>
                  </a:lnTo>
                  <a:lnTo>
                    <a:pt x="1705" y="75"/>
                  </a:lnTo>
                  <a:lnTo>
                    <a:pt x="1708" y="79"/>
                  </a:lnTo>
                  <a:lnTo>
                    <a:pt x="1712" y="75"/>
                  </a:lnTo>
                  <a:lnTo>
                    <a:pt x="1718" y="75"/>
                  </a:lnTo>
                  <a:lnTo>
                    <a:pt x="1722" y="84"/>
                  </a:lnTo>
                  <a:lnTo>
                    <a:pt x="1722" y="88"/>
                  </a:lnTo>
                  <a:lnTo>
                    <a:pt x="1724" y="95"/>
                  </a:lnTo>
                  <a:lnTo>
                    <a:pt x="1736" y="97"/>
                  </a:lnTo>
                  <a:lnTo>
                    <a:pt x="1738" y="97"/>
                  </a:lnTo>
                  <a:lnTo>
                    <a:pt x="1738" y="101"/>
                  </a:lnTo>
                  <a:lnTo>
                    <a:pt x="1743" y="101"/>
                  </a:lnTo>
                  <a:lnTo>
                    <a:pt x="1746" y="107"/>
                  </a:lnTo>
                  <a:lnTo>
                    <a:pt x="1751" y="108"/>
                  </a:lnTo>
                  <a:lnTo>
                    <a:pt x="1754" y="107"/>
                  </a:lnTo>
                  <a:lnTo>
                    <a:pt x="1758" y="109"/>
                  </a:lnTo>
                  <a:lnTo>
                    <a:pt x="1772" y="95"/>
                  </a:lnTo>
                  <a:lnTo>
                    <a:pt x="1776" y="92"/>
                  </a:lnTo>
                  <a:lnTo>
                    <a:pt x="1782" y="84"/>
                  </a:lnTo>
                  <a:lnTo>
                    <a:pt x="1787" y="82"/>
                  </a:lnTo>
                  <a:lnTo>
                    <a:pt x="1812" y="108"/>
                  </a:lnTo>
                  <a:lnTo>
                    <a:pt x="1815" y="111"/>
                  </a:lnTo>
                  <a:lnTo>
                    <a:pt x="1813" y="120"/>
                  </a:lnTo>
                  <a:lnTo>
                    <a:pt x="1816" y="128"/>
                  </a:lnTo>
                  <a:lnTo>
                    <a:pt x="1816" y="136"/>
                  </a:lnTo>
                  <a:lnTo>
                    <a:pt x="1813" y="145"/>
                  </a:lnTo>
                  <a:lnTo>
                    <a:pt x="1815" y="146"/>
                  </a:lnTo>
                  <a:lnTo>
                    <a:pt x="1815" y="150"/>
                  </a:lnTo>
                  <a:lnTo>
                    <a:pt x="1816" y="153"/>
                  </a:lnTo>
                  <a:lnTo>
                    <a:pt x="1826" y="149"/>
                  </a:lnTo>
                  <a:lnTo>
                    <a:pt x="1829" y="150"/>
                  </a:lnTo>
                  <a:lnTo>
                    <a:pt x="1830" y="149"/>
                  </a:lnTo>
                  <a:lnTo>
                    <a:pt x="1833" y="150"/>
                  </a:lnTo>
                  <a:lnTo>
                    <a:pt x="1836" y="150"/>
                  </a:lnTo>
                  <a:lnTo>
                    <a:pt x="1838" y="149"/>
                  </a:lnTo>
                  <a:lnTo>
                    <a:pt x="1840" y="150"/>
                  </a:lnTo>
                  <a:lnTo>
                    <a:pt x="1843" y="146"/>
                  </a:lnTo>
                  <a:lnTo>
                    <a:pt x="1847" y="146"/>
                  </a:lnTo>
                  <a:lnTo>
                    <a:pt x="1855" y="142"/>
                  </a:lnTo>
                  <a:lnTo>
                    <a:pt x="1859" y="142"/>
                  </a:lnTo>
                  <a:lnTo>
                    <a:pt x="1859" y="139"/>
                  </a:lnTo>
                  <a:lnTo>
                    <a:pt x="1866" y="133"/>
                  </a:lnTo>
                  <a:lnTo>
                    <a:pt x="1872" y="130"/>
                  </a:lnTo>
                  <a:lnTo>
                    <a:pt x="1875" y="124"/>
                  </a:lnTo>
                  <a:lnTo>
                    <a:pt x="1879" y="120"/>
                  </a:lnTo>
                  <a:lnTo>
                    <a:pt x="1882" y="117"/>
                  </a:lnTo>
                  <a:lnTo>
                    <a:pt x="1886" y="113"/>
                  </a:lnTo>
                  <a:lnTo>
                    <a:pt x="1892" y="105"/>
                  </a:lnTo>
                  <a:lnTo>
                    <a:pt x="1892" y="107"/>
                  </a:lnTo>
                  <a:lnTo>
                    <a:pt x="1896" y="101"/>
                  </a:lnTo>
                  <a:lnTo>
                    <a:pt x="1897" y="104"/>
                  </a:lnTo>
                  <a:lnTo>
                    <a:pt x="1901" y="101"/>
                  </a:lnTo>
                  <a:lnTo>
                    <a:pt x="1904" y="104"/>
                  </a:lnTo>
                  <a:lnTo>
                    <a:pt x="1905" y="109"/>
                  </a:lnTo>
                  <a:lnTo>
                    <a:pt x="1908" y="109"/>
                  </a:lnTo>
                  <a:lnTo>
                    <a:pt x="1908" y="111"/>
                  </a:lnTo>
                  <a:lnTo>
                    <a:pt x="1912" y="119"/>
                  </a:lnTo>
                  <a:lnTo>
                    <a:pt x="1915" y="117"/>
                  </a:lnTo>
                  <a:lnTo>
                    <a:pt x="1917" y="114"/>
                  </a:lnTo>
                  <a:lnTo>
                    <a:pt x="1919" y="114"/>
                  </a:lnTo>
                  <a:lnTo>
                    <a:pt x="1921" y="113"/>
                  </a:lnTo>
                  <a:lnTo>
                    <a:pt x="1921" y="114"/>
                  </a:lnTo>
                  <a:lnTo>
                    <a:pt x="1922" y="114"/>
                  </a:lnTo>
                  <a:lnTo>
                    <a:pt x="1931" y="122"/>
                  </a:lnTo>
                  <a:lnTo>
                    <a:pt x="1931" y="124"/>
                  </a:lnTo>
                  <a:lnTo>
                    <a:pt x="1933" y="126"/>
                  </a:lnTo>
                  <a:lnTo>
                    <a:pt x="1933" y="129"/>
                  </a:lnTo>
                  <a:lnTo>
                    <a:pt x="1939" y="133"/>
                  </a:lnTo>
                  <a:lnTo>
                    <a:pt x="1943" y="133"/>
                  </a:lnTo>
                  <a:lnTo>
                    <a:pt x="1946" y="137"/>
                  </a:lnTo>
                  <a:lnTo>
                    <a:pt x="1950" y="139"/>
                  </a:lnTo>
                  <a:lnTo>
                    <a:pt x="1958" y="150"/>
                  </a:lnTo>
                  <a:lnTo>
                    <a:pt x="1961" y="150"/>
                  </a:lnTo>
                  <a:lnTo>
                    <a:pt x="1962" y="156"/>
                  </a:lnTo>
                  <a:lnTo>
                    <a:pt x="1965" y="156"/>
                  </a:lnTo>
                  <a:lnTo>
                    <a:pt x="1969" y="153"/>
                  </a:lnTo>
                  <a:lnTo>
                    <a:pt x="1973" y="156"/>
                  </a:lnTo>
                  <a:lnTo>
                    <a:pt x="1975" y="159"/>
                  </a:lnTo>
                  <a:lnTo>
                    <a:pt x="1978" y="162"/>
                  </a:lnTo>
                  <a:lnTo>
                    <a:pt x="1979" y="159"/>
                  </a:lnTo>
                  <a:lnTo>
                    <a:pt x="1981" y="163"/>
                  </a:lnTo>
                  <a:lnTo>
                    <a:pt x="1984" y="162"/>
                  </a:lnTo>
                  <a:lnTo>
                    <a:pt x="1986" y="166"/>
                  </a:lnTo>
                  <a:lnTo>
                    <a:pt x="1986" y="169"/>
                  </a:lnTo>
                  <a:lnTo>
                    <a:pt x="1987" y="169"/>
                  </a:lnTo>
                  <a:lnTo>
                    <a:pt x="1984" y="173"/>
                  </a:lnTo>
                  <a:lnTo>
                    <a:pt x="1987" y="175"/>
                  </a:lnTo>
                  <a:lnTo>
                    <a:pt x="1987" y="178"/>
                  </a:lnTo>
                  <a:lnTo>
                    <a:pt x="1986" y="179"/>
                  </a:lnTo>
                  <a:lnTo>
                    <a:pt x="1986" y="181"/>
                  </a:lnTo>
                  <a:lnTo>
                    <a:pt x="1984" y="181"/>
                  </a:lnTo>
                  <a:lnTo>
                    <a:pt x="1984" y="182"/>
                  </a:lnTo>
                  <a:lnTo>
                    <a:pt x="1987" y="184"/>
                  </a:lnTo>
                  <a:lnTo>
                    <a:pt x="1989" y="188"/>
                  </a:lnTo>
                  <a:lnTo>
                    <a:pt x="1992" y="191"/>
                  </a:lnTo>
                  <a:lnTo>
                    <a:pt x="1994" y="189"/>
                  </a:lnTo>
                  <a:lnTo>
                    <a:pt x="1997" y="189"/>
                  </a:lnTo>
                  <a:lnTo>
                    <a:pt x="2000" y="188"/>
                  </a:lnTo>
                  <a:lnTo>
                    <a:pt x="2003" y="191"/>
                  </a:lnTo>
                  <a:lnTo>
                    <a:pt x="2006" y="189"/>
                  </a:lnTo>
                  <a:lnTo>
                    <a:pt x="2008" y="191"/>
                  </a:lnTo>
                  <a:lnTo>
                    <a:pt x="2011" y="191"/>
                  </a:lnTo>
                  <a:lnTo>
                    <a:pt x="2017" y="191"/>
                  </a:lnTo>
                  <a:lnTo>
                    <a:pt x="2021" y="191"/>
                  </a:lnTo>
                  <a:lnTo>
                    <a:pt x="2028" y="191"/>
                  </a:lnTo>
                  <a:lnTo>
                    <a:pt x="2029" y="195"/>
                  </a:lnTo>
                  <a:lnTo>
                    <a:pt x="2031" y="195"/>
                  </a:lnTo>
                  <a:lnTo>
                    <a:pt x="2033" y="191"/>
                  </a:lnTo>
                  <a:lnTo>
                    <a:pt x="2039" y="198"/>
                  </a:lnTo>
                  <a:lnTo>
                    <a:pt x="2042" y="195"/>
                  </a:lnTo>
                  <a:lnTo>
                    <a:pt x="2042" y="194"/>
                  </a:lnTo>
                  <a:lnTo>
                    <a:pt x="2043" y="195"/>
                  </a:lnTo>
                  <a:lnTo>
                    <a:pt x="2048" y="198"/>
                  </a:lnTo>
                  <a:lnTo>
                    <a:pt x="2064" y="194"/>
                  </a:lnTo>
                  <a:lnTo>
                    <a:pt x="2067" y="191"/>
                  </a:lnTo>
                  <a:lnTo>
                    <a:pt x="2069" y="191"/>
                  </a:lnTo>
                  <a:lnTo>
                    <a:pt x="2075" y="187"/>
                  </a:lnTo>
                  <a:lnTo>
                    <a:pt x="2082" y="178"/>
                  </a:lnTo>
                  <a:lnTo>
                    <a:pt x="2086" y="178"/>
                  </a:lnTo>
                  <a:lnTo>
                    <a:pt x="2101" y="169"/>
                  </a:lnTo>
                  <a:lnTo>
                    <a:pt x="2112" y="173"/>
                  </a:lnTo>
                  <a:lnTo>
                    <a:pt x="2114" y="173"/>
                  </a:lnTo>
                  <a:lnTo>
                    <a:pt x="2125" y="173"/>
                  </a:lnTo>
                  <a:lnTo>
                    <a:pt x="2129" y="173"/>
                  </a:lnTo>
                  <a:lnTo>
                    <a:pt x="2136" y="173"/>
                  </a:lnTo>
                  <a:lnTo>
                    <a:pt x="2137" y="169"/>
                  </a:lnTo>
                  <a:lnTo>
                    <a:pt x="2142" y="169"/>
                  </a:lnTo>
                  <a:lnTo>
                    <a:pt x="2145" y="169"/>
                  </a:lnTo>
                  <a:lnTo>
                    <a:pt x="2150" y="167"/>
                  </a:lnTo>
                  <a:lnTo>
                    <a:pt x="2154" y="166"/>
                  </a:lnTo>
                  <a:lnTo>
                    <a:pt x="2157" y="163"/>
                  </a:lnTo>
                  <a:lnTo>
                    <a:pt x="2160" y="164"/>
                  </a:lnTo>
                  <a:lnTo>
                    <a:pt x="2165" y="164"/>
                  </a:lnTo>
                  <a:lnTo>
                    <a:pt x="2167" y="169"/>
                  </a:lnTo>
                  <a:lnTo>
                    <a:pt x="2174" y="173"/>
                  </a:lnTo>
                  <a:lnTo>
                    <a:pt x="2175" y="178"/>
                  </a:lnTo>
                  <a:lnTo>
                    <a:pt x="2181" y="176"/>
                  </a:lnTo>
                  <a:lnTo>
                    <a:pt x="2182" y="179"/>
                  </a:lnTo>
                  <a:lnTo>
                    <a:pt x="2186" y="184"/>
                  </a:lnTo>
                  <a:lnTo>
                    <a:pt x="2191" y="184"/>
                  </a:lnTo>
                  <a:lnTo>
                    <a:pt x="2196" y="191"/>
                  </a:lnTo>
                  <a:lnTo>
                    <a:pt x="2200" y="191"/>
                  </a:lnTo>
                  <a:lnTo>
                    <a:pt x="2203" y="187"/>
                  </a:lnTo>
                  <a:lnTo>
                    <a:pt x="2208" y="184"/>
                  </a:lnTo>
                  <a:lnTo>
                    <a:pt x="2213" y="181"/>
                  </a:lnTo>
                  <a:lnTo>
                    <a:pt x="2217" y="186"/>
                  </a:lnTo>
                  <a:lnTo>
                    <a:pt x="2220" y="184"/>
                  </a:lnTo>
                  <a:lnTo>
                    <a:pt x="2232" y="184"/>
                  </a:lnTo>
                  <a:lnTo>
                    <a:pt x="2243" y="187"/>
                  </a:lnTo>
                  <a:lnTo>
                    <a:pt x="2250" y="188"/>
                  </a:lnTo>
                  <a:lnTo>
                    <a:pt x="2261" y="195"/>
                  </a:lnTo>
                  <a:lnTo>
                    <a:pt x="2263" y="194"/>
                  </a:lnTo>
                  <a:lnTo>
                    <a:pt x="2271" y="195"/>
                  </a:lnTo>
                  <a:lnTo>
                    <a:pt x="2274" y="198"/>
                  </a:lnTo>
                  <a:lnTo>
                    <a:pt x="2272" y="199"/>
                  </a:lnTo>
                  <a:lnTo>
                    <a:pt x="2274" y="200"/>
                  </a:lnTo>
                  <a:lnTo>
                    <a:pt x="2286" y="208"/>
                  </a:lnTo>
                  <a:lnTo>
                    <a:pt x="2297" y="208"/>
                  </a:lnTo>
                  <a:lnTo>
                    <a:pt x="2299" y="211"/>
                  </a:lnTo>
                  <a:lnTo>
                    <a:pt x="2296" y="215"/>
                  </a:lnTo>
                  <a:lnTo>
                    <a:pt x="2299" y="225"/>
                  </a:lnTo>
                  <a:lnTo>
                    <a:pt x="2295" y="226"/>
                  </a:lnTo>
                  <a:lnTo>
                    <a:pt x="2299" y="240"/>
                  </a:lnTo>
                  <a:lnTo>
                    <a:pt x="2303" y="244"/>
                  </a:lnTo>
                  <a:lnTo>
                    <a:pt x="2310" y="246"/>
                  </a:lnTo>
                  <a:lnTo>
                    <a:pt x="2318" y="256"/>
                  </a:lnTo>
                  <a:lnTo>
                    <a:pt x="2327" y="260"/>
                  </a:lnTo>
                  <a:lnTo>
                    <a:pt x="2328" y="258"/>
                  </a:lnTo>
                  <a:lnTo>
                    <a:pt x="2328" y="251"/>
                  </a:lnTo>
                  <a:lnTo>
                    <a:pt x="2331" y="249"/>
                  </a:lnTo>
                  <a:lnTo>
                    <a:pt x="2335" y="249"/>
                  </a:lnTo>
                  <a:lnTo>
                    <a:pt x="2336" y="253"/>
                  </a:lnTo>
                  <a:lnTo>
                    <a:pt x="2335" y="258"/>
                  </a:lnTo>
                  <a:lnTo>
                    <a:pt x="2341" y="262"/>
                  </a:lnTo>
                  <a:lnTo>
                    <a:pt x="2345" y="262"/>
                  </a:lnTo>
                  <a:lnTo>
                    <a:pt x="2350" y="266"/>
                  </a:lnTo>
                  <a:lnTo>
                    <a:pt x="2355" y="266"/>
                  </a:lnTo>
                  <a:lnTo>
                    <a:pt x="2360" y="260"/>
                  </a:lnTo>
                  <a:lnTo>
                    <a:pt x="2364" y="262"/>
                  </a:lnTo>
                  <a:lnTo>
                    <a:pt x="2371" y="258"/>
                  </a:lnTo>
                  <a:lnTo>
                    <a:pt x="2371" y="260"/>
                  </a:lnTo>
                  <a:lnTo>
                    <a:pt x="2377" y="262"/>
                  </a:lnTo>
                  <a:lnTo>
                    <a:pt x="2377" y="266"/>
                  </a:lnTo>
                  <a:lnTo>
                    <a:pt x="2372" y="269"/>
                  </a:lnTo>
                  <a:lnTo>
                    <a:pt x="2372" y="270"/>
                  </a:lnTo>
                  <a:lnTo>
                    <a:pt x="2380" y="273"/>
                  </a:lnTo>
                  <a:lnTo>
                    <a:pt x="2383" y="279"/>
                  </a:lnTo>
                  <a:lnTo>
                    <a:pt x="2388" y="279"/>
                  </a:lnTo>
                  <a:lnTo>
                    <a:pt x="2399" y="275"/>
                  </a:lnTo>
                  <a:lnTo>
                    <a:pt x="2407" y="274"/>
                  </a:lnTo>
                  <a:lnTo>
                    <a:pt x="2409" y="275"/>
                  </a:lnTo>
                  <a:lnTo>
                    <a:pt x="2405" y="287"/>
                  </a:lnTo>
                  <a:lnTo>
                    <a:pt x="2399" y="293"/>
                  </a:lnTo>
                  <a:lnTo>
                    <a:pt x="2399" y="300"/>
                  </a:lnTo>
                  <a:lnTo>
                    <a:pt x="2399" y="307"/>
                  </a:lnTo>
                  <a:lnTo>
                    <a:pt x="2403" y="308"/>
                  </a:lnTo>
                  <a:lnTo>
                    <a:pt x="2407" y="307"/>
                  </a:lnTo>
                  <a:lnTo>
                    <a:pt x="2417" y="315"/>
                  </a:lnTo>
                  <a:lnTo>
                    <a:pt x="2421" y="316"/>
                  </a:lnTo>
                  <a:lnTo>
                    <a:pt x="2425" y="315"/>
                  </a:lnTo>
                  <a:lnTo>
                    <a:pt x="2431" y="320"/>
                  </a:lnTo>
                  <a:lnTo>
                    <a:pt x="2431" y="323"/>
                  </a:lnTo>
                  <a:lnTo>
                    <a:pt x="2428" y="324"/>
                  </a:lnTo>
                  <a:lnTo>
                    <a:pt x="2428" y="330"/>
                  </a:lnTo>
                  <a:lnTo>
                    <a:pt x="2435" y="337"/>
                  </a:lnTo>
                  <a:lnTo>
                    <a:pt x="2437" y="344"/>
                  </a:lnTo>
                  <a:lnTo>
                    <a:pt x="2441" y="347"/>
                  </a:lnTo>
                  <a:lnTo>
                    <a:pt x="2449" y="355"/>
                  </a:lnTo>
                  <a:lnTo>
                    <a:pt x="2459" y="356"/>
                  </a:lnTo>
                  <a:lnTo>
                    <a:pt x="2462" y="360"/>
                  </a:lnTo>
                  <a:lnTo>
                    <a:pt x="2470" y="363"/>
                  </a:lnTo>
                  <a:lnTo>
                    <a:pt x="2476" y="365"/>
                  </a:lnTo>
                  <a:lnTo>
                    <a:pt x="2488" y="360"/>
                  </a:lnTo>
                  <a:lnTo>
                    <a:pt x="2496" y="352"/>
                  </a:lnTo>
                  <a:lnTo>
                    <a:pt x="2501" y="353"/>
                  </a:lnTo>
                  <a:lnTo>
                    <a:pt x="2506" y="362"/>
                  </a:lnTo>
                  <a:lnTo>
                    <a:pt x="2521" y="368"/>
                  </a:lnTo>
                  <a:lnTo>
                    <a:pt x="2535" y="365"/>
                  </a:lnTo>
                  <a:lnTo>
                    <a:pt x="2548" y="360"/>
                  </a:lnTo>
                  <a:lnTo>
                    <a:pt x="2553" y="362"/>
                  </a:lnTo>
                  <a:lnTo>
                    <a:pt x="2553" y="369"/>
                  </a:lnTo>
                  <a:lnTo>
                    <a:pt x="2556" y="372"/>
                  </a:lnTo>
                  <a:lnTo>
                    <a:pt x="2571" y="373"/>
                  </a:lnTo>
                  <a:lnTo>
                    <a:pt x="2587" y="372"/>
                  </a:lnTo>
                  <a:lnTo>
                    <a:pt x="2591" y="375"/>
                  </a:lnTo>
                  <a:lnTo>
                    <a:pt x="2591" y="381"/>
                  </a:lnTo>
                  <a:lnTo>
                    <a:pt x="2593" y="382"/>
                  </a:lnTo>
                  <a:lnTo>
                    <a:pt x="2599" y="387"/>
                  </a:lnTo>
                  <a:lnTo>
                    <a:pt x="2603" y="395"/>
                  </a:lnTo>
                  <a:lnTo>
                    <a:pt x="2607" y="395"/>
                  </a:lnTo>
                  <a:lnTo>
                    <a:pt x="2615" y="405"/>
                  </a:lnTo>
                  <a:lnTo>
                    <a:pt x="2616" y="407"/>
                  </a:lnTo>
                  <a:lnTo>
                    <a:pt x="2620" y="407"/>
                  </a:lnTo>
                  <a:lnTo>
                    <a:pt x="2626" y="408"/>
                  </a:lnTo>
                  <a:lnTo>
                    <a:pt x="2634" y="405"/>
                  </a:lnTo>
                  <a:lnTo>
                    <a:pt x="2637" y="407"/>
                  </a:lnTo>
                  <a:lnTo>
                    <a:pt x="2638" y="408"/>
                  </a:lnTo>
                  <a:lnTo>
                    <a:pt x="2640" y="412"/>
                  </a:lnTo>
                  <a:lnTo>
                    <a:pt x="2642" y="414"/>
                  </a:lnTo>
                  <a:lnTo>
                    <a:pt x="2644" y="416"/>
                  </a:lnTo>
                  <a:lnTo>
                    <a:pt x="2644" y="423"/>
                  </a:lnTo>
                  <a:lnTo>
                    <a:pt x="2648" y="427"/>
                  </a:lnTo>
                  <a:lnTo>
                    <a:pt x="2648" y="437"/>
                  </a:lnTo>
                  <a:lnTo>
                    <a:pt x="2651" y="440"/>
                  </a:lnTo>
                  <a:lnTo>
                    <a:pt x="2657" y="447"/>
                  </a:lnTo>
                  <a:lnTo>
                    <a:pt x="2669" y="448"/>
                  </a:lnTo>
                  <a:lnTo>
                    <a:pt x="2671" y="449"/>
                  </a:lnTo>
                  <a:lnTo>
                    <a:pt x="2673" y="456"/>
                  </a:lnTo>
                  <a:lnTo>
                    <a:pt x="2677" y="459"/>
                  </a:lnTo>
                  <a:lnTo>
                    <a:pt x="2684" y="459"/>
                  </a:lnTo>
                  <a:lnTo>
                    <a:pt x="2690" y="457"/>
                  </a:lnTo>
                  <a:lnTo>
                    <a:pt x="2695" y="457"/>
                  </a:lnTo>
                  <a:lnTo>
                    <a:pt x="2708" y="466"/>
                  </a:lnTo>
                  <a:lnTo>
                    <a:pt x="2715" y="474"/>
                  </a:lnTo>
                  <a:lnTo>
                    <a:pt x="2716" y="474"/>
                  </a:lnTo>
                  <a:lnTo>
                    <a:pt x="2717" y="476"/>
                  </a:lnTo>
                  <a:lnTo>
                    <a:pt x="2723" y="484"/>
                  </a:lnTo>
                  <a:lnTo>
                    <a:pt x="2724" y="494"/>
                  </a:lnTo>
                  <a:lnTo>
                    <a:pt x="2730" y="498"/>
                  </a:lnTo>
                  <a:lnTo>
                    <a:pt x="2740" y="511"/>
                  </a:lnTo>
                  <a:lnTo>
                    <a:pt x="2744" y="516"/>
                  </a:lnTo>
                  <a:lnTo>
                    <a:pt x="2750" y="523"/>
                  </a:lnTo>
                  <a:lnTo>
                    <a:pt x="2752" y="524"/>
                  </a:lnTo>
                  <a:lnTo>
                    <a:pt x="2756" y="524"/>
                  </a:lnTo>
                  <a:lnTo>
                    <a:pt x="2762" y="528"/>
                  </a:lnTo>
                  <a:lnTo>
                    <a:pt x="2765" y="531"/>
                  </a:lnTo>
                  <a:lnTo>
                    <a:pt x="2765" y="534"/>
                  </a:lnTo>
                  <a:lnTo>
                    <a:pt x="2769" y="534"/>
                  </a:lnTo>
                  <a:lnTo>
                    <a:pt x="2770" y="537"/>
                  </a:lnTo>
                  <a:lnTo>
                    <a:pt x="2773" y="541"/>
                  </a:lnTo>
                  <a:lnTo>
                    <a:pt x="2776" y="543"/>
                  </a:lnTo>
                  <a:lnTo>
                    <a:pt x="2780" y="543"/>
                  </a:lnTo>
                  <a:lnTo>
                    <a:pt x="2791" y="540"/>
                  </a:lnTo>
                  <a:lnTo>
                    <a:pt x="2794" y="544"/>
                  </a:lnTo>
                  <a:lnTo>
                    <a:pt x="2804" y="547"/>
                  </a:lnTo>
                  <a:lnTo>
                    <a:pt x="2815" y="547"/>
                  </a:lnTo>
                  <a:lnTo>
                    <a:pt x="2827" y="546"/>
                  </a:lnTo>
                  <a:lnTo>
                    <a:pt x="2833" y="543"/>
                  </a:lnTo>
                  <a:lnTo>
                    <a:pt x="2844" y="544"/>
                  </a:lnTo>
                  <a:lnTo>
                    <a:pt x="2848" y="553"/>
                  </a:lnTo>
                  <a:lnTo>
                    <a:pt x="2851" y="556"/>
                  </a:lnTo>
                  <a:lnTo>
                    <a:pt x="2854" y="565"/>
                  </a:lnTo>
                  <a:lnTo>
                    <a:pt x="2852" y="568"/>
                  </a:lnTo>
                  <a:lnTo>
                    <a:pt x="2855" y="573"/>
                  </a:lnTo>
                  <a:lnTo>
                    <a:pt x="2855" y="581"/>
                  </a:lnTo>
                  <a:lnTo>
                    <a:pt x="2861" y="591"/>
                  </a:lnTo>
                  <a:lnTo>
                    <a:pt x="2867" y="591"/>
                  </a:lnTo>
                  <a:lnTo>
                    <a:pt x="2876" y="598"/>
                  </a:lnTo>
                  <a:lnTo>
                    <a:pt x="2879" y="603"/>
                  </a:lnTo>
                  <a:lnTo>
                    <a:pt x="2886" y="603"/>
                  </a:lnTo>
                  <a:lnTo>
                    <a:pt x="2889" y="610"/>
                  </a:lnTo>
                  <a:lnTo>
                    <a:pt x="2889" y="616"/>
                  </a:lnTo>
                  <a:lnTo>
                    <a:pt x="2894" y="618"/>
                  </a:lnTo>
                  <a:lnTo>
                    <a:pt x="2898" y="621"/>
                  </a:lnTo>
                  <a:lnTo>
                    <a:pt x="2904" y="621"/>
                  </a:lnTo>
                  <a:lnTo>
                    <a:pt x="2912" y="622"/>
                  </a:lnTo>
                  <a:lnTo>
                    <a:pt x="2920" y="614"/>
                  </a:lnTo>
                  <a:lnTo>
                    <a:pt x="2925" y="614"/>
                  </a:lnTo>
                  <a:lnTo>
                    <a:pt x="2926" y="616"/>
                  </a:lnTo>
                  <a:lnTo>
                    <a:pt x="2926" y="622"/>
                  </a:lnTo>
                  <a:lnTo>
                    <a:pt x="2930" y="627"/>
                  </a:lnTo>
                  <a:lnTo>
                    <a:pt x="2930" y="631"/>
                  </a:lnTo>
                  <a:lnTo>
                    <a:pt x="2936" y="636"/>
                  </a:lnTo>
                  <a:lnTo>
                    <a:pt x="2942" y="640"/>
                  </a:lnTo>
                  <a:lnTo>
                    <a:pt x="2941" y="659"/>
                  </a:lnTo>
                  <a:lnTo>
                    <a:pt x="2947" y="671"/>
                  </a:lnTo>
                  <a:lnTo>
                    <a:pt x="2955" y="675"/>
                  </a:lnTo>
                  <a:lnTo>
                    <a:pt x="2955" y="676"/>
                  </a:lnTo>
                  <a:lnTo>
                    <a:pt x="2952" y="683"/>
                  </a:lnTo>
                  <a:lnTo>
                    <a:pt x="2954" y="685"/>
                  </a:lnTo>
                  <a:lnTo>
                    <a:pt x="2954" y="689"/>
                  </a:lnTo>
                  <a:lnTo>
                    <a:pt x="2955" y="709"/>
                  </a:lnTo>
                  <a:lnTo>
                    <a:pt x="2958" y="711"/>
                  </a:lnTo>
                  <a:lnTo>
                    <a:pt x="2968" y="711"/>
                  </a:lnTo>
                  <a:lnTo>
                    <a:pt x="2975" y="714"/>
                  </a:lnTo>
                  <a:lnTo>
                    <a:pt x="2977" y="717"/>
                  </a:lnTo>
                  <a:lnTo>
                    <a:pt x="2977" y="727"/>
                  </a:lnTo>
                  <a:lnTo>
                    <a:pt x="2975" y="731"/>
                  </a:lnTo>
                  <a:lnTo>
                    <a:pt x="2975" y="734"/>
                  </a:lnTo>
                  <a:lnTo>
                    <a:pt x="2972" y="739"/>
                  </a:lnTo>
                  <a:lnTo>
                    <a:pt x="2973" y="742"/>
                  </a:lnTo>
                  <a:lnTo>
                    <a:pt x="2975" y="742"/>
                  </a:lnTo>
                  <a:lnTo>
                    <a:pt x="2982" y="742"/>
                  </a:lnTo>
                  <a:lnTo>
                    <a:pt x="2987" y="746"/>
                  </a:lnTo>
                  <a:lnTo>
                    <a:pt x="2991" y="752"/>
                  </a:lnTo>
                  <a:lnTo>
                    <a:pt x="2997" y="756"/>
                  </a:lnTo>
                  <a:lnTo>
                    <a:pt x="2997" y="760"/>
                  </a:lnTo>
                  <a:lnTo>
                    <a:pt x="2996" y="764"/>
                  </a:lnTo>
                  <a:lnTo>
                    <a:pt x="2997" y="770"/>
                  </a:lnTo>
                  <a:lnTo>
                    <a:pt x="2996" y="776"/>
                  </a:lnTo>
                  <a:lnTo>
                    <a:pt x="2998" y="779"/>
                  </a:lnTo>
                  <a:lnTo>
                    <a:pt x="2997" y="783"/>
                  </a:lnTo>
                  <a:lnTo>
                    <a:pt x="2994" y="783"/>
                  </a:lnTo>
                  <a:lnTo>
                    <a:pt x="2993" y="785"/>
                  </a:lnTo>
                  <a:lnTo>
                    <a:pt x="2996" y="792"/>
                  </a:lnTo>
                  <a:lnTo>
                    <a:pt x="2994" y="797"/>
                  </a:lnTo>
                  <a:lnTo>
                    <a:pt x="2994" y="804"/>
                  </a:lnTo>
                  <a:lnTo>
                    <a:pt x="3014" y="810"/>
                  </a:lnTo>
                  <a:lnTo>
                    <a:pt x="3015" y="814"/>
                  </a:lnTo>
                  <a:lnTo>
                    <a:pt x="3016" y="820"/>
                  </a:lnTo>
                  <a:lnTo>
                    <a:pt x="3014" y="827"/>
                  </a:lnTo>
                  <a:lnTo>
                    <a:pt x="3021" y="830"/>
                  </a:lnTo>
                  <a:lnTo>
                    <a:pt x="3022" y="833"/>
                  </a:lnTo>
                  <a:lnTo>
                    <a:pt x="3030" y="834"/>
                  </a:lnTo>
                  <a:lnTo>
                    <a:pt x="3032" y="842"/>
                  </a:lnTo>
                  <a:lnTo>
                    <a:pt x="3032" y="845"/>
                  </a:lnTo>
                  <a:lnTo>
                    <a:pt x="3026" y="859"/>
                  </a:lnTo>
                  <a:lnTo>
                    <a:pt x="3026" y="860"/>
                  </a:lnTo>
                  <a:lnTo>
                    <a:pt x="3029" y="864"/>
                  </a:lnTo>
                  <a:lnTo>
                    <a:pt x="3033" y="868"/>
                  </a:lnTo>
                  <a:lnTo>
                    <a:pt x="3036" y="875"/>
                  </a:lnTo>
                  <a:lnTo>
                    <a:pt x="3039" y="876"/>
                  </a:lnTo>
                  <a:lnTo>
                    <a:pt x="3040" y="891"/>
                  </a:lnTo>
                  <a:lnTo>
                    <a:pt x="3043" y="895"/>
                  </a:lnTo>
                  <a:lnTo>
                    <a:pt x="3044" y="897"/>
                  </a:lnTo>
                  <a:lnTo>
                    <a:pt x="3050" y="897"/>
                  </a:lnTo>
                  <a:lnTo>
                    <a:pt x="3051" y="899"/>
                  </a:lnTo>
                  <a:lnTo>
                    <a:pt x="3050" y="902"/>
                  </a:lnTo>
                  <a:lnTo>
                    <a:pt x="3043" y="904"/>
                  </a:lnTo>
                  <a:lnTo>
                    <a:pt x="3036" y="913"/>
                  </a:lnTo>
                  <a:lnTo>
                    <a:pt x="3032" y="917"/>
                  </a:lnTo>
                  <a:lnTo>
                    <a:pt x="3030" y="920"/>
                  </a:lnTo>
                  <a:lnTo>
                    <a:pt x="3032" y="925"/>
                  </a:lnTo>
                  <a:lnTo>
                    <a:pt x="3039" y="934"/>
                  </a:lnTo>
                  <a:lnTo>
                    <a:pt x="3037" y="936"/>
                  </a:lnTo>
                  <a:lnTo>
                    <a:pt x="3033" y="938"/>
                  </a:lnTo>
                  <a:lnTo>
                    <a:pt x="3030" y="939"/>
                  </a:lnTo>
                  <a:lnTo>
                    <a:pt x="3030" y="950"/>
                  </a:lnTo>
                  <a:lnTo>
                    <a:pt x="3033" y="957"/>
                  </a:lnTo>
                  <a:lnTo>
                    <a:pt x="3033" y="970"/>
                  </a:lnTo>
                  <a:lnTo>
                    <a:pt x="3041" y="980"/>
                  </a:lnTo>
                  <a:lnTo>
                    <a:pt x="3044" y="988"/>
                  </a:lnTo>
                  <a:lnTo>
                    <a:pt x="3044" y="992"/>
                  </a:lnTo>
                  <a:lnTo>
                    <a:pt x="3046" y="999"/>
                  </a:lnTo>
                  <a:lnTo>
                    <a:pt x="3052" y="1003"/>
                  </a:lnTo>
                  <a:lnTo>
                    <a:pt x="3052" y="1013"/>
                  </a:lnTo>
                  <a:lnTo>
                    <a:pt x="3065" y="1024"/>
                  </a:lnTo>
                  <a:lnTo>
                    <a:pt x="3076" y="1025"/>
                  </a:lnTo>
                  <a:lnTo>
                    <a:pt x="3082" y="1024"/>
                  </a:lnTo>
                  <a:lnTo>
                    <a:pt x="3083" y="1025"/>
                  </a:lnTo>
                  <a:lnTo>
                    <a:pt x="3091" y="1041"/>
                  </a:lnTo>
                  <a:lnTo>
                    <a:pt x="3091" y="1048"/>
                  </a:lnTo>
                  <a:lnTo>
                    <a:pt x="3090" y="1055"/>
                  </a:lnTo>
                  <a:lnTo>
                    <a:pt x="3101" y="1069"/>
                  </a:lnTo>
                  <a:lnTo>
                    <a:pt x="3102" y="1070"/>
                  </a:lnTo>
                  <a:lnTo>
                    <a:pt x="3104" y="1073"/>
                  </a:lnTo>
                  <a:lnTo>
                    <a:pt x="3099" y="1078"/>
                  </a:lnTo>
                  <a:lnTo>
                    <a:pt x="3100" y="1086"/>
                  </a:lnTo>
                  <a:lnTo>
                    <a:pt x="3100" y="1092"/>
                  </a:lnTo>
                  <a:lnTo>
                    <a:pt x="3105" y="1100"/>
                  </a:lnTo>
                  <a:lnTo>
                    <a:pt x="3105" y="1104"/>
                  </a:lnTo>
                  <a:lnTo>
                    <a:pt x="3110" y="1107"/>
                  </a:lnTo>
                  <a:lnTo>
                    <a:pt x="3111" y="1111"/>
                  </a:lnTo>
                  <a:lnTo>
                    <a:pt x="3111" y="1115"/>
                  </a:lnTo>
                  <a:lnTo>
                    <a:pt x="3108" y="1119"/>
                  </a:lnTo>
                  <a:lnTo>
                    <a:pt x="3108" y="1121"/>
                  </a:lnTo>
                  <a:lnTo>
                    <a:pt x="3119" y="1130"/>
                  </a:lnTo>
                  <a:lnTo>
                    <a:pt x="3121" y="1140"/>
                  </a:lnTo>
                  <a:lnTo>
                    <a:pt x="3129" y="1144"/>
                  </a:lnTo>
                  <a:lnTo>
                    <a:pt x="3130" y="1145"/>
                  </a:lnTo>
                  <a:lnTo>
                    <a:pt x="3132" y="1163"/>
                  </a:lnTo>
                  <a:lnTo>
                    <a:pt x="3129" y="1170"/>
                  </a:lnTo>
                  <a:lnTo>
                    <a:pt x="3130" y="1175"/>
                  </a:lnTo>
                  <a:lnTo>
                    <a:pt x="3126" y="1182"/>
                  </a:lnTo>
                  <a:lnTo>
                    <a:pt x="3118" y="1185"/>
                  </a:lnTo>
                  <a:lnTo>
                    <a:pt x="3118" y="1186"/>
                  </a:lnTo>
                  <a:lnTo>
                    <a:pt x="3114" y="1190"/>
                  </a:lnTo>
                  <a:lnTo>
                    <a:pt x="3115" y="1202"/>
                  </a:lnTo>
                  <a:lnTo>
                    <a:pt x="3122" y="1205"/>
                  </a:lnTo>
                  <a:lnTo>
                    <a:pt x="3125" y="1212"/>
                  </a:lnTo>
                  <a:lnTo>
                    <a:pt x="3130" y="1219"/>
                  </a:lnTo>
                  <a:lnTo>
                    <a:pt x="3130" y="1227"/>
                  </a:lnTo>
                  <a:lnTo>
                    <a:pt x="3129" y="1228"/>
                  </a:lnTo>
                  <a:lnTo>
                    <a:pt x="3121" y="1228"/>
                  </a:lnTo>
                  <a:lnTo>
                    <a:pt x="3118" y="1228"/>
                  </a:lnTo>
                  <a:lnTo>
                    <a:pt x="3114" y="1228"/>
                  </a:lnTo>
                  <a:lnTo>
                    <a:pt x="3112" y="1230"/>
                  </a:lnTo>
                  <a:lnTo>
                    <a:pt x="3108" y="1228"/>
                  </a:lnTo>
                  <a:lnTo>
                    <a:pt x="3105" y="1233"/>
                  </a:lnTo>
                  <a:lnTo>
                    <a:pt x="3097" y="1239"/>
                  </a:lnTo>
                  <a:lnTo>
                    <a:pt x="3096" y="1245"/>
                  </a:lnTo>
                  <a:lnTo>
                    <a:pt x="3099" y="1250"/>
                  </a:lnTo>
                  <a:lnTo>
                    <a:pt x="3094" y="1261"/>
                  </a:lnTo>
                  <a:lnTo>
                    <a:pt x="3096" y="1265"/>
                  </a:lnTo>
                  <a:lnTo>
                    <a:pt x="3094" y="1269"/>
                  </a:lnTo>
                  <a:lnTo>
                    <a:pt x="3096" y="1277"/>
                  </a:lnTo>
                  <a:lnTo>
                    <a:pt x="3090" y="1286"/>
                  </a:lnTo>
                  <a:lnTo>
                    <a:pt x="3089" y="1291"/>
                  </a:lnTo>
                  <a:lnTo>
                    <a:pt x="3086" y="1295"/>
                  </a:lnTo>
                  <a:lnTo>
                    <a:pt x="3089" y="1304"/>
                  </a:lnTo>
                  <a:lnTo>
                    <a:pt x="3086" y="1310"/>
                  </a:lnTo>
                  <a:lnTo>
                    <a:pt x="3087" y="1312"/>
                  </a:lnTo>
                  <a:lnTo>
                    <a:pt x="3090" y="1314"/>
                  </a:lnTo>
                  <a:lnTo>
                    <a:pt x="3090" y="1320"/>
                  </a:lnTo>
                  <a:lnTo>
                    <a:pt x="3096" y="1322"/>
                  </a:lnTo>
                  <a:lnTo>
                    <a:pt x="3096" y="1326"/>
                  </a:lnTo>
                  <a:lnTo>
                    <a:pt x="3100" y="1328"/>
                  </a:lnTo>
                  <a:lnTo>
                    <a:pt x="3101" y="1328"/>
                  </a:lnTo>
                  <a:lnTo>
                    <a:pt x="3104" y="1331"/>
                  </a:lnTo>
                  <a:lnTo>
                    <a:pt x="3107" y="1328"/>
                  </a:lnTo>
                  <a:lnTo>
                    <a:pt x="3108" y="1332"/>
                  </a:lnTo>
                  <a:lnTo>
                    <a:pt x="3112" y="1332"/>
                  </a:lnTo>
                  <a:lnTo>
                    <a:pt x="3115" y="1331"/>
                  </a:lnTo>
                  <a:lnTo>
                    <a:pt x="3119" y="1335"/>
                  </a:lnTo>
                  <a:lnTo>
                    <a:pt x="3125" y="1336"/>
                  </a:lnTo>
                  <a:lnTo>
                    <a:pt x="3127" y="1336"/>
                  </a:lnTo>
                  <a:lnTo>
                    <a:pt x="3129" y="1339"/>
                  </a:lnTo>
                  <a:lnTo>
                    <a:pt x="3130" y="1343"/>
                  </a:lnTo>
                  <a:lnTo>
                    <a:pt x="3135" y="1344"/>
                  </a:lnTo>
                  <a:lnTo>
                    <a:pt x="3135" y="1351"/>
                  </a:lnTo>
                  <a:lnTo>
                    <a:pt x="3137" y="1361"/>
                  </a:lnTo>
                  <a:lnTo>
                    <a:pt x="3135" y="1369"/>
                  </a:lnTo>
                  <a:lnTo>
                    <a:pt x="3136" y="1373"/>
                  </a:lnTo>
                  <a:lnTo>
                    <a:pt x="3135" y="1379"/>
                  </a:lnTo>
                  <a:lnTo>
                    <a:pt x="3139" y="1381"/>
                  </a:lnTo>
                  <a:lnTo>
                    <a:pt x="3144" y="1389"/>
                  </a:lnTo>
                  <a:lnTo>
                    <a:pt x="3149" y="1389"/>
                  </a:lnTo>
                  <a:lnTo>
                    <a:pt x="3155" y="1396"/>
                  </a:lnTo>
                  <a:lnTo>
                    <a:pt x="3155" y="1397"/>
                  </a:lnTo>
                  <a:lnTo>
                    <a:pt x="3157" y="1399"/>
                  </a:lnTo>
                  <a:lnTo>
                    <a:pt x="3157" y="1403"/>
                  </a:lnTo>
                  <a:lnTo>
                    <a:pt x="3158" y="1407"/>
                  </a:lnTo>
                  <a:lnTo>
                    <a:pt x="3157" y="1414"/>
                  </a:lnTo>
                  <a:lnTo>
                    <a:pt x="3160" y="1419"/>
                  </a:lnTo>
                  <a:lnTo>
                    <a:pt x="3161" y="1424"/>
                  </a:lnTo>
                  <a:lnTo>
                    <a:pt x="3164" y="1426"/>
                  </a:lnTo>
                  <a:lnTo>
                    <a:pt x="3166" y="1432"/>
                  </a:lnTo>
                  <a:lnTo>
                    <a:pt x="3171" y="1432"/>
                  </a:lnTo>
                  <a:lnTo>
                    <a:pt x="3174" y="1436"/>
                  </a:lnTo>
                  <a:lnTo>
                    <a:pt x="3179" y="1434"/>
                  </a:lnTo>
                  <a:lnTo>
                    <a:pt x="3180" y="1440"/>
                  </a:lnTo>
                  <a:lnTo>
                    <a:pt x="3187" y="1441"/>
                  </a:lnTo>
                  <a:lnTo>
                    <a:pt x="3191" y="1452"/>
                  </a:lnTo>
                  <a:lnTo>
                    <a:pt x="3191" y="1459"/>
                  </a:lnTo>
                  <a:lnTo>
                    <a:pt x="3193" y="1464"/>
                  </a:lnTo>
                  <a:lnTo>
                    <a:pt x="3196" y="1466"/>
                  </a:lnTo>
                  <a:lnTo>
                    <a:pt x="3207" y="1475"/>
                  </a:lnTo>
                  <a:lnTo>
                    <a:pt x="3208" y="1477"/>
                  </a:lnTo>
                  <a:lnTo>
                    <a:pt x="3207" y="1483"/>
                  </a:lnTo>
                  <a:lnTo>
                    <a:pt x="3205" y="1486"/>
                  </a:lnTo>
                  <a:lnTo>
                    <a:pt x="3201" y="1489"/>
                  </a:lnTo>
                  <a:lnTo>
                    <a:pt x="3201" y="1493"/>
                  </a:lnTo>
                  <a:lnTo>
                    <a:pt x="3197" y="1493"/>
                  </a:lnTo>
                  <a:lnTo>
                    <a:pt x="3196" y="1501"/>
                  </a:lnTo>
                  <a:lnTo>
                    <a:pt x="3197" y="1505"/>
                  </a:lnTo>
                  <a:lnTo>
                    <a:pt x="3200" y="1508"/>
                  </a:lnTo>
                  <a:lnTo>
                    <a:pt x="3201" y="1513"/>
                  </a:lnTo>
                  <a:lnTo>
                    <a:pt x="3208" y="1522"/>
                  </a:lnTo>
                  <a:close/>
                  <a:moveTo>
                    <a:pt x="1444" y="2400"/>
                  </a:moveTo>
                  <a:lnTo>
                    <a:pt x="1447" y="2406"/>
                  </a:lnTo>
                  <a:lnTo>
                    <a:pt x="1438" y="2418"/>
                  </a:lnTo>
                  <a:lnTo>
                    <a:pt x="1437" y="2418"/>
                  </a:lnTo>
                  <a:lnTo>
                    <a:pt x="1435" y="2425"/>
                  </a:lnTo>
                  <a:lnTo>
                    <a:pt x="1428" y="2432"/>
                  </a:lnTo>
                  <a:lnTo>
                    <a:pt x="1424" y="2431"/>
                  </a:lnTo>
                  <a:lnTo>
                    <a:pt x="1422" y="2426"/>
                  </a:lnTo>
                  <a:lnTo>
                    <a:pt x="1417" y="2414"/>
                  </a:lnTo>
                  <a:lnTo>
                    <a:pt x="1417" y="2413"/>
                  </a:lnTo>
                  <a:lnTo>
                    <a:pt x="1417" y="2410"/>
                  </a:lnTo>
                  <a:lnTo>
                    <a:pt x="1417" y="2403"/>
                  </a:lnTo>
                  <a:lnTo>
                    <a:pt x="1414" y="2395"/>
                  </a:lnTo>
                  <a:lnTo>
                    <a:pt x="1416" y="2392"/>
                  </a:lnTo>
                  <a:lnTo>
                    <a:pt x="1430" y="2392"/>
                  </a:lnTo>
                  <a:lnTo>
                    <a:pt x="1437" y="2392"/>
                  </a:lnTo>
                  <a:lnTo>
                    <a:pt x="1444" y="2400"/>
                  </a:lnTo>
                  <a:close/>
                  <a:moveTo>
                    <a:pt x="1416" y="2339"/>
                  </a:moveTo>
                  <a:lnTo>
                    <a:pt x="1414" y="2351"/>
                  </a:lnTo>
                  <a:lnTo>
                    <a:pt x="1412" y="2355"/>
                  </a:lnTo>
                  <a:lnTo>
                    <a:pt x="1409" y="2355"/>
                  </a:lnTo>
                  <a:lnTo>
                    <a:pt x="1403" y="2343"/>
                  </a:lnTo>
                  <a:lnTo>
                    <a:pt x="1400" y="2332"/>
                  </a:lnTo>
                  <a:lnTo>
                    <a:pt x="1400" y="2325"/>
                  </a:lnTo>
                  <a:lnTo>
                    <a:pt x="1408" y="2325"/>
                  </a:lnTo>
                  <a:lnTo>
                    <a:pt x="1413" y="2328"/>
                  </a:lnTo>
                  <a:lnTo>
                    <a:pt x="1414" y="2331"/>
                  </a:lnTo>
                  <a:lnTo>
                    <a:pt x="1416" y="2339"/>
                  </a:lnTo>
                  <a:close/>
                  <a:moveTo>
                    <a:pt x="1348" y="2564"/>
                  </a:moveTo>
                  <a:lnTo>
                    <a:pt x="1348" y="2567"/>
                  </a:lnTo>
                  <a:lnTo>
                    <a:pt x="1345" y="2571"/>
                  </a:lnTo>
                  <a:lnTo>
                    <a:pt x="1325" y="2579"/>
                  </a:lnTo>
                  <a:lnTo>
                    <a:pt x="1323" y="2577"/>
                  </a:lnTo>
                  <a:lnTo>
                    <a:pt x="1323" y="2572"/>
                  </a:lnTo>
                  <a:lnTo>
                    <a:pt x="1335" y="2569"/>
                  </a:lnTo>
                  <a:lnTo>
                    <a:pt x="1346" y="2564"/>
                  </a:lnTo>
                  <a:lnTo>
                    <a:pt x="1348" y="2564"/>
                  </a:lnTo>
                  <a:close/>
                  <a:moveTo>
                    <a:pt x="1420" y="2381"/>
                  </a:moveTo>
                  <a:lnTo>
                    <a:pt x="1420" y="2382"/>
                  </a:lnTo>
                  <a:lnTo>
                    <a:pt x="1412" y="2377"/>
                  </a:lnTo>
                  <a:lnTo>
                    <a:pt x="1410" y="2368"/>
                  </a:lnTo>
                  <a:lnTo>
                    <a:pt x="1410" y="2364"/>
                  </a:lnTo>
                  <a:lnTo>
                    <a:pt x="1412" y="2360"/>
                  </a:lnTo>
                  <a:lnTo>
                    <a:pt x="1414" y="2358"/>
                  </a:lnTo>
                  <a:lnTo>
                    <a:pt x="1419" y="2368"/>
                  </a:lnTo>
                  <a:lnTo>
                    <a:pt x="1420" y="2381"/>
                  </a:lnTo>
                  <a:close/>
                  <a:moveTo>
                    <a:pt x="1388" y="2319"/>
                  </a:moveTo>
                  <a:lnTo>
                    <a:pt x="1381" y="2325"/>
                  </a:lnTo>
                  <a:lnTo>
                    <a:pt x="1370" y="2325"/>
                  </a:lnTo>
                  <a:lnTo>
                    <a:pt x="1375" y="2316"/>
                  </a:lnTo>
                  <a:lnTo>
                    <a:pt x="1377" y="2316"/>
                  </a:lnTo>
                  <a:lnTo>
                    <a:pt x="1380" y="2316"/>
                  </a:lnTo>
                  <a:lnTo>
                    <a:pt x="1388" y="2319"/>
                  </a:lnTo>
                  <a:close/>
                  <a:moveTo>
                    <a:pt x="2367" y="1778"/>
                  </a:moveTo>
                  <a:lnTo>
                    <a:pt x="2367" y="1780"/>
                  </a:lnTo>
                  <a:lnTo>
                    <a:pt x="2363" y="1781"/>
                  </a:lnTo>
                  <a:lnTo>
                    <a:pt x="2361" y="1781"/>
                  </a:lnTo>
                  <a:lnTo>
                    <a:pt x="2360" y="1778"/>
                  </a:lnTo>
                  <a:lnTo>
                    <a:pt x="2360" y="1776"/>
                  </a:lnTo>
                  <a:lnTo>
                    <a:pt x="2357" y="1769"/>
                  </a:lnTo>
                  <a:lnTo>
                    <a:pt x="2357" y="1767"/>
                  </a:lnTo>
                  <a:lnTo>
                    <a:pt x="2364" y="1771"/>
                  </a:lnTo>
                  <a:lnTo>
                    <a:pt x="2367" y="1778"/>
                  </a:lnTo>
                  <a:close/>
                  <a:moveTo>
                    <a:pt x="1330" y="2587"/>
                  </a:moveTo>
                  <a:lnTo>
                    <a:pt x="1331" y="2587"/>
                  </a:lnTo>
                  <a:lnTo>
                    <a:pt x="1324" y="2594"/>
                  </a:lnTo>
                  <a:lnTo>
                    <a:pt x="1317" y="2597"/>
                  </a:lnTo>
                  <a:lnTo>
                    <a:pt x="1313" y="2597"/>
                  </a:lnTo>
                  <a:lnTo>
                    <a:pt x="1317" y="2593"/>
                  </a:lnTo>
                  <a:lnTo>
                    <a:pt x="1330" y="2587"/>
                  </a:lnTo>
                  <a:close/>
                  <a:moveTo>
                    <a:pt x="961" y="3058"/>
                  </a:moveTo>
                  <a:lnTo>
                    <a:pt x="963" y="3058"/>
                  </a:lnTo>
                  <a:lnTo>
                    <a:pt x="949" y="3058"/>
                  </a:lnTo>
                  <a:lnTo>
                    <a:pt x="938" y="3053"/>
                  </a:lnTo>
                  <a:lnTo>
                    <a:pt x="936" y="3051"/>
                  </a:lnTo>
                  <a:lnTo>
                    <a:pt x="942" y="3053"/>
                  </a:lnTo>
                  <a:lnTo>
                    <a:pt x="947" y="3057"/>
                  </a:lnTo>
                  <a:lnTo>
                    <a:pt x="961" y="3058"/>
                  </a:lnTo>
                  <a:close/>
                  <a:moveTo>
                    <a:pt x="1847" y="2102"/>
                  </a:moveTo>
                  <a:lnTo>
                    <a:pt x="1848" y="2102"/>
                  </a:lnTo>
                  <a:lnTo>
                    <a:pt x="1840" y="2103"/>
                  </a:lnTo>
                  <a:lnTo>
                    <a:pt x="1836" y="2102"/>
                  </a:lnTo>
                  <a:lnTo>
                    <a:pt x="1843" y="2100"/>
                  </a:lnTo>
                  <a:lnTo>
                    <a:pt x="1846" y="2100"/>
                  </a:lnTo>
                  <a:lnTo>
                    <a:pt x="1847" y="2102"/>
                  </a:lnTo>
                  <a:close/>
                  <a:moveTo>
                    <a:pt x="1424" y="2388"/>
                  </a:moveTo>
                  <a:lnTo>
                    <a:pt x="1423" y="2388"/>
                  </a:lnTo>
                  <a:lnTo>
                    <a:pt x="1419" y="2388"/>
                  </a:lnTo>
                  <a:lnTo>
                    <a:pt x="1417" y="2388"/>
                  </a:lnTo>
                  <a:lnTo>
                    <a:pt x="1414" y="2385"/>
                  </a:lnTo>
                  <a:lnTo>
                    <a:pt x="1417" y="2384"/>
                  </a:lnTo>
                  <a:lnTo>
                    <a:pt x="1424" y="238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13" name="Freeform 312"/>
            <p:cNvSpPr>
              <a:spLocks noEditPoints="1"/>
            </p:cNvSpPr>
            <p:nvPr/>
          </p:nvSpPr>
          <p:spPr bwMode="auto">
            <a:xfrm>
              <a:off x="7705075" y="3920328"/>
              <a:ext cx="391552" cy="847416"/>
            </a:xfrm>
            <a:custGeom>
              <a:avLst/>
              <a:gdLst>
                <a:gd name="T0" fmla="*/ 1825 w 1964"/>
                <a:gd name="T1" fmla="*/ 2031 h 3140"/>
                <a:gd name="T2" fmla="*/ 1791 w 1964"/>
                <a:gd name="T3" fmla="*/ 2178 h 3140"/>
                <a:gd name="T4" fmla="*/ 1745 w 1964"/>
                <a:gd name="T5" fmla="*/ 2218 h 3140"/>
                <a:gd name="T6" fmla="*/ 1752 w 1964"/>
                <a:gd name="T7" fmla="*/ 2379 h 3140"/>
                <a:gd name="T8" fmla="*/ 1795 w 1964"/>
                <a:gd name="T9" fmla="*/ 2379 h 3140"/>
                <a:gd name="T10" fmla="*/ 1836 w 1964"/>
                <a:gd name="T11" fmla="*/ 2334 h 3140"/>
                <a:gd name="T12" fmla="*/ 1869 w 1964"/>
                <a:gd name="T13" fmla="*/ 2327 h 3140"/>
                <a:gd name="T14" fmla="*/ 1911 w 1964"/>
                <a:gd name="T15" fmla="*/ 2280 h 3140"/>
                <a:gd name="T16" fmla="*/ 1821 w 1964"/>
                <a:gd name="T17" fmla="*/ 2630 h 3140"/>
                <a:gd name="T18" fmla="*/ 1086 w 1964"/>
                <a:gd name="T19" fmla="*/ 3131 h 3140"/>
                <a:gd name="T20" fmla="*/ 921 w 1964"/>
                <a:gd name="T21" fmla="*/ 2834 h 3140"/>
                <a:gd name="T22" fmla="*/ 708 w 1964"/>
                <a:gd name="T23" fmla="*/ 2775 h 3140"/>
                <a:gd name="T24" fmla="*/ 619 w 1964"/>
                <a:gd name="T25" fmla="*/ 2444 h 3140"/>
                <a:gd name="T26" fmla="*/ 607 w 1964"/>
                <a:gd name="T27" fmla="*/ 2351 h 3140"/>
                <a:gd name="T28" fmla="*/ 619 w 1964"/>
                <a:gd name="T29" fmla="*/ 2289 h 3140"/>
                <a:gd name="T30" fmla="*/ 630 w 1964"/>
                <a:gd name="T31" fmla="*/ 2205 h 3140"/>
                <a:gd name="T32" fmla="*/ 608 w 1964"/>
                <a:gd name="T33" fmla="*/ 2149 h 3140"/>
                <a:gd name="T34" fmla="*/ 622 w 1964"/>
                <a:gd name="T35" fmla="*/ 2074 h 3140"/>
                <a:gd name="T36" fmla="*/ 586 w 1964"/>
                <a:gd name="T37" fmla="*/ 2026 h 3140"/>
                <a:gd name="T38" fmla="*/ 552 w 1964"/>
                <a:gd name="T39" fmla="*/ 1946 h 3140"/>
                <a:gd name="T40" fmla="*/ 574 w 1964"/>
                <a:gd name="T41" fmla="*/ 1900 h 3140"/>
                <a:gd name="T42" fmla="*/ 549 w 1964"/>
                <a:gd name="T43" fmla="*/ 1795 h 3140"/>
                <a:gd name="T44" fmla="*/ 474 w 1964"/>
                <a:gd name="T45" fmla="*/ 1712 h 3140"/>
                <a:gd name="T46" fmla="*/ 423 w 1964"/>
                <a:gd name="T47" fmla="*/ 1616 h 3140"/>
                <a:gd name="T48" fmla="*/ 274 w 1964"/>
                <a:gd name="T49" fmla="*/ 1478 h 3140"/>
                <a:gd name="T50" fmla="*/ 134 w 1964"/>
                <a:gd name="T51" fmla="*/ 1375 h 3140"/>
                <a:gd name="T52" fmla="*/ 93 w 1964"/>
                <a:gd name="T53" fmla="*/ 1269 h 3140"/>
                <a:gd name="T54" fmla="*/ 129 w 1964"/>
                <a:gd name="T55" fmla="*/ 1145 h 3140"/>
                <a:gd name="T56" fmla="*/ 170 w 1964"/>
                <a:gd name="T57" fmla="*/ 1055 h 3140"/>
                <a:gd name="T58" fmla="*/ 157 w 1964"/>
                <a:gd name="T59" fmla="*/ 921 h 3140"/>
                <a:gd name="T60" fmla="*/ 39 w 1964"/>
                <a:gd name="T61" fmla="*/ 507 h 3140"/>
                <a:gd name="T62" fmla="*/ 219 w 1964"/>
                <a:gd name="T63" fmla="*/ 397 h 3140"/>
                <a:gd name="T64" fmla="*/ 364 w 1964"/>
                <a:gd name="T65" fmla="*/ 348 h 3140"/>
                <a:gd name="T66" fmla="*/ 507 w 1964"/>
                <a:gd name="T67" fmla="*/ 344 h 3140"/>
                <a:gd name="T68" fmla="*/ 613 w 1964"/>
                <a:gd name="T69" fmla="*/ 335 h 3140"/>
                <a:gd name="T70" fmla="*/ 746 w 1964"/>
                <a:gd name="T71" fmla="*/ 272 h 3140"/>
                <a:gd name="T72" fmla="*/ 854 w 1964"/>
                <a:gd name="T73" fmla="*/ 250 h 3140"/>
                <a:gd name="T74" fmla="*/ 964 w 1964"/>
                <a:gd name="T75" fmla="*/ 263 h 3140"/>
                <a:gd name="T76" fmla="*/ 1066 w 1964"/>
                <a:gd name="T77" fmla="*/ 166 h 3140"/>
                <a:gd name="T78" fmla="*/ 1193 w 1964"/>
                <a:gd name="T79" fmla="*/ 115 h 3140"/>
                <a:gd name="T80" fmla="*/ 1331 w 1964"/>
                <a:gd name="T81" fmla="*/ 98 h 3140"/>
                <a:gd name="T82" fmla="*/ 1451 w 1964"/>
                <a:gd name="T83" fmla="*/ 28 h 3140"/>
                <a:gd name="T84" fmla="*/ 1558 w 1964"/>
                <a:gd name="T85" fmla="*/ 66 h 3140"/>
                <a:gd name="T86" fmla="*/ 1534 w 1964"/>
                <a:gd name="T87" fmla="*/ 101 h 3140"/>
                <a:gd name="T88" fmla="*/ 1494 w 1964"/>
                <a:gd name="T89" fmla="*/ 121 h 3140"/>
                <a:gd name="T90" fmla="*/ 1531 w 1964"/>
                <a:gd name="T91" fmla="*/ 144 h 3140"/>
                <a:gd name="T92" fmla="*/ 1547 w 1964"/>
                <a:gd name="T93" fmla="*/ 202 h 3140"/>
                <a:gd name="T94" fmla="*/ 1527 w 1964"/>
                <a:gd name="T95" fmla="*/ 227 h 3140"/>
                <a:gd name="T96" fmla="*/ 1541 w 1964"/>
                <a:gd name="T97" fmla="*/ 290 h 3140"/>
                <a:gd name="T98" fmla="*/ 1701 w 1964"/>
                <a:gd name="T99" fmla="*/ 551 h 3140"/>
                <a:gd name="T100" fmla="*/ 1736 w 1964"/>
                <a:gd name="T101" fmla="*/ 767 h 3140"/>
                <a:gd name="T102" fmla="*/ 1750 w 1964"/>
                <a:gd name="T103" fmla="*/ 993 h 3140"/>
                <a:gd name="T104" fmla="*/ 1767 w 1964"/>
                <a:gd name="T105" fmla="*/ 1005 h 3140"/>
                <a:gd name="T106" fmla="*/ 1814 w 1964"/>
                <a:gd name="T107" fmla="*/ 979 h 3140"/>
                <a:gd name="T108" fmla="*/ 1904 w 1964"/>
                <a:gd name="T109" fmla="*/ 1000 h 3140"/>
                <a:gd name="T110" fmla="*/ 1904 w 1964"/>
                <a:gd name="T111" fmla="*/ 1048 h 3140"/>
                <a:gd name="T112" fmla="*/ 1900 w 1964"/>
                <a:gd name="T113" fmla="*/ 1523 h 3140"/>
                <a:gd name="T114" fmla="*/ 1955 w 1964"/>
                <a:gd name="T115" fmla="*/ 1580 h 3140"/>
                <a:gd name="T116" fmla="*/ 1825 w 1964"/>
                <a:gd name="T117" fmla="*/ 625 h 3140"/>
                <a:gd name="T118" fmla="*/ 1837 w 1964"/>
                <a:gd name="T119" fmla="*/ 440 h 3140"/>
                <a:gd name="T120" fmla="*/ 1832 w 1964"/>
                <a:gd name="T121" fmla="*/ 713 h 3140"/>
                <a:gd name="T122" fmla="*/ 1823 w 1964"/>
                <a:gd name="T123" fmla="*/ 818 h 3140"/>
                <a:gd name="T124" fmla="*/ 1752 w 1964"/>
                <a:gd name="T125" fmla="*/ 539 h 31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964"/>
                <a:gd name="T190" fmla="*/ 0 h 3140"/>
                <a:gd name="T191" fmla="*/ 1964 w 1964"/>
                <a:gd name="T192" fmla="*/ 3140 h 31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964" h="3140">
                  <a:moveTo>
                    <a:pt x="1962" y="1581"/>
                  </a:moveTo>
                  <a:lnTo>
                    <a:pt x="1964" y="1581"/>
                  </a:lnTo>
                  <a:lnTo>
                    <a:pt x="1961" y="1599"/>
                  </a:lnTo>
                  <a:lnTo>
                    <a:pt x="1957" y="1614"/>
                  </a:lnTo>
                  <a:lnTo>
                    <a:pt x="1940" y="1643"/>
                  </a:lnTo>
                  <a:lnTo>
                    <a:pt x="1914" y="1680"/>
                  </a:lnTo>
                  <a:lnTo>
                    <a:pt x="1907" y="1693"/>
                  </a:lnTo>
                  <a:lnTo>
                    <a:pt x="1899" y="1705"/>
                  </a:lnTo>
                  <a:lnTo>
                    <a:pt x="1889" y="1722"/>
                  </a:lnTo>
                  <a:lnTo>
                    <a:pt x="1885" y="1733"/>
                  </a:lnTo>
                  <a:lnTo>
                    <a:pt x="1878" y="1763"/>
                  </a:lnTo>
                  <a:lnTo>
                    <a:pt x="1869" y="1781"/>
                  </a:lnTo>
                  <a:lnTo>
                    <a:pt x="1869" y="1790"/>
                  </a:lnTo>
                  <a:lnTo>
                    <a:pt x="1872" y="1811"/>
                  </a:lnTo>
                  <a:lnTo>
                    <a:pt x="1872" y="1823"/>
                  </a:lnTo>
                  <a:lnTo>
                    <a:pt x="1874" y="1826"/>
                  </a:lnTo>
                  <a:lnTo>
                    <a:pt x="1876" y="1832"/>
                  </a:lnTo>
                  <a:lnTo>
                    <a:pt x="1878" y="1842"/>
                  </a:lnTo>
                  <a:lnTo>
                    <a:pt x="1875" y="1858"/>
                  </a:lnTo>
                  <a:lnTo>
                    <a:pt x="1876" y="1878"/>
                  </a:lnTo>
                  <a:lnTo>
                    <a:pt x="1875" y="1887"/>
                  </a:lnTo>
                  <a:lnTo>
                    <a:pt x="1871" y="1902"/>
                  </a:lnTo>
                  <a:lnTo>
                    <a:pt x="1871" y="1907"/>
                  </a:lnTo>
                  <a:lnTo>
                    <a:pt x="1858" y="1936"/>
                  </a:lnTo>
                  <a:lnTo>
                    <a:pt x="1841" y="1978"/>
                  </a:lnTo>
                  <a:lnTo>
                    <a:pt x="1839" y="1989"/>
                  </a:lnTo>
                  <a:lnTo>
                    <a:pt x="1839" y="1995"/>
                  </a:lnTo>
                  <a:lnTo>
                    <a:pt x="1836" y="2008"/>
                  </a:lnTo>
                  <a:lnTo>
                    <a:pt x="1829" y="2023"/>
                  </a:lnTo>
                  <a:lnTo>
                    <a:pt x="1825" y="2031"/>
                  </a:lnTo>
                  <a:lnTo>
                    <a:pt x="1821" y="2042"/>
                  </a:lnTo>
                  <a:lnTo>
                    <a:pt x="1819" y="2049"/>
                  </a:lnTo>
                  <a:lnTo>
                    <a:pt x="1821" y="2061"/>
                  </a:lnTo>
                  <a:lnTo>
                    <a:pt x="1818" y="2098"/>
                  </a:lnTo>
                  <a:lnTo>
                    <a:pt x="1818" y="2114"/>
                  </a:lnTo>
                  <a:lnTo>
                    <a:pt x="1816" y="2123"/>
                  </a:lnTo>
                  <a:lnTo>
                    <a:pt x="1818" y="2139"/>
                  </a:lnTo>
                  <a:lnTo>
                    <a:pt x="1821" y="2145"/>
                  </a:lnTo>
                  <a:lnTo>
                    <a:pt x="1825" y="2152"/>
                  </a:lnTo>
                  <a:lnTo>
                    <a:pt x="1827" y="2163"/>
                  </a:lnTo>
                  <a:lnTo>
                    <a:pt x="1825" y="2177"/>
                  </a:lnTo>
                  <a:lnTo>
                    <a:pt x="1825" y="2181"/>
                  </a:lnTo>
                  <a:lnTo>
                    <a:pt x="1818" y="2188"/>
                  </a:lnTo>
                  <a:lnTo>
                    <a:pt x="1814" y="2199"/>
                  </a:lnTo>
                  <a:lnTo>
                    <a:pt x="1811" y="2219"/>
                  </a:lnTo>
                  <a:lnTo>
                    <a:pt x="1807" y="2230"/>
                  </a:lnTo>
                  <a:lnTo>
                    <a:pt x="1802" y="2235"/>
                  </a:lnTo>
                  <a:lnTo>
                    <a:pt x="1800" y="2236"/>
                  </a:lnTo>
                  <a:lnTo>
                    <a:pt x="1797" y="2235"/>
                  </a:lnTo>
                  <a:lnTo>
                    <a:pt x="1795" y="2232"/>
                  </a:lnTo>
                  <a:lnTo>
                    <a:pt x="1797" y="2231"/>
                  </a:lnTo>
                  <a:lnTo>
                    <a:pt x="1801" y="2231"/>
                  </a:lnTo>
                  <a:lnTo>
                    <a:pt x="1797" y="2228"/>
                  </a:lnTo>
                  <a:lnTo>
                    <a:pt x="1795" y="2223"/>
                  </a:lnTo>
                  <a:lnTo>
                    <a:pt x="1797" y="2197"/>
                  </a:lnTo>
                  <a:lnTo>
                    <a:pt x="1793" y="2188"/>
                  </a:lnTo>
                  <a:lnTo>
                    <a:pt x="1797" y="2185"/>
                  </a:lnTo>
                  <a:lnTo>
                    <a:pt x="1797" y="2182"/>
                  </a:lnTo>
                  <a:lnTo>
                    <a:pt x="1791" y="2177"/>
                  </a:lnTo>
                  <a:lnTo>
                    <a:pt x="1791" y="2178"/>
                  </a:lnTo>
                  <a:lnTo>
                    <a:pt x="1795" y="2182"/>
                  </a:lnTo>
                  <a:lnTo>
                    <a:pt x="1795" y="2183"/>
                  </a:lnTo>
                  <a:lnTo>
                    <a:pt x="1787" y="2185"/>
                  </a:lnTo>
                  <a:lnTo>
                    <a:pt x="1783" y="2183"/>
                  </a:lnTo>
                  <a:lnTo>
                    <a:pt x="1781" y="2183"/>
                  </a:lnTo>
                  <a:lnTo>
                    <a:pt x="1780" y="2182"/>
                  </a:lnTo>
                  <a:lnTo>
                    <a:pt x="1775" y="2183"/>
                  </a:lnTo>
                  <a:lnTo>
                    <a:pt x="1772" y="2182"/>
                  </a:lnTo>
                  <a:lnTo>
                    <a:pt x="1769" y="2180"/>
                  </a:lnTo>
                  <a:lnTo>
                    <a:pt x="1770" y="2183"/>
                  </a:lnTo>
                  <a:lnTo>
                    <a:pt x="1769" y="2185"/>
                  </a:lnTo>
                  <a:lnTo>
                    <a:pt x="1766" y="2185"/>
                  </a:lnTo>
                  <a:lnTo>
                    <a:pt x="1762" y="2183"/>
                  </a:lnTo>
                  <a:lnTo>
                    <a:pt x="1761" y="2183"/>
                  </a:lnTo>
                  <a:lnTo>
                    <a:pt x="1761" y="2185"/>
                  </a:lnTo>
                  <a:lnTo>
                    <a:pt x="1759" y="2185"/>
                  </a:lnTo>
                  <a:lnTo>
                    <a:pt x="1759" y="2188"/>
                  </a:lnTo>
                  <a:lnTo>
                    <a:pt x="1761" y="2191"/>
                  </a:lnTo>
                  <a:lnTo>
                    <a:pt x="1759" y="2194"/>
                  </a:lnTo>
                  <a:lnTo>
                    <a:pt x="1754" y="2194"/>
                  </a:lnTo>
                  <a:lnTo>
                    <a:pt x="1751" y="2191"/>
                  </a:lnTo>
                  <a:lnTo>
                    <a:pt x="1750" y="2191"/>
                  </a:lnTo>
                  <a:lnTo>
                    <a:pt x="1747" y="2191"/>
                  </a:lnTo>
                  <a:lnTo>
                    <a:pt x="1747" y="2194"/>
                  </a:lnTo>
                  <a:lnTo>
                    <a:pt x="1750" y="2195"/>
                  </a:lnTo>
                  <a:lnTo>
                    <a:pt x="1750" y="2202"/>
                  </a:lnTo>
                  <a:lnTo>
                    <a:pt x="1752" y="2206"/>
                  </a:lnTo>
                  <a:lnTo>
                    <a:pt x="1752" y="2208"/>
                  </a:lnTo>
                  <a:lnTo>
                    <a:pt x="1750" y="2211"/>
                  </a:lnTo>
                  <a:lnTo>
                    <a:pt x="1745" y="2218"/>
                  </a:lnTo>
                  <a:lnTo>
                    <a:pt x="1748" y="2216"/>
                  </a:lnTo>
                  <a:lnTo>
                    <a:pt x="1755" y="2207"/>
                  </a:lnTo>
                  <a:lnTo>
                    <a:pt x="1755" y="2199"/>
                  </a:lnTo>
                  <a:lnTo>
                    <a:pt x="1762" y="2201"/>
                  </a:lnTo>
                  <a:lnTo>
                    <a:pt x="1767" y="2197"/>
                  </a:lnTo>
                  <a:lnTo>
                    <a:pt x="1776" y="2195"/>
                  </a:lnTo>
                  <a:lnTo>
                    <a:pt x="1777" y="2197"/>
                  </a:lnTo>
                  <a:lnTo>
                    <a:pt x="1781" y="2203"/>
                  </a:lnTo>
                  <a:lnTo>
                    <a:pt x="1773" y="2226"/>
                  </a:lnTo>
                  <a:lnTo>
                    <a:pt x="1773" y="2236"/>
                  </a:lnTo>
                  <a:lnTo>
                    <a:pt x="1769" y="2245"/>
                  </a:lnTo>
                  <a:lnTo>
                    <a:pt x="1772" y="2261"/>
                  </a:lnTo>
                  <a:lnTo>
                    <a:pt x="1770" y="2269"/>
                  </a:lnTo>
                  <a:lnTo>
                    <a:pt x="1767" y="2276"/>
                  </a:lnTo>
                  <a:lnTo>
                    <a:pt x="1767" y="2280"/>
                  </a:lnTo>
                  <a:lnTo>
                    <a:pt x="1762" y="2285"/>
                  </a:lnTo>
                  <a:lnTo>
                    <a:pt x="1759" y="2293"/>
                  </a:lnTo>
                  <a:lnTo>
                    <a:pt x="1759" y="2303"/>
                  </a:lnTo>
                  <a:lnTo>
                    <a:pt x="1762" y="2313"/>
                  </a:lnTo>
                  <a:lnTo>
                    <a:pt x="1759" y="2315"/>
                  </a:lnTo>
                  <a:lnTo>
                    <a:pt x="1761" y="2319"/>
                  </a:lnTo>
                  <a:lnTo>
                    <a:pt x="1759" y="2325"/>
                  </a:lnTo>
                  <a:lnTo>
                    <a:pt x="1761" y="2338"/>
                  </a:lnTo>
                  <a:lnTo>
                    <a:pt x="1751" y="2350"/>
                  </a:lnTo>
                  <a:lnTo>
                    <a:pt x="1750" y="2356"/>
                  </a:lnTo>
                  <a:lnTo>
                    <a:pt x="1752" y="2368"/>
                  </a:lnTo>
                  <a:lnTo>
                    <a:pt x="1756" y="2373"/>
                  </a:lnTo>
                  <a:lnTo>
                    <a:pt x="1754" y="2375"/>
                  </a:lnTo>
                  <a:lnTo>
                    <a:pt x="1754" y="2379"/>
                  </a:lnTo>
                  <a:lnTo>
                    <a:pt x="1752" y="2379"/>
                  </a:lnTo>
                  <a:lnTo>
                    <a:pt x="1752" y="2381"/>
                  </a:lnTo>
                  <a:lnTo>
                    <a:pt x="1751" y="2387"/>
                  </a:lnTo>
                  <a:lnTo>
                    <a:pt x="1747" y="2390"/>
                  </a:lnTo>
                  <a:lnTo>
                    <a:pt x="1748" y="2400"/>
                  </a:lnTo>
                  <a:lnTo>
                    <a:pt x="1742" y="2401"/>
                  </a:lnTo>
                  <a:lnTo>
                    <a:pt x="1739" y="2409"/>
                  </a:lnTo>
                  <a:lnTo>
                    <a:pt x="1739" y="2413"/>
                  </a:lnTo>
                  <a:lnTo>
                    <a:pt x="1745" y="2427"/>
                  </a:lnTo>
                  <a:lnTo>
                    <a:pt x="1747" y="2432"/>
                  </a:lnTo>
                  <a:lnTo>
                    <a:pt x="1745" y="2435"/>
                  </a:lnTo>
                  <a:lnTo>
                    <a:pt x="1747" y="2438"/>
                  </a:lnTo>
                  <a:lnTo>
                    <a:pt x="1744" y="2441"/>
                  </a:lnTo>
                  <a:lnTo>
                    <a:pt x="1742" y="2450"/>
                  </a:lnTo>
                  <a:lnTo>
                    <a:pt x="1747" y="2446"/>
                  </a:lnTo>
                  <a:lnTo>
                    <a:pt x="1754" y="2442"/>
                  </a:lnTo>
                  <a:lnTo>
                    <a:pt x="1755" y="2439"/>
                  </a:lnTo>
                  <a:lnTo>
                    <a:pt x="1754" y="2437"/>
                  </a:lnTo>
                  <a:lnTo>
                    <a:pt x="1761" y="2435"/>
                  </a:lnTo>
                  <a:lnTo>
                    <a:pt x="1764" y="2432"/>
                  </a:lnTo>
                  <a:lnTo>
                    <a:pt x="1765" y="2426"/>
                  </a:lnTo>
                  <a:lnTo>
                    <a:pt x="1759" y="2421"/>
                  </a:lnTo>
                  <a:lnTo>
                    <a:pt x="1764" y="2419"/>
                  </a:lnTo>
                  <a:lnTo>
                    <a:pt x="1767" y="2412"/>
                  </a:lnTo>
                  <a:lnTo>
                    <a:pt x="1780" y="2405"/>
                  </a:lnTo>
                  <a:lnTo>
                    <a:pt x="1780" y="2401"/>
                  </a:lnTo>
                  <a:lnTo>
                    <a:pt x="1776" y="2396"/>
                  </a:lnTo>
                  <a:lnTo>
                    <a:pt x="1786" y="2392"/>
                  </a:lnTo>
                  <a:lnTo>
                    <a:pt x="1790" y="2388"/>
                  </a:lnTo>
                  <a:lnTo>
                    <a:pt x="1791" y="2382"/>
                  </a:lnTo>
                  <a:lnTo>
                    <a:pt x="1795" y="2379"/>
                  </a:lnTo>
                  <a:lnTo>
                    <a:pt x="1795" y="2371"/>
                  </a:lnTo>
                  <a:lnTo>
                    <a:pt x="1790" y="2359"/>
                  </a:lnTo>
                  <a:lnTo>
                    <a:pt x="1784" y="2352"/>
                  </a:lnTo>
                  <a:lnTo>
                    <a:pt x="1784" y="2344"/>
                  </a:lnTo>
                  <a:lnTo>
                    <a:pt x="1781" y="2337"/>
                  </a:lnTo>
                  <a:lnTo>
                    <a:pt x="1791" y="2337"/>
                  </a:lnTo>
                  <a:lnTo>
                    <a:pt x="1793" y="2340"/>
                  </a:lnTo>
                  <a:lnTo>
                    <a:pt x="1795" y="2340"/>
                  </a:lnTo>
                  <a:lnTo>
                    <a:pt x="1795" y="2338"/>
                  </a:lnTo>
                  <a:lnTo>
                    <a:pt x="1795" y="2327"/>
                  </a:lnTo>
                  <a:lnTo>
                    <a:pt x="1794" y="2326"/>
                  </a:lnTo>
                  <a:lnTo>
                    <a:pt x="1794" y="2330"/>
                  </a:lnTo>
                  <a:lnTo>
                    <a:pt x="1790" y="2329"/>
                  </a:lnTo>
                  <a:lnTo>
                    <a:pt x="1787" y="2319"/>
                  </a:lnTo>
                  <a:lnTo>
                    <a:pt x="1789" y="2318"/>
                  </a:lnTo>
                  <a:lnTo>
                    <a:pt x="1791" y="2318"/>
                  </a:lnTo>
                  <a:lnTo>
                    <a:pt x="1791" y="2315"/>
                  </a:lnTo>
                  <a:lnTo>
                    <a:pt x="1798" y="2314"/>
                  </a:lnTo>
                  <a:lnTo>
                    <a:pt x="1801" y="2315"/>
                  </a:lnTo>
                  <a:lnTo>
                    <a:pt x="1805" y="2320"/>
                  </a:lnTo>
                  <a:lnTo>
                    <a:pt x="1808" y="2320"/>
                  </a:lnTo>
                  <a:lnTo>
                    <a:pt x="1812" y="2326"/>
                  </a:lnTo>
                  <a:lnTo>
                    <a:pt x="1821" y="2330"/>
                  </a:lnTo>
                  <a:lnTo>
                    <a:pt x="1826" y="2338"/>
                  </a:lnTo>
                  <a:lnTo>
                    <a:pt x="1833" y="2340"/>
                  </a:lnTo>
                  <a:lnTo>
                    <a:pt x="1837" y="2340"/>
                  </a:lnTo>
                  <a:lnTo>
                    <a:pt x="1839" y="2337"/>
                  </a:lnTo>
                  <a:lnTo>
                    <a:pt x="1837" y="2334"/>
                  </a:lnTo>
                  <a:lnTo>
                    <a:pt x="1835" y="2334"/>
                  </a:lnTo>
                  <a:lnTo>
                    <a:pt x="1836" y="2334"/>
                  </a:lnTo>
                  <a:lnTo>
                    <a:pt x="1835" y="2332"/>
                  </a:lnTo>
                  <a:lnTo>
                    <a:pt x="1832" y="2334"/>
                  </a:lnTo>
                  <a:lnTo>
                    <a:pt x="1830" y="2334"/>
                  </a:lnTo>
                  <a:lnTo>
                    <a:pt x="1832" y="2330"/>
                  </a:lnTo>
                  <a:lnTo>
                    <a:pt x="1830" y="2330"/>
                  </a:lnTo>
                  <a:lnTo>
                    <a:pt x="1830" y="2327"/>
                  </a:lnTo>
                  <a:lnTo>
                    <a:pt x="1826" y="2326"/>
                  </a:lnTo>
                  <a:lnTo>
                    <a:pt x="1827" y="2325"/>
                  </a:lnTo>
                  <a:lnTo>
                    <a:pt x="1827" y="2322"/>
                  </a:lnTo>
                  <a:lnTo>
                    <a:pt x="1835" y="2327"/>
                  </a:lnTo>
                  <a:lnTo>
                    <a:pt x="1836" y="2330"/>
                  </a:lnTo>
                  <a:lnTo>
                    <a:pt x="1837" y="2330"/>
                  </a:lnTo>
                  <a:lnTo>
                    <a:pt x="1837" y="2334"/>
                  </a:lnTo>
                  <a:lnTo>
                    <a:pt x="1840" y="2337"/>
                  </a:lnTo>
                  <a:lnTo>
                    <a:pt x="1840" y="2344"/>
                  </a:lnTo>
                  <a:lnTo>
                    <a:pt x="1847" y="2348"/>
                  </a:lnTo>
                  <a:lnTo>
                    <a:pt x="1847" y="2351"/>
                  </a:lnTo>
                  <a:lnTo>
                    <a:pt x="1849" y="2351"/>
                  </a:lnTo>
                  <a:lnTo>
                    <a:pt x="1860" y="2352"/>
                  </a:lnTo>
                  <a:lnTo>
                    <a:pt x="1864" y="2351"/>
                  </a:lnTo>
                  <a:lnTo>
                    <a:pt x="1860" y="2339"/>
                  </a:lnTo>
                  <a:lnTo>
                    <a:pt x="1860" y="2334"/>
                  </a:lnTo>
                  <a:lnTo>
                    <a:pt x="1857" y="2332"/>
                  </a:lnTo>
                  <a:lnTo>
                    <a:pt x="1854" y="2334"/>
                  </a:lnTo>
                  <a:lnTo>
                    <a:pt x="1854" y="2330"/>
                  </a:lnTo>
                  <a:lnTo>
                    <a:pt x="1858" y="2327"/>
                  </a:lnTo>
                  <a:lnTo>
                    <a:pt x="1860" y="2326"/>
                  </a:lnTo>
                  <a:lnTo>
                    <a:pt x="1866" y="2327"/>
                  </a:lnTo>
                  <a:lnTo>
                    <a:pt x="1869" y="2326"/>
                  </a:lnTo>
                  <a:lnTo>
                    <a:pt x="1869" y="2327"/>
                  </a:lnTo>
                  <a:lnTo>
                    <a:pt x="1871" y="2327"/>
                  </a:lnTo>
                  <a:lnTo>
                    <a:pt x="1878" y="2326"/>
                  </a:lnTo>
                  <a:lnTo>
                    <a:pt x="1878" y="2325"/>
                  </a:lnTo>
                  <a:lnTo>
                    <a:pt x="1876" y="2323"/>
                  </a:lnTo>
                  <a:lnTo>
                    <a:pt x="1876" y="2315"/>
                  </a:lnTo>
                  <a:lnTo>
                    <a:pt x="1875" y="2310"/>
                  </a:lnTo>
                  <a:lnTo>
                    <a:pt x="1875" y="2305"/>
                  </a:lnTo>
                  <a:lnTo>
                    <a:pt x="1874" y="2301"/>
                  </a:lnTo>
                  <a:lnTo>
                    <a:pt x="1872" y="2301"/>
                  </a:lnTo>
                  <a:lnTo>
                    <a:pt x="1871" y="2302"/>
                  </a:lnTo>
                  <a:lnTo>
                    <a:pt x="1868" y="2293"/>
                  </a:lnTo>
                  <a:lnTo>
                    <a:pt x="1876" y="2284"/>
                  </a:lnTo>
                  <a:lnTo>
                    <a:pt x="1880" y="2284"/>
                  </a:lnTo>
                  <a:lnTo>
                    <a:pt x="1887" y="2281"/>
                  </a:lnTo>
                  <a:lnTo>
                    <a:pt x="1883" y="2281"/>
                  </a:lnTo>
                  <a:lnTo>
                    <a:pt x="1882" y="2280"/>
                  </a:lnTo>
                  <a:lnTo>
                    <a:pt x="1875" y="2277"/>
                  </a:lnTo>
                  <a:lnTo>
                    <a:pt x="1876" y="2275"/>
                  </a:lnTo>
                  <a:lnTo>
                    <a:pt x="1876" y="2273"/>
                  </a:lnTo>
                  <a:lnTo>
                    <a:pt x="1874" y="2272"/>
                  </a:lnTo>
                  <a:lnTo>
                    <a:pt x="1872" y="2275"/>
                  </a:lnTo>
                  <a:lnTo>
                    <a:pt x="1866" y="2272"/>
                  </a:lnTo>
                  <a:lnTo>
                    <a:pt x="1865" y="2273"/>
                  </a:lnTo>
                  <a:lnTo>
                    <a:pt x="1864" y="2269"/>
                  </a:lnTo>
                  <a:lnTo>
                    <a:pt x="1865" y="2269"/>
                  </a:lnTo>
                  <a:lnTo>
                    <a:pt x="1868" y="2270"/>
                  </a:lnTo>
                  <a:lnTo>
                    <a:pt x="1879" y="2270"/>
                  </a:lnTo>
                  <a:lnTo>
                    <a:pt x="1893" y="2278"/>
                  </a:lnTo>
                  <a:lnTo>
                    <a:pt x="1901" y="2278"/>
                  </a:lnTo>
                  <a:lnTo>
                    <a:pt x="1911" y="2280"/>
                  </a:lnTo>
                  <a:lnTo>
                    <a:pt x="1910" y="2307"/>
                  </a:lnTo>
                  <a:lnTo>
                    <a:pt x="1912" y="2322"/>
                  </a:lnTo>
                  <a:lnTo>
                    <a:pt x="1919" y="2329"/>
                  </a:lnTo>
                  <a:lnTo>
                    <a:pt x="1922" y="2329"/>
                  </a:lnTo>
                  <a:lnTo>
                    <a:pt x="1922" y="2338"/>
                  </a:lnTo>
                  <a:lnTo>
                    <a:pt x="1925" y="2340"/>
                  </a:lnTo>
                  <a:lnTo>
                    <a:pt x="1921" y="2348"/>
                  </a:lnTo>
                  <a:lnTo>
                    <a:pt x="1907" y="2369"/>
                  </a:lnTo>
                  <a:lnTo>
                    <a:pt x="1901" y="2384"/>
                  </a:lnTo>
                  <a:lnTo>
                    <a:pt x="1901" y="2387"/>
                  </a:lnTo>
                  <a:lnTo>
                    <a:pt x="1904" y="2387"/>
                  </a:lnTo>
                  <a:lnTo>
                    <a:pt x="1905" y="2388"/>
                  </a:lnTo>
                  <a:lnTo>
                    <a:pt x="1897" y="2400"/>
                  </a:lnTo>
                  <a:lnTo>
                    <a:pt x="1885" y="2427"/>
                  </a:lnTo>
                  <a:lnTo>
                    <a:pt x="1879" y="2446"/>
                  </a:lnTo>
                  <a:lnTo>
                    <a:pt x="1880" y="2455"/>
                  </a:lnTo>
                  <a:lnTo>
                    <a:pt x="1883" y="2462"/>
                  </a:lnTo>
                  <a:lnTo>
                    <a:pt x="1879" y="2472"/>
                  </a:lnTo>
                  <a:lnTo>
                    <a:pt x="1875" y="2493"/>
                  </a:lnTo>
                  <a:lnTo>
                    <a:pt x="1876" y="2503"/>
                  </a:lnTo>
                  <a:lnTo>
                    <a:pt x="1880" y="2505"/>
                  </a:lnTo>
                  <a:lnTo>
                    <a:pt x="1879" y="2521"/>
                  </a:lnTo>
                  <a:lnTo>
                    <a:pt x="1880" y="2528"/>
                  </a:lnTo>
                  <a:lnTo>
                    <a:pt x="1880" y="2534"/>
                  </a:lnTo>
                  <a:lnTo>
                    <a:pt x="1871" y="2550"/>
                  </a:lnTo>
                  <a:lnTo>
                    <a:pt x="1862" y="2571"/>
                  </a:lnTo>
                  <a:lnTo>
                    <a:pt x="1854" y="2584"/>
                  </a:lnTo>
                  <a:lnTo>
                    <a:pt x="1826" y="2613"/>
                  </a:lnTo>
                  <a:lnTo>
                    <a:pt x="1822" y="2621"/>
                  </a:lnTo>
                  <a:lnTo>
                    <a:pt x="1821" y="2630"/>
                  </a:lnTo>
                  <a:lnTo>
                    <a:pt x="1818" y="2634"/>
                  </a:lnTo>
                  <a:lnTo>
                    <a:pt x="1808" y="2648"/>
                  </a:lnTo>
                  <a:lnTo>
                    <a:pt x="1790" y="2671"/>
                  </a:lnTo>
                  <a:lnTo>
                    <a:pt x="1754" y="2712"/>
                  </a:lnTo>
                  <a:lnTo>
                    <a:pt x="1744" y="2724"/>
                  </a:lnTo>
                  <a:lnTo>
                    <a:pt x="1705" y="2770"/>
                  </a:lnTo>
                  <a:lnTo>
                    <a:pt x="1692" y="2787"/>
                  </a:lnTo>
                  <a:lnTo>
                    <a:pt x="1661" y="2816"/>
                  </a:lnTo>
                  <a:lnTo>
                    <a:pt x="1654" y="2827"/>
                  </a:lnTo>
                  <a:lnTo>
                    <a:pt x="1644" y="2840"/>
                  </a:lnTo>
                  <a:lnTo>
                    <a:pt x="1641" y="2846"/>
                  </a:lnTo>
                  <a:lnTo>
                    <a:pt x="1640" y="2857"/>
                  </a:lnTo>
                  <a:lnTo>
                    <a:pt x="1641" y="2865"/>
                  </a:lnTo>
                  <a:lnTo>
                    <a:pt x="1640" y="2869"/>
                  </a:lnTo>
                  <a:lnTo>
                    <a:pt x="1614" y="2891"/>
                  </a:lnTo>
                  <a:lnTo>
                    <a:pt x="1605" y="2903"/>
                  </a:lnTo>
                  <a:lnTo>
                    <a:pt x="1598" y="2914"/>
                  </a:lnTo>
                  <a:lnTo>
                    <a:pt x="1580" y="2928"/>
                  </a:lnTo>
                  <a:lnTo>
                    <a:pt x="1563" y="2937"/>
                  </a:lnTo>
                  <a:lnTo>
                    <a:pt x="1533" y="2956"/>
                  </a:lnTo>
                  <a:lnTo>
                    <a:pt x="1479" y="2983"/>
                  </a:lnTo>
                  <a:lnTo>
                    <a:pt x="1406" y="3011"/>
                  </a:lnTo>
                  <a:lnTo>
                    <a:pt x="1341" y="3043"/>
                  </a:lnTo>
                  <a:lnTo>
                    <a:pt x="1287" y="3062"/>
                  </a:lnTo>
                  <a:lnTo>
                    <a:pt x="1209" y="3087"/>
                  </a:lnTo>
                  <a:lnTo>
                    <a:pt x="1118" y="3117"/>
                  </a:lnTo>
                  <a:lnTo>
                    <a:pt x="1108" y="3119"/>
                  </a:lnTo>
                  <a:lnTo>
                    <a:pt x="1105" y="3123"/>
                  </a:lnTo>
                  <a:lnTo>
                    <a:pt x="1089" y="3128"/>
                  </a:lnTo>
                  <a:lnTo>
                    <a:pt x="1086" y="3131"/>
                  </a:lnTo>
                  <a:lnTo>
                    <a:pt x="1081" y="3134"/>
                  </a:lnTo>
                  <a:lnTo>
                    <a:pt x="1055" y="3140"/>
                  </a:lnTo>
                  <a:lnTo>
                    <a:pt x="1024" y="3095"/>
                  </a:lnTo>
                  <a:lnTo>
                    <a:pt x="915" y="3086"/>
                  </a:lnTo>
                  <a:lnTo>
                    <a:pt x="915" y="3043"/>
                  </a:lnTo>
                  <a:lnTo>
                    <a:pt x="914" y="3018"/>
                  </a:lnTo>
                  <a:lnTo>
                    <a:pt x="1035" y="2957"/>
                  </a:lnTo>
                  <a:lnTo>
                    <a:pt x="1006" y="2923"/>
                  </a:lnTo>
                  <a:lnTo>
                    <a:pt x="996" y="2915"/>
                  </a:lnTo>
                  <a:lnTo>
                    <a:pt x="985" y="2902"/>
                  </a:lnTo>
                  <a:lnTo>
                    <a:pt x="981" y="2895"/>
                  </a:lnTo>
                  <a:lnTo>
                    <a:pt x="976" y="2886"/>
                  </a:lnTo>
                  <a:lnTo>
                    <a:pt x="972" y="2882"/>
                  </a:lnTo>
                  <a:lnTo>
                    <a:pt x="957" y="2881"/>
                  </a:lnTo>
                  <a:lnTo>
                    <a:pt x="957" y="2879"/>
                  </a:lnTo>
                  <a:lnTo>
                    <a:pt x="1018" y="2817"/>
                  </a:lnTo>
                  <a:lnTo>
                    <a:pt x="1018" y="2815"/>
                  </a:lnTo>
                  <a:lnTo>
                    <a:pt x="1016" y="2812"/>
                  </a:lnTo>
                  <a:lnTo>
                    <a:pt x="1007" y="2811"/>
                  </a:lnTo>
                  <a:lnTo>
                    <a:pt x="993" y="2817"/>
                  </a:lnTo>
                  <a:lnTo>
                    <a:pt x="982" y="2817"/>
                  </a:lnTo>
                  <a:lnTo>
                    <a:pt x="972" y="2821"/>
                  </a:lnTo>
                  <a:lnTo>
                    <a:pt x="965" y="2821"/>
                  </a:lnTo>
                  <a:lnTo>
                    <a:pt x="953" y="2822"/>
                  </a:lnTo>
                  <a:lnTo>
                    <a:pt x="942" y="2828"/>
                  </a:lnTo>
                  <a:lnTo>
                    <a:pt x="939" y="2832"/>
                  </a:lnTo>
                  <a:lnTo>
                    <a:pt x="937" y="2834"/>
                  </a:lnTo>
                  <a:lnTo>
                    <a:pt x="926" y="2837"/>
                  </a:lnTo>
                  <a:lnTo>
                    <a:pt x="925" y="2837"/>
                  </a:lnTo>
                  <a:lnTo>
                    <a:pt x="921" y="2834"/>
                  </a:lnTo>
                  <a:lnTo>
                    <a:pt x="917" y="2834"/>
                  </a:lnTo>
                  <a:lnTo>
                    <a:pt x="910" y="2836"/>
                  </a:lnTo>
                  <a:lnTo>
                    <a:pt x="901" y="2841"/>
                  </a:lnTo>
                  <a:lnTo>
                    <a:pt x="898" y="2841"/>
                  </a:lnTo>
                  <a:lnTo>
                    <a:pt x="893" y="2839"/>
                  </a:lnTo>
                  <a:lnTo>
                    <a:pt x="889" y="2839"/>
                  </a:lnTo>
                  <a:lnTo>
                    <a:pt x="879" y="2845"/>
                  </a:lnTo>
                  <a:lnTo>
                    <a:pt x="872" y="2846"/>
                  </a:lnTo>
                  <a:lnTo>
                    <a:pt x="851" y="2853"/>
                  </a:lnTo>
                  <a:lnTo>
                    <a:pt x="848" y="2856"/>
                  </a:lnTo>
                  <a:lnTo>
                    <a:pt x="847" y="2861"/>
                  </a:lnTo>
                  <a:lnTo>
                    <a:pt x="839" y="2862"/>
                  </a:lnTo>
                  <a:lnTo>
                    <a:pt x="837" y="2865"/>
                  </a:lnTo>
                  <a:lnTo>
                    <a:pt x="833" y="2865"/>
                  </a:lnTo>
                  <a:lnTo>
                    <a:pt x="831" y="2862"/>
                  </a:lnTo>
                  <a:lnTo>
                    <a:pt x="825" y="2864"/>
                  </a:lnTo>
                  <a:lnTo>
                    <a:pt x="823" y="2865"/>
                  </a:lnTo>
                  <a:lnTo>
                    <a:pt x="815" y="2865"/>
                  </a:lnTo>
                  <a:lnTo>
                    <a:pt x="812" y="2869"/>
                  </a:lnTo>
                  <a:lnTo>
                    <a:pt x="806" y="2873"/>
                  </a:lnTo>
                  <a:lnTo>
                    <a:pt x="798" y="2873"/>
                  </a:lnTo>
                  <a:lnTo>
                    <a:pt x="794" y="2876"/>
                  </a:lnTo>
                  <a:lnTo>
                    <a:pt x="790" y="2879"/>
                  </a:lnTo>
                  <a:lnTo>
                    <a:pt x="789" y="2878"/>
                  </a:lnTo>
                  <a:lnTo>
                    <a:pt x="751" y="2824"/>
                  </a:lnTo>
                  <a:lnTo>
                    <a:pt x="735" y="2809"/>
                  </a:lnTo>
                  <a:lnTo>
                    <a:pt x="722" y="2794"/>
                  </a:lnTo>
                  <a:lnTo>
                    <a:pt x="716" y="2787"/>
                  </a:lnTo>
                  <a:lnTo>
                    <a:pt x="715" y="2782"/>
                  </a:lnTo>
                  <a:lnTo>
                    <a:pt x="708" y="2775"/>
                  </a:lnTo>
                  <a:lnTo>
                    <a:pt x="690" y="2749"/>
                  </a:lnTo>
                  <a:lnTo>
                    <a:pt x="673" y="2730"/>
                  </a:lnTo>
                  <a:lnTo>
                    <a:pt x="675" y="2647"/>
                  </a:lnTo>
                  <a:lnTo>
                    <a:pt x="673" y="2605"/>
                  </a:lnTo>
                  <a:lnTo>
                    <a:pt x="671" y="2519"/>
                  </a:lnTo>
                  <a:lnTo>
                    <a:pt x="663" y="2517"/>
                  </a:lnTo>
                  <a:lnTo>
                    <a:pt x="661" y="2509"/>
                  </a:lnTo>
                  <a:lnTo>
                    <a:pt x="652" y="2504"/>
                  </a:lnTo>
                  <a:lnTo>
                    <a:pt x="644" y="2508"/>
                  </a:lnTo>
                  <a:lnTo>
                    <a:pt x="637" y="2505"/>
                  </a:lnTo>
                  <a:lnTo>
                    <a:pt x="632" y="2509"/>
                  </a:lnTo>
                  <a:lnTo>
                    <a:pt x="626" y="2509"/>
                  </a:lnTo>
                  <a:lnTo>
                    <a:pt x="625" y="2506"/>
                  </a:lnTo>
                  <a:lnTo>
                    <a:pt x="625" y="2498"/>
                  </a:lnTo>
                  <a:lnTo>
                    <a:pt x="623" y="2498"/>
                  </a:lnTo>
                  <a:lnTo>
                    <a:pt x="623" y="2494"/>
                  </a:lnTo>
                  <a:lnTo>
                    <a:pt x="621" y="2493"/>
                  </a:lnTo>
                  <a:lnTo>
                    <a:pt x="622" y="2491"/>
                  </a:lnTo>
                  <a:lnTo>
                    <a:pt x="616" y="2480"/>
                  </a:lnTo>
                  <a:lnTo>
                    <a:pt x="615" y="2472"/>
                  </a:lnTo>
                  <a:lnTo>
                    <a:pt x="612" y="2468"/>
                  </a:lnTo>
                  <a:lnTo>
                    <a:pt x="612" y="2464"/>
                  </a:lnTo>
                  <a:lnTo>
                    <a:pt x="618" y="2464"/>
                  </a:lnTo>
                  <a:lnTo>
                    <a:pt x="621" y="2459"/>
                  </a:lnTo>
                  <a:lnTo>
                    <a:pt x="619" y="2455"/>
                  </a:lnTo>
                  <a:lnTo>
                    <a:pt x="615" y="2454"/>
                  </a:lnTo>
                  <a:lnTo>
                    <a:pt x="613" y="2450"/>
                  </a:lnTo>
                  <a:lnTo>
                    <a:pt x="612" y="2448"/>
                  </a:lnTo>
                  <a:lnTo>
                    <a:pt x="615" y="2446"/>
                  </a:lnTo>
                  <a:lnTo>
                    <a:pt x="619" y="2444"/>
                  </a:lnTo>
                  <a:lnTo>
                    <a:pt x="621" y="2443"/>
                  </a:lnTo>
                  <a:lnTo>
                    <a:pt x="625" y="2437"/>
                  </a:lnTo>
                  <a:lnTo>
                    <a:pt x="622" y="2434"/>
                  </a:lnTo>
                  <a:lnTo>
                    <a:pt x="619" y="2435"/>
                  </a:lnTo>
                  <a:lnTo>
                    <a:pt x="616" y="2435"/>
                  </a:lnTo>
                  <a:lnTo>
                    <a:pt x="613" y="2434"/>
                  </a:lnTo>
                  <a:lnTo>
                    <a:pt x="612" y="2430"/>
                  </a:lnTo>
                  <a:lnTo>
                    <a:pt x="613" y="2427"/>
                  </a:lnTo>
                  <a:lnTo>
                    <a:pt x="618" y="2423"/>
                  </a:lnTo>
                  <a:lnTo>
                    <a:pt x="621" y="2417"/>
                  </a:lnTo>
                  <a:lnTo>
                    <a:pt x="618" y="2409"/>
                  </a:lnTo>
                  <a:lnTo>
                    <a:pt x="618" y="2401"/>
                  </a:lnTo>
                  <a:lnTo>
                    <a:pt x="615" y="2400"/>
                  </a:lnTo>
                  <a:lnTo>
                    <a:pt x="611" y="2397"/>
                  </a:lnTo>
                  <a:lnTo>
                    <a:pt x="613" y="2394"/>
                  </a:lnTo>
                  <a:lnTo>
                    <a:pt x="612" y="2392"/>
                  </a:lnTo>
                  <a:lnTo>
                    <a:pt x="615" y="2389"/>
                  </a:lnTo>
                  <a:lnTo>
                    <a:pt x="616" y="2388"/>
                  </a:lnTo>
                  <a:lnTo>
                    <a:pt x="619" y="2384"/>
                  </a:lnTo>
                  <a:lnTo>
                    <a:pt x="611" y="2377"/>
                  </a:lnTo>
                  <a:lnTo>
                    <a:pt x="608" y="2372"/>
                  </a:lnTo>
                  <a:lnTo>
                    <a:pt x="611" y="2368"/>
                  </a:lnTo>
                  <a:lnTo>
                    <a:pt x="612" y="2364"/>
                  </a:lnTo>
                  <a:lnTo>
                    <a:pt x="609" y="2364"/>
                  </a:lnTo>
                  <a:lnTo>
                    <a:pt x="605" y="2362"/>
                  </a:lnTo>
                  <a:lnTo>
                    <a:pt x="605" y="2356"/>
                  </a:lnTo>
                  <a:lnTo>
                    <a:pt x="602" y="2352"/>
                  </a:lnTo>
                  <a:lnTo>
                    <a:pt x="604" y="2352"/>
                  </a:lnTo>
                  <a:lnTo>
                    <a:pt x="605" y="2352"/>
                  </a:lnTo>
                  <a:lnTo>
                    <a:pt x="607" y="2351"/>
                  </a:lnTo>
                  <a:lnTo>
                    <a:pt x="605" y="2350"/>
                  </a:lnTo>
                  <a:lnTo>
                    <a:pt x="607" y="2348"/>
                  </a:lnTo>
                  <a:lnTo>
                    <a:pt x="611" y="2350"/>
                  </a:lnTo>
                  <a:lnTo>
                    <a:pt x="611" y="2347"/>
                  </a:lnTo>
                  <a:lnTo>
                    <a:pt x="621" y="2344"/>
                  </a:lnTo>
                  <a:lnTo>
                    <a:pt x="626" y="2342"/>
                  </a:lnTo>
                  <a:lnTo>
                    <a:pt x="629" y="2339"/>
                  </a:lnTo>
                  <a:lnTo>
                    <a:pt x="627" y="2334"/>
                  </a:lnTo>
                  <a:lnTo>
                    <a:pt x="622" y="2334"/>
                  </a:lnTo>
                  <a:lnTo>
                    <a:pt x="622" y="2332"/>
                  </a:lnTo>
                  <a:lnTo>
                    <a:pt x="618" y="2330"/>
                  </a:lnTo>
                  <a:lnTo>
                    <a:pt x="616" y="2329"/>
                  </a:lnTo>
                  <a:lnTo>
                    <a:pt x="612" y="2329"/>
                  </a:lnTo>
                  <a:lnTo>
                    <a:pt x="612" y="2325"/>
                  </a:lnTo>
                  <a:lnTo>
                    <a:pt x="615" y="2322"/>
                  </a:lnTo>
                  <a:lnTo>
                    <a:pt x="612" y="2319"/>
                  </a:lnTo>
                  <a:lnTo>
                    <a:pt x="611" y="2319"/>
                  </a:lnTo>
                  <a:lnTo>
                    <a:pt x="607" y="2314"/>
                  </a:lnTo>
                  <a:lnTo>
                    <a:pt x="609" y="2310"/>
                  </a:lnTo>
                  <a:lnTo>
                    <a:pt x="611" y="2312"/>
                  </a:lnTo>
                  <a:lnTo>
                    <a:pt x="613" y="2310"/>
                  </a:lnTo>
                  <a:lnTo>
                    <a:pt x="615" y="2305"/>
                  </a:lnTo>
                  <a:lnTo>
                    <a:pt x="619" y="2303"/>
                  </a:lnTo>
                  <a:lnTo>
                    <a:pt x="618" y="2302"/>
                  </a:lnTo>
                  <a:lnTo>
                    <a:pt x="618" y="2300"/>
                  </a:lnTo>
                  <a:lnTo>
                    <a:pt x="616" y="2301"/>
                  </a:lnTo>
                  <a:lnTo>
                    <a:pt x="613" y="2298"/>
                  </a:lnTo>
                  <a:lnTo>
                    <a:pt x="616" y="2295"/>
                  </a:lnTo>
                  <a:lnTo>
                    <a:pt x="616" y="2293"/>
                  </a:lnTo>
                  <a:lnTo>
                    <a:pt x="619" y="2289"/>
                  </a:lnTo>
                  <a:lnTo>
                    <a:pt x="616" y="2285"/>
                  </a:lnTo>
                  <a:lnTo>
                    <a:pt x="618" y="2281"/>
                  </a:lnTo>
                  <a:lnTo>
                    <a:pt x="615" y="2278"/>
                  </a:lnTo>
                  <a:lnTo>
                    <a:pt x="615" y="2276"/>
                  </a:lnTo>
                  <a:lnTo>
                    <a:pt x="613" y="2275"/>
                  </a:lnTo>
                  <a:lnTo>
                    <a:pt x="612" y="2270"/>
                  </a:lnTo>
                  <a:lnTo>
                    <a:pt x="608" y="2269"/>
                  </a:lnTo>
                  <a:lnTo>
                    <a:pt x="608" y="2267"/>
                  </a:lnTo>
                  <a:lnTo>
                    <a:pt x="608" y="2265"/>
                  </a:lnTo>
                  <a:lnTo>
                    <a:pt x="615" y="2258"/>
                  </a:lnTo>
                  <a:lnTo>
                    <a:pt x="615" y="2253"/>
                  </a:lnTo>
                  <a:lnTo>
                    <a:pt x="618" y="2251"/>
                  </a:lnTo>
                  <a:lnTo>
                    <a:pt x="618" y="2248"/>
                  </a:lnTo>
                  <a:lnTo>
                    <a:pt x="616" y="2245"/>
                  </a:lnTo>
                  <a:lnTo>
                    <a:pt x="618" y="2240"/>
                  </a:lnTo>
                  <a:lnTo>
                    <a:pt x="623" y="2235"/>
                  </a:lnTo>
                  <a:lnTo>
                    <a:pt x="621" y="2231"/>
                  </a:lnTo>
                  <a:lnTo>
                    <a:pt x="622" y="2225"/>
                  </a:lnTo>
                  <a:lnTo>
                    <a:pt x="618" y="2222"/>
                  </a:lnTo>
                  <a:lnTo>
                    <a:pt x="621" y="2219"/>
                  </a:lnTo>
                  <a:lnTo>
                    <a:pt x="626" y="2218"/>
                  </a:lnTo>
                  <a:lnTo>
                    <a:pt x="626" y="2214"/>
                  </a:lnTo>
                  <a:lnTo>
                    <a:pt x="629" y="2213"/>
                  </a:lnTo>
                  <a:lnTo>
                    <a:pt x="636" y="2213"/>
                  </a:lnTo>
                  <a:lnTo>
                    <a:pt x="638" y="2211"/>
                  </a:lnTo>
                  <a:lnTo>
                    <a:pt x="638" y="2208"/>
                  </a:lnTo>
                  <a:lnTo>
                    <a:pt x="637" y="2207"/>
                  </a:lnTo>
                  <a:lnTo>
                    <a:pt x="633" y="2206"/>
                  </a:lnTo>
                  <a:lnTo>
                    <a:pt x="632" y="2205"/>
                  </a:lnTo>
                  <a:lnTo>
                    <a:pt x="630" y="2205"/>
                  </a:lnTo>
                  <a:lnTo>
                    <a:pt x="632" y="2202"/>
                  </a:lnTo>
                  <a:lnTo>
                    <a:pt x="633" y="2202"/>
                  </a:lnTo>
                  <a:lnTo>
                    <a:pt x="634" y="2199"/>
                  </a:lnTo>
                  <a:lnTo>
                    <a:pt x="634" y="2194"/>
                  </a:lnTo>
                  <a:lnTo>
                    <a:pt x="629" y="2195"/>
                  </a:lnTo>
                  <a:lnTo>
                    <a:pt x="625" y="2194"/>
                  </a:lnTo>
                  <a:lnTo>
                    <a:pt x="626" y="2188"/>
                  </a:lnTo>
                  <a:lnTo>
                    <a:pt x="627" y="2186"/>
                  </a:lnTo>
                  <a:lnTo>
                    <a:pt x="622" y="2180"/>
                  </a:lnTo>
                  <a:lnTo>
                    <a:pt x="621" y="2169"/>
                  </a:lnTo>
                  <a:lnTo>
                    <a:pt x="615" y="2169"/>
                  </a:lnTo>
                  <a:lnTo>
                    <a:pt x="609" y="2177"/>
                  </a:lnTo>
                  <a:lnTo>
                    <a:pt x="599" y="2181"/>
                  </a:lnTo>
                  <a:lnTo>
                    <a:pt x="596" y="2181"/>
                  </a:lnTo>
                  <a:lnTo>
                    <a:pt x="594" y="2178"/>
                  </a:lnTo>
                  <a:lnTo>
                    <a:pt x="587" y="2177"/>
                  </a:lnTo>
                  <a:lnTo>
                    <a:pt x="587" y="2174"/>
                  </a:lnTo>
                  <a:lnTo>
                    <a:pt x="593" y="2173"/>
                  </a:lnTo>
                  <a:lnTo>
                    <a:pt x="594" y="2171"/>
                  </a:lnTo>
                  <a:lnTo>
                    <a:pt x="597" y="2169"/>
                  </a:lnTo>
                  <a:lnTo>
                    <a:pt x="597" y="2165"/>
                  </a:lnTo>
                  <a:lnTo>
                    <a:pt x="598" y="2165"/>
                  </a:lnTo>
                  <a:lnTo>
                    <a:pt x="601" y="2165"/>
                  </a:lnTo>
                  <a:lnTo>
                    <a:pt x="604" y="2165"/>
                  </a:lnTo>
                  <a:lnTo>
                    <a:pt x="604" y="2161"/>
                  </a:lnTo>
                  <a:lnTo>
                    <a:pt x="601" y="2161"/>
                  </a:lnTo>
                  <a:lnTo>
                    <a:pt x="604" y="2157"/>
                  </a:lnTo>
                  <a:lnTo>
                    <a:pt x="602" y="2155"/>
                  </a:lnTo>
                  <a:lnTo>
                    <a:pt x="607" y="2152"/>
                  </a:lnTo>
                  <a:lnTo>
                    <a:pt x="608" y="2149"/>
                  </a:lnTo>
                  <a:lnTo>
                    <a:pt x="609" y="2151"/>
                  </a:lnTo>
                  <a:lnTo>
                    <a:pt x="611" y="2149"/>
                  </a:lnTo>
                  <a:lnTo>
                    <a:pt x="613" y="2146"/>
                  </a:lnTo>
                  <a:lnTo>
                    <a:pt x="618" y="2145"/>
                  </a:lnTo>
                  <a:lnTo>
                    <a:pt x="618" y="2141"/>
                  </a:lnTo>
                  <a:lnTo>
                    <a:pt x="621" y="2140"/>
                  </a:lnTo>
                  <a:lnTo>
                    <a:pt x="616" y="2136"/>
                  </a:lnTo>
                  <a:lnTo>
                    <a:pt x="616" y="2129"/>
                  </a:lnTo>
                  <a:lnTo>
                    <a:pt x="618" y="2126"/>
                  </a:lnTo>
                  <a:lnTo>
                    <a:pt x="625" y="2123"/>
                  </a:lnTo>
                  <a:lnTo>
                    <a:pt x="630" y="2116"/>
                  </a:lnTo>
                  <a:lnTo>
                    <a:pt x="632" y="2112"/>
                  </a:lnTo>
                  <a:lnTo>
                    <a:pt x="629" y="2112"/>
                  </a:lnTo>
                  <a:lnTo>
                    <a:pt x="622" y="2112"/>
                  </a:lnTo>
                  <a:lnTo>
                    <a:pt x="619" y="2108"/>
                  </a:lnTo>
                  <a:lnTo>
                    <a:pt x="615" y="2108"/>
                  </a:lnTo>
                  <a:lnTo>
                    <a:pt x="616" y="2103"/>
                  </a:lnTo>
                  <a:lnTo>
                    <a:pt x="622" y="2098"/>
                  </a:lnTo>
                  <a:lnTo>
                    <a:pt x="622" y="2096"/>
                  </a:lnTo>
                  <a:lnTo>
                    <a:pt x="623" y="2096"/>
                  </a:lnTo>
                  <a:lnTo>
                    <a:pt x="627" y="2094"/>
                  </a:lnTo>
                  <a:lnTo>
                    <a:pt x="630" y="2093"/>
                  </a:lnTo>
                  <a:lnTo>
                    <a:pt x="630" y="2089"/>
                  </a:lnTo>
                  <a:lnTo>
                    <a:pt x="634" y="2086"/>
                  </a:lnTo>
                  <a:lnTo>
                    <a:pt x="634" y="2084"/>
                  </a:lnTo>
                  <a:lnTo>
                    <a:pt x="633" y="2082"/>
                  </a:lnTo>
                  <a:lnTo>
                    <a:pt x="629" y="2082"/>
                  </a:lnTo>
                  <a:lnTo>
                    <a:pt x="625" y="2076"/>
                  </a:lnTo>
                  <a:lnTo>
                    <a:pt x="622" y="2076"/>
                  </a:lnTo>
                  <a:lnTo>
                    <a:pt x="622" y="2074"/>
                  </a:lnTo>
                  <a:lnTo>
                    <a:pt x="621" y="2071"/>
                  </a:lnTo>
                  <a:lnTo>
                    <a:pt x="619" y="2071"/>
                  </a:lnTo>
                  <a:lnTo>
                    <a:pt x="618" y="2070"/>
                  </a:lnTo>
                  <a:lnTo>
                    <a:pt x="619" y="2068"/>
                  </a:lnTo>
                  <a:lnTo>
                    <a:pt x="621" y="2069"/>
                  </a:lnTo>
                  <a:lnTo>
                    <a:pt x="622" y="2069"/>
                  </a:lnTo>
                  <a:lnTo>
                    <a:pt x="623" y="2069"/>
                  </a:lnTo>
                  <a:lnTo>
                    <a:pt x="625" y="2065"/>
                  </a:lnTo>
                  <a:lnTo>
                    <a:pt x="623" y="2064"/>
                  </a:lnTo>
                  <a:lnTo>
                    <a:pt x="623" y="2061"/>
                  </a:lnTo>
                  <a:lnTo>
                    <a:pt x="621" y="2062"/>
                  </a:lnTo>
                  <a:lnTo>
                    <a:pt x="619" y="2062"/>
                  </a:lnTo>
                  <a:lnTo>
                    <a:pt x="621" y="2059"/>
                  </a:lnTo>
                  <a:lnTo>
                    <a:pt x="619" y="2053"/>
                  </a:lnTo>
                  <a:lnTo>
                    <a:pt x="615" y="2052"/>
                  </a:lnTo>
                  <a:lnTo>
                    <a:pt x="613" y="2049"/>
                  </a:lnTo>
                  <a:lnTo>
                    <a:pt x="613" y="2045"/>
                  </a:lnTo>
                  <a:lnTo>
                    <a:pt x="616" y="2044"/>
                  </a:lnTo>
                  <a:lnTo>
                    <a:pt x="618" y="2042"/>
                  </a:lnTo>
                  <a:lnTo>
                    <a:pt x="615" y="2033"/>
                  </a:lnTo>
                  <a:lnTo>
                    <a:pt x="609" y="2031"/>
                  </a:lnTo>
                  <a:lnTo>
                    <a:pt x="605" y="2032"/>
                  </a:lnTo>
                  <a:lnTo>
                    <a:pt x="601" y="2029"/>
                  </a:lnTo>
                  <a:lnTo>
                    <a:pt x="598" y="2031"/>
                  </a:lnTo>
                  <a:lnTo>
                    <a:pt x="598" y="2032"/>
                  </a:lnTo>
                  <a:lnTo>
                    <a:pt x="598" y="2033"/>
                  </a:lnTo>
                  <a:lnTo>
                    <a:pt x="591" y="2034"/>
                  </a:lnTo>
                  <a:lnTo>
                    <a:pt x="586" y="2033"/>
                  </a:lnTo>
                  <a:lnTo>
                    <a:pt x="584" y="2027"/>
                  </a:lnTo>
                  <a:lnTo>
                    <a:pt x="586" y="2026"/>
                  </a:lnTo>
                  <a:lnTo>
                    <a:pt x="584" y="2023"/>
                  </a:lnTo>
                  <a:lnTo>
                    <a:pt x="583" y="2016"/>
                  </a:lnTo>
                  <a:lnTo>
                    <a:pt x="586" y="2014"/>
                  </a:lnTo>
                  <a:lnTo>
                    <a:pt x="586" y="2011"/>
                  </a:lnTo>
                  <a:lnTo>
                    <a:pt x="582" y="2004"/>
                  </a:lnTo>
                  <a:lnTo>
                    <a:pt x="583" y="2000"/>
                  </a:lnTo>
                  <a:lnTo>
                    <a:pt x="580" y="2000"/>
                  </a:lnTo>
                  <a:lnTo>
                    <a:pt x="580" y="1996"/>
                  </a:lnTo>
                  <a:lnTo>
                    <a:pt x="577" y="1994"/>
                  </a:lnTo>
                  <a:lnTo>
                    <a:pt x="574" y="1996"/>
                  </a:lnTo>
                  <a:lnTo>
                    <a:pt x="573" y="1996"/>
                  </a:lnTo>
                  <a:lnTo>
                    <a:pt x="572" y="1994"/>
                  </a:lnTo>
                  <a:lnTo>
                    <a:pt x="568" y="1994"/>
                  </a:lnTo>
                  <a:lnTo>
                    <a:pt x="565" y="1990"/>
                  </a:lnTo>
                  <a:lnTo>
                    <a:pt x="565" y="1989"/>
                  </a:lnTo>
                  <a:lnTo>
                    <a:pt x="566" y="1984"/>
                  </a:lnTo>
                  <a:lnTo>
                    <a:pt x="563" y="1982"/>
                  </a:lnTo>
                  <a:lnTo>
                    <a:pt x="563" y="1978"/>
                  </a:lnTo>
                  <a:lnTo>
                    <a:pt x="568" y="1975"/>
                  </a:lnTo>
                  <a:lnTo>
                    <a:pt x="566" y="1973"/>
                  </a:lnTo>
                  <a:lnTo>
                    <a:pt x="566" y="1971"/>
                  </a:lnTo>
                  <a:lnTo>
                    <a:pt x="569" y="1970"/>
                  </a:lnTo>
                  <a:lnTo>
                    <a:pt x="569" y="1969"/>
                  </a:lnTo>
                  <a:lnTo>
                    <a:pt x="569" y="1967"/>
                  </a:lnTo>
                  <a:lnTo>
                    <a:pt x="562" y="1965"/>
                  </a:lnTo>
                  <a:lnTo>
                    <a:pt x="559" y="1962"/>
                  </a:lnTo>
                  <a:lnTo>
                    <a:pt x="549" y="1962"/>
                  </a:lnTo>
                  <a:lnTo>
                    <a:pt x="547" y="1959"/>
                  </a:lnTo>
                  <a:lnTo>
                    <a:pt x="548" y="1955"/>
                  </a:lnTo>
                  <a:lnTo>
                    <a:pt x="552" y="1946"/>
                  </a:lnTo>
                  <a:lnTo>
                    <a:pt x="551" y="1944"/>
                  </a:lnTo>
                  <a:lnTo>
                    <a:pt x="552" y="1941"/>
                  </a:lnTo>
                  <a:lnTo>
                    <a:pt x="549" y="1939"/>
                  </a:lnTo>
                  <a:lnTo>
                    <a:pt x="548" y="1933"/>
                  </a:lnTo>
                  <a:lnTo>
                    <a:pt x="548" y="1929"/>
                  </a:lnTo>
                  <a:lnTo>
                    <a:pt x="549" y="1928"/>
                  </a:lnTo>
                  <a:lnTo>
                    <a:pt x="552" y="1925"/>
                  </a:lnTo>
                  <a:lnTo>
                    <a:pt x="558" y="1925"/>
                  </a:lnTo>
                  <a:lnTo>
                    <a:pt x="561" y="1928"/>
                  </a:lnTo>
                  <a:lnTo>
                    <a:pt x="562" y="1933"/>
                  </a:lnTo>
                  <a:lnTo>
                    <a:pt x="569" y="1933"/>
                  </a:lnTo>
                  <a:lnTo>
                    <a:pt x="571" y="1932"/>
                  </a:lnTo>
                  <a:lnTo>
                    <a:pt x="572" y="1928"/>
                  </a:lnTo>
                  <a:lnTo>
                    <a:pt x="574" y="1927"/>
                  </a:lnTo>
                  <a:lnTo>
                    <a:pt x="574" y="1925"/>
                  </a:lnTo>
                  <a:lnTo>
                    <a:pt x="569" y="1923"/>
                  </a:lnTo>
                  <a:lnTo>
                    <a:pt x="572" y="1917"/>
                  </a:lnTo>
                  <a:lnTo>
                    <a:pt x="573" y="1917"/>
                  </a:lnTo>
                  <a:lnTo>
                    <a:pt x="576" y="1919"/>
                  </a:lnTo>
                  <a:lnTo>
                    <a:pt x="583" y="1921"/>
                  </a:lnTo>
                  <a:lnTo>
                    <a:pt x="587" y="1920"/>
                  </a:lnTo>
                  <a:lnTo>
                    <a:pt x="594" y="1915"/>
                  </a:lnTo>
                  <a:lnTo>
                    <a:pt x="596" y="1905"/>
                  </a:lnTo>
                  <a:lnTo>
                    <a:pt x="594" y="1904"/>
                  </a:lnTo>
                  <a:lnTo>
                    <a:pt x="591" y="1904"/>
                  </a:lnTo>
                  <a:lnTo>
                    <a:pt x="584" y="1905"/>
                  </a:lnTo>
                  <a:lnTo>
                    <a:pt x="577" y="1907"/>
                  </a:lnTo>
                  <a:lnTo>
                    <a:pt x="572" y="1903"/>
                  </a:lnTo>
                  <a:lnTo>
                    <a:pt x="572" y="1900"/>
                  </a:lnTo>
                  <a:lnTo>
                    <a:pt x="574" y="1900"/>
                  </a:lnTo>
                  <a:lnTo>
                    <a:pt x="574" y="1899"/>
                  </a:lnTo>
                  <a:lnTo>
                    <a:pt x="571" y="1896"/>
                  </a:lnTo>
                  <a:lnTo>
                    <a:pt x="572" y="1888"/>
                  </a:lnTo>
                  <a:lnTo>
                    <a:pt x="568" y="1884"/>
                  </a:lnTo>
                  <a:lnTo>
                    <a:pt x="566" y="1879"/>
                  </a:lnTo>
                  <a:lnTo>
                    <a:pt x="568" y="1874"/>
                  </a:lnTo>
                  <a:lnTo>
                    <a:pt x="572" y="1870"/>
                  </a:lnTo>
                  <a:lnTo>
                    <a:pt x="571" y="1866"/>
                  </a:lnTo>
                  <a:lnTo>
                    <a:pt x="571" y="1862"/>
                  </a:lnTo>
                  <a:lnTo>
                    <a:pt x="574" y="1862"/>
                  </a:lnTo>
                  <a:lnTo>
                    <a:pt x="576" y="1858"/>
                  </a:lnTo>
                  <a:lnTo>
                    <a:pt x="571" y="1853"/>
                  </a:lnTo>
                  <a:lnTo>
                    <a:pt x="568" y="1846"/>
                  </a:lnTo>
                  <a:lnTo>
                    <a:pt x="565" y="1843"/>
                  </a:lnTo>
                  <a:lnTo>
                    <a:pt x="563" y="1840"/>
                  </a:lnTo>
                  <a:lnTo>
                    <a:pt x="561" y="1840"/>
                  </a:lnTo>
                  <a:lnTo>
                    <a:pt x="557" y="1840"/>
                  </a:lnTo>
                  <a:lnTo>
                    <a:pt x="552" y="1840"/>
                  </a:lnTo>
                  <a:lnTo>
                    <a:pt x="549" y="1836"/>
                  </a:lnTo>
                  <a:lnTo>
                    <a:pt x="548" y="1833"/>
                  </a:lnTo>
                  <a:lnTo>
                    <a:pt x="551" y="1830"/>
                  </a:lnTo>
                  <a:lnTo>
                    <a:pt x="554" y="1824"/>
                  </a:lnTo>
                  <a:lnTo>
                    <a:pt x="551" y="1820"/>
                  </a:lnTo>
                  <a:lnTo>
                    <a:pt x="551" y="1812"/>
                  </a:lnTo>
                  <a:lnTo>
                    <a:pt x="555" y="1808"/>
                  </a:lnTo>
                  <a:lnTo>
                    <a:pt x="555" y="1807"/>
                  </a:lnTo>
                  <a:lnTo>
                    <a:pt x="551" y="1807"/>
                  </a:lnTo>
                  <a:lnTo>
                    <a:pt x="551" y="1804"/>
                  </a:lnTo>
                  <a:lnTo>
                    <a:pt x="554" y="1801"/>
                  </a:lnTo>
                  <a:lnTo>
                    <a:pt x="549" y="1795"/>
                  </a:lnTo>
                  <a:lnTo>
                    <a:pt x="554" y="1791"/>
                  </a:lnTo>
                  <a:lnTo>
                    <a:pt x="552" y="1790"/>
                  </a:lnTo>
                  <a:lnTo>
                    <a:pt x="548" y="1790"/>
                  </a:lnTo>
                  <a:lnTo>
                    <a:pt x="546" y="1791"/>
                  </a:lnTo>
                  <a:lnTo>
                    <a:pt x="543" y="1791"/>
                  </a:lnTo>
                  <a:lnTo>
                    <a:pt x="540" y="1790"/>
                  </a:lnTo>
                  <a:lnTo>
                    <a:pt x="533" y="1787"/>
                  </a:lnTo>
                  <a:lnTo>
                    <a:pt x="533" y="1783"/>
                  </a:lnTo>
                  <a:lnTo>
                    <a:pt x="533" y="1780"/>
                  </a:lnTo>
                  <a:lnTo>
                    <a:pt x="536" y="1776"/>
                  </a:lnTo>
                  <a:lnTo>
                    <a:pt x="540" y="1774"/>
                  </a:lnTo>
                  <a:lnTo>
                    <a:pt x="540" y="1771"/>
                  </a:lnTo>
                  <a:lnTo>
                    <a:pt x="537" y="1768"/>
                  </a:lnTo>
                  <a:lnTo>
                    <a:pt x="536" y="1765"/>
                  </a:lnTo>
                  <a:lnTo>
                    <a:pt x="524" y="1762"/>
                  </a:lnTo>
                  <a:lnTo>
                    <a:pt x="521" y="1761"/>
                  </a:lnTo>
                  <a:lnTo>
                    <a:pt x="515" y="1754"/>
                  </a:lnTo>
                  <a:lnTo>
                    <a:pt x="516" y="1749"/>
                  </a:lnTo>
                  <a:lnTo>
                    <a:pt x="515" y="1745"/>
                  </a:lnTo>
                  <a:lnTo>
                    <a:pt x="515" y="1741"/>
                  </a:lnTo>
                  <a:lnTo>
                    <a:pt x="496" y="1733"/>
                  </a:lnTo>
                  <a:lnTo>
                    <a:pt x="493" y="1731"/>
                  </a:lnTo>
                  <a:lnTo>
                    <a:pt x="491" y="1728"/>
                  </a:lnTo>
                  <a:lnTo>
                    <a:pt x="497" y="1722"/>
                  </a:lnTo>
                  <a:lnTo>
                    <a:pt x="498" y="1718"/>
                  </a:lnTo>
                  <a:lnTo>
                    <a:pt x="493" y="1709"/>
                  </a:lnTo>
                  <a:lnTo>
                    <a:pt x="490" y="1708"/>
                  </a:lnTo>
                  <a:lnTo>
                    <a:pt x="484" y="1711"/>
                  </a:lnTo>
                  <a:lnTo>
                    <a:pt x="480" y="1709"/>
                  </a:lnTo>
                  <a:lnTo>
                    <a:pt x="474" y="1712"/>
                  </a:lnTo>
                  <a:lnTo>
                    <a:pt x="469" y="1716"/>
                  </a:lnTo>
                  <a:lnTo>
                    <a:pt x="465" y="1713"/>
                  </a:lnTo>
                  <a:lnTo>
                    <a:pt x="463" y="1709"/>
                  </a:lnTo>
                  <a:lnTo>
                    <a:pt x="465" y="1704"/>
                  </a:lnTo>
                  <a:lnTo>
                    <a:pt x="462" y="1701"/>
                  </a:lnTo>
                  <a:lnTo>
                    <a:pt x="462" y="1697"/>
                  </a:lnTo>
                  <a:lnTo>
                    <a:pt x="463" y="1693"/>
                  </a:lnTo>
                  <a:lnTo>
                    <a:pt x="452" y="1688"/>
                  </a:lnTo>
                  <a:lnTo>
                    <a:pt x="451" y="1684"/>
                  </a:lnTo>
                  <a:lnTo>
                    <a:pt x="449" y="1683"/>
                  </a:lnTo>
                  <a:lnTo>
                    <a:pt x="449" y="1678"/>
                  </a:lnTo>
                  <a:lnTo>
                    <a:pt x="447" y="1674"/>
                  </a:lnTo>
                  <a:lnTo>
                    <a:pt x="444" y="1671"/>
                  </a:lnTo>
                  <a:lnTo>
                    <a:pt x="438" y="1669"/>
                  </a:lnTo>
                  <a:lnTo>
                    <a:pt x="431" y="1664"/>
                  </a:lnTo>
                  <a:lnTo>
                    <a:pt x="427" y="1664"/>
                  </a:lnTo>
                  <a:lnTo>
                    <a:pt x="424" y="1661"/>
                  </a:lnTo>
                  <a:lnTo>
                    <a:pt x="424" y="1658"/>
                  </a:lnTo>
                  <a:lnTo>
                    <a:pt x="427" y="1655"/>
                  </a:lnTo>
                  <a:lnTo>
                    <a:pt x="426" y="1652"/>
                  </a:lnTo>
                  <a:lnTo>
                    <a:pt x="427" y="1646"/>
                  </a:lnTo>
                  <a:lnTo>
                    <a:pt x="429" y="1644"/>
                  </a:lnTo>
                  <a:lnTo>
                    <a:pt x="431" y="1643"/>
                  </a:lnTo>
                  <a:lnTo>
                    <a:pt x="429" y="1639"/>
                  </a:lnTo>
                  <a:lnTo>
                    <a:pt x="427" y="1633"/>
                  </a:lnTo>
                  <a:lnTo>
                    <a:pt x="424" y="1630"/>
                  </a:lnTo>
                  <a:lnTo>
                    <a:pt x="422" y="1626"/>
                  </a:lnTo>
                  <a:lnTo>
                    <a:pt x="420" y="1625"/>
                  </a:lnTo>
                  <a:lnTo>
                    <a:pt x="423" y="1618"/>
                  </a:lnTo>
                  <a:lnTo>
                    <a:pt x="423" y="1616"/>
                  </a:lnTo>
                  <a:lnTo>
                    <a:pt x="419" y="1614"/>
                  </a:lnTo>
                  <a:lnTo>
                    <a:pt x="417" y="1613"/>
                  </a:lnTo>
                  <a:lnTo>
                    <a:pt x="416" y="1607"/>
                  </a:lnTo>
                  <a:lnTo>
                    <a:pt x="419" y="1604"/>
                  </a:lnTo>
                  <a:lnTo>
                    <a:pt x="419" y="1602"/>
                  </a:lnTo>
                  <a:lnTo>
                    <a:pt x="417" y="1600"/>
                  </a:lnTo>
                  <a:lnTo>
                    <a:pt x="412" y="1599"/>
                  </a:lnTo>
                  <a:lnTo>
                    <a:pt x="406" y="1592"/>
                  </a:lnTo>
                  <a:lnTo>
                    <a:pt x="402" y="1581"/>
                  </a:lnTo>
                  <a:lnTo>
                    <a:pt x="392" y="1576"/>
                  </a:lnTo>
                  <a:lnTo>
                    <a:pt x="389" y="1571"/>
                  </a:lnTo>
                  <a:lnTo>
                    <a:pt x="391" y="1567"/>
                  </a:lnTo>
                  <a:lnTo>
                    <a:pt x="394" y="1563"/>
                  </a:lnTo>
                  <a:lnTo>
                    <a:pt x="391" y="1555"/>
                  </a:lnTo>
                  <a:lnTo>
                    <a:pt x="388" y="1555"/>
                  </a:lnTo>
                  <a:lnTo>
                    <a:pt x="387" y="1555"/>
                  </a:lnTo>
                  <a:lnTo>
                    <a:pt x="377" y="1562"/>
                  </a:lnTo>
                  <a:lnTo>
                    <a:pt x="373" y="1563"/>
                  </a:lnTo>
                  <a:lnTo>
                    <a:pt x="356" y="1559"/>
                  </a:lnTo>
                  <a:lnTo>
                    <a:pt x="351" y="1548"/>
                  </a:lnTo>
                  <a:lnTo>
                    <a:pt x="338" y="1540"/>
                  </a:lnTo>
                  <a:lnTo>
                    <a:pt x="337" y="1537"/>
                  </a:lnTo>
                  <a:lnTo>
                    <a:pt x="338" y="1531"/>
                  </a:lnTo>
                  <a:lnTo>
                    <a:pt x="330" y="1518"/>
                  </a:lnTo>
                  <a:lnTo>
                    <a:pt x="312" y="1510"/>
                  </a:lnTo>
                  <a:lnTo>
                    <a:pt x="302" y="1500"/>
                  </a:lnTo>
                  <a:lnTo>
                    <a:pt x="294" y="1500"/>
                  </a:lnTo>
                  <a:lnTo>
                    <a:pt x="277" y="1487"/>
                  </a:lnTo>
                  <a:lnTo>
                    <a:pt x="274" y="1481"/>
                  </a:lnTo>
                  <a:lnTo>
                    <a:pt x="274" y="1478"/>
                  </a:lnTo>
                  <a:lnTo>
                    <a:pt x="277" y="1473"/>
                  </a:lnTo>
                  <a:lnTo>
                    <a:pt x="274" y="1469"/>
                  </a:lnTo>
                  <a:lnTo>
                    <a:pt x="272" y="1465"/>
                  </a:lnTo>
                  <a:lnTo>
                    <a:pt x="263" y="1468"/>
                  </a:lnTo>
                  <a:lnTo>
                    <a:pt x="261" y="1464"/>
                  </a:lnTo>
                  <a:lnTo>
                    <a:pt x="261" y="1456"/>
                  </a:lnTo>
                  <a:lnTo>
                    <a:pt x="266" y="1451"/>
                  </a:lnTo>
                  <a:lnTo>
                    <a:pt x="269" y="1447"/>
                  </a:lnTo>
                  <a:lnTo>
                    <a:pt x="264" y="1443"/>
                  </a:lnTo>
                  <a:lnTo>
                    <a:pt x="252" y="1439"/>
                  </a:lnTo>
                  <a:lnTo>
                    <a:pt x="248" y="1438"/>
                  </a:lnTo>
                  <a:lnTo>
                    <a:pt x="247" y="1435"/>
                  </a:lnTo>
                  <a:lnTo>
                    <a:pt x="241" y="1428"/>
                  </a:lnTo>
                  <a:lnTo>
                    <a:pt x="241" y="1426"/>
                  </a:lnTo>
                  <a:lnTo>
                    <a:pt x="237" y="1417"/>
                  </a:lnTo>
                  <a:lnTo>
                    <a:pt x="238" y="1413"/>
                  </a:lnTo>
                  <a:lnTo>
                    <a:pt x="237" y="1409"/>
                  </a:lnTo>
                  <a:lnTo>
                    <a:pt x="231" y="1406"/>
                  </a:lnTo>
                  <a:lnTo>
                    <a:pt x="219" y="1406"/>
                  </a:lnTo>
                  <a:lnTo>
                    <a:pt x="209" y="1405"/>
                  </a:lnTo>
                  <a:lnTo>
                    <a:pt x="203" y="1398"/>
                  </a:lnTo>
                  <a:lnTo>
                    <a:pt x="197" y="1393"/>
                  </a:lnTo>
                  <a:lnTo>
                    <a:pt x="189" y="1390"/>
                  </a:lnTo>
                  <a:lnTo>
                    <a:pt x="183" y="1385"/>
                  </a:lnTo>
                  <a:lnTo>
                    <a:pt x="174" y="1381"/>
                  </a:lnTo>
                  <a:lnTo>
                    <a:pt x="163" y="1378"/>
                  </a:lnTo>
                  <a:lnTo>
                    <a:pt x="159" y="1368"/>
                  </a:lnTo>
                  <a:lnTo>
                    <a:pt x="142" y="1370"/>
                  </a:lnTo>
                  <a:lnTo>
                    <a:pt x="137" y="1375"/>
                  </a:lnTo>
                  <a:lnTo>
                    <a:pt x="134" y="1375"/>
                  </a:lnTo>
                  <a:lnTo>
                    <a:pt x="131" y="1368"/>
                  </a:lnTo>
                  <a:lnTo>
                    <a:pt x="129" y="1357"/>
                  </a:lnTo>
                  <a:lnTo>
                    <a:pt x="125" y="1351"/>
                  </a:lnTo>
                  <a:lnTo>
                    <a:pt x="125" y="1348"/>
                  </a:lnTo>
                  <a:lnTo>
                    <a:pt x="123" y="1344"/>
                  </a:lnTo>
                  <a:lnTo>
                    <a:pt x="120" y="1341"/>
                  </a:lnTo>
                  <a:lnTo>
                    <a:pt x="118" y="1339"/>
                  </a:lnTo>
                  <a:lnTo>
                    <a:pt x="117" y="1339"/>
                  </a:lnTo>
                  <a:lnTo>
                    <a:pt x="117" y="1340"/>
                  </a:lnTo>
                  <a:lnTo>
                    <a:pt x="114" y="1339"/>
                  </a:lnTo>
                  <a:lnTo>
                    <a:pt x="114" y="1332"/>
                  </a:lnTo>
                  <a:lnTo>
                    <a:pt x="112" y="1331"/>
                  </a:lnTo>
                  <a:lnTo>
                    <a:pt x="110" y="1327"/>
                  </a:lnTo>
                  <a:lnTo>
                    <a:pt x="107" y="1323"/>
                  </a:lnTo>
                  <a:lnTo>
                    <a:pt x="107" y="1318"/>
                  </a:lnTo>
                  <a:lnTo>
                    <a:pt x="104" y="1316"/>
                  </a:lnTo>
                  <a:lnTo>
                    <a:pt x="104" y="1313"/>
                  </a:lnTo>
                  <a:lnTo>
                    <a:pt x="100" y="1313"/>
                  </a:lnTo>
                  <a:lnTo>
                    <a:pt x="102" y="1310"/>
                  </a:lnTo>
                  <a:lnTo>
                    <a:pt x="100" y="1310"/>
                  </a:lnTo>
                  <a:lnTo>
                    <a:pt x="98" y="1310"/>
                  </a:lnTo>
                  <a:lnTo>
                    <a:pt x="96" y="1304"/>
                  </a:lnTo>
                  <a:lnTo>
                    <a:pt x="98" y="1297"/>
                  </a:lnTo>
                  <a:lnTo>
                    <a:pt x="92" y="1293"/>
                  </a:lnTo>
                  <a:lnTo>
                    <a:pt x="85" y="1288"/>
                  </a:lnTo>
                  <a:lnTo>
                    <a:pt x="89" y="1285"/>
                  </a:lnTo>
                  <a:lnTo>
                    <a:pt x="88" y="1281"/>
                  </a:lnTo>
                  <a:lnTo>
                    <a:pt x="91" y="1274"/>
                  </a:lnTo>
                  <a:lnTo>
                    <a:pt x="96" y="1274"/>
                  </a:lnTo>
                  <a:lnTo>
                    <a:pt x="93" y="1269"/>
                  </a:lnTo>
                  <a:lnTo>
                    <a:pt x="99" y="1265"/>
                  </a:lnTo>
                  <a:lnTo>
                    <a:pt x="98" y="1260"/>
                  </a:lnTo>
                  <a:lnTo>
                    <a:pt x="102" y="1256"/>
                  </a:lnTo>
                  <a:lnTo>
                    <a:pt x="100" y="1248"/>
                  </a:lnTo>
                  <a:lnTo>
                    <a:pt x="104" y="1245"/>
                  </a:lnTo>
                  <a:lnTo>
                    <a:pt x="106" y="1241"/>
                  </a:lnTo>
                  <a:lnTo>
                    <a:pt x="104" y="1237"/>
                  </a:lnTo>
                  <a:lnTo>
                    <a:pt x="109" y="1229"/>
                  </a:lnTo>
                  <a:lnTo>
                    <a:pt x="110" y="1224"/>
                  </a:lnTo>
                  <a:lnTo>
                    <a:pt x="113" y="1222"/>
                  </a:lnTo>
                  <a:lnTo>
                    <a:pt x="114" y="1212"/>
                  </a:lnTo>
                  <a:lnTo>
                    <a:pt x="117" y="1207"/>
                  </a:lnTo>
                  <a:lnTo>
                    <a:pt x="116" y="1203"/>
                  </a:lnTo>
                  <a:lnTo>
                    <a:pt x="118" y="1202"/>
                  </a:lnTo>
                  <a:lnTo>
                    <a:pt x="117" y="1199"/>
                  </a:lnTo>
                  <a:lnTo>
                    <a:pt x="121" y="1197"/>
                  </a:lnTo>
                  <a:lnTo>
                    <a:pt x="117" y="1192"/>
                  </a:lnTo>
                  <a:lnTo>
                    <a:pt x="117" y="1189"/>
                  </a:lnTo>
                  <a:lnTo>
                    <a:pt x="117" y="1187"/>
                  </a:lnTo>
                  <a:lnTo>
                    <a:pt x="123" y="1179"/>
                  </a:lnTo>
                  <a:lnTo>
                    <a:pt x="121" y="1177"/>
                  </a:lnTo>
                  <a:lnTo>
                    <a:pt x="116" y="1170"/>
                  </a:lnTo>
                  <a:lnTo>
                    <a:pt x="120" y="1166"/>
                  </a:lnTo>
                  <a:lnTo>
                    <a:pt x="120" y="1162"/>
                  </a:lnTo>
                  <a:lnTo>
                    <a:pt x="125" y="1154"/>
                  </a:lnTo>
                  <a:lnTo>
                    <a:pt x="124" y="1153"/>
                  </a:lnTo>
                  <a:lnTo>
                    <a:pt x="127" y="1150"/>
                  </a:lnTo>
                  <a:lnTo>
                    <a:pt x="125" y="1148"/>
                  </a:lnTo>
                  <a:lnTo>
                    <a:pt x="125" y="1147"/>
                  </a:lnTo>
                  <a:lnTo>
                    <a:pt x="129" y="1145"/>
                  </a:lnTo>
                  <a:lnTo>
                    <a:pt x="134" y="1149"/>
                  </a:lnTo>
                  <a:lnTo>
                    <a:pt x="137" y="1149"/>
                  </a:lnTo>
                  <a:lnTo>
                    <a:pt x="148" y="1141"/>
                  </a:lnTo>
                  <a:lnTo>
                    <a:pt x="152" y="1140"/>
                  </a:lnTo>
                  <a:lnTo>
                    <a:pt x="155" y="1140"/>
                  </a:lnTo>
                  <a:lnTo>
                    <a:pt x="163" y="1145"/>
                  </a:lnTo>
                  <a:lnTo>
                    <a:pt x="170" y="1145"/>
                  </a:lnTo>
                  <a:lnTo>
                    <a:pt x="174" y="1149"/>
                  </a:lnTo>
                  <a:lnTo>
                    <a:pt x="178" y="1148"/>
                  </a:lnTo>
                  <a:lnTo>
                    <a:pt x="180" y="1145"/>
                  </a:lnTo>
                  <a:lnTo>
                    <a:pt x="180" y="1144"/>
                  </a:lnTo>
                  <a:lnTo>
                    <a:pt x="173" y="1140"/>
                  </a:lnTo>
                  <a:lnTo>
                    <a:pt x="171" y="1132"/>
                  </a:lnTo>
                  <a:lnTo>
                    <a:pt x="164" y="1127"/>
                  </a:lnTo>
                  <a:lnTo>
                    <a:pt x="166" y="1123"/>
                  </a:lnTo>
                  <a:lnTo>
                    <a:pt x="162" y="1117"/>
                  </a:lnTo>
                  <a:lnTo>
                    <a:pt x="160" y="1110"/>
                  </a:lnTo>
                  <a:lnTo>
                    <a:pt x="160" y="1103"/>
                  </a:lnTo>
                  <a:lnTo>
                    <a:pt x="160" y="1098"/>
                  </a:lnTo>
                  <a:lnTo>
                    <a:pt x="157" y="1097"/>
                  </a:lnTo>
                  <a:lnTo>
                    <a:pt x="156" y="1094"/>
                  </a:lnTo>
                  <a:lnTo>
                    <a:pt x="156" y="1087"/>
                  </a:lnTo>
                  <a:lnTo>
                    <a:pt x="164" y="1073"/>
                  </a:lnTo>
                  <a:lnTo>
                    <a:pt x="164" y="1070"/>
                  </a:lnTo>
                  <a:lnTo>
                    <a:pt x="167" y="1067"/>
                  </a:lnTo>
                  <a:lnTo>
                    <a:pt x="170" y="1065"/>
                  </a:lnTo>
                  <a:lnTo>
                    <a:pt x="170" y="1063"/>
                  </a:lnTo>
                  <a:lnTo>
                    <a:pt x="167" y="1061"/>
                  </a:lnTo>
                  <a:lnTo>
                    <a:pt x="170" y="1060"/>
                  </a:lnTo>
                  <a:lnTo>
                    <a:pt x="170" y="1055"/>
                  </a:lnTo>
                  <a:lnTo>
                    <a:pt x="166" y="1049"/>
                  </a:lnTo>
                  <a:lnTo>
                    <a:pt x="156" y="1048"/>
                  </a:lnTo>
                  <a:lnTo>
                    <a:pt x="145" y="1038"/>
                  </a:lnTo>
                  <a:lnTo>
                    <a:pt x="137" y="1035"/>
                  </a:lnTo>
                  <a:lnTo>
                    <a:pt x="135" y="1032"/>
                  </a:lnTo>
                  <a:lnTo>
                    <a:pt x="137" y="1029"/>
                  </a:lnTo>
                  <a:lnTo>
                    <a:pt x="135" y="1028"/>
                  </a:lnTo>
                  <a:lnTo>
                    <a:pt x="135" y="1020"/>
                  </a:lnTo>
                  <a:lnTo>
                    <a:pt x="134" y="1018"/>
                  </a:lnTo>
                  <a:lnTo>
                    <a:pt x="134" y="1012"/>
                  </a:lnTo>
                  <a:lnTo>
                    <a:pt x="139" y="1007"/>
                  </a:lnTo>
                  <a:lnTo>
                    <a:pt x="141" y="998"/>
                  </a:lnTo>
                  <a:lnTo>
                    <a:pt x="143" y="993"/>
                  </a:lnTo>
                  <a:lnTo>
                    <a:pt x="142" y="990"/>
                  </a:lnTo>
                  <a:lnTo>
                    <a:pt x="143" y="984"/>
                  </a:lnTo>
                  <a:lnTo>
                    <a:pt x="146" y="979"/>
                  </a:lnTo>
                  <a:lnTo>
                    <a:pt x="143" y="970"/>
                  </a:lnTo>
                  <a:lnTo>
                    <a:pt x="143" y="962"/>
                  </a:lnTo>
                  <a:lnTo>
                    <a:pt x="145" y="961"/>
                  </a:lnTo>
                  <a:lnTo>
                    <a:pt x="157" y="961"/>
                  </a:lnTo>
                  <a:lnTo>
                    <a:pt x="160" y="958"/>
                  </a:lnTo>
                  <a:lnTo>
                    <a:pt x="162" y="954"/>
                  </a:lnTo>
                  <a:lnTo>
                    <a:pt x="163" y="949"/>
                  </a:lnTo>
                  <a:lnTo>
                    <a:pt x="162" y="945"/>
                  </a:lnTo>
                  <a:lnTo>
                    <a:pt x="163" y="941"/>
                  </a:lnTo>
                  <a:lnTo>
                    <a:pt x="162" y="938"/>
                  </a:lnTo>
                  <a:lnTo>
                    <a:pt x="159" y="933"/>
                  </a:lnTo>
                  <a:lnTo>
                    <a:pt x="160" y="926"/>
                  </a:lnTo>
                  <a:lnTo>
                    <a:pt x="157" y="923"/>
                  </a:lnTo>
                  <a:lnTo>
                    <a:pt x="157" y="921"/>
                  </a:lnTo>
                  <a:lnTo>
                    <a:pt x="155" y="918"/>
                  </a:lnTo>
                  <a:lnTo>
                    <a:pt x="153" y="914"/>
                  </a:lnTo>
                  <a:lnTo>
                    <a:pt x="151" y="911"/>
                  </a:lnTo>
                  <a:lnTo>
                    <a:pt x="141" y="909"/>
                  </a:lnTo>
                  <a:lnTo>
                    <a:pt x="137" y="905"/>
                  </a:lnTo>
                  <a:lnTo>
                    <a:pt x="135" y="900"/>
                  </a:lnTo>
                  <a:lnTo>
                    <a:pt x="137" y="896"/>
                  </a:lnTo>
                  <a:lnTo>
                    <a:pt x="138" y="892"/>
                  </a:lnTo>
                  <a:lnTo>
                    <a:pt x="132" y="887"/>
                  </a:lnTo>
                  <a:lnTo>
                    <a:pt x="134" y="883"/>
                  </a:lnTo>
                  <a:lnTo>
                    <a:pt x="132" y="872"/>
                  </a:lnTo>
                  <a:lnTo>
                    <a:pt x="134" y="868"/>
                  </a:lnTo>
                  <a:lnTo>
                    <a:pt x="139" y="862"/>
                  </a:lnTo>
                  <a:lnTo>
                    <a:pt x="146" y="841"/>
                  </a:lnTo>
                  <a:lnTo>
                    <a:pt x="104" y="824"/>
                  </a:lnTo>
                  <a:lnTo>
                    <a:pt x="75" y="799"/>
                  </a:lnTo>
                  <a:lnTo>
                    <a:pt x="70" y="789"/>
                  </a:lnTo>
                  <a:lnTo>
                    <a:pt x="28" y="726"/>
                  </a:lnTo>
                  <a:lnTo>
                    <a:pt x="6" y="671"/>
                  </a:lnTo>
                  <a:lnTo>
                    <a:pt x="7" y="663"/>
                  </a:lnTo>
                  <a:lnTo>
                    <a:pt x="24" y="631"/>
                  </a:lnTo>
                  <a:lnTo>
                    <a:pt x="7" y="597"/>
                  </a:lnTo>
                  <a:lnTo>
                    <a:pt x="0" y="586"/>
                  </a:lnTo>
                  <a:lnTo>
                    <a:pt x="21" y="533"/>
                  </a:lnTo>
                  <a:lnTo>
                    <a:pt x="27" y="531"/>
                  </a:lnTo>
                  <a:lnTo>
                    <a:pt x="32" y="535"/>
                  </a:lnTo>
                  <a:lnTo>
                    <a:pt x="35" y="534"/>
                  </a:lnTo>
                  <a:lnTo>
                    <a:pt x="38" y="530"/>
                  </a:lnTo>
                  <a:lnTo>
                    <a:pt x="35" y="516"/>
                  </a:lnTo>
                  <a:lnTo>
                    <a:pt x="39" y="507"/>
                  </a:lnTo>
                  <a:lnTo>
                    <a:pt x="43" y="503"/>
                  </a:lnTo>
                  <a:lnTo>
                    <a:pt x="60" y="499"/>
                  </a:lnTo>
                  <a:lnTo>
                    <a:pt x="66" y="491"/>
                  </a:lnTo>
                  <a:lnTo>
                    <a:pt x="64" y="485"/>
                  </a:lnTo>
                  <a:lnTo>
                    <a:pt x="59" y="472"/>
                  </a:lnTo>
                  <a:lnTo>
                    <a:pt x="60" y="465"/>
                  </a:lnTo>
                  <a:lnTo>
                    <a:pt x="63" y="461"/>
                  </a:lnTo>
                  <a:lnTo>
                    <a:pt x="77" y="461"/>
                  </a:lnTo>
                  <a:lnTo>
                    <a:pt x="84" y="457"/>
                  </a:lnTo>
                  <a:lnTo>
                    <a:pt x="85" y="463"/>
                  </a:lnTo>
                  <a:lnTo>
                    <a:pt x="91" y="463"/>
                  </a:lnTo>
                  <a:lnTo>
                    <a:pt x="109" y="440"/>
                  </a:lnTo>
                  <a:lnTo>
                    <a:pt x="121" y="437"/>
                  </a:lnTo>
                  <a:lnTo>
                    <a:pt x="129" y="432"/>
                  </a:lnTo>
                  <a:lnTo>
                    <a:pt x="132" y="431"/>
                  </a:lnTo>
                  <a:lnTo>
                    <a:pt x="137" y="419"/>
                  </a:lnTo>
                  <a:lnTo>
                    <a:pt x="148" y="414"/>
                  </a:lnTo>
                  <a:lnTo>
                    <a:pt x="152" y="412"/>
                  </a:lnTo>
                  <a:lnTo>
                    <a:pt x="156" y="412"/>
                  </a:lnTo>
                  <a:lnTo>
                    <a:pt x="159" y="414"/>
                  </a:lnTo>
                  <a:lnTo>
                    <a:pt x="162" y="416"/>
                  </a:lnTo>
                  <a:lnTo>
                    <a:pt x="164" y="416"/>
                  </a:lnTo>
                  <a:lnTo>
                    <a:pt x="170" y="415"/>
                  </a:lnTo>
                  <a:lnTo>
                    <a:pt x="174" y="412"/>
                  </a:lnTo>
                  <a:lnTo>
                    <a:pt x="180" y="416"/>
                  </a:lnTo>
                  <a:lnTo>
                    <a:pt x="184" y="416"/>
                  </a:lnTo>
                  <a:lnTo>
                    <a:pt x="194" y="409"/>
                  </a:lnTo>
                  <a:lnTo>
                    <a:pt x="203" y="404"/>
                  </a:lnTo>
                  <a:lnTo>
                    <a:pt x="209" y="402"/>
                  </a:lnTo>
                  <a:lnTo>
                    <a:pt x="219" y="397"/>
                  </a:lnTo>
                  <a:lnTo>
                    <a:pt x="220" y="395"/>
                  </a:lnTo>
                  <a:lnTo>
                    <a:pt x="223" y="398"/>
                  </a:lnTo>
                  <a:lnTo>
                    <a:pt x="224" y="398"/>
                  </a:lnTo>
                  <a:lnTo>
                    <a:pt x="234" y="390"/>
                  </a:lnTo>
                  <a:lnTo>
                    <a:pt x="237" y="391"/>
                  </a:lnTo>
                  <a:lnTo>
                    <a:pt x="239" y="391"/>
                  </a:lnTo>
                  <a:lnTo>
                    <a:pt x="244" y="379"/>
                  </a:lnTo>
                  <a:lnTo>
                    <a:pt x="242" y="376"/>
                  </a:lnTo>
                  <a:lnTo>
                    <a:pt x="244" y="373"/>
                  </a:lnTo>
                  <a:lnTo>
                    <a:pt x="249" y="367"/>
                  </a:lnTo>
                  <a:lnTo>
                    <a:pt x="255" y="367"/>
                  </a:lnTo>
                  <a:lnTo>
                    <a:pt x="261" y="364"/>
                  </a:lnTo>
                  <a:lnTo>
                    <a:pt x="266" y="353"/>
                  </a:lnTo>
                  <a:lnTo>
                    <a:pt x="270" y="352"/>
                  </a:lnTo>
                  <a:lnTo>
                    <a:pt x="272" y="348"/>
                  </a:lnTo>
                  <a:lnTo>
                    <a:pt x="283" y="342"/>
                  </a:lnTo>
                  <a:lnTo>
                    <a:pt x="289" y="341"/>
                  </a:lnTo>
                  <a:lnTo>
                    <a:pt x="291" y="339"/>
                  </a:lnTo>
                  <a:lnTo>
                    <a:pt x="302" y="337"/>
                  </a:lnTo>
                  <a:lnTo>
                    <a:pt x="303" y="337"/>
                  </a:lnTo>
                  <a:lnTo>
                    <a:pt x="306" y="339"/>
                  </a:lnTo>
                  <a:lnTo>
                    <a:pt x="313" y="339"/>
                  </a:lnTo>
                  <a:lnTo>
                    <a:pt x="316" y="342"/>
                  </a:lnTo>
                  <a:lnTo>
                    <a:pt x="319" y="344"/>
                  </a:lnTo>
                  <a:lnTo>
                    <a:pt x="331" y="342"/>
                  </a:lnTo>
                  <a:lnTo>
                    <a:pt x="337" y="348"/>
                  </a:lnTo>
                  <a:lnTo>
                    <a:pt x="345" y="349"/>
                  </a:lnTo>
                  <a:lnTo>
                    <a:pt x="349" y="350"/>
                  </a:lnTo>
                  <a:lnTo>
                    <a:pt x="361" y="350"/>
                  </a:lnTo>
                  <a:lnTo>
                    <a:pt x="364" y="348"/>
                  </a:lnTo>
                  <a:lnTo>
                    <a:pt x="367" y="347"/>
                  </a:lnTo>
                  <a:lnTo>
                    <a:pt x="370" y="348"/>
                  </a:lnTo>
                  <a:lnTo>
                    <a:pt x="374" y="350"/>
                  </a:lnTo>
                  <a:lnTo>
                    <a:pt x="376" y="350"/>
                  </a:lnTo>
                  <a:lnTo>
                    <a:pt x="386" y="348"/>
                  </a:lnTo>
                  <a:lnTo>
                    <a:pt x="391" y="341"/>
                  </a:lnTo>
                  <a:lnTo>
                    <a:pt x="401" y="341"/>
                  </a:lnTo>
                  <a:lnTo>
                    <a:pt x="406" y="344"/>
                  </a:lnTo>
                  <a:lnTo>
                    <a:pt x="405" y="349"/>
                  </a:lnTo>
                  <a:lnTo>
                    <a:pt x="406" y="350"/>
                  </a:lnTo>
                  <a:lnTo>
                    <a:pt x="415" y="353"/>
                  </a:lnTo>
                  <a:lnTo>
                    <a:pt x="422" y="356"/>
                  </a:lnTo>
                  <a:lnTo>
                    <a:pt x="427" y="364"/>
                  </a:lnTo>
                  <a:lnTo>
                    <a:pt x="431" y="361"/>
                  </a:lnTo>
                  <a:lnTo>
                    <a:pt x="437" y="361"/>
                  </a:lnTo>
                  <a:lnTo>
                    <a:pt x="440" y="366"/>
                  </a:lnTo>
                  <a:lnTo>
                    <a:pt x="445" y="365"/>
                  </a:lnTo>
                  <a:lnTo>
                    <a:pt x="452" y="370"/>
                  </a:lnTo>
                  <a:lnTo>
                    <a:pt x="458" y="372"/>
                  </a:lnTo>
                  <a:lnTo>
                    <a:pt x="463" y="376"/>
                  </a:lnTo>
                  <a:lnTo>
                    <a:pt x="466" y="374"/>
                  </a:lnTo>
                  <a:lnTo>
                    <a:pt x="474" y="367"/>
                  </a:lnTo>
                  <a:lnTo>
                    <a:pt x="479" y="369"/>
                  </a:lnTo>
                  <a:lnTo>
                    <a:pt x="486" y="365"/>
                  </a:lnTo>
                  <a:lnTo>
                    <a:pt x="490" y="361"/>
                  </a:lnTo>
                  <a:lnTo>
                    <a:pt x="490" y="356"/>
                  </a:lnTo>
                  <a:lnTo>
                    <a:pt x="490" y="353"/>
                  </a:lnTo>
                  <a:lnTo>
                    <a:pt x="499" y="350"/>
                  </a:lnTo>
                  <a:lnTo>
                    <a:pt x="501" y="345"/>
                  </a:lnTo>
                  <a:lnTo>
                    <a:pt x="507" y="344"/>
                  </a:lnTo>
                  <a:lnTo>
                    <a:pt x="508" y="347"/>
                  </a:lnTo>
                  <a:lnTo>
                    <a:pt x="516" y="348"/>
                  </a:lnTo>
                  <a:lnTo>
                    <a:pt x="523" y="347"/>
                  </a:lnTo>
                  <a:lnTo>
                    <a:pt x="529" y="350"/>
                  </a:lnTo>
                  <a:lnTo>
                    <a:pt x="530" y="350"/>
                  </a:lnTo>
                  <a:lnTo>
                    <a:pt x="532" y="349"/>
                  </a:lnTo>
                  <a:lnTo>
                    <a:pt x="537" y="349"/>
                  </a:lnTo>
                  <a:lnTo>
                    <a:pt x="538" y="353"/>
                  </a:lnTo>
                  <a:lnTo>
                    <a:pt x="544" y="353"/>
                  </a:lnTo>
                  <a:lnTo>
                    <a:pt x="552" y="361"/>
                  </a:lnTo>
                  <a:lnTo>
                    <a:pt x="561" y="364"/>
                  </a:lnTo>
                  <a:lnTo>
                    <a:pt x="561" y="366"/>
                  </a:lnTo>
                  <a:lnTo>
                    <a:pt x="566" y="369"/>
                  </a:lnTo>
                  <a:lnTo>
                    <a:pt x="571" y="366"/>
                  </a:lnTo>
                  <a:lnTo>
                    <a:pt x="580" y="364"/>
                  </a:lnTo>
                  <a:lnTo>
                    <a:pt x="584" y="361"/>
                  </a:lnTo>
                  <a:lnTo>
                    <a:pt x="591" y="361"/>
                  </a:lnTo>
                  <a:lnTo>
                    <a:pt x="596" y="356"/>
                  </a:lnTo>
                  <a:lnTo>
                    <a:pt x="599" y="356"/>
                  </a:lnTo>
                  <a:lnTo>
                    <a:pt x="602" y="357"/>
                  </a:lnTo>
                  <a:lnTo>
                    <a:pt x="605" y="357"/>
                  </a:lnTo>
                  <a:lnTo>
                    <a:pt x="608" y="353"/>
                  </a:lnTo>
                  <a:lnTo>
                    <a:pt x="612" y="352"/>
                  </a:lnTo>
                  <a:lnTo>
                    <a:pt x="612" y="348"/>
                  </a:lnTo>
                  <a:lnTo>
                    <a:pt x="615" y="345"/>
                  </a:lnTo>
                  <a:lnTo>
                    <a:pt x="616" y="344"/>
                  </a:lnTo>
                  <a:lnTo>
                    <a:pt x="615" y="342"/>
                  </a:lnTo>
                  <a:lnTo>
                    <a:pt x="612" y="341"/>
                  </a:lnTo>
                  <a:lnTo>
                    <a:pt x="612" y="337"/>
                  </a:lnTo>
                  <a:lnTo>
                    <a:pt x="613" y="335"/>
                  </a:lnTo>
                  <a:lnTo>
                    <a:pt x="618" y="335"/>
                  </a:lnTo>
                  <a:lnTo>
                    <a:pt x="621" y="333"/>
                  </a:lnTo>
                  <a:lnTo>
                    <a:pt x="622" y="327"/>
                  </a:lnTo>
                  <a:lnTo>
                    <a:pt x="625" y="324"/>
                  </a:lnTo>
                  <a:lnTo>
                    <a:pt x="626" y="316"/>
                  </a:lnTo>
                  <a:lnTo>
                    <a:pt x="625" y="312"/>
                  </a:lnTo>
                  <a:lnTo>
                    <a:pt x="625" y="308"/>
                  </a:lnTo>
                  <a:lnTo>
                    <a:pt x="623" y="304"/>
                  </a:lnTo>
                  <a:lnTo>
                    <a:pt x="623" y="298"/>
                  </a:lnTo>
                  <a:lnTo>
                    <a:pt x="625" y="295"/>
                  </a:lnTo>
                  <a:lnTo>
                    <a:pt x="630" y="294"/>
                  </a:lnTo>
                  <a:lnTo>
                    <a:pt x="632" y="289"/>
                  </a:lnTo>
                  <a:lnTo>
                    <a:pt x="638" y="286"/>
                  </a:lnTo>
                  <a:lnTo>
                    <a:pt x="643" y="282"/>
                  </a:lnTo>
                  <a:lnTo>
                    <a:pt x="646" y="282"/>
                  </a:lnTo>
                  <a:lnTo>
                    <a:pt x="648" y="282"/>
                  </a:lnTo>
                  <a:lnTo>
                    <a:pt x="652" y="286"/>
                  </a:lnTo>
                  <a:lnTo>
                    <a:pt x="676" y="286"/>
                  </a:lnTo>
                  <a:lnTo>
                    <a:pt x="683" y="285"/>
                  </a:lnTo>
                  <a:lnTo>
                    <a:pt x="686" y="282"/>
                  </a:lnTo>
                  <a:lnTo>
                    <a:pt x="687" y="281"/>
                  </a:lnTo>
                  <a:lnTo>
                    <a:pt x="697" y="278"/>
                  </a:lnTo>
                  <a:lnTo>
                    <a:pt x="703" y="278"/>
                  </a:lnTo>
                  <a:lnTo>
                    <a:pt x="707" y="275"/>
                  </a:lnTo>
                  <a:lnTo>
                    <a:pt x="712" y="274"/>
                  </a:lnTo>
                  <a:lnTo>
                    <a:pt x="719" y="275"/>
                  </a:lnTo>
                  <a:lnTo>
                    <a:pt x="725" y="274"/>
                  </a:lnTo>
                  <a:lnTo>
                    <a:pt x="730" y="277"/>
                  </a:lnTo>
                  <a:lnTo>
                    <a:pt x="736" y="277"/>
                  </a:lnTo>
                  <a:lnTo>
                    <a:pt x="746" y="272"/>
                  </a:lnTo>
                  <a:lnTo>
                    <a:pt x="748" y="272"/>
                  </a:lnTo>
                  <a:lnTo>
                    <a:pt x="751" y="267"/>
                  </a:lnTo>
                  <a:lnTo>
                    <a:pt x="754" y="267"/>
                  </a:lnTo>
                  <a:lnTo>
                    <a:pt x="758" y="270"/>
                  </a:lnTo>
                  <a:lnTo>
                    <a:pt x="769" y="267"/>
                  </a:lnTo>
                  <a:lnTo>
                    <a:pt x="772" y="267"/>
                  </a:lnTo>
                  <a:lnTo>
                    <a:pt x="772" y="273"/>
                  </a:lnTo>
                  <a:lnTo>
                    <a:pt x="778" y="274"/>
                  </a:lnTo>
                  <a:lnTo>
                    <a:pt x="782" y="277"/>
                  </a:lnTo>
                  <a:lnTo>
                    <a:pt x="782" y="282"/>
                  </a:lnTo>
                  <a:lnTo>
                    <a:pt x="786" y="290"/>
                  </a:lnTo>
                  <a:lnTo>
                    <a:pt x="789" y="290"/>
                  </a:lnTo>
                  <a:lnTo>
                    <a:pt x="793" y="289"/>
                  </a:lnTo>
                  <a:lnTo>
                    <a:pt x="797" y="285"/>
                  </a:lnTo>
                  <a:lnTo>
                    <a:pt x="801" y="286"/>
                  </a:lnTo>
                  <a:lnTo>
                    <a:pt x="801" y="289"/>
                  </a:lnTo>
                  <a:lnTo>
                    <a:pt x="803" y="289"/>
                  </a:lnTo>
                  <a:lnTo>
                    <a:pt x="808" y="286"/>
                  </a:lnTo>
                  <a:lnTo>
                    <a:pt x="810" y="289"/>
                  </a:lnTo>
                  <a:lnTo>
                    <a:pt x="814" y="289"/>
                  </a:lnTo>
                  <a:lnTo>
                    <a:pt x="826" y="285"/>
                  </a:lnTo>
                  <a:lnTo>
                    <a:pt x="826" y="281"/>
                  </a:lnTo>
                  <a:lnTo>
                    <a:pt x="828" y="278"/>
                  </a:lnTo>
                  <a:lnTo>
                    <a:pt x="836" y="277"/>
                  </a:lnTo>
                  <a:lnTo>
                    <a:pt x="842" y="273"/>
                  </a:lnTo>
                  <a:lnTo>
                    <a:pt x="845" y="260"/>
                  </a:lnTo>
                  <a:lnTo>
                    <a:pt x="847" y="256"/>
                  </a:lnTo>
                  <a:lnTo>
                    <a:pt x="847" y="253"/>
                  </a:lnTo>
                  <a:lnTo>
                    <a:pt x="850" y="250"/>
                  </a:lnTo>
                  <a:lnTo>
                    <a:pt x="854" y="250"/>
                  </a:lnTo>
                  <a:lnTo>
                    <a:pt x="862" y="245"/>
                  </a:lnTo>
                  <a:lnTo>
                    <a:pt x="865" y="245"/>
                  </a:lnTo>
                  <a:lnTo>
                    <a:pt x="868" y="245"/>
                  </a:lnTo>
                  <a:lnTo>
                    <a:pt x="871" y="244"/>
                  </a:lnTo>
                  <a:lnTo>
                    <a:pt x="875" y="245"/>
                  </a:lnTo>
                  <a:lnTo>
                    <a:pt x="876" y="245"/>
                  </a:lnTo>
                  <a:lnTo>
                    <a:pt x="882" y="248"/>
                  </a:lnTo>
                  <a:lnTo>
                    <a:pt x="885" y="250"/>
                  </a:lnTo>
                  <a:lnTo>
                    <a:pt x="889" y="260"/>
                  </a:lnTo>
                  <a:lnTo>
                    <a:pt x="895" y="260"/>
                  </a:lnTo>
                  <a:lnTo>
                    <a:pt x="898" y="262"/>
                  </a:lnTo>
                  <a:lnTo>
                    <a:pt x="900" y="263"/>
                  </a:lnTo>
                  <a:lnTo>
                    <a:pt x="900" y="270"/>
                  </a:lnTo>
                  <a:lnTo>
                    <a:pt x="901" y="273"/>
                  </a:lnTo>
                  <a:lnTo>
                    <a:pt x="907" y="275"/>
                  </a:lnTo>
                  <a:lnTo>
                    <a:pt x="912" y="274"/>
                  </a:lnTo>
                  <a:lnTo>
                    <a:pt x="914" y="274"/>
                  </a:lnTo>
                  <a:lnTo>
                    <a:pt x="918" y="277"/>
                  </a:lnTo>
                  <a:lnTo>
                    <a:pt x="922" y="281"/>
                  </a:lnTo>
                  <a:lnTo>
                    <a:pt x="926" y="282"/>
                  </a:lnTo>
                  <a:lnTo>
                    <a:pt x="931" y="289"/>
                  </a:lnTo>
                  <a:lnTo>
                    <a:pt x="935" y="289"/>
                  </a:lnTo>
                  <a:lnTo>
                    <a:pt x="937" y="285"/>
                  </a:lnTo>
                  <a:lnTo>
                    <a:pt x="950" y="285"/>
                  </a:lnTo>
                  <a:lnTo>
                    <a:pt x="951" y="285"/>
                  </a:lnTo>
                  <a:lnTo>
                    <a:pt x="956" y="279"/>
                  </a:lnTo>
                  <a:lnTo>
                    <a:pt x="956" y="277"/>
                  </a:lnTo>
                  <a:lnTo>
                    <a:pt x="954" y="273"/>
                  </a:lnTo>
                  <a:lnTo>
                    <a:pt x="956" y="267"/>
                  </a:lnTo>
                  <a:lnTo>
                    <a:pt x="964" y="263"/>
                  </a:lnTo>
                  <a:lnTo>
                    <a:pt x="967" y="260"/>
                  </a:lnTo>
                  <a:lnTo>
                    <a:pt x="970" y="256"/>
                  </a:lnTo>
                  <a:lnTo>
                    <a:pt x="974" y="256"/>
                  </a:lnTo>
                  <a:lnTo>
                    <a:pt x="976" y="257"/>
                  </a:lnTo>
                  <a:lnTo>
                    <a:pt x="979" y="256"/>
                  </a:lnTo>
                  <a:lnTo>
                    <a:pt x="986" y="249"/>
                  </a:lnTo>
                  <a:lnTo>
                    <a:pt x="985" y="245"/>
                  </a:lnTo>
                  <a:lnTo>
                    <a:pt x="990" y="240"/>
                  </a:lnTo>
                  <a:lnTo>
                    <a:pt x="993" y="231"/>
                  </a:lnTo>
                  <a:lnTo>
                    <a:pt x="1000" y="228"/>
                  </a:lnTo>
                  <a:lnTo>
                    <a:pt x="1010" y="227"/>
                  </a:lnTo>
                  <a:lnTo>
                    <a:pt x="1014" y="223"/>
                  </a:lnTo>
                  <a:lnTo>
                    <a:pt x="1014" y="217"/>
                  </a:lnTo>
                  <a:lnTo>
                    <a:pt x="1024" y="215"/>
                  </a:lnTo>
                  <a:lnTo>
                    <a:pt x="1025" y="211"/>
                  </a:lnTo>
                  <a:lnTo>
                    <a:pt x="1025" y="208"/>
                  </a:lnTo>
                  <a:lnTo>
                    <a:pt x="1027" y="206"/>
                  </a:lnTo>
                  <a:lnTo>
                    <a:pt x="1035" y="203"/>
                  </a:lnTo>
                  <a:lnTo>
                    <a:pt x="1035" y="200"/>
                  </a:lnTo>
                  <a:lnTo>
                    <a:pt x="1033" y="196"/>
                  </a:lnTo>
                  <a:lnTo>
                    <a:pt x="1035" y="195"/>
                  </a:lnTo>
                  <a:lnTo>
                    <a:pt x="1039" y="191"/>
                  </a:lnTo>
                  <a:lnTo>
                    <a:pt x="1039" y="186"/>
                  </a:lnTo>
                  <a:lnTo>
                    <a:pt x="1038" y="181"/>
                  </a:lnTo>
                  <a:lnTo>
                    <a:pt x="1038" y="178"/>
                  </a:lnTo>
                  <a:lnTo>
                    <a:pt x="1039" y="173"/>
                  </a:lnTo>
                  <a:lnTo>
                    <a:pt x="1045" y="169"/>
                  </a:lnTo>
                  <a:lnTo>
                    <a:pt x="1050" y="166"/>
                  </a:lnTo>
                  <a:lnTo>
                    <a:pt x="1063" y="166"/>
                  </a:lnTo>
                  <a:lnTo>
                    <a:pt x="1066" y="166"/>
                  </a:lnTo>
                  <a:lnTo>
                    <a:pt x="1068" y="170"/>
                  </a:lnTo>
                  <a:lnTo>
                    <a:pt x="1071" y="170"/>
                  </a:lnTo>
                  <a:lnTo>
                    <a:pt x="1074" y="169"/>
                  </a:lnTo>
                  <a:lnTo>
                    <a:pt x="1075" y="165"/>
                  </a:lnTo>
                  <a:lnTo>
                    <a:pt x="1081" y="162"/>
                  </a:lnTo>
                  <a:lnTo>
                    <a:pt x="1082" y="158"/>
                  </a:lnTo>
                  <a:lnTo>
                    <a:pt x="1088" y="148"/>
                  </a:lnTo>
                  <a:lnTo>
                    <a:pt x="1093" y="148"/>
                  </a:lnTo>
                  <a:lnTo>
                    <a:pt x="1100" y="148"/>
                  </a:lnTo>
                  <a:lnTo>
                    <a:pt x="1106" y="144"/>
                  </a:lnTo>
                  <a:lnTo>
                    <a:pt x="1110" y="144"/>
                  </a:lnTo>
                  <a:lnTo>
                    <a:pt x="1114" y="148"/>
                  </a:lnTo>
                  <a:lnTo>
                    <a:pt x="1121" y="146"/>
                  </a:lnTo>
                  <a:lnTo>
                    <a:pt x="1122" y="142"/>
                  </a:lnTo>
                  <a:lnTo>
                    <a:pt x="1132" y="142"/>
                  </a:lnTo>
                  <a:lnTo>
                    <a:pt x="1138" y="144"/>
                  </a:lnTo>
                  <a:lnTo>
                    <a:pt x="1146" y="140"/>
                  </a:lnTo>
                  <a:lnTo>
                    <a:pt x="1145" y="137"/>
                  </a:lnTo>
                  <a:lnTo>
                    <a:pt x="1146" y="134"/>
                  </a:lnTo>
                  <a:lnTo>
                    <a:pt x="1160" y="129"/>
                  </a:lnTo>
                  <a:lnTo>
                    <a:pt x="1167" y="121"/>
                  </a:lnTo>
                  <a:lnTo>
                    <a:pt x="1172" y="124"/>
                  </a:lnTo>
                  <a:lnTo>
                    <a:pt x="1175" y="121"/>
                  </a:lnTo>
                  <a:lnTo>
                    <a:pt x="1177" y="121"/>
                  </a:lnTo>
                  <a:lnTo>
                    <a:pt x="1177" y="117"/>
                  </a:lnTo>
                  <a:lnTo>
                    <a:pt x="1185" y="112"/>
                  </a:lnTo>
                  <a:lnTo>
                    <a:pt x="1188" y="112"/>
                  </a:lnTo>
                  <a:lnTo>
                    <a:pt x="1189" y="115"/>
                  </a:lnTo>
                  <a:lnTo>
                    <a:pt x="1192" y="115"/>
                  </a:lnTo>
                  <a:lnTo>
                    <a:pt x="1193" y="115"/>
                  </a:lnTo>
                  <a:lnTo>
                    <a:pt x="1196" y="111"/>
                  </a:lnTo>
                  <a:lnTo>
                    <a:pt x="1200" y="109"/>
                  </a:lnTo>
                  <a:lnTo>
                    <a:pt x="1203" y="107"/>
                  </a:lnTo>
                  <a:lnTo>
                    <a:pt x="1211" y="109"/>
                  </a:lnTo>
                  <a:lnTo>
                    <a:pt x="1214" y="112"/>
                  </a:lnTo>
                  <a:lnTo>
                    <a:pt x="1218" y="112"/>
                  </a:lnTo>
                  <a:lnTo>
                    <a:pt x="1222" y="115"/>
                  </a:lnTo>
                  <a:lnTo>
                    <a:pt x="1228" y="117"/>
                  </a:lnTo>
                  <a:lnTo>
                    <a:pt x="1235" y="117"/>
                  </a:lnTo>
                  <a:lnTo>
                    <a:pt x="1235" y="124"/>
                  </a:lnTo>
                  <a:lnTo>
                    <a:pt x="1243" y="131"/>
                  </a:lnTo>
                  <a:lnTo>
                    <a:pt x="1250" y="129"/>
                  </a:lnTo>
                  <a:lnTo>
                    <a:pt x="1256" y="132"/>
                  </a:lnTo>
                  <a:lnTo>
                    <a:pt x="1260" y="136"/>
                  </a:lnTo>
                  <a:lnTo>
                    <a:pt x="1266" y="136"/>
                  </a:lnTo>
                  <a:lnTo>
                    <a:pt x="1271" y="140"/>
                  </a:lnTo>
                  <a:lnTo>
                    <a:pt x="1277" y="140"/>
                  </a:lnTo>
                  <a:lnTo>
                    <a:pt x="1282" y="140"/>
                  </a:lnTo>
                  <a:lnTo>
                    <a:pt x="1287" y="138"/>
                  </a:lnTo>
                  <a:lnTo>
                    <a:pt x="1295" y="132"/>
                  </a:lnTo>
                  <a:lnTo>
                    <a:pt x="1295" y="125"/>
                  </a:lnTo>
                  <a:lnTo>
                    <a:pt x="1301" y="120"/>
                  </a:lnTo>
                  <a:lnTo>
                    <a:pt x="1302" y="116"/>
                  </a:lnTo>
                  <a:lnTo>
                    <a:pt x="1307" y="109"/>
                  </a:lnTo>
                  <a:lnTo>
                    <a:pt x="1315" y="107"/>
                  </a:lnTo>
                  <a:lnTo>
                    <a:pt x="1315" y="101"/>
                  </a:lnTo>
                  <a:lnTo>
                    <a:pt x="1319" y="98"/>
                  </a:lnTo>
                  <a:lnTo>
                    <a:pt x="1324" y="98"/>
                  </a:lnTo>
                  <a:lnTo>
                    <a:pt x="1327" y="99"/>
                  </a:lnTo>
                  <a:lnTo>
                    <a:pt x="1331" y="98"/>
                  </a:lnTo>
                  <a:lnTo>
                    <a:pt x="1331" y="95"/>
                  </a:lnTo>
                  <a:lnTo>
                    <a:pt x="1334" y="89"/>
                  </a:lnTo>
                  <a:lnTo>
                    <a:pt x="1332" y="86"/>
                  </a:lnTo>
                  <a:lnTo>
                    <a:pt x="1335" y="81"/>
                  </a:lnTo>
                  <a:lnTo>
                    <a:pt x="1341" y="83"/>
                  </a:lnTo>
                  <a:lnTo>
                    <a:pt x="1359" y="75"/>
                  </a:lnTo>
                  <a:lnTo>
                    <a:pt x="1362" y="75"/>
                  </a:lnTo>
                  <a:lnTo>
                    <a:pt x="1366" y="75"/>
                  </a:lnTo>
                  <a:lnTo>
                    <a:pt x="1367" y="71"/>
                  </a:lnTo>
                  <a:lnTo>
                    <a:pt x="1373" y="70"/>
                  </a:lnTo>
                  <a:lnTo>
                    <a:pt x="1376" y="66"/>
                  </a:lnTo>
                  <a:lnTo>
                    <a:pt x="1381" y="66"/>
                  </a:lnTo>
                  <a:lnTo>
                    <a:pt x="1385" y="61"/>
                  </a:lnTo>
                  <a:lnTo>
                    <a:pt x="1385" y="57"/>
                  </a:lnTo>
                  <a:lnTo>
                    <a:pt x="1394" y="50"/>
                  </a:lnTo>
                  <a:lnTo>
                    <a:pt x="1396" y="50"/>
                  </a:lnTo>
                  <a:lnTo>
                    <a:pt x="1399" y="54"/>
                  </a:lnTo>
                  <a:lnTo>
                    <a:pt x="1406" y="53"/>
                  </a:lnTo>
                  <a:lnTo>
                    <a:pt x="1409" y="54"/>
                  </a:lnTo>
                  <a:lnTo>
                    <a:pt x="1410" y="50"/>
                  </a:lnTo>
                  <a:lnTo>
                    <a:pt x="1407" y="46"/>
                  </a:lnTo>
                  <a:lnTo>
                    <a:pt x="1413" y="41"/>
                  </a:lnTo>
                  <a:lnTo>
                    <a:pt x="1416" y="41"/>
                  </a:lnTo>
                  <a:lnTo>
                    <a:pt x="1420" y="45"/>
                  </a:lnTo>
                  <a:lnTo>
                    <a:pt x="1421" y="45"/>
                  </a:lnTo>
                  <a:lnTo>
                    <a:pt x="1434" y="37"/>
                  </a:lnTo>
                  <a:lnTo>
                    <a:pt x="1437" y="32"/>
                  </a:lnTo>
                  <a:lnTo>
                    <a:pt x="1441" y="30"/>
                  </a:lnTo>
                  <a:lnTo>
                    <a:pt x="1441" y="28"/>
                  </a:lnTo>
                  <a:lnTo>
                    <a:pt x="1451" y="28"/>
                  </a:lnTo>
                  <a:lnTo>
                    <a:pt x="1455" y="26"/>
                  </a:lnTo>
                  <a:lnTo>
                    <a:pt x="1469" y="26"/>
                  </a:lnTo>
                  <a:lnTo>
                    <a:pt x="1473" y="28"/>
                  </a:lnTo>
                  <a:lnTo>
                    <a:pt x="1477" y="28"/>
                  </a:lnTo>
                  <a:lnTo>
                    <a:pt x="1492" y="22"/>
                  </a:lnTo>
                  <a:lnTo>
                    <a:pt x="1508" y="20"/>
                  </a:lnTo>
                  <a:lnTo>
                    <a:pt x="1519" y="13"/>
                  </a:lnTo>
                  <a:lnTo>
                    <a:pt x="1524" y="14"/>
                  </a:lnTo>
                  <a:lnTo>
                    <a:pt x="1533" y="14"/>
                  </a:lnTo>
                  <a:lnTo>
                    <a:pt x="1538" y="9"/>
                  </a:lnTo>
                  <a:lnTo>
                    <a:pt x="1541" y="5"/>
                  </a:lnTo>
                  <a:lnTo>
                    <a:pt x="1544" y="1"/>
                  </a:lnTo>
                  <a:lnTo>
                    <a:pt x="1551" y="5"/>
                  </a:lnTo>
                  <a:lnTo>
                    <a:pt x="1561" y="5"/>
                  </a:lnTo>
                  <a:lnTo>
                    <a:pt x="1567" y="4"/>
                  </a:lnTo>
                  <a:lnTo>
                    <a:pt x="1570" y="5"/>
                  </a:lnTo>
                  <a:lnTo>
                    <a:pt x="1570" y="12"/>
                  </a:lnTo>
                  <a:lnTo>
                    <a:pt x="1573" y="16"/>
                  </a:lnTo>
                  <a:lnTo>
                    <a:pt x="1577" y="9"/>
                  </a:lnTo>
                  <a:lnTo>
                    <a:pt x="1576" y="9"/>
                  </a:lnTo>
                  <a:lnTo>
                    <a:pt x="1575" y="5"/>
                  </a:lnTo>
                  <a:lnTo>
                    <a:pt x="1577" y="5"/>
                  </a:lnTo>
                  <a:lnTo>
                    <a:pt x="1579" y="0"/>
                  </a:lnTo>
                  <a:lnTo>
                    <a:pt x="1581" y="0"/>
                  </a:lnTo>
                  <a:lnTo>
                    <a:pt x="1584" y="1"/>
                  </a:lnTo>
                  <a:lnTo>
                    <a:pt x="1572" y="26"/>
                  </a:lnTo>
                  <a:lnTo>
                    <a:pt x="1570" y="32"/>
                  </a:lnTo>
                  <a:lnTo>
                    <a:pt x="1566" y="42"/>
                  </a:lnTo>
                  <a:lnTo>
                    <a:pt x="1565" y="54"/>
                  </a:lnTo>
                  <a:lnTo>
                    <a:pt x="1558" y="66"/>
                  </a:lnTo>
                  <a:lnTo>
                    <a:pt x="1556" y="67"/>
                  </a:lnTo>
                  <a:lnTo>
                    <a:pt x="1555" y="62"/>
                  </a:lnTo>
                  <a:lnTo>
                    <a:pt x="1558" y="62"/>
                  </a:lnTo>
                  <a:lnTo>
                    <a:pt x="1559" y="61"/>
                  </a:lnTo>
                  <a:lnTo>
                    <a:pt x="1556" y="58"/>
                  </a:lnTo>
                  <a:lnTo>
                    <a:pt x="1556" y="57"/>
                  </a:lnTo>
                  <a:lnTo>
                    <a:pt x="1559" y="57"/>
                  </a:lnTo>
                  <a:lnTo>
                    <a:pt x="1559" y="54"/>
                  </a:lnTo>
                  <a:lnTo>
                    <a:pt x="1556" y="46"/>
                  </a:lnTo>
                  <a:lnTo>
                    <a:pt x="1554" y="46"/>
                  </a:lnTo>
                  <a:lnTo>
                    <a:pt x="1549" y="49"/>
                  </a:lnTo>
                  <a:lnTo>
                    <a:pt x="1548" y="46"/>
                  </a:lnTo>
                  <a:lnTo>
                    <a:pt x="1542" y="50"/>
                  </a:lnTo>
                  <a:lnTo>
                    <a:pt x="1538" y="57"/>
                  </a:lnTo>
                  <a:lnTo>
                    <a:pt x="1537" y="58"/>
                  </a:lnTo>
                  <a:lnTo>
                    <a:pt x="1540" y="62"/>
                  </a:lnTo>
                  <a:lnTo>
                    <a:pt x="1545" y="58"/>
                  </a:lnTo>
                  <a:lnTo>
                    <a:pt x="1542" y="66"/>
                  </a:lnTo>
                  <a:lnTo>
                    <a:pt x="1544" y="71"/>
                  </a:lnTo>
                  <a:lnTo>
                    <a:pt x="1548" y="75"/>
                  </a:lnTo>
                  <a:lnTo>
                    <a:pt x="1554" y="76"/>
                  </a:lnTo>
                  <a:lnTo>
                    <a:pt x="1551" y="99"/>
                  </a:lnTo>
                  <a:lnTo>
                    <a:pt x="1548" y="106"/>
                  </a:lnTo>
                  <a:lnTo>
                    <a:pt x="1540" y="103"/>
                  </a:lnTo>
                  <a:lnTo>
                    <a:pt x="1540" y="101"/>
                  </a:lnTo>
                  <a:lnTo>
                    <a:pt x="1542" y="99"/>
                  </a:lnTo>
                  <a:lnTo>
                    <a:pt x="1540" y="95"/>
                  </a:lnTo>
                  <a:lnTo>
                    <a:pt x="1535" y="98"/>
                  </a:lnTo>
                  <a:lnTo>
                    <a:pt x="1535" y="99"/>
                  </a:lnTo>
                  <a:lnTo>
                    <a:pt x="1534" y="101"/>
                  </a:lnTo>
                  <a:lnTo>
                    <a:pt x="1524" y="103"/>
                  </a:lnTo>
                  <a:lnTo>
                    <a:pt x="1519" y="108"/>
                  </a:lnTo>
                  <a:lnTo>
                    <a:pt x="1517" y="108"/>
                  </a:lnTo>
                  <a:lnTo>
                    <a:pt x="1517" y="107"/>
                  </a:lnTo>
                  <a:lnTo>
                    <a:pt x="1519" y="103"/>
                  </a:lnTo>
                  <a:lnTo>
                    <a:pt x="1516" y="95"/>
                  </a:lnTo>
                  <a:lnTo>
                    <a:pt x="1517" y="91"/>
                  </a:lnTo>
                  <a:lnTo>
                    <a:pt x="1513" y="94"/>
                  </a:lnTo>
                  <a:lnTo>
                    <a:pt x="1512" y="98"/>
                  </a:lnTo>
                  <a:lnTo>
                    <a:pt x="1512" y="99"/>
                  </a:lnTo>
                  <a:lnTo>
                    <a:pt x="1515" y="101"/>
                  </a:lnTo>
                  <a:lnTo>
                    <a:pt x="1509" y="103"/>
                  </a:lnTo>
                  <a:lnTo>
                    <a:pt x="1505" y="101"/>
                  </a:lnTo>
                  <a:lnTo>
                    <a:pt x="1504" y="98"/>
                  </a:lnTo>
                  <a:lnTo>
                    <a:pt x="1505" y="92"/>
                  </a:lnTo>
                  <a:lnTo>
                    <a:pt x="1501" y="89"/>
                  </a:lnTo>
                  <a:lnTo>
                    <a:pt x="1502" y="94"/>
                  </a:lnTo>
                  <a:lnTo>
                    <a:pt x="1501" y="95"/>
                  </a:lnTo>
                  <a:lnTo>
                    <a:pt x="1496" y="92"/>
                  </a:lnTo>
                  <a:lnTo>
                    <a:pt x="1491" y="91"/>
                  </a:lnTo>
                  <a:lnTo>
                    <a:pt x="1490" y="91"/>
                  </a:lnTo>
                  <a:lnTo>
                    <a:pt x="1491" y="95"/>
                  </a:lnTo>
                  <a:lnTo>
                    <a:pt x="1494" y="95"/>
                  </a:lnTo>
                  <a:lnTo>
                    <a:pt x="1498" y="106"/>
                  </a:lnTo>
                  <a:lnTo>
                    <a:pt x="1498" y="108"/>
                  </a:lnTo>
                  <a:lnTo>
                    <a:pt x="1496" y="108"/>
                  </a:lnTo>
                  <a:lnTo>
                    <a:pt x="1499" y="115"/>
                  </a:lnTo>
                  <a:lnTo>
                    <a:pt x="1498" y="116"/>
                  </a:lnTo>
                  <a:lnTo>
                    <a:pt x="1498" y="117"/>
                  </a:lnTo>
                  <a:lnTo>
                    <a:pt x="1494" y="121"/>
                  </a:lnTo>
                  <a:lnTo>
                    <a:pt x="1492" y="121"/>
                  </a:lnTo>
                  <a:lnTo>
                    <a:pt x="1491" y="117"/>
                  </a:lnTo>
                  <a:lnTo>
                    <a:pt x="1490" y="117"/>
                  </a:lnTo>
                  <a:lnTo>
                    <a:pt x="1490" y="121"/>
                  </a:lnTo>
                  <a:lnTo>
                    <a:pt x="1484" y="125"/>
                  </a:lnTo>
                  <a:lnTo>
                    <a:pt x="1485" y="128"/>
                  </a:lnTo>
                  <a:lnTo>
                    <a:pt x="1490" y="125"/>
                  </a:lnTo>
                  <a:lnTo>
                    <a:pt x="1498" y="125"/>
                  </a:lnTo>
                  <a:lnTo>
                    <a:pt x="1505" y="129"/>
                  </a:lnTo>
                  <a:lnTo>
                    <a:pt x="1504" y="132"/>
                  </a:lnTo>
                  <a:lnTo>
                    <a:pt x="1506" y="133"/>
                  </a:lnTo>
                  <a:lnTo>
                    <a:pt x="1508" y="133"/>
                  </a:lnTo>
                  <a:lnTo>
                    <a:pt x="1513" y="140"/>
                  </a:lnTo>
                  <a:lnTo>
                    <a:pt x="1513" y="142"/>
                  </a:lnTo>
                  <a:lnTo>
                    <a:pt x="1510" y="144"/>
                  </a:lnTo>
                  <a:lnTo>
                    <a:pt x="1512" y="148"/>
                  </a:lnTo>
                  <a:lnTo>
                    <a:pt x="1509" y="148"/>
                  </a:lnTo>
                  <a:lnTo>
                    <a:pt x="1512" y="151"/>
                  </a:lnTo>
                  <a:lnTo>
                    <a:pt x="1513" y="150"/>
                  </a:lnTo>
                  <a:lnTo>
                    <a:pt x="1513" y="144"/>
                  </a:lnTo>
                  <a:lnTo>
                    <a:pt x="1515" y="144"/>
                  </a:lnTo>
                  <a:lnTo>
                    <a:pt x="1515" y="146"/>
                  </a:lnTo>
                  <a:lnTo>
                    <a:pt x="1516" y="146"/>
                  </a:lnTo>
                  <a:lnTo>
                    <a:pt x="1516" y="144"/>
                  </a:lnTo>
                  <a:lnTo>
                    <a:pt x="1520" y="140"/>
                  </a:lnTo>
                  <a:lnTo>
                    <a:pt x="1520" y="137"/>
                  </a:lnTo>
                  <a:lnTo>
                    <a:pt x="1521" y="134"/>
                  </a:lnTo>
                  <a:lnTo>
                    <a:pt x="1523" y="133"/>
                  </a:lnTo>
                  <a:lnTo>
                    <a:pt x="1526" y="136"/>
                  </a:lnTo>
                  <a:lnTo>
                    <a:pt x="1531" y="144"/>
                  </a:lnTo>
                  <a:lnTo>
                    <a:pt x="1531" y="154"/>
                  </a:lnTo>
                  <a:lnTo>
                    <a:pt x="1529" y="160"/>
                  </a:lnTo>
                  <a:lnTo>
                    <a:pt x="1527" y="161"/>
                  </a:lnTo>
                  <a:lnTo>
                    <a:pt x="1523" y="161"/>
                  </a:lnTo>
                  <a:lnTo>
                    <a:pt x="1520" y="165"/>
                  </a:lnTo>
                  <a:lnTo>
                    <a:pt x="1520" y="166"/>
                  </a:lnTo>
                  <a:lnTo>
                    <a:pt x="1513" y="169"/>
                  </a:lnTo>
                  <a:lnTo>
                    <a:pt x="1510" y="170"/>
                  </a:lnTo>
                  <a:lnTo>
                    <a:pt x="1516" y="170"/>
                  </a:lnTo>
                  <a:lnTo>
                    <a:pt x="1515" y="173"/>
                  </a:lnTo>
                  <a:lnTo>
                    <a:pt x="1517" y="174"/>
                  </a:lnTo>
                  <a:lnTo>
                    <a:pt x="1517" y="176"/>
                  </a:lnTo>
                  <a:lnTo>
                    <a:pt x="1516" y="179"/>
                  </a:lnTo>
                  <a:lnTo>
                    <a:pt x="1519" y="183"/>
                  </a:lnTo>
                  <a:lnTo>
                    <a:pt x="1520" y="183"/>
                  </a:lnTo>
                  <a:lnTo>
                    <a:pt x="1520" y="179"/>
                  </a:lnTo>
                  <a:lnTo>
                    <a:pt x="1520" y="178"/>
                  </a:lnTo>
                  <a:lnTo>
                    <a:pt x="1527" y="174"/>
                  </a:lnTo>
                  <a:lnTo>
                    <a:pt x="1529" y="176"/>
                  </a:lnTo>
                  <a:lnTo>
                    <a:pt x="1531" y="182"/>
                  </a:lnTo>
                  <a:lnTo>
                    <a:pt x="1535" y="181"/>
                  </a:lnTo>
                  <a:lnTo>
                    <a:pt x="1541" y="183"/>
                  </a:lnTo>
                  <a:lnTo>
                    <a:pt x="1541" y="188"/>
                  </a:lnTo>
                  <a:lnTo>
                    <a:pt x="1537" y="187"/>
                  </a:lnTo>
                  <a:lnTo>
                    <a:pt x="1534" y="191"/>
                  </a:lnTo>
                  <a:lnTo>
                    <a:pt x="1535" y="192"/>
                  </a:lnTo>
                  <a:lnTo>
                    <a:pt x="1537" y="188"/>
                  </a:lnTo>
                  <a:lnTo>
                    <a:pt x="1544" y="196"/>
                  </a:lnTo>
                  <a:lnTo>
                    <a:pt x="1542" y="200"/>
                  </a:lnTo>
                  <a:lnTo>
                    <a:pt x="1547" y="202"/>
                  </a:lnTo>
                  <a:lnTo>
                    <a:pt x="1547" y="203"/>
                  </a:lnTo>
                  <a:lnTo>
                    <a:pt x="1545" y="206"/>
                  </a:lnTo>
                  <a:lnTo>
                    <a:pt x="1547" y="208"/>
                  </a:lnTo>
                  <a:lnTo>
                    <a:pt x="1545" y="210"/>
                  </a:lnTo>
                  <a:lnTo>
                    <a:pt x="1547" y="211"/>
                  </a:lnTo>
                  <a:lnTo>
                    <a:pt x="1549" y="207"/>
                  </a:lnTo>
                  <a:lnTo>
                    <a:pt x="1552" y="206"/>
                  </a:lnTo>
                  <a:lnTo>
                    <a:pt x="1552" y="202"/>
                  </a:lnTo>
                  <a:lnTo>
                    <a:pt x="1554" y="196"/>
                  </a:lnTo>
                  <a:lnTo>
                    <a:pt x="1556" y="200"/>
                  </a:lnTo>
                  <a:lnTo>
                    <a:pt x="1559" y="202"/>
                  </a:lnTo>
                  <a:lnTo>
                    <a:pt x="1558" y="202"/>
                  </a:lnTo>
                  <a:lnTo>
                    <a:pt x="1558" y="203"/>
                  </a:lnTo>
                  <a:lnTo>
                    <a:pt x="1562" y="204"/>
                  </a:lnTo>
                  <a:lnTo>
                    <a:pt x="1562" y="210"/>
                  </a:lnTo>
                  <a:lnTo>
                    <a:pt x="1562" y="213"/>
                  </a:lnTo>
                  <a:lnTo>
                    <a:pt x="1563" y="215"/>
                  </a:lnTo>
                  <a:lnTo>
                    <a:pt x="1561" y="219"/>
                  </a:lnTo>
                  <a:lnTo>
                    <a:pt x="1561" y="221"/>
                  </a:lnTo>
                  <a:lnTo>
                    <a:pt x="1558" y="224"/>
                  </a:lnTo>
                  <a:lnTo>
                    <a:pt x="1556" y="229"/>
                  </a:lnTo>
                  <a:lnTo>
                    <a:pt x="1554" y="235"/>
                  </a:lnTo>
                  <a:lnTo>
                    <a:pt x="1549" y="227"/>
                  </a:lnTo>
                  <a:lnTo>
                    <a:pt x="1548" y="225"/>
                  </a:lnTo>
                  <a:lnTo>
                    <a:pt x="1538" y="227"/>
                  </a:lnTo>
                  <a:lnTo>
                    <a:pt x="1533" y="231"/>
                  </a:lnTo>
                  <a:lnTo>
                    <a:pt x="1524" y="231"/>
                  </a:lnTo>
                  <a:lnTo>
                    <a:pt x="1523" y="228"/>
                  </a:lnTo>
                  <a:lnTo>
                    <a:pt x="1526" y="229"/>
                  </a:lnTo>
                  <a:lnTo>
                    <a:pt x="1527" y="227"/>
                  </a:lnTo>
                  <a:lnTo>
                    <a:pt x="1524" y="225"/>
                  </a:lnTo>
                  <a:lnTo>
                    <a:pt x="1521" y="225"/>
                  </a:lnTo>
                  <a:lnTo>
                    <a:pt x="1519" y="215"/>
                  </a:lnTo>
                  <a:lnTo>
                    <a:pt x="1515" y="215"/>
                  </a:lnTo>
                  <a:lnTo>
                    <a:pt x="1519" y="224"/>
                  </a:lnTo>
                  <a:lnTo>
                    <a:pt x="1517" y="228"/>
                  </a:lnTo>
                  <a:lnTo>
                    <a:pt x="1519" y="232"/>
                  </a:lnTo>
                  <a:lnTo>
                    <a:pt x="1516" y="236"/>
                  </a:lnTo>
                  <a:lnTo>
                    <a:pt x="1521" y="237"/>
                  </a:lnTo>
                  <a:lnTo>
                    <a:pt x="1527" y="240"/>
                  </a:lnTo>
                  <a:lnTo>
                    <a:pt x="1537" y="237"/>
                  </a:lnTo>
                  <a:lnTo>
                    <a:pt x="1541" y="241"/>
                  </a:lnTo>
                  <a:lnTo>
                    <a:pt x="1540" y="245"/>
                  </a:lnTo>
                  <a:lnTo>
                    <a:pt x="1531" y="252"/>
                  </a:lnTo>
                  <a:lnTo>
                    <a:pt x="1533" y="253"/>
                  </a:lnTo>
                  <a:lnTo>
                    <a:pt x="1538" y="253"/>
                  </a:lnTo>
                  <a:lnTo>
                    <a:pt x="1535" y="254"/>
                  </a:lnTo>
                  <a:lnTo>
                    <a:pt x="1529" y="253"/>
                  </a:lnTo>
                  <a:lnTo>
                    <a:pt x="1529" y="254"/>
                  </a:lnTo>
                  <a:lnTo>
                    <a:pt x="1531" y="256"/>
                  </a:lnTo>
                  <a:lnTo>
                    <a:pt x="1529" y="256"/>
                  </a:lnTo>
                  <a:lnTo>
                    <a:pt x="1529" y="257"/>
                  </a:lnTo>
                  <a:lnTo>
                    <a:pt x="1530" y="258"/>
                  </a:lnTo>
                  <a:lnTo>
                    <a:pt x="1530" y="260"/>
                  </a:lnTo>
                  <a:lnTo>
                    <a:pt x="1534" y="260"/>
                  </a:lnTo>
                  <a:lnTo>
                    <a:pt x="1540" y="262"/>
                  </a:lnTo>
                  <a:lnTo>
                    <a:pt x="1541" y="272"/>
                  </a:lnTo>
                  <a:lnTo>
                    <a:pt x="1537" y="278"/>
                  </a:lnTo>
                  <a:lnTo>
                    <a:pt x="1540" y="285"/>
                  </a:lnTo>
                  <a:lnTo>
                    <a:pt x="1541" y="290"/>
                  </a:lnTo>
                  <a:lnTo>
                    <a:pt x="1542" y="289"/>
                  </a:lnTo>
                  <a:lnTo>
                    <a:pt x="1545" y="282"/>
                  </a:lnTo>
                  <a:lnTo>
                    <a:pt x="1552" y="281"/>
                  </a:lnTo>
                  <a:lnTo>
                    <a:pt x="1555" y="275"/>
                  </a:lnTo>
                  <a:lnTo>
                    <a:pt x="1561" y="272"/>
                  </a:lnTo>
                  <a:lnTo>
                    <a:pt x="1561" y="270"/>
                  </a:lnTo>
                  <a:lnTo>
                    <a:pt x="1559" y="272"/>
                  </a:lnTo>
                  <a:lnTo>
                    <a:pt x="1558" y="272"/>
                  </a:lnTo>
                  <a:lnTo>
                    <a:pt x="1563" y="263"/>
                  </a:lnTo>
                  <a:lnTo>
                    <a:pt x="1566" y="245"/>
                  </a:lnTo>
                  <a:lnTo>
                    <a:pt x="1569" y="240"/>
                  </a:lnTo>
                  <a:lnTo>
                    <a:pt x="1572" y="240"/>
                  </a:lnTo>
                  <a:lnTo>
                    <a:pt x="1567" y="277"/>
                  </a:lnTo>
                  <a:lnTo>
                    <a:pt x="1567" y="290"/>
                  </a:lnTo>
                  <a:lnTo>
                    <a:pt x="1570" y="311"/>
                  </a:lnTo>
                  <a:lnTo>
                    <a:pt x="1575" y="331"/>
                  </a:lnTo>
                  <a:lnTo>
                    <a:pt x="1584" y="360"/>
                  </a:lnTo>
                  <a:lnTo>
                    <a:pt x="1591" y="376"/>
                  </a:lnTo>
                  <a:lnTo>
                    <a:pt x="1600" y="392"/>
                  </a:lnTo>
                  <a:lnTo>
                    <a:pt x="1631" y="444"/>
                  </a:lnTo>
                  <a:lnTo>
                    <a:pt x="1640" y="461"/>
                  </a:lnTo>
                  <a:lnTo>
                    <a:pt x="1650" y="476"/>
                  </a:lnTo>
                  <a:lnTo>
                    <a:pt x="1679" y="503"/>
                  </a:lnTo>
                  <a:lnTo>
                    <a:pt x="1683" y="513"/>
                  </a:lnTo>
                  <a:lnTo>
                    <a:pt x="1684" y="526"/>
                  </a:lnTo>
                  <a:lnTo>
                    <a:pt x="1690" y="538"/>
                  </a:lnTo>
                  <a:lnTo>
                    <a:pt x="1692" y="543"/>
                  </a:lnTo>
                  <a:lnTo>
                    <a:pt x="1697" y="544"/>
                  </a:lnTo>
                  <a:lnTo>
                    <a:pt x="1697" y="548"/>
                  </a:lnTo>
                  <a:lnTo>
                    <a:pt x="1701" y="551"/>
                  </a:lnTo>
                  <a:lnTo>
                    <a:pt x="1698" y="552"/>
                  </a:lnTo>
                  <a:lnTo>
                    <a:pt x="1698" y="556"/>
                  </a:lnTo>
                  <a:lnTo>
                    <a:pt x="1700" y="560"/>
                  </a:lnTo>
                  <a:lnTo>
                    <a:pt x="1697" y="564"/>
                  </a:lnTo>
                  <a:lnTo>
                    <a:pt x="1698" y="573"/>
                  </a:lnTo>
                  <a:lnTo>
                    <a:pt x="1694" y="603"/>
                  </a:lnTo>
                  <a:lnTo>
                    <a:pt x="1694" y="606"/>
                  </a:lnTo>
                  <a:lnTo>
                    <a:pt x="1695" y="606"/>
                  </a:lnTo>
                  <a:lnTo>
                    <a:pt x="1694" y="608"/>
                  </a:lnTo>
                  <a:lnTo>
                    <a:pt x="1695" y="611"/>
                  </a:lnTo>
                  <a:lnTo>
                    <a:pt x="1700" y="611"/>
                  </a:lnTo>
                  <a:lnTo>
                    <a:pt x="1701" y="615"/>
                  </a:lnTo>
                  <a:lnTo>
                    <a:pt x="1704" y="618"/>
                  </a:lnTo>
                  <a:lnTo>
                    <a:pt x="1706" y="625"/>
                  </a:lnTo>
                  <a:lnTo>
                    <a:pt x="1704" y="634"/>
                  </a:lnTo>
                  <a:lnTo>
                    <a:pt x="1701" y="653"/>
                  </a:lnTo>
                  <a:lnTo>
                    <a:pt x="1704" y="664"/>
                  </a:lnTo>
                  <a:lnTo>
                    <a:pt x="1706" y="667"/>
                  </a:lnTo>
                  <a:lnTo>
                    <a:pt x="1705" y="675"/>
                  </a:lnTo>
                  <a:lnTo>
                    <a:pt x="1708" y="679"/>
                  </a:lnTo>
                  <a:lnTo>
                    <a:pt x="1706" y="693"/>
                  </a:lnTo>
                  <a:lnTo>
                    <a:pt x="1711" y="705"/>
                  </a:lnTo>
                  <a:lnTo>
                    <a:pt x="1714" y="705"/>
                  </a:lnTo>
                  <a:lnTo>
                    <a:pt x="1716" y="715"/>
                  </a:lnTo>
                  <a:lnTo>
                    <a:pt x="1719" y="717"/>
                  </a:lnTo>
                  <a:lnTo>
                    <a:pt x="1720" y="722"/>
                  </a:lnTo>
                  <a:lnTo>
                    <a:pt x="1720" y="730"/>
                  </a:lnTo>
                  <a:lnTo>
                    <a:pt x="1723" y="747"/>
                  </a:lnTo>
                  <a:lnTo>
                    <a:pt x="1726" y="756"/>
                  </a:lnTo>
                  <a:lnTo>
                    <a:pt x="1736" y="767"/>
                  </a:lnTo>
                  <a:lnTo>
                    <a:pt x="1736" y="770"/>
                  </a:lnTo>
                  <a:lnTo>
                    <a:pt x="1731" y="788"/>
                  </a:lnTo>
                  <a:lnTo>
                    <a:pt x="1733" y="791"/>
                  </a:lnTo>
                  <a:lnTo>
                    <a:pt x="1736" y="791"/>
                  </a:lnTo>
                  <a:lnTo>
                    <a:pt x="1736" y="793"/>
                  </a:lnTo>
                  <a:lnTo>
                    <a:pt x="1730" y="806"/>
                  </a:lnTo>
                  <a:lnTo>
                    <a:pt x="1729" y="814"/>
                  </a:lnTo>
                  <a:lnTo>
                    <a:pt x="1730" y="820"/>
                  </a:lnTo>
                  <a:lnTo>
                    <a:pt x="1733" y="825"/>
                  </a:lnTo>
                  <a:lnTo>
                    <a:pt x="1736" y="825"/>
                  </a:lnTo>
                  <a:lnTo>
                    <a:pt x="1739" y="825"/>
                  </a:lnTo>
                  <a:lnTo>
                    <a:pt x="1740" y="834"/>
                  </a:lnTo>
                  <a:lnTo>
                    <a:pt x="1737" y="859"/>
                  </a:lnTo>
                  <a:lnTo>
                    <a:pt x="1739" y="868"/>
                  </a:lnTo>
                  <a:lnTo>
                    <a:pt x="1739" y="876"/>
                  </a:lnTo>
                  <a:lnTo>
                    <a:pt x="1740" y="891"/>
                  </a:lnTo>
                  <a:lnTo>
                    <a:pt x="1747" y="911"/>
                  </a:lnTo>
                  <a:lnTo>
                    <a:pt x="1747" y="926"/>
                  </a:lnTo>
                  <a:lnTo>
                    <a:pt x="1747" y="940"/>
                  </a:lnTo>
                  <a:lnTo>
                    <a:pt x="1745" y="943"/>
                  </a:lnTo>
                  <a:lnTo>
                    <a:pt x="1747" y="949"/>
                  </a:lnTo>
                  <a:lnTo>
                    <a:pt x="1745" y="954"/>
                  </a:lnTo>
                  <a:lnTo>
                    <a:pt x="1747" y="956"/>
                  </a:lnTo>
                  <a:lnTo>
                    <a:pt x="1745" y="958"/>
                  </a:lnTo>
                  <a:lnTo>
                    <a:pt x="1745" y="963"/>
                  </a:lnTo>
                  <a:lnTo>
                    <a:pt x="1742" y="988"/>
                  </a:lnTo>
                  <a:lnTo>
                    <a:pt x="1747" y="990"/>
                  </a:lnTo>
                  <a:lnTo>
                    <a:pt x="1748" y="992"/>
                  </a:lnTo>
                  <a:lnTo>
                    <a:pt x="1750" y="992"/>
                  </a:lnTo>
                  <a:lnTo>
                    <a:pt x="1750" y="993"/>
                  </a:lnTo>
                  <a:lnTo>
                    <a:pt x="1751" y="993"/>
                  </a:lnTo>
                  <a:lnTo>
                    <a:pt x="1750" y="996"/>
                  </a:lnTo>
                  <a:lnTo>
                    <a:pt x="1751" y="998"/>
                  </a:lnTo>
                  <a:lnTo>
                    <a:pt x="1750" y="1003"/>
                  </a:lnTo>
                  <a:lnTo>
                    <a:pt x="1748" y="1004"/>
                  </a:lnTo>
                  <a:lnTo>
                    <a:pt x="1747" y="1003"/>
                  </a:lnTo>
                  <a:lnTo>
                    <a:pt x="1747" y="1005"/>
                  </a:lnTo>
                  <a:lnTo>
                    <a:pt x="1751" y="1008"/>
                  </a:lnTo>
                  <a:lnTo>
                    <a:pt x="1750" y="1011"/>
                  </a:lnTo>
                  <a:lnTo>
                    <a:pt x="1751" y="1011"/>
                  </a:lnTo>
                  <a:lnTo>
                    <a:pt x="1751" y="1012"/>
                  </a:lnTo>
                  <a:lnTo>
                    <a:pt x="1752" y="1012"/>
                  </a:lnTo>
                  <a:lnTo>
                    <a:pt x="1751" y="1015"/>
                  </a:lnTo>
                  <a:lnTo>
                    <a:pt x="1748" y="1018"/>
                  </a:lnTo>
                  <a:lnTo>
                    <a:pt x="1754" y="1016"/>
                  </a:lnTo>
                  <a:lnTo>
                    <a:pt x="1754" y="1020"/>
                  </a:lnTo>
                  <a:lnTo>
                    <a:pt x="1755" y="1020"/>
                  </a:lnTo>
                  <a:lnTo>
                    <a:pt x="1758" y="1018"/>
                  </a:lnTo>
                  <a:lnTo>
                    <a:pt x="1759" y="1020"/>
                  </a:lnTo>
                  <a:lnTo>
                    <a:pt x="1759" y="1018"/>
                  </a:lnTo>
                  <a:lnTo>
                    <a:pt x="1762" y="1012"/>
                  </a:lnTo>
                  <a:lnTo>
                    <a:pt x="1761" y="1012"/>
                  </a:lnTo>
                  <a:lnTo>
                    <a:pt x="1758" y="1012"/>
                  </a:lnTo>
                  <a:lnTo>
                    <a:pt x="1758" y="1008"/>
                  </a:lnTo>
                  <a:lnTo>
                    <a:pt x="1766" y="1000"/>
                  </a:lnTo>
                  <a:lnTo>
                    <a:pt x="1766" y="1003"/>
                  </a:lnTo>
                  <a:lnTo>
                    <a:pt x="1762" y="1005"/>
                  </a:lnTo>
                  <a:lnTo>
                    <a:pt x="1761" y="1011"/>
                  </a:lnTo>
                  <a:lnTo>
                    <a:pt x="1766" y="1010"/>
                  </a:lnTo>
                  <a:lnTo>
                    <a:pt x="1767" y="1005"/>
                  </a:lnTo>
                  <a:lnTo>
                    <a:pt x="1775" y="1007"/>
                  </a:lnTo>
                  <a:lnTo>
                    <a:pt x="1775" y="1010"/>
                  </a:lnTo>
                  <a:lnTo>
                    <a:pt x="1779" y="1011"/>
                  </a:lnTo>
                  <a:lnTo>
                    <a:pt x="1779" y="1020"/>
                  </a:lnTo>
                  <a:lnTo>
                    <a:pt x="1781" y="1016"/>
                  </a:lnTo>
                  <a:lnTo>
                    <a:pt x="1783" y="1012"/>
                  </a:lnTo>
                  <a:lnTo>
                    <a:pt x="1784" y="1015"/>
                  </a:lnTo>
                  <a:lnTo>
                    <a:pt x="1784" y="1011"/>
                  </a:lnTo>
                  <a:lnTo>
                    <a:pt x="1787" y="1010"/>
                  </a:lnTo>
                  <a:lnTo>
                    <a:pt x="1789" y="1010"/>
                  </a:lnTo>
                  <a:lnTo>
                    <a:pt x="1789" y="1007"/>
                  </a:lnTo>
                  <a:lnTo>
                    <a:pt x="1791" y="1008"/>
                  </a:lnTo>
                  <a:lnTo>
                    <a:pt x="1793" y="1007"/>
                  </a:lnTo>
                  <a:lnTo>
                    <a:pt x="1795" y="1007"/>
                  </a:lnTo>
                  <a:lnTo>
                    <a:pt x="1797" y="1010"/>
                  </a:lnTo>
                  <a:lnTo>
                    <a:pt x="1798" y="1015"/>
                  </a:lnTo>
                  <a:lnTo>
                    <a:pt x="1800" y="1004"/>
                  </a:lnTo>
                  <a:lnTo>
                    <a:pt x="1804" y="999"/>
                  </a:lnTo>
                  <a:lnTo>
                    <a:pt x="1805" y="1000"/>
                  </a:lnTo>
                  <a:lnTo>
                    <a:pt x="1808" y="999"/>
                  </a:lnTo>
                  <a:lnTo>
                    <a:pt x="1808" y="998"/>
                  </a:lnTo>
                  <a:lnTo>
                    <a:pt x="1811" y="998"/>
                  </a:lnTo>
                  <a:lnTo>
                    <a:pt x="1815" y="999"/>
                  </a:lnTo>
                  <a:lnTo>
                    <a:pt x="1811" y="993"/>
                  </a:lnTo>
                  <a:lnTo>
                    <a:pt x="1812" y="988"/>
                  </a:lnTo>
                  <a:lnTo>
                    <a:pt x="1816" y="990"/>
                  </a:lnTo>
                  <a:lnTo>
                    <a:pt x="1819" y="990"/>
                  </a:lnTo>
                  <a:lnTo>
                    <a:pt x="1816" y="988"/>
                  </a:lnTo>
                  <a:lnTo>
                    <a:pt x="1811" y="984"/>
                  </a:lnTo>
                  <a:lnTo>
                    <a:pt x="1814" y="979"/>
                  </a:lnTo>
                  <a:lnTo>
                    <a:pt x="1822" y="971"/>
                  </a:lnTo>
                  <a:lnTo>
                    <a:pt x="1837" y="963"/>
                  </a:lnTo>
                  <a:lnTo>
                    <a:pt x="1837" y="961"/>
                  </a:lnTo>
                  <a:lnTo>
                    <a:pt x="1840" y="959"/>
                  </a:lnTo>
                  <a:lnTo>
                    <a:pt x="1839" y="955"/>
                  </a:lnTo>
                  <a:lnTo>
                    <a:pt x="1839" y="954"/>
                  </a:lnTo>
                  <a:lnTo>
                    <a:pt x="1833" y="941"/>
                  </a:lnTo>
                  <a:lnTo>
                    <a:pt x="1836" y="938"/>
                  </a:lnTo>
                  <a:lnTo>
                    <a:pt x="1840" y="933"/>
                  </a:lnTo>
                  <a:lnTo>
                    <a:pt x="1844" y="931"/>
                  </a:lnTo>
                  <a:lnTo>
                    <a:pt x="1844" y="926"/>
                  </a:lnTo>
                  <a:lnTo>
                    <a:pt x="1847" y="925"/>
                  </a:lnTo>
                  <a:lnTo>
                    <a:pt x="1849" y="917"/>
                  </a:lnTo>
                  <a:lnTo>
                    <a:pt x="1851" y="916"/>
                  </a:lnTo>
                  <a:lnTo>
                    <a:pt x="1862" y="917"/>
                  </a:lnTo>
                  <a:lnTo>
                    <a:pt x="1868" y="918"/>
                  </a:lnTo>
                  <a:lnTo>
                    <a:pt x="1871" y="923"/>
                  </a:lnTo>
                  <a:lnTo>
                    <a:pt x="1875" y="931"/>
                  </a:lnTo>
                  <a:lnTo>
                    <a:pt x="1874" y="943"/>
                  </a:lnTo>
                  <a:lnTo>
                    <a:pt x="1878" y="953"/>
                  </a:lnTo>
                  <a:lnTo>
                    <a:pt x="1878" y="961"/>
                  </a:lnTo>
                  <a:lnTo>
                    <a:pt x="1885" y="974"/>
                  </a:lnTo>
                  <a:lnTo>
                    <a:pt x="1891" y="988"/>
                  </a:lnTo>
                  <a:lnTo>
                    <a:pt x="1897" y="1012"/>
                  </a:lnTo>
                  <a:lnTo>
                    <a:pt x="1897" y="1020"/>
                  </a:lnTo>
                  <a:lnTo>
                    <a:pt x="1901" y="1016"/>
                  </a:lnTo>
                  <a:lnTo>
                    <a:pt x="1900" y="1011"/>
                  </a:lnTo>
                  <a:lnTo>
                    <a:pt x="1903" y="1010"/>
                  </a:lnTo>
                  <a:lnTo>
                    <a:pt x="1901" y="1004"/>
                  </a:lnTo>
                  <a:lnTo>
                    <a:pt x="1904" y="1000"/>
                  </a:lnTo>
                  <a:lnTo>
                    <a:pt x="1903" y="998"/>
                  </a:lnTo>
                  <a:lnTo>
                    <a:pt x="1904" y="993"/>
                  </a:lnTo>
                  <a:lnTo>
                    <a:pt x="1905" y="992"/>
                  </a:lnTo>
                  <a:lnTo>
                    <a:pt x="1908" y="990"/>
                  </a:lnTo>
                  <a:lnTo>
                    <a:pt x="1911" y="982"/>
                  </a:lnTo>
                  <a:lnTo>
                    <a:pt x="1911" y="978"/>
                  </a:lnTo>
                  <a:lnTo>
                    <a:pt x="1912" y="976"/>
                  </a:lnTo>
                  <a:lnTo>
                    <a:pt x="1912" y="975"/>
                  </a:lnTo>
                  <a:lnTo>
                    <a:pt x="1910" y="974"/>
                  </a:lnTo>
                  <a:lnTo>
                    <a:pt x="1910" y="967"/>
                  </a:lnTo>
                  <a:lnTo>
                    <a:pt x="1915" y="967"/>
                  </a:lnTo>
                  <a:lnTo>
                    <a:pt x="1912" y="967"/>
                  </a:lnTo>
                  <a:lnTo>
                    <a:pt x="1912" y="963"/>
                  </a:lnTo>
                  <a:lnTo>
                    <a:pt x="1914" y="963"/>
                  </a:lnTo>
                  <a:lnTo>
                    <a:pt x="1914" y="962"/>
                  </a:lnTo>
                  <a:lnTo>
                    <a:pt x="1915" y="959"/>
                  </a:lnTo>
                  <a:lnTo>
                    <a:pt x="1915" y="958"/>
                  </a:lnTo>
                  <a:lnTo>
                    <a:pt x="1916" y="954"/>
                  </a:lnTo>
                  <a:lnTo>
                    <a:pt x="1916" y="951"/>
                  </a:lnTo>
                  <a:lnTo>
                    <a:pt x="1915" y="948"/>
                  </a:lnTo>
                  <a:lnTo>
                    <a:pt x="1914" y="940"/>
                  </a:lnTo>
                  <a:lnTo>
                    <a:pt x="1911" y="933"/>
                  </a:lnTo>
                  <a:lnTo>
                    <a:pt x="1915" y="937"/>
                  </a:lnTo>
                  <a:lnTo>
                    <a:pt x="1918" y="949"/>
                  </a:lnTo>
                  <a:lnTo>
                    <a:pt x="1918" y="962"/>
                  </a:lnTo>
                  <a:lnTo>
                    <a:pt x="1910" y="993"/>
                  </a:lnTo>
                  <a:lnTo>
                    <a:pt x="1904" y="1032"/>
                  </a:lnTo>
                  <a:lnTo>
                    <a:pt x="1905" y="1033"/>
                  </a:lnTo>
                  <a:lnTo>
                    <a:pt x="1904" y="1041"/>
                  </a:lnTo>
                  <a:lnTo>
                    <a:pt x="1904" y="1048"/>
                  </a:lnTo>
                  <a:lnTo>
                    <a:pt x="1908" y="1055"/>
                  </a:lnTo>
                  <a:lnTo>
                    <a:pt x="1908" y="1070"/>
                  </a:lnTo>
                  <a:lnTo>
                    <a:pt x="1911" y="1079"/>
                  </a:lnTo>
                  <a:lnTo>
                    <a:pt x="1914" y="1095"/>
                  </a:lnTo>
                  <a:lnTo>
                    <a:pt x="1915" y="1098"/>
                  </a:lnTo>
                  <a:lnTo>
                    <a:pt x="1914" y="1136"/>
                  </a:lnTo>
                  <a:lnTo>
                    <a:pt x="1912" y="1173"/>
                  </a:lnTo>
                  <a:lnTo>
                    <a:pt x="1912" y="1177"/>
                  </a:lnTo>
                  <a:lnTo>
                    <a:pt x="1908" y="1212"/>
                  </a:lnTo>
                  <a:lnTo>
                    <a:pt x="1901" y="1237"/>
                  </a:lnTo>
                  <a:lnTo>
                    <a:pt x="1899" y="1248"/>
                  </a:lnTo>
                  <a:lnTo>
                    <a:pt x="1887" y="1284"/>
                  </a:lnTo>
                  <a:lnTo>
                    <a:pt x="1883" y="1310"/>
                  </a:lnTo>
                  <a:lnTo>
                    <a:pt x="1883" y="1322"/>
                  </a:lnTo>
                  <a:lnTo>
                    <a:pt x="1885" y="1323"/>
                  </a:lnTo>
                  <a:lnTo>
                    <a:pt x="1885" y="1336"/>
                  </a:lnTo>
                  <a:lnTo>
                    <a:pt x="1887" y="1344"/>
                  </a:lnTo>
                  <a:lnTo>
                    <a:pt x="1887" y="1353"/>
                  </a:lnTo>
                  <a:lnTo>
                    <a:pt x="1890" y="1360"/>
                  </a:lnTo>
                  <a:lnTo>
                    <a:pt x="1890" y="1372"/>
                  </a:lnTo>
                  <a:lnTo>
                    <a:pt x="1893" y="1384"/>
                  </a:lnTo>
                  <a:lnTo>
                    <a:pt x="1893" y="1397"/>
                  </a:lnTo>
                  <a:lnTo>
                    <a:pt x="1891" y="1411"/>
                  </a:lnTo>
                  <a:lnTo>
                    <a:pt x="1891" y="1420"/>
                  </a:lnTo>
                  <a:lnTo>
                    <a:pt x="1890" y="1450"/>
                  </a:lnTo>
                  <a:lnTo>
                    <a:pt x="1891" y="1456"/>
                  </a:lnTo>
                  <a:lnTo>
                    <a:pt x="1891" y="1472"/>
                  </a:lnTo>
                  <a:lnTo>
                    <a:pt x="1894" y="1493"/>
                  </a:lnTo>
                  <a:lnTo>
                    <a:pt x="1894" y="1502"/>
                  </a:lnTo>
                  <a:lnTo>
                    <a:pt x="1900" y="1523"/>
                  </a:lnTo>
                  <a:lnTo>
                    <a:pt x="1904" y="1532"/>
                  </a:lnTo>
                  <a:lnTo>
                    <a:pt x="1903" y="1537"/>
                  </a:lnTo>
                  <a:lnTo>
                    <a:pt x="1911" y="1548"/>
                  </a:lnTo>
                  <a:lnTo>
                    <a:pt x="1911" y="1555"/>
                  </a:lnTo>
                  <a:lnTo>
                    <a:pt x="1916" y="1563"/>
                  </a:lnTo>
                  <a:lnTo>
                    <a:pt x="1915" y="1567"/>
                  </a:lnTo>
                  <a:lnTo>
                    <a:pt x="1918" y="1575"/>
                  </a:lnTo>
                  <a:lnTo>
                    <a:pt x="1916" y="1577"/>
                  </a:lnTo>
                  <a:lnTo>
                    <a:pt x="1916" y="1581"/>
                  </a:lnTo>
                  <a:lnTo>
                    <a:pt x="1918" y="1584"/>
                  </a:lnTo>
                  <a:lnTo>
                    <a:pt x="1928" y="1584"/>
                  </a:lnTo>
                  <a:lnTo>
                    <a:pt x="1936" y="1589"/>
                  </a:lnTo>
                  <a:lnTo>
                    <a:pt x="1939" y="1588"/>
                  </a:lnTo>
                  <a:lnTo>
                    <a:pt x="1941" y="1593"/>
                  </a:lnTo>
                  <a:lnTo>
                    <a:pt x="1943" y="1591"/>
                  </a:lnTo>
                  <a:lnTo>
                    <a:pt x="1941" y="1585"/>
                  </a:lnTo>
                  <a:lnTo>
                    <a:pt x="1936" y="1581"/>
                  </a:lnTo>
                  <a:lnTo>
                    <a:pt x="1929" y="1571"/>
                  </a:lnTo>
                  <a:lnTo>
                    <a:pt x="1926" y="1569"/>
                  </a:lnTo>
                  <a:lnTo>
                    <a:pt x="1922" y="1562"/>
                  </a:lnTo>
                  <a:lnTo>
                    <a:pt x="1919" y="1559"/>
                  </a:lnTo>
                  <a:lnTo>
                    <a:pt x="1919" y="1555"/>
                  </a:lnTo>
                  <a:lnTo>
                    <a:pt x="1918" y="1554"/>
                  </a:lnTo>
                  <a:lnTo>
                    <a:pt x="1916" y="1550"/>
                  </a:lnTo>
                  <a:lnTo>
                    <a:pt x="1918" y="1550"/>
                  </a:lnTo>
                  <a:lnTo>
                    <a:pt x="1926" y="1564"/>
                  </a:lnTo>
                  <a:lnTo>
                    <a:pt x="1932" y="1574"/>
                  </a:lnTo>
                  <a:lnTo>
                    <a:pt x="1939" y="1575"/>
                  </a:lnTo>
                  <a:lnTo>
                    <a:pt x="1941" y="1577"/>
                  </a:lnTo>
                  <a:lnTo>
                    <a:pt x="1955" y="1580"/>
                  </a:lnTo>
                  <a:lnTo>
                    <a:pt x="1958" y="1581"/>
                  </a:lnTo>
                  <a:lnTo>
                    <a:pt x="1962" y="1581"/>
                  </a:lnTo>
                  <a:close/>
                  <a:moveTo>
                    <a:pt x="1874" y="513"/>
                  </a:moveTo>
                  <a:lnTo>
                    <a:pt x="1874" y="518"/>
                  </a:lnTo>
                  <a:lnTo>
                    <a:pt x="1875" y="524"/>
                  </a:lnTo>
                  <a:lnTo>
                    <a:pt x="1869" y="543"/>
                  </a:lnTo>
                  <a:lnTo>
                    <a:pt x="1872" y="548"/>
                  </a:lnTo>
                  <a:lnTo>
                    <a:pt x="1875" y="551"/>
                  </a:lnTo>
                  <a:lnTo>
                    <a:pt x="1878" y="551"/>
                  </a:lnTo>
                  <a:lnTo>
                    <a:pt x="1878" y="552"/>
                  </a:lnTo>
                  <a:lnTo>
                    <a:pt x="1868" y="583"/>
                  </a:lnTo>
                  <a:lnTo>
                    <a:pt x="1866" y="600"/>
                  </a:lnTo>
                  <a:lnTo>
                    <a:pt x="1855" y="620"/>
                  </a:lnTo>
                  <a:lnTo>
                    <a:pt x="1852" y="623"/>
                  </a:lnTo>
                  <a:lnTo>
                    <a:pt x="1849" y="634"/>
                  </a:lnTo>
                  <a:lnTo>
                    <a:pt x="1847" y="652"/>
                  </a:lnTo>
                  <a:lnTo>
                    <a:pt x="1850" y="660"/>
                  </a:lnTo>
                  <a:lnTo>
                    <a:pt x="1850" y="664"/>
                  </a:lnTo>
                  <a:lnTo>
                    <a:pt x="1844" y="675"/>
                  </a:lnTo>
                  <a:lnTo>
                    <a:pt x="1835" y="660"/>
                  </a:lnTo>
                  <a:lnTo>
                    <a:pt x="1833" y="659"/>
                  </a:lnTo>
                  <a:lnTo>
                    <a:pt x="1829" y="653"/>
                  </a:lnTo>
                  <a:lnTo>
                    <a:pt x="1827" y="650"/>
                  </a:lnTo>
                  <a:lnTo>
                    <a:pt x="1827" y="648"/>
                  </a:lnTo>
                  <a:lnTo>
                    <a:pt x="1829" y="647"/>
                  </a:lnTo>
                  <a:lnTo>
                    <a:pt x="1830" y="642"/>
                  </a:lnTo>
                  <a:lnTo>
                    <a:pt x="1829" y="637"/>
                  </a:lnTo>
                  <a:lnTo>
                    <a:pt x="1827" y="634"/>
                  </a:lnTo>
                  <a:lnTo>
                    <a:pt x="1827" y="631"/>
                  </a:lnTo>
                  <a:lnTo>
                    <a:pt x="1825" y="625"/>
                  </a:lnTo>
                  <a:lnTo>
                    <a:pt x="1819" y="620"/>
                  </a:lnTo>
                  <a:lnTo>
                    <a:pt x="1821" y="615"/>
                  </a:lnTo>
                  <a:lnTo>
                    <a:pt x="1826" y="615"/>
                  </a:lnTo>
                  <a:lnTo>
                    <a:pt x="1833" y="609"/>
                  </a:lnTo>
                  <a:lnTo>
                    <a:pt x="1837" y="601"/>
                  </a:lnTo>
                  <a:lnTo>
                    <a:pt x="1837" y="596"/>
                  </a:lnTo>
                  <a:lnTo>
                    <a:pt x="1835" y="586"/>
                  </a:lnTo>
                  <a:lnTo>
                    <a:pt x="1835" y="584"/>
                  </a:lnTo>
                  <a:lnTo>
                    <a:pt x="1832" y="576"/>
                  </a:lnTo>
                  <a:lnTo>
                    <a:pt x="1829" y="573"/>
                  </a:lnTo>
                  <a:lnTo>
                    <a:pt x="1826" y="566"/>
                  </a:lnTo>
                  <a:lnTo>
                    <a:pt x="1825" y="564"/>
                  </a:lnTo>
                  <a:lnTo>
                    <a:pt x="1841" y="552"/>
                  </a:lnTo>
                  <a:lnTo>
                    <a:pt x="1850" y="539"/>
                  </a:lnTo>
                  <a:lnTo>
                    <a:pt x="1850" y="526"/>
                  </a:lnTo>
                  <a:lnTo>
                    <a:pt x="1850" y="522"/>
                  </a:lnTo>
                  <a:lnTo>
                    <a:pt x="1852" y="522"/>
                  </a:lnTo>
                  <a:lnTo>
                    <a:pt x="1852" y="521"/>
                  </a:lnTo>
                  <a:lnTo>
                    <a:pt x="1852" y="510"/>
                  </a:lnTo>
                  <a:lnTo>
                    <a:pt x="1849" y="489"/>
                  </a:lnTo>
                  <a:lnTo>
                    <a:pt x="1854" y="484"/>
                  </a:lnTo>
                  <a:lnTo>
                    <a:pt x="1857" y="476"/>
                  </a:lnTo>
                  <a:lnTo>
                    <a:pt x="1857" y="463"/>
                  </a:lnTo>
                  <a:lnTo>
                    <a:pt x="1861" y="460"/>
                  </a:lnTo>
                  <a:lnTo>
                    <a:pt x="1864" y="457"/>
                  </a:lnTo>
                  <a:lnTo>
                    <a:pt x="1862" y="454"/>
                  </a:lnTo>
                  <a:lnTo>
                    <a:pt x="1861" y="451"/>
                  </a:lnTo>
                  <a:lnTo>
                    <a:pt x="1846" y="444"/>
                  </a:lnTo>
                  <a:lnTo>
                    <a:pt x="1841" y="441"/>
                  </a:lnTo>
                  <a:lnTo>
                    <a:pt x="1837" y="440"/>
                  </a:lnTo>
                  <a:lnTo>
                    <a:pt x="1840" y="440"/>
                  </a:lnTo>
                  <a:lnTo>
                    <a:pt x="1860" y="449"/>
                  </a:lnTo>
                  <a:lnTo>
                    <a:pt x="1865" y="447"/>
                  </a:lnTo>
                  <a:lnTo>
                    <a:pt x="1871" y="459"/>
                  </a:lnTo>
                  <a:lnTo>
                    <a:pt x="1875" y="464"/>
                  </a:lnTo>
                  <a:lnTo>
                    <a:pt x="1875" y="485"/>
                  </a:lnTo>
                  <a:lnTo>
                    <a:pt x="1878" y="488"/>
                  </a:lnTo>
                  <a:lnTo>
                    <a:pt x="1878" y="490"/>
                  </a:lnTo>
                  <a:lnTo>
                    <a:pt x="1874" y="513"/>
                  </a:lnTo>
                  <a:close/>
                  <a:moveTo>
                    <a:pt x="1854" y="687"/>
                  </a:moveTo>
                  <a:lnTo>
                    <a:pt x="1854" y="693"/>
                  </a:lnTo>
                  <a:lnTo>
                    <a:pt x="1851" y="698"/>
                  </a:lnTo>
                  <a:lnTo>
                    <a:pt x="1847" y="715"/>
                  </a:lnTo>
                  <a:lnTo>
                    <a:pt x="1846" y="718"/>
                  </a:lnTo>
                  <a:lnTo>
                    <a:pt x="1843" y="749"/>
                  </a:lnTo>
                  <a:lnTo>
                    <a:pt x="1840" y="760"/>
                  </a:lnTo>
                  <a:lnTo>
                    <a:pt x="1836" y="770"/>
                  </a:lnTo>
                  <a:lnTo>
                    <a:pt x="1832" y="766"/>
                  </a:lnTo>
                  <a:lnTo>
                    <a:pt x="1822" y="762"/>
                  </a:lnTo>
                  <a:lnTo>
                    <a:pt x="1821" y="762"/>
                  </a:lnTo>
                  <a:lnTo>
                    <a:pt x="1818" y="754"/>
                  </a:lnTo>
                  <a:lnTo>
                    <a:pt x="1819" y="750"/>
                  </a:lnTo>
                  <a:lnTo>
                    <a:pt x="1818" y="743"/>
                  </a:lnTo>
                  <a:lnTo>
                    <a:pt x="1816" y="739"/>
                  </a:lnTo>
                  <a:lnTo>
                    <a:pt x="1809" y="734"/>
                  </a:lnTo>
                  <a:lnTo>
                    <a:pt x="1809" y="730"/>
                  </a:lnTo>
                  <a:lnTo>
                    <a:pt x="1815" y="729"/>
                  </a:lnTo>
                  <a:lnTo>
                    <a:pt x="1822" y="720"/>
                  </a:lnTo>
                  <a:lnTo>
                    <a:pt x="1830" y="717"/>
                  </a:lnTo>
                  <a:lnTo>
                    <a:pt x="1832" y="713"/>
                  </a:lnTo>
                  <a:lnTo>
                    <a:pt x="1843" y="715"/>
                  </a:lnTo>
                  <a:lnTo>
                    <a:pt x="1841" y="709"/>
                  </a:lnTo>
                  <a:lnTo>
                    <a:pt x="1841" y="705"/>
                  </a:lnTo>
                  <a:lnTo>
                    <a:pt x="1843" y="702"/>
                  </a:lnTo>
                  <a:lnTo>
                    <a:pt x="1847" y="700"/>
                  </a:lnTo>
                  <a:lnTo>
                    <a:pt x="1847" y="693"/>
                  </a:lnTo>
                  <a:lnTo>
                    <a:pt x="1850" y="687"/>
                  </a:lnTo>
                  <a:lnTo>
                    <a:pt x="1849" y="687"/>
                  </a:lnTo>
                  <a:lnTo>
                    <a:pt x="1849" y="683"/>
                  </a:lnTo>
                  <a:lnTo>
                    <a:pt x="1851" y="685"/>
                  </a:lnTo>
                  <a:lnTo>
                    <a:pt x="1854" y="687"/>
                  </a:lnTo>
                  <a:close/>
                  <a:moveTo>
                    <a:pt x="1905" y="953"/>
                  </a:moveTo>
                  <a:lnTo>
                    <a:pt x="1907" y="958"/>
                  </a:lnTo>
                  <a:lnTo>
                    <a:pt x="1905" y="959"/>
                  </a:lnTo>
                  <a:lnTo>
                    <a:pt x="1904" y="963"/>
                  </a:lnTo>
                  <a:lnTo>
                    <a:pt x="1904" y="967"/>
                  </a:lnTo>
                  <a:lnTo>
                    <a:pt x="1897" y="963"/>
                  </a:lnTo>
                  <a:lnTo>
                    <a:pt x="1896" y="956"/>
                  </a:lnTo>
                  <a:lnTo>
                    <a:pt x="1896" y="951"/>
                  </a:lnTo>
                  <a:lnTo>
                    <a:pt x="1897" y="949"/>
                  </a:lnTo>
                  <a:lnTo>
                    <a:pt x="1900" y="945"/>
                  </a:lnTo>
                  <a:lnTo>
                    <a:pt x="1903" y="945"/>
                  </a:lnTo>
                  <a:lnTo>
                    <a:pt x="1904" y="949"/>
                  </a:lnTo>
                  <a:lnTo>
                    <a:pt x="1907" y="949"/>
                  </a:lnTo>
                  <a:lnTo>
                    <a:pt x="1907" y="951"/>
                  </a:lnTo>
                  <a:lnTo>
                    <a:pt x="1905" y="953"/>
                  </a:lnTo>
                  <a:close/>
                  <a:moveTo>
                    <a:pt x="1826" y="806"/>
                  </a:moveTo>
                  <a:lnTo>
                    <a:pt x="1826" y="813"/>
                  </a:lnTo>
                  <a:lnTo>
                    <a:pt x="1829" y="824"/>
                  </a:lnTo>
                  <a:lnTo>
                    <a:pt x="1823" y="818"/>
                  </a:lnTo>
                  <a:lnTo>
                    <a:pt x="1818" y="824"/>
                  </a:lnTo>
                  <a:lnTo>
                    <a:pt x="1815" y="824"/>
                  </a:lnTo>
                  <a:lnTo>
                    <a:pt x="1816" y="816"/>
                  </a:lnTo>
                  <a:lnTo>
                    <a:pt x="1819" y="812"/>
                  </a:lnTo>
                  <a:lnTo>
                    <a:pt x="1822" y="806"/>
                  </a:lnTo>
                  <a:lnTo>
                    <a:pt x="1823" y="806"/>
                  </a:lnTo>
                  <a:lnTo>
                    <a:pt x="1826" y="806"/>
                  </a:lnTo>
                  <a:close/>
                  <a:moveTo>
                    <a:pt x="1583" y="187"/>
                  </a:moveTo>
                  <a:lnTo>
                    <a:pt x="1583" y="192"/>
                  </a:lnTo>
                  <a:lnTo>
                    <a:pt x="1581" y="195"/>
                  </a:lnTo>
                  <a:lnTo>
                    <a:pt x="1580" y="186"/>
                  </a:lnTo>
                  <a:lnTo>
                    <a:pt x="1576" y="179"/>
                  </a:lnTo>
                  <a:lnTo>
                    <a:pt x="1577" y="173"/>
                  </a:lnTo>
                  <a:lnTo>
                    <a:pt x="1575" y="169"/>
                  </a:lnTo>
                  <a:lnTo>
                    <a:pt x="1575" y="166"/>
                  </a:lnTo>
                  <a:lnTo>
                    <a:pt x="1576" y="166"/>
                  </a:lnTo>
                  <a:lnTo>
                    <a:pt x="1580" y="173"/>
                  </a:lnTo>
                  <a:lnTo>
                    <a:pt x="1581" y="176"/>
                  </a:lnTo>
                  <a:lnTo>
                    <a:pt x="1583" y="187"/>
                  </a:lnTo>
                  <a:close/>
                  <a:moveTo>
                    <a:pt x="1900" y="978"/>
                  </a:moveTo>
                  <a:lnTo>
                    <a:pt x="1901" y="982"/>
                  </a:lnTo>
                  <a:lnTo>
                    <a:pt x="1900" y="986"/>
                  </a:lnTo>
                  <a:lnTo>
                    <a:pt x="1896" y="987"/>
                  </a:lnTo>
                  <a:lnTo>
                    <a:pt x="1896" y="986"/>
                  </a:lnTo>
                  <a:lnTo>
                    <a:pt x="1896" y="980"/>
                  </a:lnTo>
                  <a:lnTo>
                    <a:pt x="1897" y="978"/>
                  </a:lnTo>
                  <a:lnTo>
                    <a:pt x="1897" y="976"/>
                  </a:lnTo>
                  <a:lnTo>
                    <a:pt x="1900" y="978"/>
                  </a:lnTo>
                  <a:close/>
                  <a:moveTo>
                    <a:pt x="1754" y="531"/>
                  </a:moveTo>
                  <a:lnTo>
                    <a:pt x="1752" y="539"/>
                  </a:lnTo>
                  <a:lnTo>
                    <a:pt x="1750" y="538"/>
                  </a:lnTo>
                  <a:lnTo>
                    <a:pt x="1751" y="534"/>
                  </a:lnTo>
                  <a:lnTo>
                    <a:pt x="1751" y="531"/>
                  </a:lnTo>
                  <a:lnTo>
                    <a:pt x="1747" y="530"/>
                  </a:lnTo>
                  <a:lnTo>
                    <a:pt x="1747" y="526"/>
                  </a:lnTo>
                  <a:lnTo>
                    <a:pt x="1754" y="53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14" name="Freeform 313"/>
            <p:cNvSpPr>
              <a:spLocks noEditPoints="1"/>
            </p:cNvSpPr>
            <p:nvPr/>
          </p:nvSpPr>
          <p:spPr bwMode="auto">
            <a:xfrm>
              <a:off x="7507904" y="4624709"/>
              <a:ext cx="193384" cy="578347"/>
            </a:xfrm>
            <a:custGeom>
              <a:avLst/>
              <a:gdLst>
                <a:gd name="T0" fmla="*/ 679 w 970"/>
                <a:gd name="T1" fmla="*/ 1183 h 2143"/>
                <a:gd name="T2" fmla="*/ 650 w 970"/>
                <a:gd name="T3" fmla="*/ 1324 h 2143"/>
                <a:gd name="T4" fmla="*/ 618 w 970"/>
                <a:gd name="T5" fmla="*/ 1310 h 2143"/>
                <a:gd name="T6" fmla="*/ 464 w 970"/>
                <a:gd name="T7" fmla="*/ 1397 h 2143"/>
                <a:gd name="T8" fmla="*/ 455 w 970"/>
                <a:gd name="T9" fmla="*/ 1451 h 2143"/>
                <a:gd name="T10" fmla="*/ 425 w 970"/>
                <a:gd name="T11" fmla="*/ 1519 h 2143"/>
                <a:gd name="T12" fmla="*/ 542 w 970"/>
                <a:gd name="T13" fmla="*/ 1480 h 2143"/>
                <a:gd name="T14" fmla="*/ 617 w 970"/>
                <a:gd name="T15" fmla="*/ 1596 h 2143"/>
                <a:gd name="T16" fmla="*/ 756 w 970"/>
                <a:gd name="T17" fmla="*/ 1667 h 2143"/>
                <a:gd name="T18" fmla="*/ 769 w 970"/>
                <a:gd name="T19" fmla="*/ 1576 h 2143"/>
                <a:gd name="T20" fmla="*/ 786 w 970"/>
                <a:gd name="T21" fmla="*/ 1571 h 2143"/>
                <a:gd name="T22" fmla="*/ 797 w 970"/>
                <a:gd name="T23" fmla="*/ 1530 h 2143"/>
                <a:gd name="T24" fmla="*/ 799 w 970"/>
                <a:gd name="T25" fmla="*/ 1525 h 2143"/>
                <a:gd name="T26" fmla="*/ 821 w 970"/>
                <a:gd name="T27" fmla="*/ 1571 h 2143"/>
                <a:gd name="T28" fmla="*/ 808 w 970"/>
                <a:gd name="T29" fmla="*/ 1733 h 2143"/>
                <a:gd name="T30" fmla="*/ 794 w 970"/>
                <a:gd name="T31" fmla="*/ 1859 h 2143"/>
                <a:gd name="T32" fmla="*/ 785 w 970"/>
                <a:gd name="T33" fmla="*/ 2013 h 2143"/>
                <a:gd name="T34" fmla="*/ 775 w 970"/>
                <a:gd name="T35" fmla="*/ 2064 h 2143"/>
                <a:gd name="T36" fmla="*/ 769 w 970"/>
                <a:gd name="T37" fmla="*/ 2114 h 2143"/>
                <a:gd name="T38" fmla="*/ 778 w 970"/>
                <a:gd name="T39" fmla="*/ 2123 h 2143"/>
                <a:gd name="T40" fmla="*/ 326 w 970"/>
                <a:gd name="T41" fmla="*/ 2131 h 2143"/>
                <a:gd name="T42" fmla="*/ 311 w 970"/>
                <a:gd name="T43" fmla="*/ 2129 h 2143"/>
                <a:gd name="T44" fmla="*/ 293 w 970"/>
                <a:gd name="T45" fmla="*/ 2129 h 2143"/>
                <a:gd name="T46" fmla="*/ 276 w 970"/>
                <a:gd name="T47" fmla="*/ 2125 h 2143"/>
                <a:gd name="T48" fmla="*/ 258 w 970"/>
                <a:gd name="T49" fmla="*/ 2119 h 2143"/>
                <a:gd name="T50" fmla="*/ 241 w 970"/>
                <a:gd name="T51" fmla="*/ 2114 h 2143"/>
                <a:gd name="T52" fmla="*/ 226 w 970"/>
                <a:gd name="T53" fmla="*/ 2119 h 2143"/>
                <a:gd name="T54" fmla="*/ 218 w 970"/>
                <a:gd name="T55" fmla="*/ 2129 h 2143"/>
                <a:gd name="T56" fmla="*/ 201 w 970"/>
                <a:gd name="T57" fmla="*/ 2135 h 2143"/>
                <a:gd name="T58" fmla="*/ 184 w 970"/>
                <a:gd name="T59" fmla="*/ 2127 h 2143"/>
                <a:gd name="T60" fmla="*/ 170 w 970"/>
                <a:gd name="T61" fmla="*/ 2119 h 2143"/>
                <a:gd name="T62" fmla="*/ 168 w 970"/>
                <a:gd name="T63" fmla="*/ 1960 h 2143"/>
                <a:gd name="T64" fmla="*/ 138 w 970"/>
                <a:gd name="T65" fmla="*/ 1600 h 2143"/>
                <a:gd name="T66" fmla="*/ 35 w 970"/>
                <a:gd name="T67" fmla="*/ 1407 h 2143"/>
                <a:gd name="T68" fmla="*/ 48 w 970"/>
                <a:gd name="T69" fmla="*/ 989 h 2143"/>
                <a:gd name="T70" fmla="*/ 38 w 970"/>
                <a:gd name="T71" fmla="*/ 33 h 2143"/>
                <a:gd name="T72" fmla="*/ 113 w 970"/>
                <a:gd name="T73" fmla="*/ 0 h 2143"/>
                <a:gd name="T74" fmla="*/ 193 w 970"/>
                <a:gd name="T75" fmla="*/ 11 h 2143"/>
                <a:gd name="T76" fmla="*/ 222 w 970"/>
                <a:gd name="T77" fmla="*/ 20 h 2143"/>
                <a:gd name="T78" fmla="*/ 284 w 970"/>
                <a:gd name="T79" fmla="*/ 43 h 2143"/>
                <a:gd name="T80" fmla="*/ 332 w 970"/>
                <a:gd name="T81" fmla="*/ 35 h 2143"/>
                <a:gd name="T82" fmla="*/ 395 w 970"/>
                <a:gd name="T83" fmla="*/ 56 h 2143"/>
                <a:gd name="T84" fmla="*/ 457 w 970"/>
                <a:gd name="T85" fmla="*/ 105 h 2143"/>
                <a:gd name="T86" fmla="*/ 536 w 970"/>
                <a:gd name="T87" fmla="*/ 127 h 2143"/>
                <a:gd name="T88" fmla="*/ 624 w 970"/>
                <a:gd name="T89" fmla="*/ 156 h 2143"/>
                <a:gd name="T90" fmla="*/ 639 w 970"/>
                <a:gd name="T91" fmla="*/ 256 h 2143"/>
                <a:gd name="T92" fmla="*/ 672 w 970"/>
                <a:gd name="T93" fmla="*/ 294 h 2143"/>
                <a:gd name="T94" fmla="*/ 703 w 970"/>
                <a:gd name="T95" fmla="*/ 346 h 2143"/>
                <a:gd name="T96" fmla="*/ 733 w 970"/>
                <a:gd name="T97" fmla="*/ 391 h 2143"/>
                <a:gd name="T98" fmla="*/ 747 w 970"/>
                <a:gd name="T99" fmla="*/ 433 h 2143"/>
                <a:gd name="T100" fmla="*/ 785 w 970"/>
                <a:gd name="T101" fmla="*/ 450 h 2143"/>
                <a:gd name="T102" fmla="*/ 791 w 970"/>
                <a:gd name="T103" fmla="*/ 538 h 2143"/>
                <a:gd name="T104" fmla="*/ 799 w 970"/>
                <a:gd name="T105" fmla="*/ 560 h 2143"/>
                <a:gd name="T106" fmla="*/ 810 w 970"/>
                <a:gd name="T107" fmla="*/ 574 h 2143"/>
                <a:gd name="T108" fmla="*/ 791 w 970"/>
                <a:gd name="T109" fmla="*/ 588 h 2143"/>
                <a:gd name="T110" fmla="*/ 797 w 970"/>
                <a:gd name="T111" fmla="*/ 642 h 2143"/>
                <a:gd name="T112" fmla="*/ 813 w 970"/>
                <a:gd name="T113" fmla="*/ 698 h 2143"/>
                <a:gd name="T114" fmla="*/ 860 w 970"/>
                <a:gd name="T115" fmla="*/ 712 h 2143"/>
                <a:gd name="T116" fmla="*/ 846 w 970"/>
                <a:gd name="T117" fmla="*/ 741 h 2143"/>
                <a:gd name="T118" fmla="*/ 856 w 970"/>
                <a:gd name="T119" fmla="*/ 783 h 2143"/>
                <a:gd name="T120" fmla="*/ 967 w 970"/>
                <a:gd name="T121" fmla="*/ 866 h 2143"/>
                <a:gd name="T122" fmla="*/ 628 w 970"/>
                <a:gd name="T123" fmla="*/ 1310 h 214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70"/>
                <a:gd name="T187" fmla="*/ 0 h 2143"/>
                <a:gd name="T188" fmla="*/ 970 w 970"/>
                <a:gd name="T189" fmla="*/ 2143 h 214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70" h="2143">
                  <a:moveTo>
                    <a:pt x="967" y="947"/>
                  </a:moveTo>
                  <a:lnTo>
                    <a:pt x="948" y="960"/>
                  </a:lnTo>
                  <a:lnTo>
                    <a:pt x="916" y="976"/>
                  </a:lnTo>
                  <a:lnTo>
                    <a:pt x="887" y="991"/>
                  </a:lnTo>
                  <a:lnTo>
                    <a:pt x="841" y="1023"/>
                  </a:lnTo>
                  <a:lnTo>
                    <a:pt x="810" y="1043"/>
                  </a:lnTo>
                  <a:lnTo>
                    <a:pt x="788" y="1057"/>
                  </a:lnTo>
                  <a:lnTo>
                    <a:pt x="743" y="1094"/>
                  </a:lnTo>
                  <a:lnTo>
                    <a:pt x="725" y="1111"/>
                  </a:lnTo>
                  <a:lnTo>
                    <a:pt x="717" y="1121"/>
                  </a:lnTo>
                  <a:lnTo>
                    <a:pt x="706" y="1135"/>
                  </a:lnTo>
                  <a:lnTo>
                    <a:pt x="694" y="1156"/>
                  </a:lnTo>
                  <a:lnTo>
                    <a:pt x="679" y="1183"/>
                  </a:lnTo>
                  <a:lnTo>
                    <a:pt x="661" y="1222"/>
                  </a:lnTo>
                  <a:lnTo>
                    <a:pt x="654" y="1242"/>
                  </a:lnTo>
                  <a:lnTo>
                    <a:pt x="649" y="1273"/>
                  </a:lnTo>
                  <a:lnTo>
                    <a:pt x="647" y="1288"/>
                  </a:lnTo>
                  <a:lnTo>
                    <a:pt x="653" y="1324"/>
                  </a:lnTo>
                  <a:lnTo>
                    <a:pt x="657" y="1334"/>
                  </a:lnTo>
                  <a:lnTo>
                    <a:pt x="661" y="1342"/>
                  </a:lnTo>
                  <a:lnTo>
                    <a:pt x="656" y="1342"/>
                  </a:lnTo>
                  <a:lnTo>
                    <a:pt x="654" y="1339"/>
                  </a:lnTo>
                  <a:lnTo>
                    <a:pt x="654" y="1335"/>
                  </a:lnTo>
                  <a:lnTo>
                    <a:pt x="652" y="1333"/>
                  </a:lnTo>
                  <a:lnTo>
                    <a:pt x="650" y="1332"/>
                  </a:lnTo>
                  <a:lnTo>
                    <a:pt x="650" y="1324"/>
                  </a:lnTo>
                  <a:lnTo>
                    <a:pt x="647" y="1317"/>
                  </a:lnTo>
                  <a:lnTo>
                    <a:pt x="649" y="1309"/>
                  </a:lnTo>
                  <a:lnTo>
                    <a:pt x="646" y="1298"/>
                  </a:lnTo>
                  <a:lnTo>
                    <a:pt x="646" y="1295"/>
                  </a:lnTo>
                  <a:lnTo>
                    <a:pt x="644" y="1289"/>
                  </a:lnTo>
                  <a:lnTo>
                    <a:pt x="642" y="1289"/>
                  </a:lnTo>
                  <a:lnTo>
                    <a:pt x="638" y="1289"/>
                  </a:lnTo>
                  <a:lnTo>
                    <a:pt x="636" y="1295"/>
                  </a:lnTo>
                  <a:lnTo>
                    <a:pt x="633" y="1300"/>
                  </a:lnTo>
                  <a:lnTo>
                    <a:pt x="627" y="1300"/>
                  </a:lnTo>
                  <a:lnTo>
                    <a:pt x="621" y="1302"/>
                  </a:lnTo>
                  <a:lnTo>
                    <a:pt x="621" y="1308"/>
                  </a:lnTo>
                  <a:lnTo>
                    <a:pt x="618" y="1310"/>
                  </a:lnTo>
                  <a:lnTo>
                    <a:pt x="618" y="1317"/>
                  </a:lnTo>
                  <a:lnTo>
                    <a:pt x="617" y="1318"/>
                  </a:lnTo>
                  <a:lnTo>
                    <a:pt x="617" y="1326"/>
                  </a:lnTo>
                  <a:lnTo>
                    <a:pt x="514" y="1292"/>
                  </a:lnTo>
                  <a:lnTo>
                    <a:pt x="508" y="1327"/>
                  </a:lnTo>
                  <a:lnTo>
                    <a:pt x="508" y="1347"/>
                  </a:lnTo>
                  <a:lnTo>
                    <a:pt x="505" y="1358"/>
                  </a:lnTo>
                  <a:lnTo>
                    <a:pt x="501" y="1367"/>
                  </a:lnTo>
                  <a:lnTo>
                    <a:pt x="497" y="1376"/>
                  </a:lnTo>
                  <a:lnTo>
                    <a:pt x="493" y="1379"/>
                  </a:lnTo>
                  <a:lnTo>
                    <a:pt x="484" y="1384"/>
                  </a:lnTo>
                  <a:lnTo>
                    <a:pt x="467" y="1392"/>
                  </a:lnTo>
                  <a:lnTo>
                    <a:pt x="464" y="1397"/>
                  </a:lnTo>
                  <a:lnTo>
                    <a:pt x="459" y="1412"/>
                  </a:lnTo>
                  <a:lnTo>
                    <a:pt x="455" y="1414"/>
                  </a:lnTo>
                  <a:lnTo>
                    <a:pt x="454" y="1413"/>
                  </a:lnTo>
                  <a:lnTo>
                    <a:pt x="451" y="1412"/>
                  </a:lnTo>
                  <a:lnTo>
                    <a:pt x="447" y="1414"/>
                  </a:lnTo>
                  <a:lnTo>
                    <a:pt x="447" y="1419"/>
                  </a:lnTo>
                  <a:lnTo>
                    <a:pt x="444" y="1420"/>
                  </a:lnTo>
                  <a:lnTo>
                    <a:pt x="443" y="1424"/>
                  </a:lnTo>
                  <a:lnTo>
                    <a:pt x="437" y="1432"/>
                  </a:lnTo>
                  <a:lnTo>
                    <a:pt x="437" y="1437"/>
                  </a:lnTo>
                  <a:lnTo>
                    <a:pt x="442" y="1449"/>
                  </a:lnTo>
                  <a:lnTo>
                    <a:pt x="448" y="1453"/>
                  </a:lnTo>
                  <a:lnTo>
                    <a:pt x="455" y="1451"/>
                  </a:lnTo>
                  <a:lnTo>
                    <a:pt x="457" y="1461"/>
                  </a:lnTo>
                  <a:lnTo>
                    <a:pt x="455" y="1466"/>
                  </a:lnTo>
                  <a:lnTo>
                    <a:pt x="451" y="1474"/>
                  </a:lnTo>
                  <a:lnTo>
                    <a:pt x="437" y="1489"/>
                  </a:lnTo>
                  <a:lnTo>
                    <a:pt x="430" y="1491"/>
                  </a:lnTo>
                  <a:lnTo>
                    <a:pt x="420" y="1487"/>
                  </a:lnTo>
                  <a:lnTo>
                    <a:pt x="417" y="1487"/>
                  </a:lnTo>
                  <a:lnTo>
                    <a:pt x="412" y="1489"/>
                  </a:lnTo>
                  <a:lnTo>
                    <a:pt x="411" y="1492"/>
                  </a:lnTo>
                  <a:lnTo>
                    <a:pt x="411" y="1498"/>
                  </a:lnTo>
                  <a:lnTo>
                    <a:pt x="417" y="1507"/>
                  </a:lnTo>
                  <a:lnTo>
                    <a:pt x="422" y="1517"/>
                  </a:lnTo>
                  <a:lnTo>
                    <a:pt x="425" y="1519"/>
                  </a:lnTo>
                  <a:lnTo>
                    <a:pt x="430" y="1514"/>
                  </a:lnTo>
                  <a:lnTo>
                    <a:pt x="433" y="1514"/>
                  </a:lnTo>
                  <a:lnTo>
                    <a:pt x="440" y="1517"/>
                  </a:lnTo>
                  <a:lnTo>
                    <a:pt x="444" y="1520"/>
                  </a:lnTo>
                  <a:lnTo>
                    <a:pt x="464" y="1512"/>
                  </a:lnTo>
                  <a:lnTo>
                    <a:pt x="469" y="1507"/>
                  </a:lnTo>
                  <a:lnTo>
                    <a:pt x="482" y="1505"/>
                  </a:lnTo>
                  <a:lnTo>
                    <a:pt x="497" y="1505"/>
                  </a:lnTo>
                  <a:lnTo>
                    <a:pt x="505" y="1507"/>
                  </a:lnTo>
                  <a:lnTo>
                    <a:pt x="509" y="1511"/>
                  </a:lnTo>
                  <a:lnTo>
                    <a:pt x="515" y="1512"/>
                  </a:lnTo>
                  <a:lnTo>
                    <a:pt x="523" y="1492"/>
                  </a:lnTo>
                  <a:lnTo>
                    <a:pt x="542" y="1480"/>
                  </a:lnTo>
                  <a:lnTo>
                    <a:pt x="546" y="1472"/>
                  </a:lnTo>
                  <a:lnTo>
                    <a:pt x="548" y="1478"/>
                  </a:lnTo>
                  <a:lnTo>
                    <a:pt x="562" y="1501"/>
                  </a:lnTo>
                  <a:lnTo>
                    <a:pt x="581" y="1521"/>
                  </a:lnTo>
                  <a:lnTo>
                    <a:pt x="592" y="1541"/>
                  </a:lnTo>
                  <a:lnTo>
                    <a:pt x="593" y="1546"/>
                  </a:lnTo>
                  <a:lnTo>
                    <a:pt x="592" y="1551"/>
                  </a:lnTo>
                  <a:lnTo>
                    <a:pt x="592" y="1557"/>
                  </a:lnTo>
                  <a:lnTo>
                    <a:pt x="593" y="1563"/>
                  </a:lnTo>
                  <a:lnTo>
                    <a:pt x="599" y="1573"/>
                  </a:lnTo>
                  <a:lnTo>
                    <a:pt x="604" y="1592"/>
                  </a:lnTo>
                  <a:lnTo>
                    <a:pt x="608" y="1595"/>
                  </a:lnTo>
                  <a:lnTo>
                    <a:pt x="617" y="1596"/>
                  </a:lnTo>
                  <a:lnTo>
                    <a:pt x="625" y="1594"/>
                  </a:lnTo>
                  <a:lnTo>
                    <a:pt x="635" y="1591"/>
                  </a:lnTo>
                  <a:lnTo>
                    <a:pt x="639" y="1591"/>
                  </a:lnTo>
                  <a:lnTo>
                    <a:pt x="646" y="1600"/>
                  </a:lnTo>
                  <a:lnTo>
                    <a:pt x="664" y="1613"/>
                  </a:lnTo>
                  <a:lnTo>
                    <a:pt x="682" y="1630"/>
                  </a:lnTo>
                  <a:lnTo>
                    <a:pt x="696" y="1640"/>
                  </a:lnTo>
                  <a:lnTo>
                    <a:pt x="706" y="1662"/>
                  </a:lnTo>
                  <a:lnTo>
                    <a:pt x="710" y="1666"/>
                  </a:lnTo>
                  <a:lnTo>
                    <a:pt x="727" y="1675"/>
                  </a:lnTo>
                  <a:lnTo>
                    <a:pt x="739" y="1675"/>
                  </a:lnTo>
                  <a:lnTo>
                    <a:pt x="746" y="1669"/>
                  </a:lnTo>
                  <a:lnTo>
                    <a:pt x="756" y="1667"/>
                  </a:lnTo>
                  <a:lnTo>
                    <a:pt x="764" y="1669"/>
                  </a:lnTo>
                  <a:lnTo>
                    <a:pt x="768" y="1672"/>
                  </a:lnTo>
                  <a:lnTo>
                    <a:pt x="768" y="1669"/>
                  </a:lnTo>
                  <a:lnTo>
                    <a:pt x="764" y="1663"/>
                  </a:lnTo>
                  <a:lnTo>
                    <a:pt x="758" y="1661"/>
                  </a:lnTo>
                  <a:lnTo>
                    <a:pt x="753" y="1652"/>
                  </a:lnTo>
                  <a:lnTo>
                    <a:pt x="756" y="1644"/>
                  </a:lnTo>
                  <a:lnTo>
                    <a:pt x="754" y="1619"/>
                  </a:lnTo>
                  <a:lnTo>
                    <a:pt x="754" y="1610"/>
                  </a:lnTo>
                  <a:lnTo>
                    <a:pt x="756" y="1603"/>
                  </a:lnTo>
                  <a:lnTo>
                    <a:pt x="761" y="1594"/>
                  </a:lnTo>
                  <a:lnTo>
                    <a:pt x="769" y="1571"/>
                  </a:lnTo>
                  <a:lnTo>
                    <a:pt x="769" y="1576"/>
                  </a:lnTo>
                  <a:lnTo>
                    <a:pt x="763" y="1594"/>
                  </a:lnTo>
                  <a:lnTo>
                    <a:pt x="757" y="1603"/>
                  </a:lnTo>
                  <a:lnTo>
                    <a:pt x="757" y="1607"/>
                  </a:lnTo>
                  <a:lnTo>
                    <a:pt x="761" y="1604"/>
                  </a:lnTo>
                  <a:lnTo>
                    <a:pt x="769" y="1592"/>
                  </a:lnTo>
                  <a:lnTo>
                    <a:pt x="769" y="1586"/>
                  </a:lnTo>
                  <a:lnTo>
                    <a:pt x="771" y="1582"/>
                  </a:lnTo>
                  <a:lnTo>
                    <a:pt x="772" y="1571"/>
                  </a:lnTo>
                  <a:lnTo>
                    <a:pt x="775" y="1570"/>
                  </a:lnTo>
                  <a:lnTo>
                    <a:pt x="775" y="1571"/>
                  </a:lnTo>
                  <a:lnTo>
                    <a:pt x="778" y="1571"/>
                  </a:lnTo>
                  <a:lnTo>
                    <a:pt x="781" y="1573"/>
                  </a:lnTo>
                  <a:lnTo>
                    <a:pt x="786" y="1571"/>
                  </a:lnTo>
                  <a:lnTo>
                    <a:pt x="783" y="1569"/>
                  </a:lnTo>
                  <a:lnTo>
                    <a:pt x="781" y="1570"/>
                  </a:lnTo>
                  <a:lnTo>
                    <a:pt x="782" y="1565"/>
                  </a:lnTo>
                  <a:lnTo>
                    <a:pt x="782" y="1561"/>
                  </a:lnTo>
                  <a:lnTo>
                    <a:pt x="778" y="1557"/>
                  </a:lnTo>
                  <a:lnTo>
                    <a:pt x="781" y="1554"/>
                  </a:lnTo>
                  <a:lnTo>
                    <a:pt x="781" y="1553"/>
                  </a:lnTo>
                  <a:lnTo>
                    <a:pt x="783" y="1549"/>
                  </a:lnTo>
                  <a:lnTo>
                    <a:pt x="783" y="1544"/>
                  </a:lnTo>
                  <a:lnTo>
                    <a:pt x="785" y="1540"/>
                  </a:lnTo>
                  <a:lnTo>
                    <a:pt x="793" y="1534"/>
                  </a:lnTo>
                  <a:lnTo>
                    <a:pt x="794" y="1530"/>
                  </a:lnTo>
                  <a:lnTo>
                    <a:pt x="797" y="1530"/>
                  </a:lnTo>
                  <a:lnTo>
                    <a:pt x="797" y="1526"/>
                  </a:lnTo>
                  <a:lnTo>
                    <a:pt x="791" y="1530"/>
                  </a:lnTo>
                  <a:lnTo>
                    <a:pt x="785" y="1537"/>
                  </a:lnTo>
                  <a:lnTo>
                    <a:pt x="777" y="1557"/>
                  </a:lnTo>
                  <a:lnTo>
                    <a:pt x="777" y="1558"/>
                  </a:lnTo>
                  <a:lnTo>
                    <a:pt x="778" y="1559"/>
                  </a:lnTo>
                  <a:lnTo>
                    <a:pt x="775" y="1558"/>
                  </a:lnTo>
                  <a:lnTo>
                    <a:pt x="774" y="1565"/>
                  </a:lnTo>
                  <a:lnTo>
                    <a:pt x="771" y="1570"/>
                  </a:lnTo>
                  <a:lnTo>
                    <a:pt x="775" y="1557"/>
                  </a:lnTo>
                  <a:lnTo>
                    <a:pt x="788" y="1532"/>
                  </a:lnTo>
                  <a:lnTo>
                    <a:pt x="796" y="1525"/>
                  </a:lnTo>
                  <a:lnTo>
                    <a:pt x="799" y="1525"/>
                  </a:lnTo>
                  <a:lnTo>
                    <a:pt x="800" y="1526"/>
                  </a:lnTo>
                  <a:lnTo>
                    <a:pt x="804" y="1524"/>
                  </a:lnTo>
                  <a:lnTo>
                    <a:pt x="822" y="1517"/>
                  </a:lnTo>
                  <a:lnTo>
                    <a:pt x="824" y="1513"/>
                  </a:lnTo>
                  <a:lnTo>
                    <a:pt x="822" y="1509"/>
                  </a:lnTo>
                  <a:lnTo>
                    <a:pt x="831" y="1509"/>
                  </a:lnTo>
                  <a:lnTo>
                    <a:pt x="831" y="1513"/>
                  </a:lnTo>
                  <a:lnTo>
                    <a:pt x="827" y="1528"/>
                  </a:lnTo>
                  <a:lnTo>
                    <a:pt x="827" y="1529"/>
                  </a:lnTo>
                  <a:lnTo>
                    <a:pt x="829" y="1529"/>
                  </a:lnTo>
                  <a:lnTo>
                    <a:pt x="831" y="1533"/>
                  </a:lnTo>
                  <a:lnTo>
                    <a:pt x="821" y="1561"/>
                  </a:lnTo>
                  <a:lnTo>
                    <a:pt x="821" y="1571"/>
                  </a:lnTo>
                  <a:lnTo>
                    <a:pt x="818" y="1587"/>
                  </a:lnTo>
                  <a:lnTo>
                    <a:pt x="819" y="1594"/>
                  </a:lnTo>
                  <a:lnTo>
                    <a:pt x="818" y="1601"/>
                  </a:lnTo>
                  <a:lnTo>
                    <a:pt x="818" y="1608"/>
                  </a:lnTo>
                  <a:lnTo>
                    <a:pt x="811" y="1644"/>
                  </a:lnTo>
                  <a:lnTo>
                    <a:pt x="811" y="1646"/>
                  </a:lnTo>
                  <a:lnTo>
                    <a:pt x="816" y="1653"/>
                  </a:lnTo>
                  <a:lnTo>
                    <a:pt x="810" y="1669"/>
                  </a:lnTo>
                  <a:lnTo>
                    <a:pt x="806" y="1699"/>
                  </a:lnTo>
                  <a:lnTo>
                    <a:pt x="807" y="1703"/>
                  </a:lnTo>
                  <a:lnTo>
                    <a:pt x="806" y="1717"/>
                  </a:lnTo>
                  <a:lnTo>
                    <a:pt x="808" y="1728"/>
                  </a:lnTo>
                  <a:lnTo>
                    <a:pt x="808" y="1733"/>
                  </a:lnTo>
                  <a:lnTo>
                    <a:pt x="804" y="1744"/>
                  </a:lnTo>
                  <a:lnTo>
                    <a:pt x="800" y="1762"/>
                  </a:lnTo>
                  <a:lnTo>
                    <a:pt x="800" y="1766"/>
                  </a:lnTo>
                  <a:lnTo>
                    <a:pt x="802" y="1770"/>
                  </a:lnTo>
                  <a:lnTo>
                    <a:pt x="799" y="1782"/>
                  </a:lnTo>
                  <a:lnTo>
                    <a:pt x="797" y="1795"/>
                  </a:lnTo>
                  <a:lnTo>
                    <a:pt x="800" y="1802"/>
                  </a:lnTo>
                  <a:lnTo>
                    <a:pt x="803" y="1804"/>
                  </a:lnTo>
                  <a:lnTo>
                    <a:pt x="806" y="1806"/>
                  </a:lnTo>
                  <a:lnTo>
                    <a:pt x="806" y="1809"/>
                  </a:lnTo>
                  <a:lnTo>
                    <a:pt x="796" y="1834"/>
                  </a:lnTo>
                  <a:lnTo>
                    <a:pt x="793" y="1854"/>
                  </a:lnTo>
                  <a:lnTo>
                    <a:pt x="794" y="1859"/>
                  </a:lnTo>
                  <a:lnTo>
                    <a:pt x="797" y="1860"/>
                  </a:lnTo>
                  <a:lnTo>
                    <a:pt x="797" y="1862"/>
                  </a:lnTo>
                  <a:lnTo>
                    <a:pt x="789" y="1888"/>
                  </a:lnTo>
                  <a:lnTo>
                    <a:pt x="791" y="1889"/>
                  </a:lnTo>
                  <a:lnTo>
                    <a:pt x="786" y="1906"/>
                  </a:lnTo>
                  <a:lnTo>
                    <a:pt x="786" y="1918"/>
                  </a:lnTo>
                  <a:lnTo>
                    <a:pt x="782" y="1938"/>
                  </a:lnTo>
                  <a:lnTo>
                    <a:pt x="775" y="1972"/>
                  </a:lnTo>
                  <a:lnTo>
                    <a:pt x="777" y="1985"/>
                  </a:lnTo>
                  <a:lnTo>
                    <a:pt x="782" y="1996"/>
                  </a:lnTo>
                  <a:lnTo>
                    <a:pt x="781" y="2006"/>
                  </a:lnTo>
                  <a:lnTo>
                    <a:pt x="781" y="2010"/>
                  </a:lnTo>
                  <a:lnTo>
                    <a:pt x="785" y="2013"/>
                  </a:lnTo>
                  <a:lnTo>
                    <a:pt x="785" y="2015"/>
                  </a:lnTo>
                  <a:lnTo>
                    <a:pt x="782" y="2022"/>
                  </a:lnTo>
                  <a:lnTo>
                    <a:pt x="782" y="2025"/>
                  </a:lnTo>
                  <a:lnTo>
                    <a:pt x="781" y="2030"/>
                  </a:lnTo>
                  <a:lnTo>
                    <a:pt x="781" y="2031"/>
                  </a:lnTo>
                  <a:lnTo>
                    <a:pt x="782" y="2036"/>
                  </a:lnTo>
                  <a:lnTo>
                    <a:pt x="782" y="2038"/>
                  </a:lnTo>
                  <a:lnTo>
                    <a:pt x="782" y="2039"/>
                  </a:lnTo>
                  <a:lnTo>
                    <a:pt x="782" y="2040"/>
                  </a:lnTo>
                  <a:lnTo>
                    <a:pt x="782" y="2044"/>
                  </a:lnTo>
                  <a:lnTo>
                    <a:pt x="779" y="2050"/>
                  </a:lnTo>
                  <a:lnTo>
                    <a:pt x="777" y="2060"/>
                  </a:lnTo>
                  <a:lnTo>
                    <a:pt x="775" y="2064"/>
                  </a:lnTo>
                  <a:lnTo>
                    <a:pt x="774" y="2072"/>
                  </a:lnTo>
                  <a:lnTo>
                    <a:pt x="774" y="2075"/>
                  </a:lnTo>
                  <a:lnTo>
                    <a:pt x="772" y="2078"/>
                  </a:lnTo>
                  <a:lnTo>
                    <a:pt x="772" y="2080"/>
                  </a:lnTo>
                  <a:lnTo>
                    <a:pt x="774" y="2081"/>
                  </a:lnTo>
                  <a:lnTo>
                    <a:pt x="775" y="2083"/>
                  </a:lnTo>
                  <a:lnTo>
                    <a:pt x="775" y="2084"/>
                  </a:lnTo>
                  <a:lnTo>
                    <a:pt x="775" y="2085"/>
                  </a:lnTo>
                  <a:lnTo>
                    <a:pt x="774" y="2090"/>
                  </a:lnTo>
                  <a:lnTo>
                    <a:pt x="771" y="2097"/>
                  </a:lnTo>
                  <a:lnTo>
                    <a:pt x="771" y="2104"/>
                  </a:lnTo>
                  <a:lnTo>
                    <a:pt x="769" y="2110"/>
                  </a:lnTo>
                  <a:lnTo>
                    <a:pt x="769" y="2114"/>
                  </a:lnTo>
                  <a:lnTo>
                    <a:pt x="769" y="2115"/>
                  </a:lnTo>
                  <a:lnTo>
                    <a:pt x="769" y="2117"/>
                  </a:lnTo>
                  <a:lnTo>
                    <a:pt x="771" y="2117"/>
                  </a:lnTo>
                  <a:lnTo>
                    <a:pt x="771" y="2118"/>
                  </a:lnTo>
                  <a:lnTo>
                    <a:pt x="771" y="2119"/>
                  </a:lnTo>
                  <a:lnTo>
                    <a:pt x="772" y="2121"/>
                  </a:lnTo>
                  <a:lnTo>
                    <a:pt x="772" y="2122"/>
                  </a:lnTo>
                  <a:lnTo>
                    <a:pt x="774" y="2122"/>
                  </a:lnTo>
                  <a:lnTo>
                    <a:pt x="775" y="2122"/>
                  </a:lnTo>
                  <a:lnTo>
                    <a:pt x="775" y="2121"/>
                  </a:lnTo>
                  <a:lnTo>
                    <a:pt x="777" y="2121"/>
                  </a:lnTo>
                  <a:lnTo>
                    <a:pt x="778" y="2122"/>
                  </a:lnTo>
                  <a:lnTo>
                    <a:pt x="778" y="2123"/>
                  </a:lnTo>
                  <a:lnTo>
                    <a:pt x="777" y="2129"/>
                  </a:lnTo>
                  <a:lnTo>
                    <a:pt x="777" y="2133"/>
                  </a:lnTo>
                  <a:lnTo>
                    <a:pt x="774" y="2134"/>
                  </a:lnTo>
                  <a:lnTo>
                    <a:pt x="772" y="2134"/>
                  </a:lnTo>
                  <a:lnTo>
                    <a:pt x="758" y="2139"/>
                  </a:lnTo>
                  <a:lnTo>
                    <a:pt x="749" y="2140"/>
                  </a:lnTo>
                  <a:lnTo>
                    <a:pt x="738" y="2142"/>
                  </a:lnTo>
                  <a:lnTo>
                    <a:pt x="716" y="2143"/>
                  </a:lnTo>
                  <a:lnTo>
                    <a:pt x="679" y="2140"/>
                  </a:lnTo>
                  <a:lnTo>
                    <a:pt x="653" y="2140"/>
                  </a:lnTo>
                  <a:lnTo>
                    <a:pt x="333" y="2131"/>
                  </a:lnTo>
                  <a:lnTo>
                    <a:pt x="327" y="2131"/>
                  </a:lnTo>
                  <a:lnTo>
                    <a:pt x="326" y="2131"/>
                  </a:lnTo>
                  <a:lnTo>
                    <a:pt x="326" y="2130"/>
                  </a:lnTo>
                  <a:lnTo>
                    <a:pt x="325" y="2130"/>
                  </a:lnTo>
                  <a:lnTo>
                    <a:pt x="323" y="2130"/>
                  </a:lnTo>
                  <a:lnTo>
                    <a:pt x="322" y="2130"/>
                  </a:lnTo>
                  <a:lnTo>
                    <a:pt x="320" y="2130"/>
                  </a:lnTo>
                  <a:lnTo>
                    <a:pt x="319" y="2130"/>
                  </a:lnTo>
                  <a:lnTo>
                    <a:pt x="318" y="2130"/>
                  </a:lnTo>
                  <a:lnTo>
                    <a:pt x="316" y="2130"/>
                  </a:lnTo>
                  <a:lnTo>
                    <a:pt x="316" y="2129"/>
                  </a:lnTo>
                  <a:lnTo>
                    <a:pt x="315" y="2129"/>
                  </a:lnTo>
                  <a:lnTo>
                    <a:pt x="313" y="2129"/>
                  </a:lnTo>
                  <a:lnTo>
                    <a:pt x="312" y="2129"/>
                  </a:lnTo>
                  <a:lnTo>
                    <a:pt x="311" y="2129"/>
                  </a:lnTo>
                  <a:lnTo>
                    <a:pt x="309" y="2129"/>
                  </a:lnTo>
                  <a:lnTo>
                    <a:pt x="308" y="2129"/>
                  </a:lnTo>
                  <a:lnTo>
                    <a:pt x="307" y="2129"/>
                  </a:lnTo>
                  <a:lnTo>
                    <a:pt x="305" y="2129"/>
                  </a:lnTo>
                  <a:lnTo>
                    <a:pt x="304" y="2129"/>
                  </a:lnTo>
                  <a:lnTo>
                    <a:pt x="302" y="2129"/>
                  </a:lnTo>
                  <a:lnTo>
                    <a:pt x="301" y="2129"/>
                  </a:lnTo>
                  <a:lnTo>
                    <a:pt x="300" y="2129"/>
                  </a:lnTo>
                  <a:lnTo>
                    <a:pt x="298" y="2129"/>
                  </a:lnTo>
                  <a:lnTo>
                    <a:pt x="297" y="2129"/>
                  </a:lnTo>
                  <a:lnTo>
                    <a:pt x="295" y="2129"/>
                  </a:lnTo>
                  <a:lnTo>
                    <a:pt x="294" y="2129"/>
                  </a:lnTo>
                  <a:lnTo>
                    <a:pt x="293" y="2129"/>
                  </a:lnTo>
                  <a:lnTo>
                    <a:pt x="291" y="2129"/>
                  </a:lnTo>
                  <a:lnTo>
                    <a:pt x="290" y="2127"/>
                  </a:lnTo>
                  <a:lnTo>
                    <a:pt x="288" y="2127"/>
                  </a:lnTo>
                  <a:lnTo>
                    <a:pt x="287" y="2127"/>
                  </a:lnTo>
                  <a:lnTo>
                    <a:pt x="286" y="2127"/>
                  </a:lnTo>
                  <a:lnTo>
                    <a:pt x="284" y="2127"/>
                  </a:lnTo>
                  <a:lnTo>
                    <a:pt x="283" y="2127"/>
                  </a:lnTo>
                  <a:lnTo>
                    <a:pt x="282" y="2126"/>
                  </a:lnTo>
                  <a:lnTo>
                    <a:pt x="280" y="2126"/>
                  </a:lnTo>
                  <a:lnTo>
                    <a:pt x="279" y="2126"/>
                  </a:lnTo>
                  <a:lnTo>
                    <a:pt x="277" y="2126"/>
                  </a:lnTo>
                  <a:lnTo>
                    <a:pt x="277" y="2125"/>
                  </a:lnTo>
                  <a:lnTo>
                    <a:pt x="276" y="2125"/>
                  </a:lnTo>
                  <a:lnTo>
                    <a:pt x="274" y="2125"/>
                  </a:lnTo>
                  <a:lnTo>
                    <a:pt x="273" y="2125"/>
                  </a:lnTo>
                  <a:lnTo>
                    <a:pt x="272" y="2123"/>
                  </a:lnTo>
                  <a:lnTo>
                    <a:pt x="270" y="2123"/>
                  </a:lnTo>
                  <a:lnTo>
                    <a:pt x="269" y="2123"/>
                  </a:lnTo>
                  <a:lnTo>
                    <a:pt x="268" y="2122"/>
                  </a:lnTo>
                  <a:lnTo>
                    <a:pt x="266" y="2122"/>
                  </a:lnTo>
                  <a:lnTo>
                    <a:pt x="265" y="2122"/>
                  </a:lnTo>
                  <a:lnTo>
                    <a:pt x="263" y="2121"/>
                  </a:lnTo>
                  <a:lnTo>
                    <a:pt x="262" y="2121"/>
                  </a:lnTo>
                  <a:lnTo>
                    <a:pt x="260" y="2121"/>
                  </a:lnTo>
                  <a:lnTo>
                    <a:pt x="259" y="2119"/>
                  </a:lnTo>
                  <a:lnTo>
                    <a:pt x="258" y="2119"/>
                  </a:lnTo>
                  <a:lnTo>
                    <a:pt x="257" y="2119"/>
                  </a:lnTo>
                  <a:lnTo>
                    <a:pt x="255" y="2118"/>
                  </a:lnTo>
                  <a:lnTo>
                    <a:pt x="254" y="2118"/>
                  </a:lnTo>
                  <a:lnTo>
                    <a:pt x="252" y="2118"/>
                  </a:lnTo>
                  <a:lnTo>
                    <a:pt x="251" y="2117"/>
                  </a:lnTo>
                  <a:lnTo>
                    <a:pt x="249" y="2117"/>
                  </a:lnTo>
                  <a:lnTo>
                    <a:pt x="248" y="2117"/>
                  </a:lnTo>
                  <a:lnTo>
                    <a:pt x="248" y="2115"/>
                  </a:lnTo>
                  <a:lnTo>
                    <a:pt x="247" y="2115"/>
                  </a:lnTo>
                  <a:lnTo>
                    <a:pt x="245" y="2115"/>
                  </a:lnTo>
                  <a:lnTo>
                    <a:pt x="244" y="2114"/>
                  </a:lnTo>
                  <a:lnTo>
                    <a:pt x="243" y="2114"/>
                  </a:lnTo>
                  <a:lnTo>
                    <a:pt x="241" y="2114"/>
                  </a:lnTo>
                  <a:lnTo>
                    <a:pt x="240" y="2114"/>
                  </a:lnTo>
                  <a:lnTo>
                    <a:pt x="238" y="2114"/>
                  </a:lnTo>
                  <a:lnTo>
                    <a:pt x="237" y="2114"/>
                  </a:lnTo>
                  <a:lnTo>
                    <a:pt x="235" y="2114"/>
                  </a:lnTo>
                  <a:lnTo>
                    <a:pt x="234" y="2114"/>
                  </a:lnTo>
                  <a:lnTo>
                    <a:pt x="233" y="2114"/>
                  </a:lnTo>
                  <a:lnTo>
                    <a:pt x="233" y="2115"/>
                  </a:lnTo>
                  <a:lnTo>
                    <a:pt x="232" y="2115"/>
                  </a:lnTo>
                  <a:lnTo>
                    <a:pt x="230" y="2117"/>
                  </a:lnTo>
                  <a:lnTo>
                    <a:pt x="229" y="2117"/>
                  </a:lnTo>
                  <a:lnTo>
                    <a:pt x="229" y="2118"/>
                  </a:lnTo>
                  <a:lnTo>
                    <a:pt x="227" y="2119"/>
                  </a:lnTo>
                  <a:lnTo>
                    <a:pt x="226" y="2119"/>
                  </a:lnTo>
                  <a:lnTo>
                    <a:pt x="226" y="2121"/>
                  </a:lnTo>
                  <a:lnTo>
                    <a:pt x="224" y="2121"/>
                  </a:lnTo>
                  <a:lnTo>
                    <a:pt x="224" y="2122"/>
                  </a:lnTo>
                  <a:lnTo>
                    <a:pt x="223" y="2122"/>
                  </a:lnTo>
                  <a:lnTo>
                    <a:pt x="223" y="2123"/>
                  </a:lnTo>
                  <a:lnTo>
                    <a:pt x="222" y="2123"/>
                  </a:lnTo>
                  <a:lnTo>
                    <a:pt x="222" y="2125"/>
                  </a:lnTo>
                  <a:lnTo>
                    <a:pt x="220" y="2125"/>
                  </a:lnTo>
                  <a:lnTo>
                    <a:pt x="220" y="2126"/>
                  </a:lnTo>
                  <a:lnTo>
                    <a:pt x="219" y="2126"/>
                  </a:lnTo>
                  <a:lnTo>
                    <a:pt x="219" y="2127"/>
                  </a:lnTo>
                  <a:lnTo>
                    <a:pt x="218" y="2127"/>
                  </a:lnTo>
                  <a:lnTo>
                    <a:pt x="218" y="2129"/>
                  </a:lnTo>
                  <a:lnTo>
                    <a:pt x="216" y="2130"/>
                  </a:lnTo>
                  <a:lnTo>
                    <a:pt x="215" y="2131"/>
                  </a:lnTo>
                  <a:lnTo>
                    <a:pt x="213" y="2133"/>
                  </a:lnTo>
                  <a:lnTo>
                    <a:pt x="212" y="2134"/>
                  </a:lnTo>
                  <a:lnTo>
                    <a:pt x="210" y="2135"/>
                  </a:lnTo>
                  <a:lnTo>
                    <a:pt x="209" y="2135"/>
                  </a:lnTo>
                  <a:lnTo>
                    <a:pt x="208" y="2135"/>
                  </a:lnTo>
                  <a:lnTo>
                    <a:pt x="207" y="2135"/>
                  </a:lnTo>
                  <a:lnTo>
                    <a:pt x="207" y="2137"/>
                  </a:lnTo>
                  <a:lnTo>
                    <a:pt x="205" y="2137"/>
                  </a:lnTo>
                  <a:lnTo>
                    <a:pt x="204" y="2135"/>
                  </a:lnTo>
                  <a:lnTo>
                    <a:pt x="202" y="2135"/>
                  </a:lnTo>
                  <a:lnTo>
                    <a:pt x="201" y="2135"/>
                  </a:lnTo>
                  <a:lnTo>
                    <a:pt x="199" y="2135"/>
                  </a:lnTo>
                  <a:lnTo>
                    <a:pt x="198" y="2134"/>
                  </a:lnTo>
                  <a:lnTo>
                    <a:pt x="197" y="2134"/>
                  </a:lnTo>
                  <a:lnTo>
                    <a:pt x="195" y="2134"/>
                  </a:lnTo>
                  <a:lnTo>
                    <a:pt x="194" y="2133"/>
                  </a:lnTo>
                  <a:lnTo>
                    <a:pt x="193" y="2133"/>
                  </a:lnTo>
                  <a:lnTo>
                    <a:pt x="191" y="2131"/>
                  </a:lnTo>
                  <a:lnTo>
                    <a:pt x="190" y="2131"/>
                  </a:lnTo>
                  <a:lnTo>
                    <a:pt x="188" y="2130"/>
                  </a:lnTo>
                  <a:lnTo>
                    <a:pt x="187" y="2130"/>
                  </a:lnTo>
                  <a:lnTo>
                    <a:pt x="185" y="2129"/>
                  </a:lnTo>
                  <a:lnTo>
                    <a:pt x="184" y="2129"/>
                  </a:lnTo>
                  <a:lnTo>
                    <a:pt x="184" y="2127"/>
                  </a:lnTo>
                  <a:lnTo>
                    <a:pt x="183" y="2127"/>
                  </a:lnTo>
                  <a:lnTo>
                    <a:pt x="182" y="2126"/>
                  </a:lnTo>
                  <a:lnTo>
                    <a:pt x="180" y="2126"/>
                  </a:lnTo>
                  <a:lnTo>
                    <a:pt x="180" y="2125"/>
                  </a:lnTo>
                  <a:lnTo>
                    <a:pt x="179" y="2125"/>
                  </a:lnTo>
                  <a:lnTo>
                    <a:pt x="177" y="2123"/>
                  </a:lnTo>
                  <a:lnTo>
                    <a:pt x="176" y="2123"/>
                  </a:lnTo>
                  <a:lnTo>
                    <a:pt x="176" y="2122"/>
                  </a:lnTo>
                  <a:lnTo>
                    <a:pt x="174" y="2122"/>
                  </a:lnTo>
                  <a:lnTo>
                    <a:pt x="173" y="2121"/>
                  </a:lnTo>
                  <a:lnTo>
                    <a:pt x="172" y="2121"/>
                  </a:lnTo>
                  <a:lnTo>
                    <a:pt x="172" y="2119"/>
                  </a:lnTo>
                  <a:lnTo>
                    <a:pt x="170" y="2119"/>
                  </a:lnTo>
                  <a:lnTo>
                    <a:pt x="170" y="2118"/>
                  </a:lnTo>
                  <a:lnTo>
                    <a:pt x="169" y="2118"/>
                  </a:lnTo>
                  <a:lnTo>
                    <a:pt x="168" y="2118"/>
                  </a:lnTo>
                  <a:lnTo>
                    <a:pt x="168" y="2117"/>
                  </a:lnTo>
                  <a:lnTo>
                    <a:pt x="166" y="2117"/>
                  </a:lnTo>
                  <a:lnTo>
                    <a:pt x="165" y="2117"/>
                  </a:lnTo>
                  <a:lnTo>
                    <a:pt x="165" y="2115"/>
                  </a:lnTo>
                  <a:lnTo>
                    <a:pt x="163" y="2115"/>
                  </a:lnTo>
                  <a:lnTo>
                    <a:pt x="163" y="2104"/>
                  </a:lnTo>
                  <a:lnTo>
                    <a:pt x="165" y="2028"/>
                  </a:lnTo>
                  <a:lnTo>
                    <a:pt x="166" y="2023"/>
                  </a:lnTo>
                  <a:lnTo>
                    <a:pt x="165" y="1984"/>
                  </a:lnTo>
                  <a:lnTo>
                    <a:pt x="168" y="1960"/>
                  </a:lnTo>
                  <a:lnTo>
                    <a:pt x="166" y="1948"/>
                  </a:lnTo>
                  <a:lnTo>
                    <a:pt x="166" y="1874"/>
                  </a:lnTo>
                  <a:lnTo>
                    <a:pt x="135" y="1809"/>
                  </a:lnTo>
                  <a:lnTo>
                    <a:pt x="129" y="1791"/>
                  </a:lnTo>
                  <a:lnTo>
                    <a:pt x="122" y="1773"/>
                  </a:lnTo>
                  <a:lnTo>
                    <a:pt x="122" y="1765"/>
                  </a:lnTo>
                  <a:lnTo>
                    <a:pt x="119" y="1737"/>
                  </a:lnTo>
                  <a:lnTo>
                    <a:pt x="118" y="1707"/>
                  </a:lnTo>
                  <a:lnTo>
                    <a:pt x="116" y="1695"/>
                  </a:lnTo>
                  <a:lnTo>
                    <a:pt x="130" y="1641"/>
                  </a:lnTo>
                  <a:lnTo>
                    <a:pt x="134" y="1620"/>
                  </a:lnTo>
                  <a:lnTo>
                    <a:pt x="134" y="1613"/>
                  </a:lnTo>
                  <a:lnTo>
                    <a:pt x="138" y="1600"/>
                  </a:lnTo>
                  <a:lnTo>
                    <a:pt x="144" y="1578"/>
                  </a:lnTo>
                  <a:lnTo>
                    <a:pt x="135" y="1524"/>
                  </a:lnTo>
                  <a:lnTo>
                    <a:pt x="134" y="1503"/>
                  </a:lnTo>
                  <a:lnTo>
                    <a:pt x="127" y="1453"/>
                  </a:lnTo>
                  <a:lnTo>
                    <a:pt x="119" y="1451"/>
                  </a:lnTo>
                  <a:lnTo>
                    <a:pt x="112" y="1451"/>
                  </a:lnTo>
                  <a:lnTo>
                    <a:pt x="109" y="1449"/>
                  </a:lnTo>
                  <a:lnTo>
                    <a:pt x="102" y="1449"/>
                  </a:lnTo>
                  <a:lnTo>
                    <a:pt x="98" y="1446"/>
                  </a:lnTo>
                  <a:lnTo>
                    <a:pt x="80" y="1442"/>
                  </a:lnTo>
                  <a:lnTo>
                    <a:pt x="80" y="1444"/>
                  </a:lnTo>
                  <a:lnTo>
                    <a:pt x="60" y="1437"/>
                  </a:lnTo>
                  <a:lnTo>
                    <a:pt x="35" y="1407"/>
                  </a:lnTo>
                  <a:lnTo>
                    <a:pt x="0" y="1315"/>
                  </a:lnTo>
                  <a:lnTo>
                    <a:pt x="40" y="1198"/>
                  </a:lnTo>
                  <a:lnTo>
                    <a:pt x="52" y="1185"/>
                  </a:lnTo>
                  <a:lnTo>
                    <a:pt x="54" y="1184"/>
                  </a:lnTo>
                  <a:lnTo>
                    <a:pt x="62" y="1159"/>
                  </a:lnTo>
                  <a:lnTo>
                    <a:pt x="55" y="1080"/>
                  </a:lnTo>
                  <a:lnTo>
                    <a:pt x="54" y="1063"/>
                  </a:lnTo>
                  <a:lnTo>
                    <a:pt x="42" y="1060"/>
                  </a:lnTo>
                  <a:lnTo>
                    <a:pt x="38" y="1049"/>
                  </a:lnTo>
                  <a:lnTo>
                    <a:pt x="40" y="1006"/>
                  </a:lnTo>
                  <a:lnTo>
                    <a:pt x="47" y="993"/>
                  </a:lnTo>
                  <a:lnTo>
                    <a:pt x="48" y="991"/>
                  </a:lnTo>
                  <a:lnTo>
                    <a:pt x="48" y="989"/>
                  </a:lnTo>
                  <a:lnTo>
                    <a:pt x="70" y="940"/>
                  </a:lnTo>
                  <a:lnTo>
                    <a:pt x="80" y="840"/>
                  </a:lnTo>
                  <a:lnTo>
                    <a:pt x="83" y="787"/>
                  </a:lnTo>
                  <a:lnTo>
                    <a:pt x="84" y="746"/>
                  </a:lnTo>
                  <a:lnTo>
                    <a:pt x="66" y="520"/>
                  </a:lnTo>
                  <a:lnTo>
                    <a:pt x="62" y="471"/>
                  </a:lnTo>
                  <a:lnTo>
                    <a:pt x="55" y="391"/>
                  </a:lnTo>
                  <a:lnTo>
                    <a:pt x="63" y="298"/>
                  </a:lnTo>
                  <a:lnTo>
                    <a:pt x="68" y="202"/>
                  </a:lnTo>
                  <a:lnTo>
                    <a:pt x="47" y="80"/>
                  </a:lnTo>
                  <a:lnTo>
                    <a:pt x="24" y="45"/>
                  </a:lnTo>
                  <a:lnTo>
                    <a:pt x="19" y="38"/>
                  </a:lnTo>
                  <a:lnTo>
                    <a:pt x="38" y="33"/>
                  </a:lnTo>
                  <a:lnTo>
                    <a:pt x="42" y="30"/>
                  </a:lnTo>
                  <a:lnTo>
                    <a:pt x="56" y="24"/>
                  </a:lnTo>
                  <a:lnTo>
                    <a:pt x="58" y="22"/>
                  </a:lnTo>
                  <a:lnTo>
                    <a:pt x="68" y="20"/>
                  </a:lnTo>
                  <a:lnTo>
                    <a:pt x="77" y="13"/>
                  </a:lnTo>
                  <a:lnTo>
                    <a:pt x="80" y="13"/>
                  </a:lnTo>
                  <a:lnTo>
                    <a:pt x="81" y="11"/>
                  </a:lnTo>
                  <a:lnTo>
                    <a:pt x="85" y="11"/>
                  </a:lnTo>
                  <a:lnTo>
                    <a:pt x="87" y="8"/>
                  </a:lnTo>
                  <a:lnTo>
                    <a:pt x="95" y="5"/>
                  </a:lnTo>
                  <a:lnTo>
                    <a:pt x="109" y="5"/>
                  </a:lnTo>
                  <a:lnTo>
                    <a:pt x="109" y="3"/>
                  </a:lnTo>
                  <a:lnTo>
                    <a:pt x="113" y="0"/>
                  </a:lnTo>
                  <a:lnTo>
                    <a:pt x="119" y="0"/>
                  </a:lnTo>
                  <a:lnTo>
                    <a:pt x="141" y="5"/>
                  </a:lnTo>
                  <a:lnTo>
                    <a:pt x="144" y="5"/>
                  </a:lnTo>
                  <a:lnTo>
                    <a:pt x="151" y="5"/>
                  </a:lnTo>
                  <a:lnTo>
                    <a:pt x="152" y="10"/>
                  </a:lnTo>
                  <a:lnTo>
                    <a:pt x="166" y="10"/>
                  </a:lnTo>
                  <a:lnTo>
                    <a:pt x="172" y="12"/>
                  </a:lnTo>
                  <a:lnTo>
                    <a:pt x="174" y="8"/>
                  </a:lnTo>
                  <a:lnTo>
                    <a:pt x="179" y="10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0" y="12"/>
                  </a:lnTo>
                  <a:lnTo>
                    <a:pt x="193" y="11"/>
                  </a:lnTo>
                  <a:lnTo>
                    <a:pt x="195" y="12"/>
                  </a:lnTo>
                  <a:lnTo>
                    <a:pt x="199" y="12"/>
                  </a:lnTo>
                  <a:lnTo>
                    <a:pt x="201" y="11"/>
                  </a:lnTo>
                  <a:lnTo>
                    <a:pt x="204" y="12"/>
                  </a:lnTo>
                  <a:lnTo>
                    <a:pt x="205" y="11"/>
                  </a:lnTo>
                  <a:lnTo>
                    <a:pt x="207" y="12"/>
                  </a:lnTo>
                  <a:lnTo>
                    <a:pt x="208" y="11"/>
                  </a:lnTo>
                  <a:lnTo>
                    <a:pt x="212" y="11"/>
                  </a:lnTo>
                  <a:lnTo>
                    <a:pt x="215" y="13"/>
                  </a:lnTo>
                  <a:lnTo>
                    <a:pt x="215" y="18"/>
                  </a:lnTo>
                  <a:lnTo>
                    <a:pt x="218" y="16"/>
                  </a:lnTo>
                  <a:lnTo>
                    <a:pt x="218" y="19"/>
                  </a:lnTo>
                  <a:lnTo>
                    <a:pt x="222" y="20"/>
                  </a:lnTo>
                  <a:lnTo>
                    <a:pt x="226" y="25"/>
                  </a:lnTo>
                  <a:lnTo>
                    <a:pt x="232" y="25"/>
                  </a:lnTo>
                  <a:lnTo>
                    <a:pt x="237" y="27"/>
                  </a:lnTo>
                  <a:lnTo>
                    <a:pt x="240" y="32"/>
                  </a:lnTo>
                  <a:lnTo>
                    <a:pt x="244" y="24"/>
                  </a:lnTo>
                  <a:lnTo>
                    <a:pt x="245" y="25"/>
                  </a:lnTo>
                  <a:lnTo>
                    <a:pt x="247" y="23"/>
                  </a:lnTo>
                  <a:lnTo>
                    <a:pt x="255" y="27"/>
                  </a:lnTo>
                  <a:lnTo>
                    <a:pt x="258" y="25"/>
                  </a:lnTo>
                  <a:lnTo>
                    <a:pt x="266" y="31"/>
                  </a:lnTo>
                  <a:lnTo>
                    <a:pt x="277" y="37"/>
                  </a:lnTo>
                  <a:lnTo>
                    <a:pt x="279" y="40"/>
                  </a:lnTo>
                  <a:lnTo>
                    <a:pt x="284" y="43"/>
                  </a:lnTo>
                  <a:lnTo>
                    <a:pt x="287" y="43"/>
                  </a:lnTo>
                  <a:lnTo>
                    <a:pt x="290" y="38"/>
                  </a:lnTo>
                  <a:lnTo>
                    <a:pt x="294" y="37"/>
                  </a:lnTo>
                  <a:lnTo>
                    <a:pt x="300" y="37"/>
                  </a:lnTo>
                  <a:lnTo>
                    <a:pt x="302" y="38"/>
                  </a:lnTo>
                  <a:lnTo>
                    <a:pt x="307" y="40"/>
                  </a:lnTo>
                  <a:lnTo>
                    <a:pt x="311" y="38"/>
                  </a:lnTo>
                  <a:lnTo>
                    <a:pt x="316" y="40"/>
                  </a:lnTo>
                  <a:lnTo>
                    <a:pt x="320" y="36"/>
                  </a:lnTo>
                  <a:lnTo>
                    <a:pt x="326" y="35"/>
                  </a:lnTo>
                  <a:lnTo>
                    <a:pt x="326" y="33"/>
                  </a:lnTo>
                  <a:lnTo>
                    <a:pt x="327" y="33"/>
                  </a:lnTo>
                  <a:lnTo>
                    <a:pt x="332" y="35"/>
                  </a:lnTo>
                  <a:lnTo>
                    <a:pt x="337" y="33"/>
                  </a:lnTo>
                  <a:lnTo>
                    <a:pt x="341" y="36"/>
                  </a:lnTo>
                  <a:lnTo>
                    <a:pt x="350" y="36"/>
                  </a:lnTo>
                  <a:lnTo>
                    <a:pt x="357" y="40"/>
                  </a:lnTo>
                  <a:lnTo>
                    <a:pt x="368" y="40"/>
                  </a:lnTo>
                  <a:lnTo>
                    <a:pt x="378" y="45"/>
                  </a:lnTo>
                  <a:lnTo>
                    <a:pt x="379" y="43"/>
                  </a:lnTo>
                  <a:lnTo>
                    <a:pt x="382" y="43"/>
                  </a:lnTo>
                  <a:lnTo>
                    <a:pt x="384" y="44"/>
                  </a:lnTo>
                  <a:lnTo>
                    <a:pt x="386" y="48"/>
                  </a:lnTo>
                  <a:lnTo>
                    <a:pt x="389" y="48"/>
                  </a:lnTo>
                  <a:lnTo>
                    <a:pt x="393" y="52"/>
                  </a:lnTo>
                  <a:lnTo>
                    <a:pt x="395" y="56"/>
                  </a:lnTo>
                  <a:lnTo>
                    <a:pt x="403" y="62"/>
                  </a:lnTo>
                  <a:lnTo>
                    <a:pt x="409" y="60"/>
                  </a:lnTo>
                  <a:lnTo>
                    <a:pt x="414" y="72"/>
                  </a:lnTo>
                  <a:lnTo>
                    <a:pt x="418" y="74"/>
                  </a:lnTo>
                  <a:lnTo>
                    <a:pt x="419" y="82"/>
                  </a:lnTo>
                  <a:lnTo>
                    <a:pt x="423" y="83"/>
                  </a:lnTo>
                  <a:lnTo>
                    <a:pt x="428" y="83"/>
                  </a:lnTo>
                  <a:lnTo>
                    <a:pt x="440" y="100"/>
                  </a:lnTo>
                  <a:lnTo>
                    <a:pt x="443" y="102"/>
                  </a:lnTo>
                  <a:lnTo>
                    <a:pt x="446" y="102"/>
                  </a:lnTo>
                  <a:lnTo>
                    <a:pt x="450" y="103"/>
                  </a:lnTo>
                  <a:lnTo>
                    <a:pt x="454" y="103"/>
                  </a:lnTo>
                  <a:lnTo>
                    <a:pt x="457" y="105"/>
                  </a:lnTo>
                  <a:lnTo>
                    <a:pt x="467" y="103"/>
                  </a:lnTo>
                  <a:lnTo>
                    <a:pt x="476" y="107"/>
                  </a:lnTo>
                  <a:lnTo>
                    <a:pt x="480" y="106"/>
                  </a:lnTo>
                  <a:lnTo>
                    <a:pt x="484" y="114"/>
                  </a:lnTo>
                  <a:lnTo>
                    <a:pt x="492" y="117"/>
                  </a:lnTo>
                  <a:lnTo>
                    <a:pt x="497" y="115"/>
                  </a:lnTo>
                  <a:lnTo>
                    <a:pt x="507" y="106"/>
                  </a:lnTo>
                  <a:lnTo>
                    <a:pt x="517" y="110"/>
                  </a:lnTo>
                  <a:lnTo>
                    <a:pt x="528" y="117"/>
                  </a:lnTo>
                  <a:lnTo>
                    <a:pt x="529" y="119"/>
                  </a:lnTo>
                  <a:lnTo>
                    <a:pt x="532" y="120"/>
                  </a:lnTo>
                  <a:lnTo>
                    <a:pt x="533" y="124"/>
                  </a:lnTo>
                  <a:lnTo>
                    <a:pt x="536" y="127"/>
                  </a:lnTo>
                  <a:lnTo>
                    <a:pt x="537" y="132"/>
                  </a:lnTo>
                  <a:lnTo>
                    <a:pt x="543" y="137"/>
                  </a:lnTo>
                  <a:lnTo>
                    <a:pt x="547" y="143"/>
                  </a:lnTo>
                  <a:lnTo>
                    <a:pt x="551" y="142"/>
                  </a:lnTo>
                  <a:lnTo>
                    <a:pt x="557" y="143"/>
                  </a:lnTo>
                  <a:lnTo>
                    <a:pt x="572" y="140"/>
                  </a:lnTo>
                  <a:lnTo>
                    <a:pt x="581" y="142"/>
                  </a:lnTo>
                  <a:lnTo>
                    <a:pt x="585" y="142"/>
                  </a:lnTo>
                  <a:lnTo>
                    <a:pt x="597" y="149"/>
                  </a:lnTo>
                  <a:lnTo>
                    <a:pt x="617" y="152"/>
                  </a:lnTo>
                  <a:lnTo>
                    <a:pt x="615" y="153"/>
                  </a:lnTo>
                  <a:lnTo>
                    <a:pt x="619" y="156"/>
                  </a:lnTo>
                  <a:lnTo>
                    <a:pt x="624" y="156"/>
                  </a:lnTo>
                  <a:lnTo>
                    <a:pt x="638" y="164"/>
                  </a:lnTo>
                  <a:lnTo>
                    <a:pt x="640" y="176"/>
                  </a:lnTo>
                  <a:lnTo>
                    <a:pt x="639" y="187"/>
                  </a:lnTo>
                  <a:lnTo>
                    <a:pt x="642" y="201"/>
                  </a:lnTo>
                  <a:lnTo>
                    <a:pt x="640" y="207"/>
                  </a:lnTo>
                  <a:lnTo>
                    <a:pt x="642" y="209"/>
                  </a:lnTo>
                  <a:lnTo>
                    <a:pt x="642" y="222"/>
                  </a:lnTo>
                  <a:lnTo>
                    <a:pt x="635" y="230"/>
                  </a:lnTo>
                  <a:lnTo>
                    <a:pt x="635" y="234"/>
                  </a:lnTo>
                  <a:lnTo>
                    <a:pt x="632" y="239"/>
                  </a:lnTo>
                  <a:lnTo>
                    <a:pt x="632" y="251"/>
                  </a:lnTo>
                  <a:lnTo>
                    <a:pt x="633" y="254"/>
                  </a:lnTo>
                  <a:lnTo>
                    <a:pt x="639" y="256"/>
                  </a:lnTo>
                  <a:lnTo>
                    <a:pt x="639" y="263"/>
                  </a:lnTo>
                  <a:lnTo>
                    <a:pt x="647" y="269"/>
                  </a:lnTo>
                  <a:lnTo>
                    <a:pt x="647" y="272"/>
                  </a:lnTo>
                  <a:lnTo>
                    <a:pt x="649" y="272"/>
                  </a:lnTo>
                  <a:lnTo>
                    <a:pt x="652" y="271"/>
                  </a:lnTo>
                  <a:lnTo>
                    <a:pt x="654" y="272"/>
                  </a:lnTo>
                  <a:lnTo>
                    <a:pt x="658" y="274"/>
                  </a:lnTo>
                  <a:lnTo>
                    <a:pt x="657" y="280"/>
                  </a:lnTo>
                  <a:lnTo>
                    <a:pt x="660" y="285"/>
                  </a:lnTo>
                  <a:lnTo>
                    <a:pt x="664" y="285"/>
                  </a:lnTo>
                  <a:lnTo>
                    <a:pt x="671" y="291"/>
                  </a:lnTo>
                  <a:lnTo>
                    <a:pt x="671" y="292"/>
                  </a:lnTo>
                  <a:lnTo>
                    <a:pt x="672" y="294"/>
                  </a:lnTo>
                  <a:lnTo>
                    <a:pt x="671" y="299"/>
                  </a:lnTo>
                  <a:lnTo>
                    <a:pt x="675" y="301"/>
                  </a:lnTo>
                  <a:lnTo>
                    <a:pt x="675" y="302"/>
                  </a:lnTo>
                  <a:lnTo>
                    <a:pt x="678" y="308"/>
                  </a:lnTo>
                  <a:lnTo>
                    <a:pt x="679" y="317"/>
                  </a:lnTo>
                  <a:lnTo>
                    <a:pt x="681" y="319"/>
                  </a:lnTo>
                  <a:lnTo>
                    <a:pt x="682" y="323"/>
                  </a:lnTo>
                  <a:lnTo>
                    <a:pt x="686" y="326"/>
                  </a:lnTo>
                  <a:lnTo>
                    <a:pt x="688" y="330"/>
                  </a:lnTo>
                  <a:lnTo>
                    <a:pt x="693" y="334"/>
                  </a:lnTo>
                  <a:lnTo>
                    <a:pt x="694" y="336"/>
                  </a:lnTo>
                  <a:lnTo>
                    <a:pt x="697" y="339"/>
                  </a:lnTo>
                  <a:lnTo>
                    <a:pt x="703" y="346"/>
                  </a:lnTo>
                  <a:lnTo>
                    <a:pt x="703" y="350"/>
                  </a:lnTo>
                  <a:lnTo>
                    <a:pt x="706" y="352"/>
                  </a:lnTo>
                  <a:lnTo>
                    <a:pt x="708" y="352"/>
                  </a:lnTo>
                  <a:lnTo>
                    <a:pt x="710" y="356"/>
                  </a:lnTo>
                  <a:lnTo>
                    <a:pt x="708" y="359"/>
                  </a:lnTo>
                  <a:lnTo>
                    <a:pt x="718" y="375"/>
                  </a:lnTo>
                  <a:lnTo>
                    <a:pt x="719" y="375"/>
                  </a:lnTo>
                  <a:lnTo>
                    <a:pt x="724" y="375"/>
                  </a:lnTo>
                  <a:lnTo>
                    <a:pt x="727" y="376"/>
                  </a:lnTo>
                  <a:lnTo>
                    <a:pt x="729" y="381"/>
                  </a:lnTo>
                  <a:lnTo>
                    <a:pt x="729" y="386"/>
                  </a:lnTo>
                  <a:lnTo>
                    <a:pt x="733" y="388"/>
                  </a:lnTo>
                  <a:lnTo>
                    <a:pt x="733" y="391"/>
                  </a:lnTo>
                  <a:lnTo>
                    <a:pt x="736" y="393"/>
                  </a:lnTo>
                  <a:lnTo>
                    <a:pt x="735" y="396"/>
                  </a:lnTo>
                  <a:lnTo>
                    <a:pt x="731" y="397"/>
                  </a:lnTo>
                  <a:lnTo>
                    <a:pt x="733" y="401"/>
                  </a:lnTo>
                  <a:lnTo>
                    <a:pt x="732" y="401"/>
                  </a:lnTo>
                  <a:lnTo>
                    <a:pt x="731" y="405"/>
                  </a:lnTo>
                  <a:lnTo>
                    <a:pt x="732" y="412"/>
                  </a:lnTo>
                  <a:lnTo>
                    <a:pt x="729" y="417"/>
                  </a:lnTo>
                  <a:lnTo>
                    <a:pt x="731" y="420"/>
                  </a:lnTo>
                  <a:lnTo>
                    <a:pt x="736" y="425"/>
                  </a:lnTo>
                  <a:lnTo>
                    <a:pt x="738" y="425"/>
                  </a:lnTo>
                  <a:lnTo>
                    <a:pt x="747" y="430"/>
                  </a:lnTo>
                  <a:lnTo>
                    <a:pt x="747" y="433"/>
                  </a:lnTo>
                  <a:lnTo>
                    <a:pt x="749" y="435"/>
                  </a:lnTo>
                  <a:lnTo>
                    <a:pt x="749" y="437"/>
                  </a:lnTo>
                  <a:lnTo>
                    <a:pt x="753" y="439"/>
                  </a:lnTo>
                  <a:lnTo>
                    <a:pt x="756" y="438"/>
                  </a:lnTo>
                  <a:lnTo>
                    <a:pt x="760" y="441"/>
                  </a:lnTo>
                  <a:lnTo>
                    <a:pt x="758" y="447"/>
                  </a:lnTo>
                  <a:lnTo>
                    <a:pt x="756" y="450"/>
                  </a:lnTo>
                  <a:lnTo>
                    <a:pt x="757" y="454"/>
                  </a:lnTo>
                  <a:lnTo>
                    <a:pt x="753" y="457"/>
                  </a:lnTo>
                  <a:lnTo>
                    <a:pt x="753" y="462"/>
                  </a:lnTo>
                  <a:lnTo>
                    <a:pt x="757" y="460"/>
                  </a:lnTo>
                  <a:lnTo>
                    <a:pt x="769" y="450"/>
                  </a:lnTo>
                  <a:lnTo>
                    <a:pt x="785" y="450"/>
                  </a:lnTo>
                  <a:lnTo>
                    <a:pt x="824" y="450"/>
                  </a:lnTo>
                  <a:lnTo>
                    <a:pt x="803" y="499"/>
                  </a:lnTo>
                  <a:lnTo>
                    <a:pt x="793" y="509"/>
                  </a:lnTo>
                  <a:lnTo>
                    <a:pt x="782" y="525"/>
                  </a:lnTo>
                  <a:lnTo>
                    <a:pt x="782" y="526"/>
                  </a:lnTo>
                  <a:lnTo>
                    <a:pt x="788" y="526"/>
                  </a:lnTo>
                  <a:lnTo>
                    <a:pt x="788" y="527"/>
                  </a:lnTo>
                  <a:lnTo>
                    <a:pt x="788" y="529"/>
                  </a:lnTo>
                  <a:lnTo>
                    <a:pt x="786" y="529"/>
                  </a:lnTo>
                  <a:lnTo>
                    <a:pt x="788" y="532"/>
                  </a:lnTo>
                  <a:lnTo>
                    <a:pt x="785" y="533"/>
                  </a:lnTo>
                  <a:lnTo>
                    <a:pt x="783" y="535"/>
                  </a:lnTo>
                  <a:lnTo>
                    <a:pt x="791" y="538"/>
                  </a:lnTo>
                  <a:lnTo>
                    <a:pt x="789" y="539"/>
                  </a:lnTo>
                  <a:lnTo>
                    <a:pt x="791" y="541"/>
                  </a:lnTo>
                  <a:lnTo>
                    <a:pt x="789" y="542"/>
                  </a:lnTo>
                  <a:lnTo>
                    <a:pt x="789" y="546"/>
                  </a:lnTo>
                  <a:lnTo>
                    <a:pt x="791" y="547"/>
                  </a:lnTo>
                  <a:lnTo>
                    <a:pt x="793" y="547"/>
                  </a:lnTo>
                  <a:lnTo>
                    <a:pt x="794" y="549"/>
                  </a:lnTo>
                  <a:lnTo>
                    <a:pt x="792" y="551"/>
                  </a:lnTo>
                  <a:lnTo>
                    <a:pt x="794" y="552"/>
                  </a:lnTo>
                  <a:lnTo>
                    <a:pt x="792" y="554"/>
                  </a:lnTo>
                  <a:lnTo>
                    <a:pt x="794" y="555"/>
                  </a:lnTo>
                  <a:lnTo>
                    <a:pt x="793" y="558"/>
                  </a:lnTo>
                  <a:lnTo>
                    <a:pt x="799" y="560"/>
                  </a:lnTo>
                  <a:lnTo>
                    <a:pt x="802" y="560"/>
                  </a:lnTo>
                  <a:lnTo>
                    <a:pt x="803" y="559"/>
                  </a:lnTo>
                  <a:lnTo>
                    <a:pt x="810" y="560"/>
                  </a:lnTo>
                  <a:lnTo>
                    <a:pt x="811" y="559"/>
                  </a:lnTo>
                  <a:lnTo>
                    <a:pt x="813" y="560"/>
                  </a:lnTo>
                  <a:lnTo>
                    <a:pt x="813" y="563"/>
                  </a:lnTo>
                  <a:lnTo>
                    <a:pt x="813" y="564"/>
                  </a:lnTo>
                  <a:lnTo>
                    <a:pt x="811" y="566"/>
                  </a:lnTo>
                  <a:lnTo>
                    <a:pt x="814" y="569"/>
                  </a:lnTo>
                  <a:lnTo>
                    <a:pt x="816" y="572"/>
                  </a:lnTo>
                  <a:lnTo>
                    <a:pt x="814" y="574"/>
                  </a:lnTo>
                  <a:lnTo>
                    <a:pt x="813" y="572"/>
                  </a:lnTo>
                  <a:lnTo>
                    <a:pt x="810" y="574"/>
                  </a:lnTo>
                  <a:lnTo>
                    <a:pt x="808" y="572"/>
                  </a:lnTo>
                  <a:lnTo>
                    <a:pt x="806" y="574"/>
                  </a:lnTo>
                  <a:lnTo>
                    <a:pt x="806" y="575"/>
                  </a:lnTo>
                  <a:lnTo>
                    <a:pt x="803" y="575"/>
                  </a:lnTo>
                  <a:lnTo>
                    <a:pt x="803" y="577"/>
                  </a:lnTo>
                  <a:lnTo>
                    <a:pt x="797" y="579"/>
                  </a:lnTo>
                  <a:lnTo>
                    <a:pt x="796" y="582"/>
                  </a:lnTo>
                  <a:lnTo>
                    <a:pt x="799" y="582"/>
                  </a:lnTo>
                  <a:lnTo>
                    <a:pt x="797" y="583"/>
                  </a:lnTo>
                  <a:lnTo>
                    <a:pt x="793" y="580"/>
                  </a:lnTo>
                  <a:lnTo>
                    <a:pt x="792" y="582"/>
                  </a:lnTo>
                  <a:lnTo>
                    <a:pt x="792" y="586"/>
                  </a:lnTo>
                  <a:lnTo>
                    <a:pt x="791" y="588"/>
                  </a:lnTo>
                  <a:lnTo>
                    <a:pt x="786" y="592"/>
                  </a:lnTo>
                  <a:lnTo>
                    <a:pt x="783" y="597"/>
                  </a:lnTo>
                  <a:lnTo>
                    <a:pt x="782" y="611"/>
                  </a:lnTo>
                  <a:lnTo>
                    <a:pt x="783" y="614"/>
                  </a:lnTo>
                  <a:lnTo>
                    <a:pt x="792" y="620"/>
                  </a:lnTo>
                  <a:lnTo>
                    <a:pt x="799" y="621"/>
                  </a:lnTo>
                  <a:lnTo>
                    <a:pt x="800" y="625"/>
                  </a:lnTo>
                  <a:lnTo>
                    <a:pt x="799" y="629"/>
                  </a:lnTo>
                  <a:lnTo>
                    <a:pt x="796" y="630"/>
                  </a:lnTo>
                  <a:lnTo>
                    <a:pt x="794" y="633"/>
                  </a:lnTo>
                  <a:lnTo>
                    <a:pt x="799" y="636"/>
                  </a:lnTo>
                  <a:lnTo>
                    <a:pt x="799" y="639"/>
                  </a:lnTo>
                  <a:lnTo>
                    <a:pt x="797" y="642"/>
                  </a:lnTo>
                  <a:lnTo>
                    <a:pt x="793" y="642"/>
                  </a:lnTo>
                  <a:lnTo>
                    <a:pt x="792" y="644"/>
                  </a:lnTo>
                  <a:lnTo>
                    <a:pt x="796" y="647"/>
                  </a:lnTo>
                  <a:lnTo>
                    <a:pt x="797" y="650"/>
                  </a:lnTo>
                  <a:lnTo>
                    <a:pt x="792" y="673"/>
                  </a:lnTo>
                  <a:lnTo>
                    <a:pt x="792" y="675"/>
                  </a:lnTo>
                  <a:lnTo>
                    <a:pt x="793" y="678"/>
                  </a:lnTo>
                  <a:lnTo>
                    <a:pt x="800" y="684"/>
                  </a:lnTo>
                  <a:lnTo>
                    <a:pt x="800" y="688"/>
                  </a:lnTo>
                  <a:lnTo>
                    <a:pt x="797" y="692"/>
                  </a:lnTo>
                  <a:lnTo>
                    <a:pt x="799" y="696"/>
                  </a:lnTo>
                  <a:lnTo>
                    <a:pt x="810" y="696"/>
                  </a:lnTo>
                  <a:lnTo>
                    <a:pt x="813" y="698"/>
                  </a:lnTo>
                  <a:lnTo>
                    <a:pt x="814" y="700"/>
                  </a:lnTo>
                  <a:lnTo>
                    <a:pt x="818" y="700"/>
                  </a:lnTo>
                  <a:lnTo>
                    <a:pt x="819" y="703"/>
                  </a:lnTo>
                  <a:lnTo>
                    <a:pt x="827" y="704"/>
                  </a:lnTo>
                  <a:lnTo>
                    <a:pt x="831" y="707"/>
                  </a:lnTo>
                  <a:lnTo>
                    <a:pt x="838" y="706"/>
                  </a:lnTo>
                  <a:lnTo>
                    <a:pt x="841" y="707"/>
                  </a:lnTo>
                  <a:lnTo>
                    <a:pt x="845" y="707"/>
                  </a:lnTo>
                  <a:lnTo>
                    <a:pt x="849" y="708"/>
                  </a:lnTo>
                  <a:lnTo>
                    <a:pt x="852" y="708"/>
                  </a:lnTo>
                  <a:lnTo>
                    <a:pt x="854" y="708"/>
                  </a:lnTo>
                  <a:lnTo>
                    <a:pt x="857" y="708"/>
                  </a:lnTo>
                  <a:lnTo>
                    <a:pt x="860" y="712"/>
                  </a:lnTo>
                  <a:lnTo>
                    <a:pt x="860" y="713"/>
                  </a:lnTo>
                  <a:lnTo>
                    <a:pt x="857" y="716"/>
                  </a:lnTo>
                  <a:lnTo>
                    <a:pt x="856" y="715"/>
                  </a:lnTo>
                  <a:lnTo>
                    <a:pt x="854" y="720"/>
                  </a:lnTo>
                  <a:lnTo>
                    <a:pt x="852" y="721"/>
                  </a:lnTo>
                  <a:lnTo>
                    <a:pt x="852" y="724"/>
                  </a:lnTo>
                  <a:lnTo>
                    <a:pt x="850" y="728"/>
                  </a:lnTo>
                  <a:lnTo>
                    <a:pt x="850" y="731"/>
                  </a:lnTo>
                  <a:lnTo>
                    <a:pt x="846" y="731"/>
                  </a:lnTo>
                  <a:lnTo>
                    <a:pt x="847" y="737"/>
                  </a:lnTo>
                  <a:lnTo>
                    <a:pt x="845" y="738"/>
                  </a:lnTo>
                  <a:lnTo>
                    <a:pt x="845" y="740"/>
                  </a:lnTo>
                  <a:lnTo>
                    <a:pt x="846" y="741"/>
                  </a:lnTo>
                  <a:lnTo>
                    <a:pt x="850" y="743"/>
                  </a:lnTo>
                  <a:lnTo>
                    <a:pt x="856" y="750"/>
                  </a:lnTo>
                  <a:lnTo>
                    <a:pt x="861" y="748"/>
                  </a:lnTo>
                  <a:lnTo>
                    <a:pt x="866" y="748"/>
                  </a:lnTo>
                  <a:lnTo>
                    <a:pt x="868" y="754"/>
                  </a:lnTo>
                  <a:lnTo>
                    <a:pt x="867" y="757"/>
                  </a:lnTo>
                  <a:lnTo>
                    <a:pt x="868" y="763"/>
                  </a:lnTo>
                  <a:lnTo>
                    <a:pt x="867" y="766"/>
                  </a:lnTo>
                  <a:lnTo>
                    <a:pt x="863" y="769"/>
                  </a:lnTo>
                  <a:lnTo>
                    <a:pt x="861" y="774"/>
                  </a:lnTo>
                  <a:lnTo>
                    <a:pt x="859" y="775"/>
                  </a:lnTo>
                  <a:lnTo>
                    <a:pt x="854" y="779"/>
                  </a:lnTo>
                  <a:lnTo>
                    <a:pt x="856" y="783"/>
                  </a:lnTo>
                  <a:lnTo>
                    <a:pt x="854" y="783"/>
                  </a:lnTo>
                  <a:lnTo>
                    <a:pt x="854" y="785"/>
                  </a:lnTo>
                  <a:lnTo>
                    <a:pt x="857" y="786"/>
                  </a:lnTo>
                  <a:lnTo>
                    <a:pt x="859" y="787"/>
                  </a:lnTo>
                  <a:lnTo>
                    <a:pt x="856" y="795"/>
                  </a:lnTo>
                  <a:lnTo>
                    <a:pt x="856" y="798"/>
                  </a:lnTo>
                  <a:lnTo>
                    <a:pt x="852" y="799"/>
                  </a:lnTo>
                  <a:lnTo>
                    <a:pt x="852" y="804"/>
                  </a:lnTo>
                  <a:lnTo>
                    <a:pt x="939" y="802"/>
                  </a:lnTo>
                  <a:lnTo>
                    <a:pt x="954" y="824"/>
                  </a:lnTo>
                  <a:lnTo>
                    <a:pt x="963" y="838"/>
                  </a:lnTo>
                  <a:lnTo>
                    <a:pt x="966" y="845"/>
                  </a:lnTo>
                  <a:lnTo>
                    <a:pt x="967" y="866"/>
                  </a:lnTo>
                  <a:lnTo>
                    <a:pt x="970" y="880"/>
                  </a:lnTo>
                  <a:lnTo>
                    <a:pt x="967" y="910"/>
                  </a:lnTo>
                  <a:lnTo>
                    <a:pt x="967" y="947"/>
                  </a:lnTo>
                  <a:close/>
                  <a:moveTo>
                    <a:pt x="640" y="1301"/>
                  </a:moveTo>
                  <a:lnTo>
                    <a:pt x="642" y="1309"/>
                  </a:lnTo>
                  <a:lnTo>
                    <a:pt x="638" y="1315"/>
                  </a:lnTo>
                  <a:lnTo>
                    <a:pt x="636" y="1327"/>
                  </a:lnTo>
                  <a:lnTo>
                    <a:pt x="635" y="1330"/>
                  </a:lnTo>
                  <a:lnTo>
                    <a:pt x="632" y="1330"/>
                  </a:lnTo>
                  <a:lnTo>
                    <a:pt x="631" y="1329"/>
                  </a:lnTo>
                  <a:lnTo>
                    <a:pt x="631" y="1326"/>
                  </a:lnTo>
                  <a:lnTo>
                    <a:pt x="627" y="1318"/>
                  </a:lnTo>
                  <a:lnTo>
                    <a:pt x="628" y="1310"/>
                  </a:lnTo>
                  <a:lnTo>
                    <a:pt x="632" y="1305"/>
                  </a:lnTo>
                  <a:lnTo>
                    <a:pt x="639" y="1298"/>
                  </a:lnTo>
                  <a:lnTo>
                    <a:pt x="640" y="130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15" name="Freeform 314"/>
            <p:cNvSpPr>
              <a:spLocks noEditPoints="1"/>
            </p:cNvSpPr>
            <p:nvPr/>
          </p:nvSpPr>
          <p:spPr bwMode="auto">
            <a:xfrm>
              <a:off x="7589843" y="4973391"/>
              <a:ext cx="88917" cy="61532"/>
            </a:xfrm>
            <a:custGeom>
              <a:avLst/>
              <a:gdLst>
                <a:gd name="T0" fmla="*/ 382 w 446"/>
                <a:gd name="T1" fmla="*/ 130 h 228"/>
                <a:gd name="T2" fmla="*/ 381 w 446"/>
                <a:gd name="T3" fmla="*/ 138 h 228"/>
                <a:gd name="T4" fmla="*/ 372 w 446"/>
                <a:gd name="T5" fmla="*/ 129 h 228"/>
                <a:gd name="T6" fmla="*/ 385 w 446"/>
                <a:gd name="T7" fmla="*/ 127 h 228"/>
                <a:gd name="T8" fmla="*/ 195 w 446"/>
                <a:gd name="T9" fmla="*/ 59 h 228"/>
                <a:gd name="T10" fmla="*/ 182 w 446"/>
                <a:gd name="T11" fmla="*/ 68 h 228"/>
                <a:gd name="T12" fmla="*/ 171 w 446"/>
                <a:gd name="T13" fmla="*/ 80 h 228"/>
                <a:gd name="T14" fmla="*/ 172 w 446"/>
                <a:gd name="T15" fmla="*/ 79 h 228"/>
                <a:gd name="T16" fmla="*/ 142 w 446"/>
                <a:gd name="T17" fmla="*/ 110 h 228"/>
                <a:gd name="T18" fmla="*/ 123 w 446"/>
                <a:gd name="T19" fmla="*/ 138 h 228"/>
                <a:gd name="T20" fmla="*/ 90 w 446"/>
                <a:gd name="T21" fmla="*/ 124 h 228"/>
                <a:gd name="T22" fmla="*/ 82 w 446"/>
                <a:gd name="T23" fmla="*/ 115 h 228"/>
                <a:gd name="T24" fmla="*/ 76 w 446"/>
                <a:gd name="T25" fmla="*/ 108 h 228"/>
                <a:gd name="T26" fmla="*/ 57 w 446"/>
                <a:gd name="T27" fmla="*/ 107 h 228"/>
                <a:gd name="T28" fmla="*/ 48 w 446"/>
                <a:gd name="T29" fmla="*/ 120 h 228"/>
                <a:gd name="T30" fmla="*/ 73 w 446"/>
                <a:gd name="T31" fmla="*/ 92 h 228"/>
                <a:gd name="T32" fmla="*/ 90 w 446"/>
                <a:gd name="T33" fmla="*/ 75 h 228"/>
                <a:gd name="T34" fmla="*/ 97 w 446"/>
                <a:gd name="T35" fmla="*/ 35 h 228"/>
                <a:gd name="T36" fmla="*/ 206 w 446"/>
                <a:gd name="T37" fmla="*/ 34 h 228"/>
                <a:gd name="T38" fmla="*/ 204 w 446"/>
                <a:gd name="T39" fmla="*/ 55 h 228"/>
                <a:gd name="T40" fmla="*/ 98 w 446"/>
                <a:gd name="T41" fmla="*/ 219 h 228"/>
                <a:gd name="T42" fmla="*/ 71 w 446"/>
                <a:gd name="T43" fmla="*/ 213 h 228"/>
                <a:gd name="T44" fmla="*/ 33 w 446"/>
                <a:gd name="T45" fmla="*/ 228 h 228"/>
                <a:gd name="T46" fmla="*/ 19 w 446"/>
                <a:gd name="T47" fmla="*/ 222 h 228"/>
                <a:gd name="T48" fmla="*/ 6 w 446"/>
                <a:gd name="T49" fmla="*/ 215 h 228"/>
                <a:gd name="T50" fmla="*/ 1 w 446"/>
                <a:gd name="T51" fmla="*/ 197 h 228"/>
                <a:gd name="T52" fmla="*/ 19 w 446"/>
                <a:gd name="T53" fmla="*/ 199 h 228"/>
                <a:gd name="T54" fmla="*/ 44 w 446"/>
                <a:gd name="T55" fmla="*/ 174 h 228"/>
                <a:gd name="T56" fmla="*/ 47 w 446"/>
                <a:gd name="T57" fmla="*/ 158 h 228"/>
                <a:gd name="T58" fmla="*/ 43 w 446"/>
                <a:gd name="T59" fmla="*/ 130 h 228"/>
                <a:gd name="T60" fmla="*/ 60 w 446"/>
                <a:gd name="T61" fmla="*/ 127 h 228"/>
                <a:gd name="T62" fmla="*/ 83 w 446"/>
                <a:gd name="T63" fmla="*/ 134 h 228"/>
                <a:gd name="T64" fmla="*/ 92 w 446"/>
                <a:gd name="T65" fmla="*/ 130 h 228"/>
                <a:gd name="T66" fmla="*/ 97 w 446"/>
                <a:gd name="T67" fmla="*/ 135 h 228"/>
                <a:gd name="T68" fmla="*/ 106 w 446"/>
                <a:gd name="T69" fmla="*/ 163 h 228"/>
                <a:gd name="T70" fmla="*/ 129 w 446"/>
                <a:gd name="T71" fmla="*/ 172 h 228"/>
                <a:gd name="T72" fmla="*/ 112 w 446"/>
                <a:gd name="T73" fmla="*/ 200 h 228"/>
                <a:gd name="T74" fmla="*/ 435 w 446"/>
                <a:gd name="T75" fmla="*/ 152 h 228"/>
                <a:gd name="T76" fmla="*/ 421 w 446"/>
                <a:gd name="T77" fmla="*/ 202 h 228"/>
                <a:gd name="T78" fmla="*/ 414 w 446"/>
                <a:gd name="T79" fmla="*/ 215 h 228"/>
                <a:gd name="T80" fmla="*/ 413 w 446"/>
                <a:gd name="T81" fmla="*/ 202 h 228"/>
                <a:gd name="T82" fmla="*/ 406 w 446"/>
                <a:gd name="T83" fmla="*/ 195 h 228"/>
                <a:gd name="T84" fmla="*/ 405 w 446"/>
                <a:gd name="T85" fmla="*/ 187 h 228"/>
                <a:gd name="T86" fmla="*/ 382 w 446"/>
                <a:gd name="T87" fmla="*/ 172 h 228"/>
                <a:gd name="T88" fmla="*/ 378 w 446"/>
                <a:gd name="T89" fmla="*/ 177 h 228"/>
                <a:gd name="T90" fmla="*/ 386 w 446"/>
                <a:gd name="T91" fmla="*/ 178 h 228"/>
                <a:gd name="T92" fmla="*/ 388 w 446"/>
                <a:gd name="T93" fmla="*/ 194 h 228"/>
                <a:gd name="T94" fmla="*/ 372 w 446"/>
                <a:gd name="T95" fmla="*/ 200 h 228"/>
                <a:gd name="T96" fmla="*/ 367 w 446"/>
                <a:gd name="T97" fmla="*/ 191 h 228"/>
                <a:gd name="T98" fmla="*/ 371 w 446"/>
                <a:gd name="T99" fmla="*/ 175 h 228"/>
                <a:gd name="T100" fmla="*/ 388 w 446"/>
                <a:gd name="T101" fmla="*/ 152 h 228"/>
                <a:gd name="T102" fmla="*/ 403 w 446"/>
                <a:gd name="T103" fmla="*/ 141 h 228"/>
                <a:gd name="T104" fmla="*/ 413 w 446"/>
                <a:gd name="T105" fmla="*/ 146 h 228"/>
                <a:gd name="T106" fmla="*/ 418 w 446"/>
                <a:gd name="T107" fmla="*/ 149 h 228"/>
                <a:gd name="T108" fmla="*/ 431 w 446"/>
                <a:gd name="T109" fmla="*/ 140 h 228"/>
                <a:gd name="T110" fmla="*/ 434 w 446"/>
                <a:gd name="T111" fmla="*/ 129 h 228"/>
                <a:gd name="T112" fmla="*/ 445 w 446"/>
                <a:gd name="T113" fmla="*/ 128 h 228"/>
                <a:gd name="T114" fmla="*/ 206 w 446"/>
                <a:gd name="T115" fmla="*/ 83 h 228"/>
                <a:gd name="T116" fmla="*/ 190 w 446"/>
                <a:gd name="T117" fmla="*/ 102 h 228"/>
                <a:gd name="T118" fmla="*/ 192 w 446"/>
                <a:gd name="T119" fmla="*/ 92 h 228"/>
                <a:gd name="T120" fmla="*/ 202 w 446"/>
                <a:gd name="T121" fmla="*/ 87 h 228"/>
                <a:gd name="T122" fmla="*/ 207 w 446"/>
                <a:gd name="T123" fmla="*/ 75 h 228"/>
                <a:gd name="T124" fmla="*/ 207 w 446"/>
                <a:gd name="T125" fmla="*/ 59 h 2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46"/>
                <a:gd name="T190" fmla="*/ 0 h 228"/>
                <a:gd name="T191" fmla="*/ 446 w 446"/>
                <a:gd name="T192" fmla="*/ 228 h 2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46" h="228">
                  <a:moveTo>
                    <a:pt x="385" y="127"/>
                  </a:moveTo>
                  <a:lnTo>
                    <a:pt x="388" y="128"/>
                  </a:lnTo>
                  <a:lnTo>
                    <a:pt x="382" y="130"/>
                  </a:lnTo>
                  <a:lnTo>
                    <a:pt x="382" y="135"/>
                  </a:lnTo>
                  <a:lnTo>
                    <a:pt x="381" y="137"/>
                  </a:lnTo>
                  <a:lnTo>
                    <a:pt x="381" y="138"/>
                  </a:lnTo>
                  <a:lnTo>
                    <a:pt x="378" y="137"/>
                  </a:lnTo>
                  <a:lnTo>
                    <a:pt x="372" y="130"/>
                  </a:lnTo>
                  <a:lnTo>
                    <a:pt x="372" y="129"/>
                  </a:lnTo>
                  <a:lnTo>
                    <a:pt x="374" y="128"/>
                  </a:lnTo>
                  <a:lnTo>
                    <a:pt x="380" y="128"/>
                  </a:lnTo>
                  <a:lnTo>
                    <a:pt x="385" y="127"/>
                  </a:lnTo>
                  <a:close/>
                  <a:moveTo>
                    <a:pt x="204" y="55"/>
                  </a:moveTo>
                  <a:lnTo>
                    <a:pt x="197" y="55"/>
                  </a:lnTo>
                  <a:lnTo>
                    <a:pt x="195" y="59"/>
                  </a:lnTo>
                  <a:lnTo>
                    <a:pt x="185" y="63"/>
                  </a:lnTo>
                  <a:lnTo>
                    <a:pt x="183" y="68"/>
                  </a:lnTo>
                  <a:lnTo>
                    <a:pt x="182" y="68"/>
                  </a:lnTo>
                  <a:lnTo>
                    <a:pt x="181" y="71"/>
                  </a:lnTo>
                  <a:lnTo>
                    <a:pt x="172" y="78"/>
                  </a:lnTo>
                  <a:lnTo>
                    <a:pt x="171" y="80"/>
                  </a:lnTo>
                  <a:lnTo>
                    <a:pt x="172" y="80"/>
                  </a:lnTo>
                  <a:lnTo>
                    <a:pt x="174" y="78"/>
                  </a:lnTo>
                  <a:lnTo>
                    <a:pt x="172" y="79"/>
                  </a:lnTo>
                  <a:lnTo>
                    <a:pt x="170" y="82"/>
                  </a:lnTo>
                  <a:lnTo>
                    <a:pt x="153" y="97"/>
                  </a:lnTo>
                  <a:lnTo>
                    <a:pt x="142" y="110"/>
                  </a:lnTo>
                  <a:lnTo>
                    <a:pt x="133" y="120"/>
                  </a:lnTo>
                  <a:lnTo>
                    <a:pt x="126" y="130"/>
                  </a:lnTo>
                  <a:lnTo>
                    <a:pt x="123" y="138"/>
                  </a:lnTo>
                  <a:lnTo>
                    <a:pt x="117" y="138"/>
                  </a:lnTo>
                  <a:lnTo>
                    <a:pt x="104" y="133"/>
                  </a:lnTo>
                  <a:lnTo>
                    <a:pt x="90" y="124"/>
                  </a:lnTo>
                  <a:lnTo>
                    <a:pt x="83" y="120"/>
                  </a:lnTo>
                  <a:lnTo>
                    <a:pt x="82" y="119"/>
                  </a:lnTo>
                  <a:lnTo>
                    <a:pt x="82" y="115"/>
                  </a:lnTo>
                  <a:lnTo>
                    <a:pt x="79" y="113"/>
                  </a:lnTo>
                  <a:lnTo>
                    <a:pt x="78" y="110"/>
                  </a:lnTo>
                  <a:lnTo>
                    <a:pt x="76" y="108"/>
                  </a:lnTo>
                  <a:lnTo>
                    <a:pt x="71" y="104"/>
                  </a:lnTo>
                  <a:lnTo>
                    <a:pt x="61" y="105"/>
                  </a:lnTo>
                  <a:lnTo>
                    <a:pt x="57" y="107"/>
                  </a:lnTo>
                  <a:lnTo>
                    <a:pt x="51" y="115"/>
                  </a:lnTo>
                  <a:lnTo>
                    <a:pt x="53" y="120"/>
                  </a:lnTo>
                  <a:lnTo>
                    <a:pt x="48" y="120"/>
                  </a:lnTo>
                  <a:lnTo>
                    <a:pt x="53" y="105"/>
                  </a:lnTo>
                  <a:lnTo>
                    <a:pt x="56" y="100"/>
                  </a:lnTo>
                  <a:lnTo>
                    <a:pt x="73" y="92"/>
                  </a:lnTo>
                  <a:lnTo>
                    <a:pt x="82" y="87"/>
                  </a:lnTo>
                  <a:lnTo>
                    <a:pt x="86" y="84"/>
                  </a:lnTo>
                  <a:lnTo>
                    <a:pt x="90" y="75"/>
                  </a:lnTo>
                  <a:lnTo>
                    <a:pt x="94" y="66"/>
                  </a:lnTo>
                  <a:lnTo>
                    <a:pt x="97" y="55"/>
                  </a:lnTo>
                  <a:lnTo>
                    <a:pt x="97" y="35"/>
                  </a:lnTo>
                  <a:lnTo>
                    <a:pt x="103" y="0"/>
                  </a:lnTo>
                  <a:lnTo>
                    <a:pt x="122" y="6"/>
                  </a:lnTo>
                  <a:lnTo>
                    <a:pt x="206" y="34"/>
                  </a:lnTo>
                  <a:lnTo>
                    <a:pt x="208" y="45"/>
                  </a:lnTo>
                  <a:lnTo>
                    <a:pt x="208" y="51"/>
                  </a:lnTo>
                  <a:lnTo>
                    <a:pt x="204" y="55"/>
                  </a:lnTo>
                  <a:close/>
                  <a:moveTo>
                    <a:pt x="112" y="200"/>
                  </a:moveTo>
                  <a:lnTo>
                    <a:pt x="104" y="220"/>
                  </a:lnTo>
                  <a:lnTo>
                    <a:pt x="98" y="219"/>
                  </a:lnTo>
                  <a:lnTo>
                    <a:pt x="94" y="215"/>
                  </a:lnTo>
                  <a:lnTo>
                    <a:pt x="86" y="213"/>
                  </a:lnTo>
                  <a:lnTo>
                    <a:pt x="71" y="213"/>
                  </a:lnTo>
                  <a:lnTo>
                    <a:pt x="58" y="215"/>
                  </a:lnTo>
                  <a:lnTo>
                    <a:pt x="53" y="220"/>
                  </a:lnTo>
                  <a:lnTo>
                    <a:pt x="33" y="228"/>
                  </a:lnTo>
                  <a:lnTo>
                    <a:pt x="29" y="225"/>
                  </a:lnTo>
                  <a:lnTo>
                    <a:pt x="22" y="222"/>
                  </a:lnTo>
                  <a:lnTo>
                    <a:pt x="19" y="222"/>
                  </a:lnTo>
                  <a:lnTo>
                    <a:pt x="14" y="227"/>
                  </a:lnTo>
                  <a:lnTo>
                    <a:pt x="11" y="225"/>
                  </a:lnTo>
                  <a:lnTo>
                    <a:pt x="6" y="215"/>
                  </a:lnTo>
                  <a:lnTo>
                    <a:pt x="0" y="206"/>
                  </a:lnTo>
                  <a:lnTo>
                    <a:pt x="0" y="200"/>
                  </a:lnTo>
                  <a:lnTo>
                    <a:pt x="1" y="197"/>
                  </a:lnTo>
                  <a:lnTo>
                    <a:pt x="6" y="195"/>
                  </a:lnTo>
                  <a:lnTo>
                    <a:pt x="9" y="195"/>
                  </a:lnTo>
                  <a:lnTo>
                    <a:pt x="19" y="199"/>
                  </a:lnTo>
                  <a:lnTo>
                    <a:pt x="26" y="197"/>
                  </a:lnTo>
                  <a:lnTo>
                    <a:pt x="40" y="182"/>
                  </a:lnTo>
                  <a:lnTo>
                    <a:pt x="44" y="174"/>
                  </a:lnTo>
                  <a:lnTo>
                    <a:pt x="46" y="169"/>
                  </a:lnTo>
                  <a:lnTo>
                    <a:pt x="44" y="159"/>
                  </a:lnTo>
                  <a:lnTo>
                    <a:pt x="47" y="158"/>
                  </a:lnTo>
                  <a:lnTo>
                    <a:pt x="44" y="152"/>
                  </a:lnTo>
                  <a:lnTo>
                    <a:pt x="42" y="140"/>
                  </a:lnTo>
                  <a:lnTo>
                    <a:pt x="43" y="130"/>
                  </a:lnTo>
                  <a:lnTo>
                    <a:pt x="47" y="128"/>
                  </a:lnTo>
                  <a:lnTo>
                    <a:pt x="53" y="125"/>
                  </a:lnTo>
                  <a:lnTo>
                    <a:pt x="60" y="127"/>
                  </a:lnTo>
                  <a:lnTo>
                    <a:pt x="76" y="133"/>
                  </a:lnTo>
                  <a:lnTo>
                    <a:pt x="82" y="133"/>
                  </a:lnTo>
                  <a:lnTo>
                    <a:pt x="83" y="134"/>
                  </a:lnTo>
                  <a:lnTo>
                    <a:pt x="87" y="134"/>
                  </a:lnTo>
                  <a:lnTo>
                    <a:pt x="89" y="130"/>
                  </a:lnTo>
                  <a:lnTo>
                    <a:pt x="92" y="130"/>
                  </a:lnTo>
                  <a:lnTo>
                    <a:pt x="94" y="132"/>
                  </a:lnTo>
                  <a:lnTo>
                    <a:pt x="96" y="135"/>
                  </a:lnTo>
                  <a:lnTo>
                    <a:pt x="97" y="135"/>
                  </a:lnTo>
                  <a:lnTo>
                    <a:pt x="97" y="145"/>
                  </a:lnTo>
                  <a:lnTo>
                    <a:pt x="97" y="150"/>
                  </a:lnTo>
                  <a:lnTo>
                    <a:pt x="106" y="163"/>
                  </a:lnTo>
                  <a:lnTo>
                    <a:pt x="108" y="167"/>
                  </a:lnTo>
                  <a:lnTo>
                    <a:pt x="117" y="171"/>
                  </a:lnTo>
                  <a:lnTo>
                    <a:pt x="129" y="172"/>
                  </a:lnTo>
                  <a:lnTo>
                    <a:pt x="135" y="180"/>
                  </a:lnTo>
                  <a:lnTo>
                    <a:pt x="131" y="188"/>
                  </a:lnTo>
                  <a:lnTo>
                    <a:pt x="112" y="200"/>
                  </a:lnTo>
                  <a:close/>
                  <a:moveTo>
                    <a:pt x="445" y="128"/>
                  </a:moveTo>
                  <a:lnTo>
                    <a:pt x="446" y="133"/>
                  </a:lnTo>
                  <a:lnTo>
                    <a:pt x="435" y="152"/>
                  </a:lnTo>
                  <a:lnTo>
                    <a:pt x="427" y="169"/>
                  </a:lnTo>
                  <a:lnTo>
                    <a:pt x="427" y="178"/>
                  </a:lnTo>
                  <a:lnTo>
                    <a:pt x="421" y="202"/>
                  </a:lnTo>
                  <a:lnTo>
                    <a:pt x="420" y="207"/>
                  </a:lnTo>
                  <a:lnTo>
                    <a:pt x="417" y="211"/>
                  </a:lnTo>
                  <a:lnTo>
                    <a:pt x="414" y="215"/>
                  </a:lnTo>
                  <a:lnTo>
                    <a:pt x="413" y="211"/>
                  </a:lnTo>
                  <a:lnTo>
                    <a:pt x="414" y="206"/>
                  </a:lnTo>
                  <a:lnTo>
                    <a:pt x="413" y="202"/>
                  </a:lnTo>
                  <a:lnTo>
                    <a:pt x="414" y="200"/>
                  </a:lnTo>
                  <a:lnTo>
                    <a:pt x="408" y="197"/>
                  </a:lnTo>
                  <a:lnTo>
                    <a:pt x="406" y="195"/>
                  </a:lnTo>
                  <a:lnTo>
                    <a:pt x="406" y="191"/>
                  </a:lnTo>
                  <a:lnTo>
                    <a:pt x="403" y="190"/>
                  </a:lnTo>
                  <a:lnTo>
                    <a:pt x="405" y="187"/>
                  </a:lnTo>
                  <a:lnTo>
                    <a:pt x="402" y="178"/>
                  </a:lnTo>
                  <a:lnTo>
                    <a:pt x="397" y="177"/>
                  </a:lnTo>
                  <a:lnTo>
                    <a:pt x="382" y="172"/>
                  </a:lnTo>
                  <a:lnTo>
                    <a:pt x="381" y="169"/>
                  </a:lnTo>
                  <a:lnTo>
                    <a:pt x="378" y="172"/>
                  </a:lnTo>
                  <a:lnTo>
                    <a:pt x="378" y="177"/>
                  </a:lnTo>
                  <a:lnTo>
                    <a:pt x="381" y="178"/>
                  </a:lnTo>
                  <a:lnTo>
                    <a:pt x="383" y="177"/>
                  </a:lnTo>
                  <a:lnTo>
                    <a:pt x="386" y="178"/>
                  </a:lnTo>
                  <a:lnTo>
                    <a:pt x="391" y="186"/>
                  </a:lnTo>
                  <a:lnTo>
                    <a:pt x="391" y="190"/>
                  </a:lnTo>
                  <a:lnTo>
                    <a:pt x="388" y="194"/>
                  </a:lnTo>
                  <a:lnTo>
                    <a:pt x="378" y="199"/>
                  </a:lnTo>
                  <a:lnTo>
                    <a:pt x="374" y="207"/>
                  </a:lnTo>
                  <a:lnTo>
                    <a:pt x="372" y="200"/>
                  </a:lnTo>
                  <a:lnTo>
                    <a:pt x="368" y="197"/>
                  </a:lnTo>
                  <a:lnTo>
                    <a:pt x="368" y="195"/>
                  </a:lnTo>
                  <a:lnTo>
                    <a:pt x="367" y="191"/>
                  </a:lnTo>
                  <a:lnTo>
                    <a:pt x="371" y="186"/>
                  </a:lnTo>
                  <a:lnTo>
                    <a:pt x="372" y="182"/>
                  </a:lnTo>
                  <a:lnTo>
                    <a:pt x="371" y="175"/>
                  </a:lnTo>
                  <a:lnTo>
                    <a:pt x="380" y="162"/>
                  </a:lnTo>
                  <a:lnTo>
                    <a:pt x="381" y="154"/>
                  </a:lnTo>
                  <a:lnTo>
                    <a:pt x="388" y="152"/>
                  </a:lnTo>
                  <a:lnTo>
                    <a:pt x="393" y="145"/>
                  </a:lnTo>
                  <a:lnTo>
                    <a:pt x="400" y="144"/>
                  </a:lnTo>
                  <a:lnTo>
                    <a:pt x="403" y="141"/>
                  </a:lnTo>
                  <a:lnTo>
                    <a:pt x="408" y="142"/>
                  </a:lnTo>
                  <a:lnTo>
                    <a:pt x="408" y="147"/>
                  </a:lnTo>
                  <a:lnTo>
                    <a:pt x="413" y="146"/>
                  </a:lnTo>
                  <a:lnTo>
                    <a:pt x="413" y="150"/>
                  </a:lnTo>
                  <a:lnTo>
                    <a:pt x="416" y="150"/>
                  </a:lnTo>
                  <a:lnTo>
                    <a:pt x="418" y="149"/>
                  </a:lnTo>
                  <a:lnTo>
                    <a:pt x="420" y="146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2" y="137"/>
                  </a:lnTo>
                  <a:lnTo>
                    <a:pt x="431" y="133"/>
                  </a:lnTo>
                  <a:lnTo>
                    <a:pt x="434" y="129"/>
                  </a:lnTo>
                  <a:lnTo>
                    <a:pt x="439" y="129"/>
                  </a:lnTo>
                  <a:lnTo>
                    <a:pt x="443" y="127"/>
                  </a:lnTo>
                  <a:lnTo>
                    <a:pt x="445" y="128"/>
                  </a:lnTo>
                  <a:close/>
                  <a:moveTo>
                    <a:pt x="210" y="65"/>
                  </a:moveTo>
                  <a:lnTo>
                    <a:pt x="210" y="71"/>
                  </a:lnTo>
                  <a:lnTo>
                    <a:pt x="206" y="83"/>
                  </a:lnTo>
                  <a:lnTo>
                    <a:pt x="197" y="102"/>
                  </a:lnTo>
                  <a:lnTo>
                    <a:pt x="195" y="102"/>
                  </a:lnTo>
                  <a:lnTo>
                    <a:pt x="190" y="102"/>
                  </a:lnTo>
                  <a:lnTo>
                    <a:pt x="192" y="95"/>
                  </a:lnTo>
                  <a:lnTo>
                    <a:pt x="190" y="93"/>
                  </a:lnTo>
                  <a:lnTo>
                    <a:pt x="192" y="92"/>
                  </a:lnTo>
                  <a:lnTo>
                    <a:pt x="193" y="92"/>
                  </a:lnTo>
                  <a:lnTo>
                    <a:pt x="192" y="88"/>
                  </a:lnTo>
                  <a:lnTo>
                    <a:pt x="202" y="87"/>
                  </a:lnTo>
                  <a:lnTo>
                    <a:pt x="204" y="83"/>
                  </a:lnTo>
                  <a:lnTo>
                    <a:pt x="206" y="75"/>
                  </a:lnTo>
                  <a:lnTo>
                    <a:pt x="207" y="75"/>
                  </a:lnTo>
                  <a:lnTo>
                    <a:pt x="208" y="74"/>
                  </a:lnTo>
                  <a:lnTo>
                    <a:pt x="206" y="67"/>
                  </a:lnTo>
                  <a:lnTo>
                    <a:pt x="207" y="59"/>
                  </a:lnTo>
                  <a:lnTo>
                    <a:pt x="210" y="65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16" name="Freeform 315"/>
            <p:cNvSpPr>
              <a:spLocks noEditPoints="1"/>
            </p:cNvSpPr>
            <p:nvPr/>
          </p:nvSpPr>
          <p:spPr bwMode="auto">
            <a:xfrm>
              <a:off x="7740961" y="3018399"/>
              <a:ext cx="449368" cy="980194"/>
            </a:xfrm>
            <a:custGeom>
              <a:avLst/>
              <a:gdLst>
                <a:gd name="T0" fmla="*/ 1355 w 2254"/>
                <a:gd name="T1" fmla="*/ 3305 h 3632"/>
                <a:gd name="T2" fmla="*/ 2151 w 2254"/>
                <a:gd name="T3" fmla="*/ 1708 h 3632"/>
                <a:gd name="T4" fmla="*/ 2073 w 2254"/>
                <a:gd name="T5" fmla="*/ 1699 h 3632"/>
                <a:gd name="T6" fmla="*/ 1874 w 2254"/>
                <a:gd name="T7" fmla="*/ 1841 h 3632"/>
                <a:gd name="T8" fmla="*/ 1800 w 2254"/>
                <a:gd name="T9" fmla="*/ 1929 h 3632"/>
                <a:gd name="T10" fmla="*/ 1667 w 2254"/>
                <a:gd name="T11" fmla="*/ 2069 h 3632"/>
                <a:gd name="T12" fmla="*/ 1500 w 2254"/>
                <a:gd name="T13" fmla="*/ 2247 h 3632"/>
                <a:gd name="T14" fmla="*/ 1289 w 2254"/>
                <a:gd name="T15" fmla="*/ 2397 h 3632"/>
                <a:gd name="T16" fmla="*/ 1135 w 2254"/>
                <a:gd name="T17" fmla="*/ 2381 h 3632"/>
                <a:gd name="T18" fmla="*/ 1113 w 2254"/>
                <a:gd name="T19" fmla="*/ 2430 h 3632"/>
                <a:gd name="T20" fmla="*/ 1097 w 2254"/>
                <a:gd name="T21" fmla="*/ 2599 h 3632"/>
                <a:gd name="T22" fmla="*/ 1077 w 2254"/>
                <a:gd name="T23" fmla="*/ 2692 h 3632"/>
                <a:gd name="T24" fmla="*/ 1072 w 2254"/>
                <a:gd name="T25" fmla="*/ 2755 h 3632"/>
                <a:gd name="T26" fmla="*/ 1075 w 2254"/>
                <a:gd name="T27" fmla="*/ 2786 h 3632"/>
                <a:gd name="T28" fmla="*/ 1033 w 2254"/>
                <a:gd name="T29" fmla="*/ 2849 h 3632"/>
                <a:gd name="T30" fmla="*/ 1030 w 2254"/>
                <a:gd name="T31" fmla="*/ 2894 h 3632"/>
                <a:gd name="T32" fmla="*/ 1044 w 2254"/>
                <a:gd name="T33" fmla="*/ 2931 h 3632"/>
                <a:gd name="T34" fmla="*/ 1033 w 2254"/>
                <a:gd name="T35" fmla="*/ 3040 h 3632"/>
                <a:gd name="T36" fmla="*/ 1073 w 2254"/>
                <a:gd name="T37" fmla="*/ 2991 h 3632"/>
                <a:gd name="T38" fmla="*/ 1162 w 2254"/>
                <a:gd name="T39" fmla="*/ 3069 h 3632"/>
                <a:gd name="T40" fmla="*/ 1133 w 2254"/>
                <a:gd name="T41" fmla="*/ 3126 h 3632"/>
                <a:gd name="T42" fmla="*/ 1205 w 2254"/>
                <a:gd name="T43" fmla="*/ 3145 h 3632"/>
                <a:gd name="T44" fmla="*/ 1257 w 2254"/>
                <a:gd name="T45" fmla="*/ 3138 h 3632"/>
                <a:gd name="T46" fmla="*/ 1268 w 2254"/>
                <a:gd name="T47" fmla="*/ 3182 h 3632"/>
                <a:gd name="T48" fmla="*/ 1279 w 2254"/>
                <a:gd name="T49" fmla="*/ 3222 h 3632"/>
                <a:gd name="T50" fmla="*/ 1335 w 2254"/>
                <a:gd name="T51" fmla="*/ 3263 h 3632"/>
                <a:gd name="T52" fmla="*/ 1271 w 2254"/>
                <a:gd name="T53" fmla="*/ 3370 h 3632"/>
                <a:gd name="T54" fmla="*/ 1147 w 2254"/>
                <a:gd name="T55" fmla="*/ 3441 h 3632"/>
                <a:gd name="T56" fmla="*/ 1009 w 2254"/>
                <a:gd name="T57" fmla="*/ 3457 h 3632"/>
                <a:gd name="T58" fmla="*/ 865 w 2254"/>
                <a:gd name="T59" fmla="*/ 3511 h 3632"/>
                <a:gd name="T60" fmla="*/ 776 w 2254"/>
                <a:gd name="T61" fmla="*/ 3621 h 3632"/>
                <a:gd name="T62" fmla="*/ 662 w 2254"/>
                <a:gd name="T63" fmla="*/ 3615 h 3632"/>
                <a:gd name="T64" fmla="*/ 527 w 2254"/>
                <a:gd name="T65" fmla="*/ 3617 h 3632"/>
                <a:gd name="T66" fmla="*/ 343 w 2254"/>
                <a:gd name="T67" fmla="*/ 3168 h 3632"/>
                <a:gd name="T68" fmla="*/ 71 w 2254"/>
                <a:gd name="T69" fmla="*/ 2909 h 3632"/>
                <a:gd name="T70" fmla="*/ 15 w 2254"/>
                <a:gd name="T71" fmla="*/ 2633 h 3632"/>
                <a:gd name="T72" fmla="*/ 103 w 2254"/>
                <a:gd name="T73" fmla="*/ 2564 h 3632"/>
                <a:gd name="T74" fmla="*/ 194 w 2254"/>
                <a:gd name="T75" fmla="*/ 2531 h 3632"/>
                <a:gd name="T76" fmla="*/ 354 w 2254"/>
                <a:gd name="T77" fmla="*/ 2491 h 3632"/>
                <a:gd name="T78" fmla="*/ 292 w 2254"/>
                <a:gd name="T79" fmla="*/ 2264 h 3632"/>
                <a:gd name="T80" fmla="*/ 499 w 2254"/>
                <a:gd name="T81" fmla="*/ 1708 h 3632"/>
                <a:gd name="T82" fmla="*/ 339 w 2254"/>
                <a:gd name="T83" fmla="*/ 1568 h 3632"/>
                <a:gd name="T84" fmla="*/ 374 w 2254"/>
                <a:gd name="T85" fmla="*/ 1378 h 3632"/>
                <a:gd name="T86" fmla="*/ 368 w 2254"/>
                <a:gd name="T87" fmla="*/ 1303 h 3632"/>
                <a:gd name="T88" fmla="*/ 361 w 2254"/>
                <a:gd name="T89" fmla="*/ 1182 h 3632"/>
                <a:gd name="T90" fmla="*/ 534 w 2254"/>
                <a:gd name="T91" fmla="*/ 1119 h 3632"/>
                <a:gd name="T92" fmla="*/ 695 w 2254"/>
                <a:gd name="T93" fmla="*/ 1135 h 3632"/>
                <a:gd name="T94" fmla="*/ 680 w 2254"/>
                <a:gd name="T95" fmla="*/ 869 h 3632"/>
                <a:gd name="T96" fmla="*/ 649 w 2254"/>
                <a:gd name="T97" fmla="*/ 457 h 3632"/>
                <a:gd name="T98" fmla="*/ 913 w 2254"/>
                <a:gd name="T99" fmla="*/ 31 h 3632"/>
                <a:gd name="T100" fmla="*/ 1166 w 2254"/>
                <a:gd name="T101" fmla="*/ 158 h 3632"/>
                <a:gd name="T102" fmla="*/ 1286 w 2254"/>
                <a:gd name="T103" fmla="*/ 423 h 3632"/>
                <a:gd name="T104" fmla="*/ 1446 w 2254"/>
                <a:gd name="T105" fmla="*/ 663 h 3632"/>
                <a:gd name="T106" fmla="*/ 1621 w 2254"/>
                <a:gd name="T107" fmla="*/ 813 h 3632"/>
                <a:gd name="T108" fmla="*/ 1784 w 2254"/>
                <a:gd name="T109" fmla="*/ 987 h 3632"/>
                <a:gd name="T110" fmla="*/ 2063 w 2254"/>
                <a:gd name="T111" fmla="*/ 1187 h 3632"/>
                <a:gd name="T112" fmla="*/ 2225 w 2254"/>
                <a:gd name="T113" fmla="*/ 1438 h 3632"/>
                <a:gd name="T114" fmla="*/ 2220 w 2254"/>
                <a:gd name="T115" fmla="*/ 1546 h 3632"/>
                <a:gd name="T116" fmla="*/ 1227 w 2254"/>
                <a:gd name="T117" fmla="*/ 3080 h 3632"/>
                <a:gd name="T118" fmla="*/ 1036 w 2254"/>
                <a:gd name="T119" fmla="*/ 2345 h 3632"/>
                <a:gd name="T120" fmla="*/ 1122 w 2254"/>
                <a:gd name="T121" fmla="*/ 2396 h 3632"/>
                <a:gd name="T122" fmla="*/ 1058 w 2254"/>
                <a:gd name="T123" fmla="*/ 2377 h 3632"/>
                <a:gd name="T124" fmla="*/ 1144 w 2254"/>
                <a:gd name="T125" fmla="*/ 2399 h 36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54"/>
                <a:gd name="T190" fmla="*/ 0 h 3632"/>
                <a:gd name="T191" fmla="*/ 2254 w 2254"/>
                <a:gd name="T192" fmla="*/ 3632 h 36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54" h="3632">
                  <a:moveTo>
                    <a:pt x="1400" y="3329"/>
                  </a:moveTo>
                  <a:lnTo>
                    <a:pt x="1396" y="3329"/>
                  </a:lnTo>
                  <a:lnTo>
                    <a:pt x="1393" y="3325"/>
                  </a:lnTo>
                  <a:lnTo>
                    <a:pt x="1390" y="3325"/>
                  </a:lnTo>
                  <a:lnTo>
                    <a:pt x="1389" y="3325"/>
                  </a:lnTo>
                  <a:lnTo>
                    <a:pt x="1392" y="3328"/>
                  </a:lnTo>
                  <a:lnTo>
                    <a:pt x="1393" y="3329"/>
                  </a:lnTo>
                  <a:lnTo>
                    <a:pt x="1395" y="3331"/>
                  </a:lnTo>
                  <a:lnTo>
                    <a:pt x="1393" y="3334"/>
                  </a:lnTo>
                  <a:lnTo>
                    <a:pt x="1382" y="3338"/>
                  </a:lnTo>
                  <a:lnTo>
                    <a:pt x="1375" y="3337"/>
                  </a:lnTo>
                  <a:lnTo>
                    <a:pt x="1371" y="3339"/>
                  </a:lnTo>
                  <a:lnTo>
                    <a:pt x="1364" y="3338"/>
                  </a:lnTo>
                  <a:lnTo>
                    <a:pt x="1371" y="3341"/>
                  </a:lnTo>
                  <a:lnTo>
                    <a:pt x="1378" y="3341"/>
                  </a:lnTo>
                  <a:lnTo>
                    <a:pt x="1378" y="3342"/>
                  </a:lnTo>
                  <a:lnTo>
                    <a:pt x="1375" y="3343"/>
                  </a:lnTo>
                  <a:lnTo>
                    <a:pt x="1372" y="3343"/>
                  </a:lnTo>
                  <a:lnTo>
                    <a:pt x="1365" y="3342"/>
                  </a:lnTo>
                  <a:lnTo>
                    <a:pt x="1362" y="3343"/>
                  </a:lnTo>
                  <a:lnTo>
                    <a:pt x="1353" y="3354"/>
                  </a:lnTo>
                  <a:lnTo>
                    <a:pt x="1346" y="3355"/>
                  </a:lnTo>
                  <a:lnTo>
                    <a:pt x="1343" y="3354"/>
                  </a:lnTo>
                  <a:lnTo>
                    <a:pt x="1347" y="3346"/>
                  </a:lnTo>
                  <a:lnTo>
                    <a:pt x="1347" y="3333"/>
                  </a:lnTo>
                  <a:lnTo>
                    <a:pt x="1343" y="3329"/>
                  </a:lnTo>
                  <a:lnTo>
                    <a:pt x="1336" y="3331"/>
                  </a:lnTo>
                  <a:lnTo>
                    <a:pt x="1335" y="3329"/>
                  </a:lnTo>
                  <a:lnTo>
                    <a:pt x="1350" y="3321"/>
                  </a:lnTo>
                  <a:lnTo>
                    <a:pt x="1358" y="3312"/>
                  </a:lnTo>
                  <a:lnTo>
                    <a:pt x="1355" y="3305"/>
                  </a:lnTo>
                  <a:lnTo>
                    <a:pt x="1369" y="3302"/>
                  </a:lnTo>
                  <a:lnTo>
                    <a:pt x="1378" y="3311"/>
                  </a:lnTo>
                  <a:lnTo>
                    <a:pt x="1379" y="3302"/>
                  </a:lnTo>
                  <a:lnTo>
                    <a:pt x="1382" y="3301"/>
                  </a:lnTo>
                  <a:lnTo>
                    <a:pt x="1385" y="3301"/>
                  </a:lnTo>
                  <a:lnTo>
                    <a:pt x="1385" y="3297"/>
                  </a:lnTo>
                  <a:lnTo>
                    <a:pt x="1386" y="3297"/>
                  </a:lnTo>
                  <a:lnTo>
                    <a:pt x="1390" y="3311"/>
                  </a:lnTo>
                  <a:lnTo>
                    <a:pt x="1401" y="3328"/>
                  </a:lnTo>
                  <a:lnTo>
                    <a:pt x="1403" y="3333"/>
                  </a:lnTo>
                  <a:lnTo>
                    <a:pt x="1400" y="3329"/>
                  </a:lnTo>
                  <a:close/>
                  <a:moveTo>
                    <a:pt x="2250" y="1587"/>
                  </a:moveTo>
                  <a:lnTo>
                    <a:pt x="2233" y="1587"/>
                  </a:lnTo>
                  <a:lnTo>
                    <a:pt x="2230" y="1588"/>
                  </a:lnTo>
                  <a:lnTo>
                    <a:pt x="2228" y="1592"/>
                  </a:lnTo>
                  <a:lnTo>
                    <a:pt x="2229" y="1605"/>
                  </a:lnTo>
                  <a:lnTo>
                    <a:pt x="2206" y="1617"/>
                  </a:lnTo>
                  <a:lnTo>
                    <a:pt x="2198" y="1629"/>
                  </a:lnTo>
                  <a:lnTo>
                    <a:pt x="2195" y="1636"/>
                  </a:lnTo>
                  <a:lnTo>
                    <a:pt x="2195" y="1645"/>
                  </a:lnTo>
                  <a:lnTo>
                    <a:pt x="2197" y="1647"/>
                  </a:lnTo>
                  <a:lnTo>
                    <a:pt x="2200" y="1651"/>
                  </a:lnTo>
                  <a:lnTo>
                    <a:pt x="2202" y="1659"/>
                  </a:lnTo>
                  <a:lnTo>
                    <a:pt x="2204" y="1670"/>
                  </a:lnTo>
                  <a:lnTo>
                    <a:pt x="2201" y="1678"/>
                  </a:lnTo>
                  <a:lnTo>
                    <a:pt x="2194" y="1686"/>
                  </a:lnTo>
                  <a:lnTo>
                    <a:pt x="2193" y="1696"/>
                  </a:lnTo>
                  <a:lnTo>
                    <a:pt x="2190" y="1700"/>
                  </a:lnTo>
                  <a:lnTo>
                    <a:pt x="2184" y="1704"/>
                  </a:lnTo>
                  <a:lnTo>
                    <a:pt x="2173" y="1704"/>
                  </a:lnTo>
                  <a:lnTo>
                    <a:pt x="2151" y="1708"/>
                  </a:lnTo>
                  <a:lnTo>
                    <a:pt x="2149" y="1704"/>
                  </a:lnTo>
                  <a:lnTo>
                    <a:pt x="2154" y="1700"/>
                  </a:lnTo>
                  <a:lnTo>
                    <a:pt x="2165" y="1699"/>
                  </a:lnTo>
                  <a:lnTo>
                    <a:pt x="2172" y="1695"/>
                  </a:lnTo>
                  <a:lnTo>
                    <a:pt x="2172" y="1692"/>
                  </a:lnTo>
                  <a:lnTo>
                    <a:pt x="2170" y="1686"/>
                  </a:lnTo>
                  <a:lnTo>
                    <a:pt x="2168" y="1688"/>
                  </a:lnTo>
                  <a:lnTo>
                    <a:pt x="2163" y="1686"/>
                  </a:lnTo>
                  <a:lnTo>
                    <a:pt x="2155" y="1695"/>
                  </a:lnTo>
                  <a:lnTo>
                    <a:pt x="2149" y="1694"/>
                  </a:lnTo>
                  <a:lnTo>
                    <a:pt x="2141" y="1699"/>
                  </a:lnTo>
                  <a:lnTo>
                    <a:pt x="2133" y="1700"/>
                  </a:lnTo>
                  <a:lnTo>
                    <a:pt x="2131" y="1704"/>
                  </a:lnTo>
                  <a:lnTo>
                    <a:pt x="2133" y="1711"/>
                  </a:lnTo>
                  <a:lnTo>
                    <a:pt x="2130" y="1712"/>
                  </a:lnTo>
                  <a:lnTo>
                    <a:pt x="2102" y="1721"/>
                  </a:lnTo>
                  <a:lnTo>
                    <a:pt x="2088" y="1719"/>
                  </a:lnTo>
                  <a:lnTo>
                    <a:pt x="2088" y="1716"/>
                  </a:lnTo>
                  <a:lnTo>
                    <a:pt x="2094" y="1713"/>
                  </a:lnTo>
                  <a:lnTo>
                    <a:pt x="2102" y="1704"/>
                  </a:lnTo>
                  <a:lnTo>
                    <a:pt x="2113" y="1696"/>
                  </a:lnTo>
                  <a:lnTo>
                    <a:pt x="2123" y="1663"/>
                  </a:lnTo>
                  <a:lnTo>
                    <a:pt x="2123" y="1655"/>
                  </a:lnTo>
                  <a:lnTo>
                    <a:pt x="2118" y="1666"/>
                  </a:lnTo>
                  <a:lnTo>
                    <a:pt x="2112" y="1674"/>
                  </a:lnTo>
                  <a:lnTo>
                    <a:pt x="2109" y="1686"/>
                  </a:lnTo>
                  <a:lnTo>
                    <a:pt x="2105" y="1695"/>
                  </a:lnTo>
                  <a:lnTo>
                    <a:pt x="2101" y="1696"/>
                  </a:lnTo>
                  <a:lnTo>
                    <a:pt x="2094" y="1694"/>
                  </a:lnTo>
                  <a:lnTo>
                    <a:pt x="2087" y="1694"/>
                  </a:lnTo>
                  <a:lnTo>
                    <a:pt x="2073" y="1699"/>
                  </a:lnTo>
                  <a:lnTo>
                    <a:pt x="2068" y="1704"/>
                  </a:lnTo>
                  <a:lnTo>
                    <a:pt x="2065" y="1708"/>
                  </a:lnTo>
                  <a:lnTo>
                    <a:pt x="2065" y="1714"/>
                  </a:lnTo>
                  <a:lnTo>
                    <a:pt x="2069" y="1719"/>
                  </a:lnTo>
                  <a:lnTo>
                    <a:pt x="2069" y="1726"/>
                  </a:lnTo>
                  <a:lnTo>
                    <a:pt x="2066" y="1731"/>
                  </a:lnTo>
                  <a:lnTo>
                    <a:pt x="2062" y="1734"/>
                  </a:lnTo>
                  <a:lnTo>
                    <a:pt x="2055" y="1737"/>
                  </a:lnTo>
                  <a:lnTo>
                    <a:pt x="2048" y="1738"/>
                  </a:lnTo>
                  <a:lnTo>
                    <a:pt x="2035" y="1733"/>
                  </a:lnTo>
                  <a:lnTo>
                    <a:pt x="2029" y="1734"/>
                  </a:lnTo>
                  <a:lnTo>
                    <a:pt x="2024" y="1731"/>
                  </a:lnTo>
                  <a:lnTo>
                    <a:pt x="2019" y="1731"/>
                  </a:lnTo>
                  <a:lnTo>
                    <a:pt x="2015" y="1725"/>
                  </a:lnTo>
                  <a:lnTo>
                    <a:pt x="2015" y="1729"/>
                  </a:lnTo>
                  <a:lnTo>
                    <a:pt x="2012" y="1736"/>
                  </a:lnTo>
                  <a:lnTo>
                    <a:pt x="2012" y="1737"/>
                  </a:lnTo>
                  <a:lnTo>
                    <a:pt x="2006" y="1739"/>
                  </a:lnTo>
                  <a:lnTo>
                    <a:pt x="2006" y="1741"/>
                  </a:lnTo>
                  <a:lnTo>
                    <a:pt x="2015" y="1738"/>
                  </a:lnTo>
                  <a:lnTo>
                    <a:pt x="2021" y="1741"/>
                  </a:lnTo>
                  <a:lnTo>
                    <a:pt x="2030" y="1741"/>
                  </a:lnTo>
                  <a:lnTo>
                    <a:pt x="2029" y="1745"/>
                  </a:lnTo>
                  <a:lnTo>
                    <a:pt x="1973" y="1775"/>
                  </a:lnTo>
                  <a:lnTo>
                    <a:pt x="1916" y="1812"/>
                  </a:lnTo>
                  <a:lnTo>
                    <a:pt x="1905" y="1820"/>
                  </a:lnTo>
                  <a:lnTo>
                    <a:pt x="1896" y="1829"/>
                  </a:lnTo>
                  <a:lnTo>
                    <a:pt x="1891" y="1831"/>
                  </a:lnTo>
                  <a:lnTo>
                    <a:pt x="1881" y="1837"/>
                  </a:lnTo>
                  <a:lnTo>
                    <a:pt x="1875" y="1838"/>
                  </a:lnTo>
                  <a:lnTo>
                    <a:pt x="1874" y="1841"/>
                  </a:lnTo>
                  <a:lnTo>
                    <a:pt x="1874" y="1846"/>
                  </a:lnTo>
                  <a:lnTo>
                    <a:pt x="1870" y="1850"/>
                  </a:lnTo>
                  <a:lnTo>
                    <a:pt x="1874" y="1850"/>
                  </a:lnTo>
                  <a:lnTo>
                    <a:pt x="1878" y="1849"/>
                  </a:lnTo>
                  <a:lnTo>
                    <a:pt x="1880" y="1849"/>
                  </a:lnTo>
                  <a:lnTo>
                    <a:pt x="1867" y="1858"/>
                  </a:lnTo>
                  <a:lnTo>
                    <a:pt x="1863" y="1863"/>
                  </a:lnTo>
                  <a:lnTo>
                    <a:pt x="1860" y="1865"/>
                  </a:lnTo>
                  <a:lnTo>
                    <a:pt x="1860" y="1861"/>
                  </a:lnTo>
                  <a:lnTo>
                    <a:pt x="1859" y="1861"/>
                  </a:lnTo>
                  <a:lnTo>
                    <a:pt x="1852" y="1865"/>
                  </a:lnTo>
                  <a:lnTo>
                    <a:pt x="1846" y="1857"/>
                  </a:lnTo>
                  <a:lnTo>
                    <a:pt x="1845" y="1857"/>
                  </a:lnTo>
                  <a:lnTo>
                    <a:pt x="1845" y="1860"/>
                  </a:lnTo>
                  <a:lnTo>
                    <a:pt x="1846" y="1861"/>
                  </a:lnTo>
                  <a:lnTo>
                    <a:pt x="1848" y="1865"/>
                  </a:lnTo>
                  <a:lnTo>
                    <a:pt x="1841" y="1869"/>
                  </a:lnTo>
                  <a:lnTo>
                    <a:pt x="1845" y="1871"/>
                  </a:lnTo>
                  <a:lnTo>
                    <a:pt x="1848" y="1875"/>
                  </a:lnTo>
                  <a:lnTo>
                    <a:pt x="1849" y="1877"/>
                  </a:lnTo>
                  <a:lnTo>
                    <a:pt x="1839" y="1881"/>
                  </a:lnTo>
                  <a:lnTo>
                    <a:pt x="1833" y="1882"/>
                  </a:lnTo>
                  <a:lnTo>
                    <a:pt x="1828" y="1883"/>
                  </a:lnTo>
                  <a:lnTo>
                    <a:pt x="1828" y="1886"/>
                  </a:lnTo>
                  <a:lnTo>
                    <a:pt x="1828" y="1891"/>
                  </a:lnTo>
                  <a:lnTo>
                    <a:pt x="1833" y="1887"/>
                  </a:lnTo>
                  <a:lnTo>
                    <a:pt x="1838" y="1891"/>
                  </a:lnTo>
                  <a:lnTo>
                    <a:pt x="1838" y="1895"/>
                  </a:lnTo>
                  <a:lnTo>
                    <a:pt x="1824" y="1904"/>
                  </a:lnTo>
                  <a:lnTo>
                    <a:pt x="1814" y="1916"/>
                  </a:lnTo>
                  <a:lnTo>
                    <a:pt x="1800" y="1929"/>
                  </a:lnTo>
                  <a:lnTo>
                    <a:pt x="1795" y="1936"/>
                  </a:lnTo>
                  <a:lnTo>
                    <a:pt x="1788" y="1942"/>
                  </a:lnTo>
                  <a:lnTo>
                    <a:pt x="1785" y="1947"/>
                  </a:lnTo>
                  <a:lnTo>
                    <a:pt x="1767" y="1958"/>
                  </a:lnTo>
                  <a:lnTo>
                    <a:pt x="1767" y="1962"/>
                  </a:lnTo>
                  <a:lnTo>
                    <a:pt x="1769" y="1962"/>
                  </a:lnTo>
                  <a:lnTo>
                    <a:pt x="1764" y="1965"/>
                  </a:lnTo>
                  <a:lnTo>
                    <a:pt x="1763" y="1969"/>
                  </a:lnTo>
                  <a:lnTo>
                    <a:pt x="1763" y="1970"/>
                  </a:lnTo>
                  <a:lnTo>
                    <a:pt x="1767" y="1966"/>
                  </a:lnTo>
                  <a:lnTo>
                    <a:pt x="1770" y="1966"/>
                  </a:lnTo>
                  <a:lnTo>
                    <a:pt x="1755" y="1981"/>
                  </a:lnTo>
                  <a:lnTo>
                    <a:pt x="1725" y="2014"/>
                  </a:lnTo>
                  <a:lnTo>
                    <a:pt x="1723" y="2015"/>
                  </a:lnTo>
                  <a:lnTo>
                    <a:pt x="1721" y="2011"/>
                  </a:lnTo>
                  <a:lnTo>
                    <a:pt x="1719" y="2011"/>
                  </a:lnTo>
                  <a:lnTo>
                    <a:pt x="1719" y="2014"/>
                  </a:lnTo>
                  <a:lnTo>
                    <a:pt x="1716" y="2017"/>
                  </a:lnTo>
                  <a:lnTo>
                    <a:pt x="1711" y="2029"/>
                  </a:lnTo>
                  <a:lnTo>
                    <a:pt x="1706" y="2037"/>
                  </a:lnTo>
                  <a:lnTo>
                    <a:pt x="1699" y="2040"/>
                  </a:lnTo>
                  <a:lnTo>
                    <a:pt x="1694" y="2047"/>
                  </a:lnTo>
                  <a:lnTo>
                    <a:pt x="1688" y="2052"/>
                  </a:lnTo>
                  <a:lnTo>
                    <a:pt x="1686" y="2056"/>
                  </a:lnTo>
                  <a:lnTo>
                    <a:pt x="1686" y="2060"/>
                  </a:lnTo>
                  <a:lnTo>
                    <a:pt x="1672" y="2078"/>
                  </a:lnTo>
                  <a:lnTo>
                    <a:pt x="1670" y="2078"/>
                  </a:lnTo>
                  <a:lnTo>
                    <a:pt x="1667" y="2078"/>
                  </a:lnTo>
                  <a:lnTo>
                    <a:pt x="1667" y="2074"/>
                  </a:lnTo>
                  <a:lnTo>
                    <a:pt x="1670" y="2069"/>
                  </a:lnTo>
                  <a:lnTo>
                    <a:pt x="1667" y="2069"/>
                  </a:lnTo>
                  <a:lnTo>
                    <a:pt x="1663" y="2070"/>
                  </a:lnTo>
                  <a:lnTo>
                    <a:pt x="1661" y="2073"/>
                  </a:lnTo>
                  <a:lnTo>
                    <a:pt x="1661" y="2077"/>
                  </a:lnTo>
                  <a:lnTo>
                    <a:pt x="1659" y="2082"/>
                  </a:lnTo>
                  <a:lnTo>
                    <a:pt x="1661" y="2086"/>
                  </a:lnTo>
                  <a:lnTo>
                    <a:pt x="1666" y="2086"/>
                  </a:lnTo>
                  <a:lnTo>
                    <a:pt x="1666" y="2089"/>
                  </a:lnTo>
                  <a:lnTo>
                    <a:pt x="1647" y="2109"/>
                  </a:lnTo>
                  <a:lnTo>
                    <a:pt x="1642" y="2109"/>
                  </a:lnTo>
                  <a:lnTo>
                    <a:pt x="1638" y="2114"/>
                  </a:lnTo>
                  <a:lnTo>
                    <a:pt x="1635" y="2118"/>
                  </a:lnTo>
                  <a:lnTo>
                    <a:pt x="1634" y="2123"/>
                  </a:lnTo>
                  <a:lnTo>
                    <a:pt x="1628" y="2129"/>
                  </a:lnTo>
                  <a:lnTo>
                    <a:pt x="1625" y="2131"/>
                  </a:lnTo>
                  <a:lnTo>
                    <a:pt x="1621" y="2131"/>
                  </a:lnTo>
                  <a:lnTo>
                    <a:pt x="1618" y="2136"/>
                  </a:lnTo>
                  <a:lnTo>
                    <a:pt x="1611" y="2141"/>
                  </a:lnTo>
                  <a:lnTo>
                    <a:pt x="1604" y="2149"/>
                  </a:lnTo>
                  <a:lnTo>
                    <a:pt x="1603" y="2153"/>
                  </a:lnTo>
                  <a:lnTo>
                    <a:pt x="1586" y="2172"/>
                  </a:lnTo>
                  <a:lnTo>
                    <a:pt x="1582" y="2176"/>
                  </a:lnTo>
                  <a:lnTo>
                    <a:pt x="1578" y="2176"/>
                  </a:lnTo>
                  <a:lnTo>
                    <a:pt x="1574" y="2178"/>
                  </a:lnTo>
                  <a:lnTo>
                    <a:pt x="1556" y="2194"/>
                  </a:lnTo>
                  <a:lnTo>
                    <a:pt x="1559" y="2194"/>
                  </a:lnTo>
                  <a:lnTo>
                    <a:pt x="1557" y="2198"/>
                  </a:lnTo>
                  <a:lnTo>
                    <a:pt x="1551" y="2202"/>
                  </a:lnTo>
                  <a:lnTo>
                    <a:pt x="1532" y="2221"/>
                  </a:lnTo>
                  <a:lnTo>
                    <a:pt x="1515" y="2231"/>
                  </a:lnTo>
                  <a:lnTo>
                    <a:pt x="1501" y="2243"/>
                  </a:lnTo>
                  <a:lnTo>
                    <a:pt x="1500" y="2247"/>
                  </a:lnTo>
                  <a:lnTo>
                    <a:pt x="1482" y="2261"/>
                  </a:lnTo>
                  <a:lnTo>
                    <a:pt x="1474" y="2265"/>
                  </a:lnTo>
                  <a:lnTo>
                    <a:pt x="1465" y="2273"/>
                  </a:lnTo>
                  <a:lnTo>
                    <a:pt x="1449" y="2288"/>
                  </a:lnTo>
                  <a:lnTo>
                    <a:pt x="1415" y="2318"/>
                  </a:lnTo>
                  <a:lnTo>
                    <a:pt x="1412" y="2318"/>
                  </a:lnTo>
                  <a:lnTo>
                    <a:pt x="1410" y="2318"/>
                  </a:lnTo>
                  <a:lnTo>
                    <a:pt x="1411" y="2309"/>
                  </a:lnTo>
                  <a:lnTo>
                    <a:pt x="1407" y="2314"/>
                  </a:lnTo>
                  <a:lnTo>
                    <a:pt x="1396" y="2322"/>
                  </a:lnTo>
                  <a:lnTo>
                    <a:pt x="1399" y="2327"/>
                  </a:lnTo>
                  <a:lnTo>
                    <a:pt x="1389" y="2337"/>
                  </a:lnTo>
                  <a:lnTo>
                    <a:pt x="1382" y="2340"/>
                  </a:lnTo>
                  <a:lnTo>
                    <a:pt x="1372" y="2340"/>
                  </a:lnTo>
                  <a:lnTo>
                    <a:pt x="1371" y="2343"/>
                  </a:lnTo>
                  <a:lnTo>
                    <a:pt x="1364" y="2345"/>
                  </a:lnTo>
                  <a:lnTo>
                    <a:pt x="1364" y="2348"/>
                  </a:lnTo>
                  <a:lnTo>
                    <a:pt x="1361" y="2351"/>
                  </a:lnTo>
                  <a:lnTo>
                    <a:pt x="1353" y="2355"/>
                  </a:lnTo>
                  <a:lnTo>
                    <a:pt x="1321" y="2377"/>
                  </a:lnTo>
                  <a:lnTo>
                    <a:pt x="1308" y="2393"/>
                  </a:lnTo>
                  <a:lnTo>
                    <a:pt x="1287" y="2408"/>
                  </a:lnTo>
                  <a:lnTo>
                    <a:pt x="1283" y="2412"/>
                  </a:lnTo>
                  <a:lnTo>
                    <a:pt x="1285" y="2410"/>
                  </a:lnTo>
                  <a:lnTo>
                    <a:pt x="1283" y="2408"/>
                  </a:lnTo>
                  <a:lnTo>
                    <a:pt x="1287" y="2404"/>
                  </a:lnTo>
                  <a:lnTo>
                    <a:pt x="1294" y="2402"/>
                  </a:lnTo>
                  <a:lnTo>
                    <a:pt x="1299" y="2399"/>
                  </a:lnTo>
                  <a:lnTo>
                    <a:pt x="1299" y="2393"/>
                  </a:lnTo>
                  <a:lnTo>
                    <a:pt x="1293" y="2399"/>
                  </a:lnTo>
                  <a:lnTo>
                    <a:pt x="1289" y="2397"/>
                  </a:lnTo>
                  <a:lnTo>
                    <a:pt x="1290" y="2399"/>
                  </a:lnTo>
                  <a:lnTo>
                    <a:pt x="1286" y="2400"/>
                  </a:lnTo>
                  <a:lnTo>
                    <a:pt x="1283" y="2400"/>
                  </a:lnTo>
                  <a:lnTo>
                    <a:pt x="1280" y="2404"/>
                  </a:lnTo>
                  <a:lnTo>
                    <a:pt x="1275" y="2406"/>
                  </a:lnTo>
                  <a:lnTo>
                    <a:pt x="1272" y="2412"/>
                  </a:lnTo>
                  <a:lnTo>
                    <a:pt x="1265" y="2416"/>
                  </a:lnTo>
                  <a:lnTo>
                    <a:pt x="1258" y="2422"/>
                  </a:lnTo>
                  <a:lnTo>
                    <a:pt x="1254" y="2422"/>
                  </a:lnTo>
                  <a:lnTo>
                    <a:pt x="1241" y="2426"/>
                  </a:lnTo>
                  <a:lnTo>
                    <a:pt x="1222" y="2445"/>
                  </a:lnTo>
                  <a:lnTo>
                    <a:pt x="1208" y="2452"/>
                  </a:lnTo>
                  <a:lnTo>
                    <a:pt x="1204" y="2455"/>
                  </a:lnTo>
                  <a:lnTo>
                    <a:pt x="1180" y="2452"/>
                  </a:lnTo>
                  <a:lnTo>
                    <a:pt x="1171" y="2452"/>
                  </a:lnTo>
                  <a:lnTo>
                    <a:pt x="1165" y="2449"/>
                  </a:lnTo>
                  <a:lnTo>
                    <a:pt x="1161" y="2443"/>
                  </a:lnTo>
                  <a:lnTo>
                    <a:pt x="1165" y="2438"/>
                  </a:lnTo>
                  <a:lnTo>
                    <a:pt x="1164" y="2434"/>
                  </a:lnTo>
                  <a:lnTo>
                    <a:pt x="1166" y="2434"/>
                  </a:lnTo>
                  <a:lnTo>
                    <a:pt x="1165" y="2433"/>
                  </a:lnTo>
                  <a:lnTo>
                    <a:pt x="1166" y="2426"/>
                  </a:lnTo>
                  <a:lnTo>
                    <a:pt x="1165" y="2420"/>
                  </a:lnTo>
                  <a:lnTo>
                    <a:pt x="1165" y="2418"/>
                  </a:lnTo>
                  <a:lnTo>
                    <a:pt x="1162" y="2412"/>
                  </a:lnTo>
                  <a:lnTo>
                    <a:pt x="1164" y="2410"/>
                  </a:lnTo>
                  <a:lnTo>
                    <a:pt x="1161" y="2408"/>
                  </a:lnTo>
                  <a:lnTo>
                    <a:pt x="1158" y="2404"/>
                  </a:lnTo>
                  <a:lnTo>
                    <a:pt x="1147" y="2392"/>
                  </a:lnTo>
                  <a:lnTo>
                    <a:pt x="1140" y="2385"/>
                  </a:lnTo>
                  <a:lnTo>
                    <a:pt x="1135" y="2381"/>
                  </a:lnTo>
                  <a:lnTo>
                    <a:pt x="1122" y="2374"/>
                  </a:lnTo>
                  <a:lnTo>
                    <a:pt x="1113" y="2372"/>
                  </a:lnTo>
                  <a:lnTo>
                    <a:pt x="1102" y="2363"/>
                  </a:lnTo>
                  <a:lnTo>
                    <a:pt x="1090" y="2358"/>
                  </a:lnTo>
                  <a:lnTo>
                    <a:pt x="1082" y="2355"/>
                  </a:lnTo>
                  <a:lnTo>
                    <a:pt x="1069" y="2359"/>
                  </a:lnTo>
                  <a:lnTo>
                    <a:pt x="1062" y="2359"/>
                  </a:lnTo>
                  <a:lnTo>
                    <a:pt x="1055" y="2352"/>
                  </a:lnTo>
                  <a:lnTo>
                    <a:pt x="1055" y="2348"/>
                  </a:lnTo>
                  <a:lnTo>
                    <a:pt x="1056" y="2340"/>
                  </a:lnTo>
                  <a:lnTo>
                    <a:pt x="1055" y="2333"/>
                  </a:lnTo>
                  <a:lnTo>
                    <a:pt x="1051" y="2326"/>
                  </a:lnTo>
                  <a:lnTo>
                    <a:pt x="1042" y="2329"/>
                  </a:lnTo>
                  <a:lnTo>
                    <a:pt x="1037" y="2333"/>
                  </a:lnTo>
                  <a:lnTo>
                    <a:pt x="1036" y="2343"/>
                  </a:lnTo>
                  <a:lnTo>
                    <a:pt x="1033" y="2345"/>
                  </a:lnTo>
                  <a:lnTo>
                    <a:pt x="1029" y="2343"/>
                  </a:lnTo>
                  <a:lnTo>
                    <a:pt x="1026" y="2345"/>
                  </a:lnTo>
                  <a:lnTo>
                    <a:pt x="1026" y="2350"/>
                  </a:lnTo>
                  <a:lnTo>
                    <a:pt x="1027" y="2355"/>
                  </a:lnTo>
                  <a:lnTo>
                    <a:pt x="1037" y="2363"/>
                  </a:lnTo>
                  <a:lnTo>
                    <a:pt x="1040" y="2367"/>
                  </a:lnTo>
                  <a:lnTo>
                    <a:pt x="1050" y="2377"/>
                  </a:lnTo>
                  <a:lnTo>
                    <a:pt x="1054" y="2380"/>
                  </a:lnTo>
                  <a:lnTo>
                    <a:pt x="1062" y="2377"/>
                  </a:lnTo>
                  <a:lnTo>
                    <a:pt x="1080" y="2381"/>
                  </a:lnTo>
                  <a:lnTo>
                    <a:pt x="1091" y="2395"/>
                  </a:lnTo>
                  <a:lnTo>
                    <a:pt x="1101" y="2400"/>
                  </a:lnTo>
                  <a:lnTo>
                    <a:pt x="1102" y="2404"/>
                  </a:lnTo>
                  <a:lnTo>
                    <a:pt x="1107" y="2420"/>
                  </a:lnTo>
                  <a:lnTo>
                    <a:pt x="1113" y="2430"/>
                  </a:lnTo>
                  <a:lnTo>
                    <a:pt x="1115" y="2439"/>
                  </a:lnTo>
                  <a:lnTo>
                    <a:pt x="1118" y="2443"/>
                  </a:lnTo>
                  <a:lnTo>
                    <a:pt x="1119" y="2449"/>
                  </a:lnTo>
                  <a:lnTo>
                    <a:pt x="1116" y="2460"/>
                  </a:lnTo>
                  <a:lnTo>
                    <a:pt x="1109" y="2460"/>
                  </a:lnTo>
                  <a:lnTo>
                    <a:pt x="1102" y="2463"/>
                  </a:lnTo>
                  <a:lnTo>
                    <a:pt x="1098" y="2470"/>
                  </a:lnTo>
                  <a:lnTo>
                    <a:pt x="1091" y="2475"/>
                  </a:lnTo>
                  <a:lnTo>
                    <a:pt x="1088" y="2479"/>
                  </a:lnTo>
                  <a:lnTo>
                    <a:pt x="1093" y="2483"/>
                  </a:lnTo>
                  <a:lnTo>
                    <a:pt x="1094" y="2483"/>
                  </a:lnTo>
                  <a:lnTo>
                    <a:pt x="1097" y="2483"/>
                  </a:lnTo>
                  <a:lnTo>
                    <a:pt x="1102" y="2487"/>
                  </a:lnTo>
                  <a:lnTo>
                    <a:pt x="1105" y="2492"/>
                  </a:lnTo>
                  <a:lnTo>
                    <a:pt x="1107" y="2500"/>
                  </a:lnTo>
                  <a:lnTo>
                    <a:pt x="1107" y="2512"/>
                  </a:lnTo>
                  <a:lnTo>
                    <a:pt x="1108" y="2517"/>
                  </a:lnTo>
                  <a:lnTo>
                    <a:pt x="1109" y="2522"/>
                  </a:lnTo>
                  <a:lnTo>
                    <a:pt x="1108" y="2528"/>
                  </a:lnTo>
                  <a:lnTo>
                    <a:pt x="1107" y="2528"/>
                  </a:lnTo>
                  <a:lnTo>
                    <a:pt x="1105" y="2531"/>
                  </a:lnTo>
                  <a:lnTo>
                    <a:pt x="1104" y="2536"/>
                  </a:lnTo>
                  <a:lnTo>
                    <a:pt x="1107" y="2541"/>
                  </a:lnTo>
                  <a:lnTo>
                    <a:pt x="1105" y="2549"/>
                  </a:lnTo>
                  <a:lnTo>
                    <a:pt x="1102" y="2554"/>
                  </a:lnTo>
                  <a:lnTo>
                    <a:pt x="1104" y="2562"/>
                  </a:lnTo>
                  <a:lnTo>
                    <a:pt x="1101" y="2573"/>
                  </a:lnTo>
                  <a:lnTo>
                    <a:pt x="1100" y="2580"/>
                  </a:lnTo>
                  <a:lnTo>
                    <a:pt x="1094" y="2590"/>
                  </a:lnTo>
                  <a:lnTo>
                    <a:pt x="1094" y="2595"/>
                  </a:lnTo>
                  <a:lnTo>
                    <a:pt x="1097" y="2599"/>
                  </a:lnTo>
                  <a:lnTo>
                    <a:pt x="1096" y="2591"/>
                  </a:lnTo>
                  <a:lnTo>
                    <a:pt x="1097" y="2591"/>
                  </a:lnTo>
                  <a:lnTo>
                    <a:pt x="1098" y="2591"/>
                  </a:lnTo>
                  <a:lnTo>
                    <a:pt x="1100" y="2611"/>
                  </a:lnTo>
                  <a:lnTo>
                    <a:pt x="1104" y="2638"/>
                  </a:lnTo>
                  <a:lnTo>
                    <a:pt x="1107" y="2643"/>
                  </a:lnTo>
                  <a:lnTo>
                    <a:pt x="1115" y="2658"/>
                  </a:lnTo>
                  <a:lnTo>
                    <a:pt x="1119" y="2670"/>
                  </a:lnTo>
                  <a:lnTo>
                    <a:pt x="1122" y="2687"/>
                  </a:lnTo>
                  <a:lnTo>
                    <a:pt x="1121" y="2688"/>
                  </a:lnTo>
                  <a:lnTo>
                    <a:pt x="1116" y="2688"/>
                  </a:lnTo>
                  <a:lnTo>
                    <a:pt x="1121" y="2688"/>
                  </a:lnTo>
                  <a:lnTo>
                    <a:pt x="1121" y="2692"/>
                  </a:lnTo>
                  <a:lnTo>
                    <a:pt x="1118" y="2699"/>
                  </a:lnTo>
                  <a:lnTo>
                    <a:pt x="1113" y="2703"/>
                  </a:lnTo>
                  <a:lnTo>
                    <a:pt x="1112" y="2703"/>
                  </a:lnTo>
                  <a:lnTo>
                    <a:pt x="1112" y="2704"/>
                  </a:lnTo>
                  <a:lnTo>
                    <a:pt x="1113" y="2704"/>
                  </a:lnTo>
                  <a:lnTo>
                    <a:pt x="1112" y="2707"/>
                  </a:lnTo>
                  <a:lnTo>
                    <a:pt x="1109" y="2711"/>
                  </a:lnTo>
                  <a:lnTo>
                    <a:pt x="1105" y="2711"/>
                  </a:lnTo>
                  <a:lnTo>
                    <a:pt x="1100" y="2710"/>
                  </a:lnTo>
                  <a:lnTo>
                    <a:pt x="1096" y="2703"/>
                  </a:lnTo>
                  <a:lnTo>
                    <a:pt x="1090" y="2699"/>
                  </a:lnTo>
                  <a:lnTo>
                    <a:pt x="1083" y="2702"/>
                  </a:lnTo>
                  <a:lnTo>
                    <a:pt x="1080" y="2699"/>
                  </a:lnTo>
                  <a:lnTo>
                    <a:pt x="1075" y="2702"/>
                  </a:lnTo>
                  <a:lnTo>
                    <a:pt x="1069" y="2700"/>
                  </a:lnTo>
                  <a:lnTo>
                    <a:pt x="1070" y="2699"/>
                  </a:lnTo>
                  <a:lnTo>
                    <a:pt x="1076" y="2696"/>
                  </a:lnTo>
                  <a:lnTo>
                    <a:pt x="1077" y="2692"/>
                  </a:lnTo>
                  <a:lnTo>
                    <a:pt x="1075" y="2692"/>
                  </a:lnTo>
                  <a:lnTo>
                    <a:pt x="1077" y="2688"/>
                  </a:lnTo>
                  <a:lnTo>
                    <a:pt x="1073" y="2691"/>
                  </a:lnTo>
                  <a:lnTo>
                    <a:pt x="1073" y="2695"/>
                  </a:lnTo>
                  <a:lnTo>
                    <a:pt x="1069" y="2696"/>
                  </a:lnTo>
                  <a:lnTo>
                    <a:pt x="1068" y="2699"/>
                  </a:lnTo>
                  <a:lnTo>
                    <a:pt x="1063" y="2703"/>
                  </a:lnTo>
                  <a:lnTo>
                    <a:pt x="1058" y="2703"/>
                  </a:lnTo>
                  <a:lnTo>
                    <a:pt x="1058" y="2700"/>
                  </a:lnTo>
                  <a:lnTo>
                    <a:pt x="1056" y="2702"/>
                  </a:lnTo>
                  <a:lnTo>
                    <a:pt x="1055" y="2707"/>
                  </a:lnTo>
                  <a:lnTo>
                    <a:pt x="1051" y="2707"/>
                  </a:lnTo>
                  <a:lnTo>
                    <a:pt x="1041" y="2715"/>
                  </a:lnTo>
                  <a:lnTo>
                    <a:pt x="1041" y="2717"/>
                  </a:lnTo>
                  <a:lnTo>
                    <a:pt x="1045" y="2717"/>
                  </a:lnTo>
                  <a:lnTo>
                    <a:pt x="1038" y="2724"/>
                  </a:lnTo>
                  <a:lnTo>
                    <a:pt x="1044" y="2719"/>
                  </a:lnTo>
                  <a:lnTo>
                    <a:pt x="1048" y="2723"/>
                  </a:lnTo>
                  <a:lnTo>
                    <a:pt x="1055" y="2721"/>
                  </a:lnTo>
                  <a:lnTo>
                    <a:pt x="1061" y="2725"/>
                  </a:lnTo>
                  <a:lnTo>
                    <a:pt x="1063" y="2728"/>
                  </a:lnTo>
                  <a:lnTo>
                    <a:pt x="1062" y="2729"/>
                  </a:lnTo>
                  <a:lnTo>
                    <a:pt x="1058" y="2733"/>
                  </a:lnTo>
                  <a:lnTo>
                    <a:pt x="1063" y="2729"/>
                  </a:lnTo>
                  <a:lnTo>
                    <a:pt x="1063" y="2733"/>
                  </a:lnTo>
                  <a:lnTo>
                    <a:pt x="1066" y="2737"/>
                  </a:lnTo>
                  <a:lnTo>
                    <a:pt x="1070" y="2741"/>
                  </a:lnTo>
                  <a:lnTo>
                    <a:pt x="1079" y="2744"/>
                  </a:lnTo>
                  <a:lnTo>
                    <a:pt x="1077" y="2752"/>
                  </a:lnTo>
                  <a:lnTo>
                    <a:pt x="1072" y="2753"/>
                  </a:lnTo>
                  <a:lnTo>
                    <a:pt x="1072" y="2755"/>
                  </a:lnTo>
                  <a:lnTo>
                    <a:pt x="1073" y="2755"/>
                  </a:lnTo>
                  <a:lnTo>
                    <a:pt x="1072" y="2754"/>
                  </a:lnTo>
                  <a:lnTo>
                    <a:pt x="1077" y="2753"/>
                  </a:lnTo>
                  <a:lnTo>
                    <a:pt x="1079" y="2749"/>
                  </a:lnTo>
                  <a:lnTo>
                    <a:pt x="1080" y="2747"/>
                  </a:lnTo>
                  <a:lnTo>
                    <a:pt x="1083" y="2749"/>
                  </a:lnTo>
                  <a:lnTo>
                    <a:pt x="1087" y="2747"/>
                  </a:lnTo>
                  <a:lnTo>
                    <a:pt x="1090" y="2747"/>
                  </a:lnTo>
                  <a:lnTo>
                    <a:pt x="1091" y="2748"/>
                  </a:lnTo>
                  <a:lnTo>
                    <a:pt x="1090" y="2750"/>
                  </a:lnTo>
                  <a:lnTo>
                    <a:pt x="1083" y="2754"/>
                  </a:lnTo>
                  <a:lnTo>
                    <a:pt x="1080" y="2760"/>
                  </a:lnTo>
                  <a:lnTo>
                    <a:pt x="1082" y="2764"/>
                  </a:lnTo>
                  <a:lnTo>
                    <a:pt x="1079" y="2770"/>
                  </a:lnTo>
                  <a:lnTo>
                    <a:pt x="1077" y="2772"/>
                  </a:lnTo>
                  <a:lnTo>
                    <a:pt x="1077" y="2774"/>
                  </a:lnTo>
                  <a:lnTo>
                    <a:pt x="1079" y="2772"/>
                  </a:lnTo>
                  <a:lnTo>
                    <a:pt x="1082" y="2770"/>
                  </a:lnTo>
                  <a:lnTo>
                    <a:pt x="1083" y="2762"/>
                  </a:lnTo>
                  <a:lnTo>
                    <a:pt x="1086" y="2758"/>
                  </a:lnTo>
                  <a:lnTo>
                    <a:pt x="1088" y="2755"/>
                  </a:lnTo>
                  <a:lnTo>
                    <a:pt x="1088" y="2760"/>
                  </a:lnTo>
                  <a:lnTo>
                    <a:pt x="1087" y="2767"/>
                  </a:lnTo>
                  <a:lnTo>
                    <a:pt x="1086" y="2766"/>
                  </a:lnTo>
                  <a:lnTo>
                    <a:pt x="1084" y="2769"/>
                  </a:lnTo>
                  <a:lnTo>
                    <a:pt x="1084" y="2772"/>
                  </a:lnTo>
                  <a:lnTo>
                    <a:pt x="1082" y="2774"/>
                  </a:lnTo>
                  <a:lnTo>
                    <a:pt x="1080" y="2780"/>
                  </a:lnTo>
                  <a:lnTo>
                    <a:pt x="1077" y="2782"/>
                  </a:lnTo>
                  <a:lnTo>
                    <a:pt x="1076" y="2786"/>
                  </a:lnTo>
                  <a:lnTo>
                    <a:pt x="1075" y="2786"/>
                  </a:lnTo>
                  <a:lnTo>
                    <a:pt x="1075" y="2790"/>
                  </a:lnTo>
                  <a:lnTo>
                    <a:pt x="1072" y="2794"/>
                  </a:lnTo>
                  <a:lnTo>
                    <a:pt x="1073" y="2794"/>
                  </a:lnTo>
                  <a:lnTo>
                    <a:pt x="1072" y="2797"/>
                  </a:lnTo>
                  <a:lnTo>
                    <a:pt x="1070" y="2798"/>
                  </a:lnTo>
                  <a:lnTo>
                    <a:pt x="1069" y="2799"/>
                  </a:lnTo>
                  <a:lnTo>
                    <a:pt x="1069" y="2800"/>
                  </a:lnTo>
                  <a:lnTo>
                    <a:pt x="1070" y="2800"/>
                  </a:lnTo>
                  <a:lnTo>
                    <a:pt x="1066" y="2817"/>
                  </a:lnTo>
                  <a:lnTo>
                    <a:pt x="1063" y="2819"/>
                  </a:lnTo>
                  <a:lnTo>
                    <a:pt x="1056" y="2822"/>
                  </a:lnTo>
                  <a:lnTo>
                    <a:pt x="1052" y="2827"/>
                  </a:lnTo>
                  <a:lnTo>
                    <a:pt x="1047" y="2829"/>
                  </a:lnTo>
                  <a:lnTo>
                    <a:pt x="1047" y="2831"/>
                  </a:lnTo>
                  <a:lnTo>
                    <a:pt x="1044" y="2831"/>
                  </a:lnTo>
                  <a:lnTo>
                    <a:pt x="1041" y="2837"/>
                  </a:lnTo>
                  <a:lnTo>
                    <a:pt x="1037" y="2840"/>
                  </a:lnTo>
                  <a:lnTo>
                    <a:pt x="1036" y="2840"/>
                  </a:lnTo>
                  <a:lnTo>
                    <a:pt x="1034" y="2837"/>
                  </a:lnTo>
                  <a:lnTo>
                    <a:pt x="1031" y="2835"/>
                  </a:lnTo>
                  <a:lnTo>
                    <a:pt x="1027" y="2840"/>
                  </a:lnTo>
                  <a:lnTo>
                    <a:pt x="1023" y="2840"/>
                  </a:lnTo>
                  <a:lnTo>
                    <a:pt x="1019" y="2835"/>
                  </a:lnTo>
                  <a:lnTo>
                    <a:pt x="1020" y="2840"/>
                  </a:lnTo>
                  <a:lnTo>
                    <a:pt x="1023" y="2842"/>
                  </a:lnTo>
                  <a:lnTo>
                    <a:pt x="1026" y="2842"/>
                  </a:lnTo>
                  <a:lnTo>
                    <a:pt x="1030" y="2841"/>
                  </a:lnTo>
                  <a:lnTo>
                    <a:pt x="1034" y="2844"/>
                  </a:lnTo>
                  <a:lnTo>
                    <a:pt x="1036" y="2845"/>
                  </a:lnTo>
                  <a:lnTo>
                    <a:pt x="1033" y="2847"/>
                  </a:lnTo>
                  <a:lnTo>
                    <a:pt x="1033" y="2849"/>
                  </a:lnTo>
                  <a:lnTo>
                    <a:pt x="1036" y="2848"/>
                  </a:lnTo>
                  <a:lnTo>
                    <a:pt x="1040" y="2852"/>
                  </a:lnTo>
                  <a:lnTo>
                    <a:pt x="1042" y="2847"/>
                  </a:lnTo>
                  <a:lnTo>
                    <a:pt x="1050" y="2844"/>
                  </a:lnTo>
                  <a:lnTo>
                    <a:pt x="1055" y="2849"/>
                  </a:lnTo>
                  <a:lnTo>
                    <a:pt x="1055" y="2860"/>
                  </a:lnTo>
                  <a:lnTo>
                    <a:pt x="1056" y="2857"/>
                  </a:lnTo>
                  <a:lnTo>
                    <a:pt x="1058" y="2861"/>
                  </a:lnTo>
                  <a:lnTo>
                    <a:pt x="1056" y="2861"/>
                  </a:lnTo>
                  <a:lnTo>
                    <a:pt x="1056" y="2865"/>
                  </a:lnTo>
                  <a:lnTo>
                    <a:pt x="1061" y="2872"/>
                  </a:lnTo>
                  <a:lnTo>
                    <a:pt x="1062" y="2876"/>
                  </a:lnTo>
                  <a:lnTo>
                    <a:pt x="1059" y="2878"/>
                  </a:lnTo>
                  <a:lnTo>
                    <a:pt x="1058" y="2876"/>
                  </a:lnTo>
                  <a:lnTo>
                    <a:pt x="1055" y="2876"/>
                  </a:lnTo>
                  <a:lnTo>
                    <a:pt x="1050" y="2879"/>
                  </a:lnTo>
                  <a:lnTo>
                    <a:pt x="1047" y="2884"/>
                  </a:lnTo>
                  <a:lnTo>
                    <a:pt x="1042" y="2879"/>
                  </a:lnTo>
                  <a:lnTo>
                    <a:pt x="1047" y="2882"/>
                  </a:lnTo>
                  <a:lnTo>
                    <a:pt x="1047" y="2879"/>
                  </a:lnTo>
                  <a:lnTo>
                    <a:pt x="1045" y="2878"/>
                  </a:lnTo>
                  <a:lnTo>
                    <a:pt x="1045" y="2879"/>
                  </a:lnTo>
                  <a:lnTo>
                    <a:pt x="1044" y="2878"/>
                  </a:lnTo>
                  <a:lnTo>
                    <a:pt x="1041" y="2878"/>
                  </a:lnTo>
                  <a:lnTo>
                    <a:pt x="1041" y="2879"/>
                  </a:lnTo>
                  <a:lnTo>
                    <a:pt x="1042" y="2884"/>
                  </a:lnTo>
                  <a:lnTo>
                    <a:pt x="1041" y="2887"/>
                  </a:lnTo>
                  <a:lnTo>
                    <a:pt x="1037" y="2889"/>
                  </a:lnTo>
                  <a:lnTo>
                    <a:pt x="1036" y="2891"/>
                  </a:lnTo>
                  <a:lnTo>
                    <a:pt x="1033" y="2893"/>
                  </a:lnTo>
                  <a:lnTo>
                    <a:pt x="1030" y="2894"/>
                  </a:lnTo>
                  <a:lnTo>
                    <a:pt x="1030" y="2897"/>
                  </a:lnTo>
                  <a:lnTo>
                    <a:pt x="1027" y="2894"/>
                  </a:lnTo>
                  <a:lnTo>
                    <a:pt x="1026" y="2894"/>
                  </a:lnTo>
                  <a:lnTo>
                    <a:pt x="1030" y="2887"/>
                  </a:lnTo>
                  <a:lnTo>
                    <a:pt x="1026" y="2886"/>
                  </a:lnTo>
                  <a:lnTo>
                    <a:pt x="1023" y="2891"/>
                  </a:lnTo>
                  <a:lnTo>
                    <a:pt x="1016" y="2894"/>
                  </a:lnTo>
                  <a:lnTo>
                    <a:pt x="1013" y="2897"/>
                  </a:lnTo>
                  <a:lnTo>
                    <a:pt x="1012" y="2898"/>
                  </a:lnTo>
                  <a:lnTo>
                    <a:pt x="1015" y="2898"/>
                  </a:lnTo>
                  <a:lnTo>
                    <a:pt x="1019" y="2894"/>
                  </a:lnTo>
                  <a:lnTo>
                    <a:pt x="1022" y="2894"/>
                  </a:lnTo>
                  <a:lnTo>
                    <a:pt x="1023" y="2902"/>
                  </a:lnTo>
                  <a:lnTo>
                    <a:pt x="1022" y="2911"/>
                  </a:lnTo>
                  <a:lnTo>
                    <a:pt x="1025" y="2915"/>
                  </a:lnTo>
                  <a:lnTo>
                    <a:pt x="1027" y="2914"/>
                  </a:lnTo>
                  <a:lnTo>
                    <a:pt x="1026" y="2909"/>
                  </a:lnTo>
                  <a:lnTo>
                    <a:pt x="1029" y="2906"/>
                  </a:lnTo>
                  <a:lnTo>
                    <a:pt x="1034" y="2911"/>
                  </a:lnTo>
                  <a:lnTo>
                    <a:pt x="1034" y="2914"/>
                  </a:lnTo>
                  <a:lnTo>
                    <a:pt x="1036" y="2915"/>
                  </a:lnTo>
                  <a:lnTo>
                    <a:pt x="1036" y="2916"/>
                  </a:lnTo>
                  <a:lnTo>
                    <a:pt x="1037" y="2915"/>
                  </a:lnTo>
                  <a:lnTo>
                    <a:pt x="1038" y="2923"/>
                  </a:lnTo>
                  <a:lnTo>
                    <a:pt x="1033" y="2928"/>
                  </a:lnTo>
                  <a:lnTo>
                    <a:pt x="1034" y="2932"/>
                  </a:lnTo>
                  <a:lnTo>
                    <a:pt x="1037" y="2928"/>
                  </a:lnTo>
                  <a:lnTo>
                    <a:pt x="1041" y="2928"/>
                  </a:lnTo>
                  <a:lnTo>
                    <a:pt x="1044" y="2932"/>
                  </a:lnTo>
                  <a:lnTo>
                    <a:pt x="1047" y="2934"/>
                  </a:lnTo>
                  <a:lnTo>
                    <a:pt x="1044" y="2931"/>
                  </a:lnTo>
                  <a:lnTo>
                    <a:pt x="1051" y="2924"/>
                  </a:lnTo>
                  <a:lnTo>
                    <a:pt x="1056" y="2920"/>
                  </a:lnTo>
                  <a:lnTo>
                    <a:pt x="1061" y="2924"/>
                  </a:lnTo>
                  <a:lnTo>
                    <a:pt x="1065" y="2928"/>
                  </a:lnTo>
                  <a:lnTo>
                    <a:pt x="1063" y="2928"/>
                  </a:lnTo>
                  <a:lnTo>
                    <a:pt x="1065" y="2932"/>
                  </a:lnTo>
                  <a:lnTo>
                    <a:pt x="1066" y="2938"/>
                  </a:lnTo>
                  <a:lnTo>
                    <a:pt x="1066" y="2941"/>
                  </a:lnTo>
                  <a:lnTo>
                    <a:pt x="1068" y="2941"/>
                  </a:lnTo>
                  <a:lnTo>
                    <a:pt x="1072" y="2953"/>
                  </a:lnTo>
                  <a:lnTo>
                    <a:pt x="1061" y="2973"/>
                  </a:lnTo>
                  <a:lnTo>
                    <a:pt x="1058" y="2977"/>
                  </a:lnTo>
                  <a:lnTo>
                    <a:pt x="1051" y="2980"/>
                  </a:lnTo>
                  <a:lnTo>
                    <a:pt x="1048" y="2981"/>
                  </a:lnTo>
                  <a:lnTo>
                    <a:pt x="1048" y="2985"/>
                  </a:lnTo>
                  <a:lnTo>
                    <a:pt x="1047" y="2988"/>
                  </a:lnTo>
                  <a:lnTo>
                    <a:pt x="1045" y="2988"/>
                  </a:lnTo>
                  <a:lnTo>
                    <a:pt x="1041" y="2985"/>
                  </a:lnTo>
                  <a:lnTo>
                    <a:pt x="1037" y="2984"/>
                  </a:lnTo>
                  <a:lnTo>
                    <a:pt x="1029" y="2986"/>
                  </a:lnTo>
                  <a:lnTo>
                    <a:pt x="1027" y="2988"/>
                  </a:lnTo>
                  <a:lnTo>
                    <a:pt x="1029" y="2988"/>
                  </a:lnTo>
                  <a:lnTo>
                    <a:pt x="1034" y="2988"/>
                  </a:lnTo>
                  <a:lnTo>
                    <a:pt x="1036" y="2988"/>
                  </a:lnTo>
                  <a:lnTo>
                    <a:pt x="1036" y="2990"/>
                  </a:lnTo>
                  <a:lnTo>
                    <a:pt x="1031" y="2994"/>
                  </a:lnTo>
                  <a:lnTo>
                    <a:pt x="1031" y="3009"/>
                  </a:lnTo>
                  <a:lnTo>
                    <a:pt x="1027" y="3014"/>
                  </a:lnTo>
                  <a:lnTo>
                    <a:pt x="1027" y="3022"/>
                  </a:lnTo>
                  <a:lnTo>
                    <a:pt x="1031" y="3031"/>
                  </a:lnTo>
                  <a:lnTo>
                    <a:pt x="1033" y="3040"/>
                  </a:lnTo>
                  <a:lnTo>
                    <a:pt x="1034" y="3044"/>
                  </a:lnTo>
                  <a:lnTo>
                    <a:pt x="1041" y="3050"/>
                  </a:lnTo>
                  <a:lnTo>
                    <a:pt x="1045" y="3063"/>
                  </a:lnTo>
                  <a:lnTo>
                    <a:pt x="1042" y="3048"/>
                  </a:lnTo>
                  <a:lnTo>
                    <a:pt x="1036" y="3040"/>
                  </a:lnTo>
                  <a:lnTo>
                    <a:pt x="1037" y="3031"/>
                  </a:lnTo>
                  <a:lnTo>
                    <a:pt x="1042" y="3030"/>
                  </a:lnTo>
                  <a:lnTo>
                    <a:pt x="1044" y="3032"/>
                  </a:lnTo>
                  <a:lnTo>
                    <a:pt x="1045" y="3031"/>
                  </a:lnTo>
                  <a:lnTo>
                    <a:pt x="1044" y="3028"/>
                  </a:lnTo>
                  <a:lnTo>
                    <a:pt x="1038" y="3028"/>
                  </a:lnTo>
                  <a:lnTo>
                    <a:pt x="1036" y="3026"/>
                  </a:lnTo>
                  <a:lnTo>
                    <a:pt x="1042" y="3013"/>
                  </a:lnTo>
                  <a:lnTo>
                    <a:pt x="1042" y="3010"/>
                  </a:lnTo>
                  <a:lnTo>
                    <a:pt x="1040" y="3005"/>
                  </a:lnTo>
                  <a:lnTo>
                    <a:pt x="1040" y="3002"/>
                  </a:lnTo>
                  <a:lnTo>
                    <a:pt x="1041" y="2999"/>
                  </a:lnTo>
                  <a:lnTo>
                    <a:pt x="1042" y="2999"/>
                  </a:lnTo>
                  <a:lnTo>
                    <a:pt x="1047" y="3005"/>
                  </a:lnTo>
                  <a:lnTo>
                    <a:pt x="1052" y="3007"/>
                  </a:lnTo>
                  <a:lnTo>
                    <a:pt x="1051" y="3005"/>
                  </a:lnTo>
                  <a:lnTo>
                    <a:pt x="1047" y="3002"/>
                  </a:lnTo>
                  <a:lnTo>
                    <a:pt x="1044" y="2991"/>
                  </a:lnTo>
                  <a:lnTo>
                    <a:pt x="1045" y="2991"/>
                  </a:lnTo>
                  <a:lnTo>
                    <a:pt x="1054" y="2995"/>
                  </a:lnTo>
                  <a:lnTo>
                    <a:pt x="1056" y="2998"/>
                  </a:lnTo>
                  <a:lnTo>
                    <a:pt x="1058" y="3003"/>
                  </a:lnTo>
                  <a:lnTo>
                    <a:pt x="1062" y="3003"/>
                  </a:lnTo>
                  <a:lnTo>
                    <a:pt x="1059" y="2999"/>
                  </a:lnTo>
                  <a:lnTo>
                    <a:pt x="1063" y="2991"/>
                  </a:lnTo>
                  <a:lnTo>
                    <a:pt x="1073" y="2991"/>
                  </a:lnTo>
                  <a:lnTo>
                    <a:pt x="1088" y="2985"/>
                  </a:lnTo>
                  <a:lnTo>
                    <a:pt x="1093" y="2988"/>
                  </a:lnTo>
                  <a:lnTo>
                    <a:pt x="1096" y="2991"/>
                  </a:lnTo>
                  <a:lnTo>
                    <a:pt x="1098" y="2995"/>
                  </a:lnTo>
                  <a:lnTo>
                    <a:pt x="1098" y="3002"/>
                  </a:lnTo>
                  <a:lnTo>
                    <a:pt x="1097" y="3006"/>
                  </a:lnTo>
                  <a:lnTo>
                    <a:pt x="1090" y="3007"/>
                  </a:lnTo>
                  <a:lnTo>
                    <a:pt x="1087" y="3010"/>
                  </a:lnTo>
                  <a:lnTo>
                    <a:pt x="1091" y="3009"/>
                  </a:lnTo>
                  <a:lnTo>
                    <a:pt x="1097" y="3011"/>
                  </a:lnTo>
                  <a:lnTo>
                    <a:pt x="1101" y="3013"/>
                  </a:lnTo>
                  <a:lnTo>
                    <a:pt x="1102" y="3016"/>
                  </a:lnTo>
                  <a:lnTo>
                    <a:pt x="1104" y="3014"/>
                  </a:lnTo>
                  <a:lnTo>
                    <a:pt x="1109" y="3014"/>
                  </a:lnTo>
                  <a:lnTo>
                    <a:pt x="1116" y="3018"/>
                  </a:lnTo>
                  <a:lnTo>
                    <a:pt x="1116" y="3022"/>
                  </a:lnTo>
                  <a:lnTo>
                    <a:pt x="1125" y="3026"/>
                  </a:lnTo>
                  <a:lnTo>
                    <a:pt x="1127" y="3028"/>
                  </a:lnTo>
                  <a:lnTo>
                    <a:pt x="1129" y="3036"/>
                  </a:lnTo>
                  <a:lnTo>
                    <a:pt x="1125" y="3035"/>
                  </a:lnTo>
                  <a:lnTo>
                    <a:pt x="1123" y="3036"/>
                  </a:lnTo>
                  <a:lnTo>
                    <a:pt x="1125" y="3039"/>
                  </a:lnTo>
                  <a:lnTo>
                    <a:pt x="1127" y="3040"/>
                  </a:lnTo>
                  <a:lnTo>
                    <a:pt x="1130" y="3044"/>
                  </a:lnTo>
                  <a:lnTo>
                    <a:pt x="1133" y="3040"/>
                  </a:lnTo>
                  <a:lnTo>
                    <a:pt x="1137" y="3040"/>
                  </a:lnTo>
                  <a:lnTo>
                    <a:pt x="1139" y="3040"/>
                  </a:lnTo>
                  <a:lnTo>
                    <a:pt x="1139" y="3043"/>
                  </a:lnTo>
                  <a:lnTo>
                    <a:pt x="1143" y="3043"/>
                  </a:lnTo>
                  <a:lnTo>
                    <a:pt x="1144" y="3043"/>
                  </a:lnTo>
                  <a:lnTo>
                    <a:pt x="1162" y="3069"/>
                  </a:lnTo>
                  <a:lnTo>
                    <a:pt x="1168" y="3075"/>
                  </a:lnTo>
                  <a:lnTo>
                    <a:pt x="1177" y="3082"/>
                  </a:lnTo>
                  <a:lnTo>
                    <a:pt x="1177" y="3085"/>
                  </a:lnTo>
                  <a:lnTo>
                    <a:pt x="1172" y="3084"/>
                  </a:lnTo>
                  <a:lnTo>
                    <a:pt x="1166" y="3089"/>
                  </a:lnTo>
                  <a:lnTo>
                    <a:pt x="1164" y="3088"/>
                  </a:lnTo>
                  <a:lnTo>
                    <a:pt x="1161" y="3084"/>
                  </a:lnTo>
                  <a:lnTo>
                    <a:pt x="1160" y="3085"/>
                  </a:lnTo>
                  <a:lnTo>
                    <a:pt x="1164" y="3089"/>
                  </a:lnTo>
                  <a:lnTo>
                    <a:pt x="1169" y="3089"/>
                  </a:lnTo>
                  <a:lnTo>
                    <a:pt x="1173" y="3088"/>
                  </a:lnTo>
                  <a:lnTo>
                    <a:pt x="1177" y="3089"/>
                  </a:lnTo>
                  <a:lnTo>
                    <a:pt x="1176" y="3102"/>
                  </a:lnTo>
                  <a:lnTo>
                    <a:pt x="1175" y="3102"/>
                  </a:lnTo>
                  <a:lnTo>
                    <a:pt x="1172" y="3098"/>
                  </a:lnTo>
                  <a:lnTo>
                    <a:pt x="1166" y="3093"/>
                  </a:lnTo>
                  <a:lnTo>
                    <a:pt x="1171" y="3101"/>
                  </a:lnTo>
                  <a:lnTo>
                    <a:pt x="1173" y="3105"/>
                  </a:lnTo>
                  <a:lnTo>
                    <a:pt x="1175" y="3105"/>
                  </a:lnTo>
                  <a:lnTo>
                    <a:pt x="1176" y="3110"/>
                  </a:lnTo>
                  <a:lnTo>
                    <a:pt x="1175" y="3111"/>
                  </a:lnTo>
                  <a:lnTo>
                    <a:pt x="1172" y="3114"/>
                  </a:lnTo>
                  <a:lnTo>
                    <a:pt x="1165" y="3115"/>
                  </a:lnTo>
                  <a:lnTo>
                    <a:pt x="1154" y="3114"/>
                  </a:lnTo>
                  <a:lnTo>
                    <a:pt x="1155" y="3115"/>
                  </a:lnTo>
                  <a:lnTo>
                    <a:pt x="1155" y="3118"/>
                  </a:lnTo>
                  <a:lnTo>
                    <a:pt x="1148" y="3119"/>
                  </a:lnTo>
                  <a:lnTo>
                    <a:pt x="1154" y="3120"/>
                  </a:lnTo>
                  <a:lnTo>
                    <a:pt x="1151" y="3123"/>
                  </a:lnTo>
                  <a:lnTo>
                    <a:pt x="1147" y="3126"/>
                  </a:lnTo>
                  <a:lnTo>
                    <a:pt x="1133" y="3126"/>
                  </a:lnTo>
                  <a:lnTo>
                    <a:pt x="1135" y="3127"/>
                  </a:lnTo>
                  <a:lnTo>
                    <a:pt x="1144" y="3130"/>
                  </a:lnTo>
                  <a:lnTo>
                    <a:pt x="1161" y="3123"/>
                  </a:lnTo>
                  <a:lnTo>
                    <a:pt x="1168" y="3119"/>
                  </a:lnTo>
                  <a:lnTo>
                    <a:pt x="1175" y="3119"/>
                  </a:lnTo>
                  <a:lnTo>
                    <a:pt x="1177" y="3120"/>
                  </a:lnTo>
                  <a:lnTo>
                    <a:pt x="1177" y="3123"/>
                  </a:lnTo>
                  <a:lnTo>
                    <a:pt x="1182" y="3126"/>
                  </a:lnTo>
                  <a:lnTo>
                    <a:pt x="1179" y="3134"/>
                  </a:lnTo>
                  <a:lnTo>
                    <a:pt x="1180" y="3138"/>
                  </a:lnTo>
                  <a:lnTo>
                    <a:pt x="1182" y="3142"/>
                  </a:lnTo>
                  <a:lnTo>
                    <a:pt x="1182" y="3137"/>
                  </a:lnTo>
                  <a:lnTo>
                    <a:pt x="1186" y="3123"/>
                  </a:lnTo>
                  <a:lnTo>
                    <a:pt x="1185" y="3122"/>
                  </a:lnTo>
                  <a:lnTo>
                    <a:pt x="1182" y="3120"/>
                  </a:lnTo>
                  <a:lnTo>
                    <a:pt x="1182" y="3118"/>
                  </a:lnTo>
                  <a:lnTo>
                    <a:pt x="1187" y="3111"/>
                  </a:lnTo>
                  <a:lnTo>
                    <a:pt x="1190" y="3110"/>
                  </a:lnTo>
                  <a:lnTo>
                    <a:pt x="1198" y="3103"/>
                  </a:lnTo>
                  <a:lnTo>
                    <a:pt x="1210" y="3093"/>
                  </a:lnTo>
                  <a:lnTo>
                    <a:pt x="1214" y="3093"/>
                  </a:lnTo>
                  <a:lnTo>
                    <a:pt x="1221" y="3097"/>
                  </a:lnTo>
                  <a:lnTo>
                    <a:pt x="1222" y="3102"/>
                  </a:lnTo>
                  <a:lnTo>
                    <a:pt x="1222" y="3106"/>
                  </a:lnTo>
                  <a:lnTo>
                    <a:pt x="1216" y="3115"/>
                  </a:lnTo>
                  <a:lnTo>
                    <a:pt x="1211" y="3120"/>
                  </a:lnTo>
                  <a:lnTo>
                    <a:pt x="1202" y="3123"/>
                  </a:lnTo>
                  <a:lnTo>
                    <a:pt x="1197" y="3130"/>
                  </a:lnTo>
                  <a:lnTo>
                    <a:pt x="1196" y="3138"/>
                  </a:lnTo>
                  <a:lnTo>
                    <a:pt x="1198" y="3142"/>
                  </a:lnTo>
                  <a:lnTo>
                    <a:pt x="1205" y="3145"/>
                  </a:lnTo>
                  <a:lnTo>
                    <a:pt x="1211" y="3163"/>
                  </a:lnTo>
                  <a:lnTo>
                    <a:pt x="1210" y="3164"/>
                  </a:lnTo>
                  <a:lnTo>
                    <a:pt x="1205" y="3168"/>
                  </a:lnTo>
                  <a:lnTo>
                    <a:pt x="1202" y="3170"/>
                  </a:lnTo>
                  <a:lnTo>
                    <a:pt x="1197" y="3173"/>
                  </a:lnTo>
                  <a:lnTo>
                    <a:pt x="1196" y="3176"/>
                  </a:lnTo>
                  <a:lnTo>
                    <a:pt x="1197" y="3179"/>
                  </a:lnTo>
                  <a:lnTo>
                    <a:pt x="1198" y="3179"/>
                  </a:lnTo>
                  <a:lnTo>
                    <a:pt x="1198" y="3176"/>
                  </a:lnTo>
                  <a:lnTo>
                    <a:pt x="1204" y="3172"/>
                  </a:lnTo>
                  <a:lnTo>
                    <a:pt x="1212" y="3168"/>
                  </a:lnTo>
                  <a:lnTo>
                    <a:pt x="1215" y="3160"/>
                  </a:lnTo>
                  <a:lnTo>
                    <a:pt x="1215" y="3156"/>
                  </a:lnTo>
                  <a:lnTo>
                    <a:pt x="1212" y="3152"/>
                  </a:lnTo>
                  <a:lnTo>
                    <a:pt x="1214" y="3142"/>
                  </a:lnTo>
                  <a:lnTo>
                    <a:pt x="1210" y="3137"/>
                  </a:lnTo>
                  <a:lnTo>
                    <a:pt x="1214" y="3132"/>
                  </a:lnTo>
                  <a:lnTo>
                    <a:pt x="1224" y="3128"/>
                  </a:lnTo>
                  <a:lnTo>
                    <a:pt x="1229" y="3128"/>
                  </a:lnTo>
                  <a:lnTo>
                    <a:pt x="1240" y="3125"/>
                  </a:lnTo>
                  <a:lnTo>
                    <a:pt x="1240" y="3127"/>
                  </a:lnTo>
                  <a:lnTo>
                    <a:pt x="1239" y="3130"/>
                  </a:lnTo>
                  <a:lnTo>
                    <a:pt x="1237" y="3138"/>
                  </a:lnTo>
                  <a:lnTo>
                    <a:pt x="1240" y="3145"/>
                  </a:lnTo>
                  <a:lnTo>
                    <a:pt x="1243" y="3147"/>
                  </a:lnTo>
                  <a:lnTo>
                    <a:pt x="1252" y="3142"/>
                  </a:lnTo>
                  <a:lnTo>
                    <a:pt x="1254" y="3142"/>
                  </a:lnTo>
                  <a:lnTo>
                    <a:pt x="1261" y="3152"/>
                  </a:lnTo>
                  <a:lnTo>
                    <a:pt x="1261" y="3150"/>
                  </a:lnTo>
                  <a:lnTo>
                    <a:pt x="1260" y="3142"/>
                  </a:lnTo>
                  <a:lnTo>
                    <a:pt x="1257" y="3138"/>
                  </a:lnTo>
                  <a:lnTo>
                    <a:pt x="1250" y="3138"/>
                  </a:lnTo>
                  <a:lnTo>
                    <a:pt x="1243" y="3144"/>
                  </a:lnTo>
                  <a:lnTo>
                    <a:pt x="1240" y="3144"/>
                  </a:lnTo>
                  <a:lnTo>
                    <a:pt x="1239" y="3142"/>
                  </a:lnTo>
                  <a:lnTo>
                    <a:pt x="1239" y="3138"/>
                  </a:lnTo>
                  <a:lnTo>
                    <a:pt x="1244" y="3126"/>
                  </a:lnTo>
                  <a:lnTo>
                    <a:pt x="1250" y="3125"/>
                  </a:lnTo>
                  <a:lnTo>
                    <a:pt x="1258" y="3127"/>
                  </a:lnTo>
                  <a:lnTo>
                    <a:pt x="1260" y="3130"/>
                  </a:lnTo>
                  <a:lnTo>
                    <a:pt x="1266" y="3130"/>
                  </a:lnTo>
                  <a:lnTo>
                    <a:pt x="1272" y="3137"/>
                  </a:lnTo>
                  <a:lnTo>
                    <a:pt x="1276" y="3138"/>
                  </a:lnTo>
                  <a:lnTo>
                    <a:pt x="1276" y="3134"/>
                  </a:lnTo>
                  <a:lnTo>
                    <a:pt x="1280" y="3138"/>
                  </a:lnTo>
                  <a:lnTo>
                    <a:pt x="1289" y="3151"/>
                  </a:lnTo>
                  <a:lnTo>
                    <a:pt x="1287" y="3159"/>
                  </a:lnTo>
                  <a:lnTo>
                    <a:pt x="1291" y="3155"/>
                  </a:lnTo>
                  <a:lnTo>
                    <a:pt x="1291" y="3147"/>
                  </a:lnTo>
                  <a:lnTo>
                    <a:pt x="1294" y="3145"/>
                  </a:lnTo>
                  <a:lnTo>
                    <a:pt x="1296" y="3156"/>
                  </a:lnTo>
                  <a:lnTo>
                    <a:pt x="1300" y="3164"/>
                  </a:lnTo>
                  <a:lnTo>
                    <a:pt x="1304" y="3176"/>
                  </a:lnTo>
                  <a:lnTo>
                    <a:pt x="1304" y="3179"/>
                  </a:lnTo>
                  <a:lnTo>
                    <a:pt x="1299" y="3182"/>
                  </a:lnTo>
                  <a:lnTo>
                    <a:pt x="1291" y="3179"/>
                  </a:lnTo>
                  <a:lnTo>
                    <a:pt x="1286" y="3181"/>
                  </a:lnTo>
                  <a:lnTo>
                    <a:pt x="1275" y="3189"/>
                  </a:lnTo>
                  <a:lnTo>
                    <a:pt x="1272" y="3187"/>
                  </a:lnTo>
                  <a:lnTo>
                    <a:pt x="1271" y="3182"/>
                  </a:lnTo>
                  <a:lnTo>
                    <a:pt x="1266" y="3182"/>
                  </a:lnTo>
                  <a:lnTo>
                    <a:pt x="1268" y="3182"/>
                  </a:lnTo>
                  <a:lnTo>
                    <a:pt x="1271" y="3189"/>
                  </a:lnTo>
                  <a:lnTo>
                    <a:pt x="1275" y="3192"/>
                  </a:lnTo>
                  <a:lnTo>
                    <a:pt x="1277" y="3190"/>
                  </a:lnTo>
                  <a:lnTo>
                    <a:pt x="1283" y="3187"/>
                  </a:lnTo>
                  <a:lnTo>
                    <a:pt x="1289" y="3182"/>
                  </a:lnTo>
                  <a:lnTo>
                    <a:pt x="1296" y="3187"/>
                  </a:lnTo>
                  <a:lnTo>
                    <a:pt x="1296" y="3189"/>
                  </a:lnTo>
                  <a:lnTo>
                    <a:pt x="1300" y="3189"/>
                  </a:lnTo>
                  <a:lnTo>
                    <a:pt x="1304" y="3187"/>
                  </a:lnTo>
                  <a:lnTo>
                    <a:pt x="1308" y="3192"/>
                  </a:lnTo>
                  <a:lnTo>
                    <a:pt x="1308" y="3193"/>
                  </a:lnTo>
                  <a:lnTo>
                    <a:pt x="1304" y="3196"/>
                  </a:lnTo>
                  <a:lnTo>
                    <a:pt x="1305" y="3196"/>
                  </a:lnTo>
                  <a:lnTo>
                    <a:pt x="1308" y="3196"/>
                  </a:lnTo>
                  <a:lnTo>
                    <a:pt x="1311" y="3193"/>
                  </a:lnTo>
                  <a:lnTo>
                    <a:pt x="1311" y="3189"/>
                  </a:lnTo>
                  <a:lnTo>
                    <a:pt x="1308" y="3185"/>
                  </a:lnTo>
                  <a:lnTo>
                    <a:pt x="1310" y="3185"/>
                  </a:lnTo>
                  <a:lnTo>
                    <a:pt x="1311" y="3187"/>
                  </a:lnTo>
                  <a:lnTo>
                    <a:pt x="1318" y="3201"/>
                  </a:lnTo>
                  <a:lnTo>
                    <a:pt x="1319" y="3209"/>
                  </a:lnTo>
                  <a:lnTo>
                    <a:pt x="1315" y="3213"/>
                  </a:lnTo>
                  <a:lnTo>
                    <a:pt x="1314" y="3212"/>
                  </a:lnTo>
                  <a:lnTo>
                    <a:pt x="1312" y="3209"/>
                  </a:lnTo>
                  <a:lnTo>
                    <a:pt x="1310" y="3207"/>
                  </a:lnTo>
                  <a:lnTo>
                    <a:pt x="1308" y="3209"/>
                  </a:lnTo>
                  <a:lnTo>
                    <a:pt x="1302" y="3209"/>
                  </a:lnTo>
                  <a:lnTo>
                    <a:pt x="1297" y="3212"/>
                  </a:lnTo>
                  <a:lnTo>
                    <a:pt x="1289" y="3212"/>
                  </a:lnTo>
                  <a:lnTo>
                    <a:pt x="1283" y="3215"/>
                  </a:lnTo>
                  <a:lnTo>
                    <a:pt x="1279" y="3222"/>
                  </a:lnTo>
                  <a:lnTo>
                    <a:pt x="1272" y="3224"/>
                  </a:lnTo>
                  <a:lnTo>
                    <a:pt x="1269" y="3226"/>
                  </a:lnTo>
                  <a:lnTo>
                    <a:pt x="1279" y="3226"/>
                  </a:lnTo>
                  <a:lnTo>
                    <a:pt x="1282" y="3224"/>
                  </a:lnTo>
                  <a:lnTo>
                    <a:pt x="1287" y="3218"/>
                  </a:lnTo>
                  <a:lnTo>
                    <a:pt x="1301" y="3217"/>
                  </a:lnTo>
                  <a:lnTo>
                    <a:pt x="1301" y="3218"/>
                  </a:lnTo>
                  <a:lnTo>
                    <a:pt x="1301" y="3224"/>
                  </a:lnTo>
                  <a:lnTo>
                    <a:pt x="1299" y="3226"/>
                  </a:lnTo>
                  <a:lnTo>
                    <a:pt x="1299" y="3227"/>
                  </a:lnTo>
                  <a:lnTo>
                    <a:pt x="1300" y="3227"/>
                  </a:lnTo>
                  <a:lnTo>
                    <a:pt x="1302" y="3227"/>
                  </a:lnTo>
                  <a:lnTo>
                    <a:pt x="1304" y="3231"/>
                  </a:lnTo>
                  <a:lnTo>
                    <a:pt x="1307" y="3231"/>
                  </a:lnTo>
                  <a:lnTo>
                    <a:pt x="1314" y="3250"/>
                  </a:lnTo>
                  <a:lnTo>
                    <a:pt x="1312" y="3254"/>
                  </a:lnTo>
                  <a:lnTo>
                    <a:pt x="1307" y="3254"/>
                  </a:lnTo>
                  <a:lnTo>
                    <a:pt x="1305" y="3257"/>
                  </a:lnTo>
                  <a:lnTo>
                    <a:pt x="1312" y="3256"/>
                  </a:lnTo>
                  <a:lnTo>
                    <a:pt x="1315" y="3254"/>
                  </a:lnTo>
                  <a:lnTo>
                    <a:pt x="1318" y="3250"/>
                  </a:lnTo>
                  <a:lnTo>
                    <a:pt x="1316" y="3246"/>
                  </a:lnTo>
                  <a:lnTo>
                    <a:pt x="1319" y="3246"/>
                  </a:lnTo>
                  <a:lnTo>
                    <a:pt x="1319" y="3239"/>
                  </a:lnTo>
                  <a:lnTo>
                    <a:pt x="1318" y="3235"/>
                  </a:lnTo>
                  <a:lnTo>
                    <a:pt x="1319" y="3231"/>
                  </a:lnTo>
                  <a:lnTo>
                    <a:pt x="1321" y="3227"/>
                  </a:lnTo>
                  <a:lnTo>
                    <a:pt x="1322" y="3231"/>
                  </a:lnTo>
                  <a:lnTo>
                    <a:pt x="1330" y="3254"/>
                  </a:lnTo>
                  <a:lnTo>
                    <a:pt x="1336" y="3264"/>
                  </a:lnTo>
                  <a:lnTo>
                    <a:pt x="1335" y="3263"/>
                  </a:lnTo>
                  <a:lnTo>
                    <a:pt x="1335" y="3267"/>
                  </a:lnTo>
                  <a:lnTo>
                    <a:pt x="1344" y="3276"/>
                  </a:lnTo>
                  <a:lnTo>
                    <a:pt x="1349" y="3285"/>
                  </a:lnTo>
                  <a:lnTo>
                    <a:pt x="1344" y="3291"/>
                  </a:lnTo>
                  <a:lnTo>
                    <a:pt x="1343" y="3289"/>
                  </a:lnTo>
                  <a:lnTo>
                    <a:pt x="1343" y="3294"/>
                  </a:lnTo>
                  <a:lnTo>
                    <a:pt x="1341" y="3297"/>
                  </a:lnTo>
                  <a:lnTo>
                    <a:pt x="1340" y="3299"/>
                  </a:lnTo>
                  <a:lnTo>
                    <a:pt x="1336" y="3301"/>
                  </a:lnTo>
                  <a:lnTo>
                    <a:pt x="1339" y="3302"/>
                  </a:lnTo>
                  <a:lnTo>
                    <a:pt x="1346" y="3301"/>
                  </a:lnTo>
                  <a:lnTo>
                    <a:pt x="1346" y="3302"/>
                  </a:lnTo>
                  <a:lnTo>
                    <a:pt x="1349" y="3305"/>
                  </a:lnTo>
                  <a:lnTo>
                    <a:pt x="1354" y="3311"/>
                  </a:lnTo>
                  <a:lnTo>
                    <a:pt x="1346" y="3321"/>
                  </a:lnTo>
                  <a:lnTo>
                    <a:pt x="1344" y="3321"/>
                  </a:lnTo>
                  <a:lnTo>
                    <a:pt x="1335" y="3325"/>
                  </a:lnTo>
                  <a:lnTo>
                    <a:pt x="1332" y="3329"/>
                  </a:lnTo>
                  <a:lnTo>
                    <a:pt x="1332" y="3331"/>
                  </a:lnTo>
                  <a:lnTo>
                    <a:pt x="1333" y="3333"/>
                  </a:lnTo>
                  <a:lnTo>
                    <a:pt x="1343" y="3336"/>
                  </a:lnTo>
                  <a:lnTo>
                    <a:pt x="1341" y="3347"/>
                  </a:lnTo>
                  <a:lnTo>
                    <a:pt x="1337" y="3351"/>
                  </a:lnTo>
                  <a:lnTo>
                    <a:pt x="1339" y="3355"/>
                  </a:lnTo>
                  <a:lnTo>
                    <a:pt x="1328" y="3362"/>
                  </a:lnTo>
                  <a:lnTo>
                    <a:pt x="1312" y="3364"/>
                  </a:lnTo>
                  <a:lnTo>
                    <a:pt x="1297" y="3370"/>
                  </a:lnTo>
                  <a:lnTo>
                    <a:pt x="1293" y="3370"/>
                  </a:lnTo>
                  <a:lnTo>
                    <a:pt x="1289" y="3368"/>
                  </a:lnTo>
                  <a:lnTo>
                    <a:pt x="1275" y="3368"/>
                  </a:lnTo>
                  <a:lnTo>
                    <a:pt x="1271" y="3370"/>
                  </a:lnTo>
                  <a:lnTo>
                    <a:pt x="1261" y="3370"/>
                  </a:lnTo>
                  <a:lnTo>
                    <a:pt x="1261" y="3372"/>
                  </a:lnTo>
                  <a:lnTo>
                    <a:pt x="1257" y="3374"/>
                  </a:lnTo>
                  <a:lnTo>
                    <a:pt x="1254" y="3379"/>
                  </a:lnTo>
                  <a:lnTo>
                    <a:pt x="1241" y="3387"/>
                  </a:lnTo>
                  <a:lnTo>
                    <a:pt x="1240" y="3387"/>
                  </a:lnTo>
                  <a:lnTo>
                    <a:pt x="1236" y="3383"/>
                  </a:lnTo>
                  <a:lnTo>
                    <a:pt x="1233" y="3383"/>
                  </a:lnTo>
                  <a:lnTo>
                    <a:pt x="1227" y="3388"/>
                  </a:lnTo>
                  <a:lnTo>
                    <a:pt x="1230" y="3392"/>
                  </a:lnTo>
                  <a:lnTo>
                    <a:pt x="1229" y="3396"/>
                  </a:lnTo>
                  <a:lnTo>
                    <a:pt x="1226" y="3395"/>
                  </a:lnTo>
                  <a:lnTo>
                    <a:pt x="1219" y="3396"/>
                  </a:lnTo>
                  <a:lnTo>
                    <a:pt x="1216" y="3392"/>
                  </a:lnTo>
                  <a:lnTo>
                    <a:pt x="1214" y="3392"/>
                  </a:lnTo>
                  <a:lnTo>
                    <a:pt x="1205" y="3399"/>
                  </a:lnTo>
                  <a:lnTo>
                    <a:pt x="1205" y="3403"/>
                  </a:lnTo>
                  <a:lnTo>
                    <a:pt x="1201" y="3408"/>
                  </a:lnTo>
                  <a:lnTo>
                    <a:pt x="1196" y="3408"/>
                  </a:lnTo>
                  <a:lnTo>
                    <a:pt x="1193" y="3412"/>
                  </a:lnTo>
                  <a:lnTo>
                    <a:pt x="1187" y="3413"/>
                  </a:lnTo>
                  <a:lnTo>
                    <a:pt x="1186" y="3417"/>
                  </a:lnTo>
                  <a:lnTo>
                    <a:pt x="1182" y="3417"/>
                  </a:lnTo>
                  <a:lnTo>
                    <a:pt x="1179" y="3417"/>
                  </a:lnTo>
                  <a:lnTo>
                    <a:pt x="1161" y="3425"/>
                  </a:lnTo>
                  <a:lnTo>
                    <a:pt x="1155" y="3423"/>
                  </a:lnTo>
                  <a:lnTo>
                    <a:pt x="1152" y="3428"/>
                  </a:lnTo>
                  <a:lnTo>
                    <a:pt x="1154" y="3431"/>
                  </a:lnTo>
                  <a:lnTo>
                    <a:pt x="1151" y="3437"/>
                  </a:lnTo>
                  <a:lnTo>
                    <a:pt x="1151" y="3440"/>
                  </a:lnTo>
                  <a:lnTo>
                    <a:pt x="1147" y="3441"/>
                  </a:lnTo>
                  <a:lnTo>
                    <a:pt x="1144" y="3440"/>
                  </a:lnTo>
                  <a:lnTo>
                    <a:pt x="1139" y="3440"/>
                  </a:lnTo>
                  <a:lnTo>
                    <a:pt x="1135" y="3443"/>
                  </a:lnTo>
                  <a:lnTo>
                    <a:pt x="1135" y="3449"/>
                  </a:lnTo>
                  <a:lnTo>
                    <a:pt x="1127" y="3451"/>
                  </a:lnTo>
                  <a:lnTo>
                    <a:pt x="1122" y="3458"/>
                  </a:lnTo>
                  <a:lnTo>
                    <a:pt x="1121" y="3462"/>
                  </a:lnTo>
                  <a:lnTo>
                    <a:pt x="1115" y="3467"/>
                  </a:lnTo>
                  <a:lnTo>
                    <a:pt x="1115" y="3474"/>
                  </a:lnTo>
                  <a:lnTo>
                    <a:pt x="1107" y="3480"/>
                  </a:lnTo>
                  <a:lnTo>
                    <a:pt x="1102" y="3482"/>
                  </a:lnTo>
                  <a:lnTo>
                    <a:pt x="1097" y="3482"/>
                  </a:lnTo>
                  <a:lnTo>
                    <a:pt x="1091" y="3482"/>
                  </a:lnTo>
                  <a:lnTo>
                    <a:pt x="1086" y="3478"/>
                  </a:lnTo>
                  <a:lnTo>
                    <a:pt x="1080" y="3478"/>
                  </a:lnTo>
                  <a:lnTo>
                    <a:pt x="1076" y="3474"/>
                  </a:lnTo>
                  <a:lnTo>
                    <a:pt x="1070" y="3471"/>
                  </a:lnTo>
                  <a:lnTo>
                    <a:pt x="1063" y="3473"/>
                  </a:lnTo>
                  <a:lnTo>
                    <a:pt x="1055" y="3466"/>
                  </a:lnTo>
                  <a:lnTo>
                    <a:pt x="1055" y="3459"/>
                  </a:lnTo>
                  <a:lnTo>
                    <a:pt x="1048" y="3459"/>
                  </a:lnTo>
                  <a:lnTo>
                    <a:pt x="1042" y="3457"/>
                  </a:lnTo>
                  <a:lnTo>
                    <a:pt x="1038" y="3454"/>
                  </a:lnTo>
                  <a:lnTo>
                    <a:pt x="1034" y="3454"/>
                  </a:lnTo>
                  <a:lnTo>
                    <a:pt x="1031" y="3451"/>
                  </a:lnTo>
                  <a:lnTo>
                    <a:pt x="1023" y="3449"/>
                  </a:lnTo>
                  <a:lnTo>
                    <a:pt x="1020" y="3451"/>
                  </a:lnTo>
                  <a:lnTo>
                    <a:pt x="1016" y="3453"/>
                  </a:lnTo>
                  <a:lnTo>
                    <a:pt x="1013" y="3457"/>
                  </a:lnTo>
                  <a:lnTo>
                    <a:pt x="1012" y="3457"/>
                  </a:lnTo>
                  <a:lnTo>
                    <a:pt x="1009" y="3457"/>
                  </a:lnTo>
                  <a:lnTo>
                    <a:pt x="1008" y="3454"/>
                  </a:lnTo>
                  <a:lnTo>
                    <a:pt x="1005" y="3454"/>
                  </a:lnTo>
                  <a:lnTo>
                    <a:pt x="997" y="3459"/>
                  </a:lnTo>
                  <a:lnTo>
                    <a:pt x="997" y="3463"/>
                  </a:lnTo>
                  <a:lnTo>
                    <a:pt x="995" y="3463"/>
                  </a:lnTo>
                  <a:lnTo>
                    <a:pt x="992" y="3466"/>
                  </a:lnTo>
                  <a:lnTo>
                    <a:pt x="987" y="3463"/>
                  </a:lnTo>
                  <a:lnTo>
                    <a:pt x="980" y="3471"/>
                  </a:lnTo>
                  <a:lnTo>
                    <a:pt x="966" y="3476"/>
                  </a:lnTo>
                  <a:lnTo>
                    <a:pt x="965" y="3479"/>
                  </a:lnTo>
                  <a:lnTo>
                    <a:pt x="966" y="3482"/>
                  </a:lnTo>
                  <a:lnTo>
                    <a:pt x="958" y="3486"/>
                  </a:lnTo>
                  <a:lnTo>
                    <a:pt x="952" y="3484"/>
                  </a:lnTo>
                  <a:lnTo>
                    <a:pt x="942" y="3484"/>
                  </a:lnTo>
                  <a:lnTo>
                    <a:pt x="941" y="3488"/>
                  </a:lnTo>
                  <a:lnTo>
                    <a:pt x="934" y="3490"/>
                  </a:lnTo>
                  <a:lnTo>
                    <a:pt x="930" y="3486"/>
                  </a:lnTo>
                  <a:lnTo>
                    <a:pt x="926" y="3486"/>
                  </a:lnTo>
                  <a:lnTo>
                    <a:pt x="920" y="3490"/>
                  </a:lnTo>
                  <a:lnTo>
                    <a:pt x="913" y="3490"/>
                  </a:lnTo>
                  <a:lnTo>
                    <a:pt x="908" y="3490"/>
                  </a:lnTo>
                  <a:lnTo>
                    <a:pt x="902" y="3500"/>
                  </a:lnTo>
                  <a:lnTo>
                    <a:pt x="901" y="3504"/>
                  </a:lnTo>
                  <a:lnTo>
                    <a:pt x="895" y="3507"/>
                  </a:lnTo>
                  <a:lnTo>
                    <a:pt x="894" y="3511"/>
                  </a:lnTo>
                  <a:lnTo>
                    <a:pt x="891" y="3512"/>
                  </a:lnTo>
                  <a:lnTo>
                    <a:pt x="888" y="3512"/>
                  </a:lnTo>
                  <a:lnTo>
                    <a:pt x="886" y="3508"/>
                  </a:lnTo>
                  <a:lnTo>
                    <a:pt x="883" y="3508"/>
                  </a:lnTo>
                  <a:lnTo>
                    <a:pt x="870" y="3508"/>
                  </a:lnTo>
                  <a:lnTo>
                    <a:pt x="865" y="3511"/>
                  </a:lnTo>
                  <a:lnTo>
                    <a:pt x="859" y="3515"/>
                  </a:lnTo>
                  <a:lnTo>
                    <a:pt x="858" y="3520"/>
                  </a:lnTo>
                  <a:lnTo>
                    <a:pt x="858" y="3523"/>
                  </a:lnTo>
                  <a:lnTo>
                    <a:pt x="859" y="3528"/>
                  </a:lnTo>
                  <a:lnTo>
                    <a:pt x="859" y="3533"/>
                  </a:lnTo>
                  <a:lnTo>
                    <a:pt x="855" y="3537"/>
                  </a:lnTo>
                  <a:lnTo>
                    <a:pt x="853" y="3538"/>
                  </a:lnTo>
                  <a:lnTo>
                    <a:pt x="855" y="3542"/>
                  </a:lnTo>
                  <a:lnTo>
                    <a:pt x="855" y="3545"/>
                  </a:lnTo>
                  <a:lnTo>
                    <a:pt x="847" y="3548"/>
                  </a:lnTo>
                  <a:lnTo>
                    <a:pt x="845" y="3550"/>
                  </a:lnTo>
                  <a:lnTo>
                    <a:pt x="845" y="3553"/>
                  </a:lnTo>
                  <a:lnTo>
                    <a:pt x="844" y="3557"/>
                  </a:lnTo>
                  <a:lnTo>
                    <a:pt x="834" y="3559"/>
                  </a:lnTo>
                  <a:lnTo>
                    <a:pt x="834" y="3565"/>
                  </a:lnTo>
                  <a:lnTo>
                    <a:pt x="830" y="3569"/>
                  </a:lnTo>
                  <a:lnTo>
                    <a:pt x="820" y="3570"/>
                  </a:lnTo>
                  <a:lnTo>
                    <a:pt x="813" y="3573"/>
                  </a:lnTo>
                  <a:lnTo>
                    <a:pt x="810" y="3582"/>
                  </a:lnTo>
                  <a:lnTo>
                    <a:pt x="805" y="3587"/>
                  </a:lnTo>
                  <a:lnTo>
                    <a:pt x="806" y="3591"/>
                  </a:lnTo>
                  <a:lnTo>
                    <a:pt x="799" y="3598"/>
                  </a:lnTo>
                  <a:lnTo>
                    <a:pt x="796" y="3599"/>
                  </a:lnTo>
                  <a:lnTo>
                    <a:pt x="794" y="3598"/>
                  </a:lnTo>
                  <a:lnTo>
                    <a:pt x="790" y="3598"/>
                  </a:lnTo>
                  <a:lnTo>
                    <a:pt x="787" y="3602"/>
                  </a:lnTo>
                  <a:lnTo>
                    <a:pt x="784" y="3605"/>
                  </a:lnTo>
                  <a:lnTo>
                    <a:pt x="776" y="3609"/>
                  </a:lnTo>
                  <a:lnTo>
                    <a:pt x="774" y="3615"/>
                  </a:lnTo>
                  <a:lnTo>
                    <a:pt x="776" y="3619"/>
                  </a:lnTo>
                  <a:lnTo>
                    <a:pt x="776" y="3621"/>
                  </a:lnTo>
                  <a:lnTo>
                    <a:pt x="771" y="3627"/>
                  </a:lnTo>
                  <a:lnTo>
                    <a:pt x="770" y="3627"/>
                  </a:lnTo>
                  <a:lnTo>
                    <a:pt x="757" y="3627"/>
                  </a:lnTo>
                  <a:lnTo>
                    <a:pt x="755" y="3631"/>
                  </a:lnTo>
                  <a:lnTo>
                    <a:pt x="751" y="3631"/>
                  </a:lnTo>
                  <a:lnTo>
                    <a:pt x="746" y="3624"/>
                  </a:lnTo>
                  <a:lnTo>
                    <a:pt x="742" y="3623"/>
                  </a:lnTo>
                  <a:lnTo>
                    <a:pt x="738" y="3619"/>
                  </a:lnTo>
                  <a:lnTo>
                    <a:pt x="734" y="3616"/>
                  </a:lnTo>
                  <a:lnTo>
                    <a:pt x="732" y="3616"/>
                  </a:lnTo>
                  <a:lnTo>
                    <a:pt x="727" y="3617"/>
                  </a:lnTo>
                  <a:lnTo>
                    <a:pt x="721" y="3615"/>
                  </a:lnTo>
                  <a:lnTo>
                    <a:pt x="720" y="3612"/>
                  </a:lnTo>
                  <a:lnTo>
                    <a:pt x="720" y="3605"/>
                  </a:lnTo>
                  <a:lnTo>
                    <a:pt x="718" y="3604"/>
                  </a:lnTo>
                  <a:lnTo>
                    <a:pt x="715" y="3602"/>
                  </a:lnTo>
                  <a:lnTo>
                    <a:pt x="709" y="3602"/>
                  </a:lnTo>
                  <a:lnTo>
                    <a:pt x="705" y="3592"/>
                  </a:lnTo>
                  <a:lnTo>
                    <a:pt x="702" y="3590"/>
                  </a:lnTo>
                  <a:lnTo>
                    <a:pt x="696" y="3587"/>
                  </a:lnTo>
                  <a:lnTo>
                    <a:pt x="695" y="3587"/>
                  </a:lnTo>
                  <a:lnTo>
                    <a:pt x="691" y="3586"/>
                  </a:lnTo>
                  <a:lnTo>
                    <a:pt x="688" y="3587"/>
                  </a:lnTo>
                  <a:lnTo>
                    <a:pt x="685" y="3587"/>
                  </a:lnTo>
                  <a:lnTo>
                    <a:pt x="682" y="3587"/>
                  </a:lnTo>
                  <a:lnTo>
                    <a:pt x="674" y="3592"/>
                  </a:lnTo>
                  <a:lnTo>
                    <a:pt x="670" y="3592"/>
                  </a:lnTo>
                  <a:lnTo>
                    <a:pt x="667" y="3595"/>
                  </a:lnTo>
                  <a:lnTo>
                    <a:pt x="667" y="3598"/>
                  </a:lnTo>
                  <a:lnTo>
                    <a:pt x="665" y="3602"/>
                  </a:lnTo>
                  <a:lnTo>
                    <a:pt x="662" y="3615"/>
                  </a:lnTo>
                  <a:lnTo>
                    <a:pt x="656" y="3619"/>
                  </a:lnTo>
                  <a:lnTo>
                    <a:pt x="648" y="3620"/>
                  </a:lnTo>
                  <a:lnTo>
                    <a:pt x="646" y="3623"/>
                  </a:lnTo>
                  <a:lnTo>
                    <a:pt x="646" y="3627"/>
                  </a:lnTo>
                  <a:lnTo>
                    <a:pt x="634" y="3631"/>
                  </a:lnTo>
                  <a:lnTo>
                    <a:pt x="630" y="3631"/>
                  </a:lnTo>
                  <a:lnTo>
                    <a:pt x="628" y="3628"/>
                  </a:lnTo>
                  <a:lnTo>
                    <a:pt x="623" y="3631"/>
                  </a:lnTo>
                  <a:lnTo>
                    <a:pt x="621" y="3631"/>
                  </a:lnTo>
                  <a:lnTo>
                    <a:pt x="621" y="3628"/>
                  </a:lnTo>
                  <a:lnTo>
                    <a:pt x="617" y="3627"/>
                  </a:lnTo>
                  <a:lnTo>
                    <a:pt x="613" y="3631"/>
                  </a:lnTo>
                  <a:lnTo>
                    <a:pt x="609" y="3632"/>
                  </a:lnTo>
                  <a:lnTo>
                    <a:pt x="606" y="3632"/>
                  </a:lnTo>
                  <a:lnTo>
                    <a:pt x="602" y="3624"/>
                  </a:lnTo>
                  <a:lnTo>
                    <a:pt x="602" y="3619"/>
                  </a:lnTo>
                  <a:lnTo>
                    <a:pt x="598" y="3616"/>
                  </a:lnTo>
                  <a:lnTo>
                    <a:pt x="592" y="3615"/>
                  </a:lnTo>
                  <a:lnTo>
                    <a:pt x="592" y="3609"/>
                  </a:lnTo>
                  <a:lnTo>
                    <a:pt x="589" y="3609"/>
                  </a:lnTo>
                  <a:lnTo>
                    <a:pt x="578" y="3612"/>
                  </a:lnTo>
                  <a:lnTo>
                    <a:pt x="574" y="3609"/>
                  </a:lnTo>
                  <a:lnTo>
                    <a:pt x="571" y="3609"/>
                  </a:lnTo>
                  <a:lnTo>
                    <a:pt x="568" y="3614"/>
                  </a:lnTo>
                  <a:lnTo>
                    <a:pt x="566" y="3614"/>
                  </a:lnTo>
                  <a:lnTo>
                    <a:pt x="556" y="3619"/>
                  </a:lnTo>
                  <a:lnTo>
                    <a:pt x="550" y="3619"/>
                  </a:lnTo>
                  <a:lnTo>
                    <a:pt x="545" y="3616"/>
                  </a:lnTo>
                  <a:lnTo>
                    <a:pt x="539" y="3617"/>
                  </a:lnTo>
                  <a:lnTo>
                    <a:pt x="532" y="3616"/>
                  </a:lnTo>
                  <a:lnTo>
                    <a:pt x="527" y="3617"/>
                  </a:lnTo>
                  <a:lnTo>
                    <a:pt x="523" y="3620"/>
                  </a:lnTo>
                  <a:lnTo>
                    <a:pt x="517" y="3620"/>
                  </a:lnTo>
                  <a:lnTo>
                    <a:pt x="507" y="3623"/>
                  </a:lnTo>
                  <a:lnTo>
                    <a:pt x="506" y="3624"/>
                  </a:lnTo>
                  <a:lnTo>
                    <a:pt x="503" y="3627"/>
                  </a:lnTo>
                  <a:lnTo>
                    <a:pt x="502" y="3623"/>
                  </a:lnTo>
                  <a:lnTo>
                    <a:pt x="504" y="3582"/>
                  </a:lnTo>
                  <a:lnTo>
                    <a:pt x="509" y="3570"/>
                  </a:lnTo>
                  <a:lnTo>
                    <a:pt x="514" y="3561"/>
                  </a:lnTo>
                  <a:lnTo>
                    <a:pt x="524" y="3553"/>
                  </a:lnTo>
                  <a:lnTo>
                    <a:pt x="524" y="3541"/>
                  </a:lnTo>
                  <a:lnTo>
                    <a:pt x="530" y="3508"/>
                  </a:lnTo>
                  <a:lnTo>
                    <a:pt x="576" y="3480"/>
                  </a:lnTo>
                  <a:lnTo>
                    <a:pt x="585" y="3437"/>
                  </a:lnTo>
                  <a:lnTo>
                    <a:pt x="488" y="3378"/>
                  </a:lnTo>
                  <a:lnTo>
                    <a:pt x="479" y="3378"/>
                  </a:lnTo>
                  <a:lnTo>
                    <a:pt x="408" y="3378"/>
                  </a:lnTo>
                  <a:lnTo>
                    <a:pt x="417" y="3268"/>
                  </a:lnTo>
                  <a:lnTo>
                    <a:pt x="413" y="3213"/>
                  </a:lnTo>
                  <a:lnTo>
                    <a:pt x="407" y="3212"/>
                  </a:lnTo>
                  <a:lnTo>
                    <a:pt x="404" y="3209"/>
                  </a:lnTo>
                  <a:lnTo>
                    <a:pt x="402" y="3201"/>
                  </a:lnTo>
                  <a:lnTo>
                    <a:pt x="393" y="3196"/>
                  </a:lnTo>
                  <a:lnTo>
                    <a:pt x="392" y="3189"/>
                  </a:lnTo>
                  <a:lnTo>
                    <a:pt x="377" y="3179"/>
                  </a:lnTo>
                  <a:lnTo>
                    <a:pt x="372" y="3170"/>
                  </a:lnTo>
                  <a:lnTo>
                    <a:pt x="369" y="3168"/>
                  </a:lnTo>
                  <a:lnTo>
                    <a:pt x="361" y="3164"/>
                  </a:lnTo>
                  <a:lnTo>
                    <a:pt x="358" y="3164"/>
                  </a:lnTo>
                  <a:lnTo>
                    <a:pt x="353" y="3168"/>
                  </a:lnTo>
                  <a:lnTo>
                    <a:pt x="343" y="3168"/>
                  </a:lnTo>
                  <a:lnTo>
                    <a:pt x="338" y="3167"/>
                  </a:lnTo>
                  <a:lnTo>
                    <a:pt x="335" y="3163"/>
                  </a:lnTo>
                  <a:lnTo>
                    <a:pt x="329" y="3160"/>
                  </a:lnTo>
                  <a:lnTo>
                    <a:pt x="317" y="3160"/>
                  </a:lnTo>
                  <a:lnTo>
                    <a:pt x="316" y="3159"/>
                  </a:lnTo>
                  <a:lnTo>
                    <a:pt x="307" y="3156"/>
                  </a:lnTo>
                  <a:lnTo>
                    <a:pt x="306" y="3155"/>
                  </a:lnTo>
                  <a:lnTo>
                    <a:pt x="297" y="3152"/>
                  </a:lnTo>
                  <a:lnTo>
                    <a:pt x="291" y="3151"/>
                  </a:lnTo>
                  <a:lnTo>
                    <a:pt x="289" y="3150"/>
                  </a:lnTo>
                  <a:lnTo>
                    <a:pt x="285" y="3150"/>
                  </a:lnTo>
                  <a:lnTo>
                    <a:pt x="282" y="3145"/>
                  </a:lnTo>
                  <a:lnTo>
                    <a:pt x="278" y="3144"/>
                  </a:lnTo>
                  <a:lnTo>
                    <a:pt x="274" y="3140"/>
                  </a:lnTo>
                  <a:lnTo>
                    <a:pt x="271" y="3092"/>
                  </a:lnTo>
                  <a:lnTo>
                    <a:pt x="254" y="3085"/>
                  </a:lnTo>
                  <a:lnTo>
                    <a:pt x="243" y="3078"/>
                  </a:lnTo>
                  <a:lnTo>
                    <a:pt x="237" y="3077"/>
                  </a:lnTo>
                  <a:lnTo>
                    <a:pt x="236" y="3075"/>
                  </a:lnTo>
                  <a:lnTo>
                    <a:pt x="228" y="3070"/>
                  </a:lnTo>
                  <a:lnTo>
                    <a:pt x="218" y="3063"/>
                  </a:lnTo>
                  <a:lnTo>
                    <a:pt x="218" y="3061"/>
                  </a:lnTo>
                  <a:lnTo>
                    <a:pt x="218" y="3059"/>
                  </a:lnTo>
                  <a:lnTo>
                    <a:pt x="215" y="3057"/>
                  </a:lnTo>
                  <a:lnTo>
                    <a:pt x="211" y="3052"/>
                  </a:lnTo>
                  <a:lnTo>
                    <a:pt x="218" y="3018"/>
                  </a:lnTo>
                  <a:lnTo>
                    <a:pt x="225" y="3005"/>
                  </a:lnTo>
                  <a:lnTo>
                    <a:pt x="178" y="3002"/>
                  </a:lnTo>
                  <a:lnTo>
                    <a:pt x="159" y="2986"/>
                  </a:lnTo>
                  <a:lnTo>
                    <a:pt x="108" y="2940"/>
                  </a:lnTo>
                  <a:lnTo>
                    <a:pt x="71" y="2909"/>
                  </a:lnTo>
                  <a:lnTo>
                    <a:pt x="86" y="2857"/>
                  </a:lnTo>
                  <a:lnTo>
                    <a:pt x="90" y="2853"/>
                  </a:lnTo>
                  <a:lnTo>
                    <a:pt x="68" y="2823"/>
                  </a:lnTo>
                  <a:lnTo>
                    <a:pt x="69" y="2822"/>
                  </a:lnTo>
                  <a:lnTo>
                    <a:pt x="69" y="2820"/>
                  </a:lnTo>
                  <a:lnTo>
                    <a:pt x="71" y="2819"/>
                  </a:lnTo>
                  <a:lnTo>
                    <a:pt x="71" y="2816"/>
                  </a:lnTo>
                  <a:lnTo>
                    <a:pt x="73" y="2812"/>
                  </a:lnTo>
                  <a:lnTo>
                    <a:pt x="71" y="2808"/>
                  </a:lnTo>
                  <a:lnTo>
                    <a:pt x="79" y="2808"/>
                  </a:lnTo>
                  <a:lnTo>
                    <a:pt x="82" y="2799"/>
                  </a:lnTo>
                  <a:lnTo>
                    <a:pt x="90" y="2794"/>
                  </a:lnTo>
                  <a:lnTo>
                    <a:pt x="100" y="2792"/>
                  </a:lnTo>
                  <a:lnTo>
                    <a:pt x="104" y="2790"/>
                  </a:lnTo>
                  <a:lnTo>
                    <a:pt x="100" y="2786"/>
                  </a:lnTo>
                  <a:lnTo>
                    <a:pt x="92" y="2782"/>
                  </a:lnTo>
                  <a:lnTo>
                    <a:pt x="89" y="2777"/>
                  </a:lnTo>
                  <a:lnTo>
                    <a:pt x="86" y="2773"/>
                  </a:lnTo>
                  <a:lnTo>
                    <a:pt x="86" y="2764"/>
                  </a:lnTo>
                  <a:lnTo>
                    <a:pt x="73" y="2733"/>
                  </a:lnTo>
                  <a:lnTo>
                    <a:pt x="64" y="2725"/>
                  </a:lnTo>
                  <a:lnTo>
                    <a:pt x="59" y="2710"/>
                  </a:lnTo>
                  <a:lnTo>
                    <a:pt x="15" y="2666"/>
                  </a:lnTo>
                  <a:lnTo>
                    <a:pt x="14" y="2658"/>
                  </a:lnTo>
                  <a:lnTo>
                    <a:pt x="5" y="2657"/>
                  </a:lnTo>
                  <a:lnTo>
                    <a:pt x="1" y="2651"/>
                  </a:lnTo>
                  <a:lnTo>
                    <a:pt x="0" y="2648"/>
                  </a:lnTo>
                  <a:lnTo>
                    <a:pt x="3" y="2642"/>
                  </a:lnTo>
                  <a:lnTo>
                    <a:pt x="3" y="2636"/>
                  </a:lnTo>
                  <a:lnTo>
                    <a:pt x="5" y="2634"/>
                  </a:lnTo>
                  <a:lnTo>
                    <a:pt x="15" y="2633"/>
                  </a:lnTo>
                  <a:lnTo>
                    <a:pt x="18" y="2630"/>
                  </a:lnTo>
                  <a:lnTo>
                    <a:pt x="22" y="2629"/>
                  </a:lnTo>
                  <a:lnTo>
                    <a:pt x="22" y="2625"/>
                  </a:lnTo>
                  <a:lnTo>
                    <a:pt x="26" y="2621"/>
                  </a:lnTo>
                  <a:lnTo>
                    <a:pt x="29" y="2617"/>
                  </a:lnTo>
                  <a:lnTo>
                    <a:pt x="32" y="2616"/>
                  </a:lnTo>
                  <a:lnTo>
                    <a:pt x="34" y="2616"/>
                  </a:lnTo>
                  <a:lnTo>
                    <a:pt x="39" y="2613"/>
                  </a:lnTo>
                  <a:lnTo>
                    <a:pt x="43" y="2613"/>
                  </a:lnTo>
                  <a:lnTo>
                    <a:pt x="47" y="2612"/>
                  </a:lnTo>
                  <a:lnTo>
                    <a:pt x="50" y="2613"/>
                  </a:lnTo>
                  <a:lnTo>
                    <a:pt x="53" y="2613"/>
                  </a:lnTo>
                  <a:lnTo>
                    <a:pt x="57" y="2613"/>
                  </a:lnTo>
                  <a:lnTo>
                    <a:pt x="56" y="2611"/>
                  </a:lnTo>
                  <a:lnTo>
                    <a:pt x="64" y="2605"/>
                  </a:lnTo>
                  <a:lnTo>
                    <a:pt x="65" y="2601"/>
                  </a:lnTo>
                  <a:lnTo>
                    <a:pt x="65" y="2595"/>
                  </a:lnTo>
                  <a:lnTo>
                    <a:pt x="68" y="2591"/>
                  </a:lnTo>
                  <a:lnTo>
                    <a:pt x="68" y="2583"/>
                  </a:lnTo>
                  <a:lnTo>
                    <a:pt x="71" y="2581"/>
                  </a:lnTo>
                  <a:lnTo>
                    <a:pt x="71" y="2576"/>
                  </a:lnTo>
                  <a:lnTo>
                    <a:pt x="75" y="2573"/>
                  </a:lnTo>
                  <a:lnTo>
                    <a:pt x="78" y="2573"/>
                  </a:lnTo>
                  <a:lnTo>
                    <a:pt x="82" y="2571"/>
                  </a:lnTo>
                  <a:lnTo>
                    <a:pt x="89" y="2568"/>
                  </a:lnTo>
                  <a:lnTo>
                    <a:pt x="92" y="2573"/>
                  </a:lnTo>
                  <a:lnTo>
                    <a:pt x="93" y="2576"/>
                  </a:lnTo>
                  <a:lnTo>
                    <a:pt x="101" y="2576"/>
                  </a:lnTo>
                  <a:lnTo>
                    <a:pt x="103" y="2573"/>
                  </a:lnTo>
                  <a:lnTo>
                    <a:pt x="103" y="2568"/>
                  </a:lnTo>
                  <a:lnTo>
                    <a:pt x="103" y="2564"/>
                  </a:lnTo>
                  <a:lnTo>
                    <a:pt x="108" y="2564"/>
                  </a:lnTo>
                  <a:lnTo>
                    <a:pt x="111" y="2563"/>
                  </a:lnTo>
                  <a:lnTo>
                    <a:pt x="112" y="2567"/>
                  </a:lnTo>
                  <a:lnTo>
                    <a:pt x="122" y="2564"/>
                  </a:lnTo>
                  <a:lnTo>
                    <a:pt x="123" y="2561"/>
                  </a:lnTo>
                  <a:lnTo>
                    <a:pt x="126" y="2558"/>
                  </a:lnTo>
                  <a:lnTo>
                    <a:pt x="125" y="2554"/>
                  </a:lnTo>
                  <a:lnTo>
                    <a:pt x="131" y="2550"/>
                  </a:lnTo>
                  <a:lnTo>
                    <a:pt x="131" y="2549"/>
                  </a:lnTo>
                  <a:lnTo>
                    <a:pt x="133" y="2546"/>
                  </a:lnTo>
                  <a:lnTo>
                    <a:pt x="133" y="2542"/>
                  </a:lnTo>
                  <a:lnTo>
                    <a:pt x="134" y="2542"/>
                  </a:lnTo>
                  <a:lnTo>
                    <a:pt x="134" y="2545"/>
                  </a:lnTo>
                  <a:lnTo>
                    <a:pt x="137" y="2542"/>
                  </a:lnTo>
                  <a:lnTo>
                    <a:pt x="137" y="2539"/>
                  </a:lnTo>
                  <a:lnTo>
                    <a:pt x="139" y="2539"/>
                  </a:lnTo>
                  <a:lnTo>
                    <a:pt x="140" y="2541"/>
                  </a:lnTo>
                  <a:lnTo>
                    <a:pt x="144" y="2542"/>
                  </a:lnTo>
                  <a:lnTo>
                    <a:pt x="148" y="2542"/>
                  </a:lnTo>
                  <a:lnTo>
                    <a:pt x="159" y="2539"/>
                  </a:lnTo>
                  <a:lnTo>
                    <a:pt x="164" y="2536"/>
                  </a:lnTo>
                  <a:lnTo>
                    <a:pt x="168" y="2534"/>
                  </a:lnTo>
                  <a:lnTo>
                    <a:pt x="169" y="2531"/>
                  </a:lnTo>
                  <a:lnTo>
                    <a:pt x="171" y="2524"/>
                  </a:lnTo>
                  <a:lnTo>
                    <a:pt x="173" y="2520"/>
                  </a:lnTo>
                  <a:lnTo>
                    <a:pt x="172" y="2514"/>
                  </a:lnTo>
                  <a:lnTo>
                    <a:pt x="173" y="2512"/>
                  </a:lnTo>
                  <a:lnTo>
                    <a:pt x="176" y="2512"/>
                  </a:lnTo>
                  <a:lnTo>
                    <a:pt x="182" y="2524"/>
                  </a:lnTo>
                  <a:lnTo>
                    <a:pt x="186" y="2528"/>
                  </a:lnTo>
                  <a:lnTo>
                    <a:pt x="194" y="2531"/>
                  </a:lnTo>
                  <a:lnTo>
                    <a:pt x="198" y="2531"/>
                  </a:lnTo>
                  <a:lnTo>
                    <a:pt x="206" y="2530"/>
                  </a:lnTo>
                  <a:lnTo>
                    <a:pt x="208" y="2528"/>
                  </a:lnTo>
                  <a:lnTo>
                    <a:pt x="212" y="2520"/>
                  </a:lnTo>
                  <a:lnTo>
                    <a:pt x="214" y="2520"/>
                  </a:lnTo>
                  <a:lnTo>
                    <a:pt x="218" y="2520"/>
                  </a:lnTo>
                  <a:lnTo>
                    <a:pt x="219" y="2522"/>
                  </a:lnTo>
                  <a:lnTo>
                    <a:pt x="221" y="2524"/>
                  </a:lnTo>
                  <a:lnTo>
                    <a:pt x="229" y="2520"/>
                  </a:lnTo>
                  <a:lnTo>
                    <a:pt x="235" y="2522"/>
                  </a:lnTo>
                  <a:lnTo>
                    <a:pt x="246" y="2537"/>
                  </a:lnTo>
                  <a:lnTo>
                    <a:pt x="263" y="2549"/>
                  </a:lnTo>
                  <a:lnTo>
                    <a:pt x="268" y="2556"/>
                  </a:lnTo>
                  <a:lnTo>
                    <a:pt x="275" y="2559"/>
                  </a:lnTo>
                  <a:lnTo>
                    <a:pt x="285" y="2567"/>
                  </a:lnTo>
                  <a:lnTo>
                    <a:pt x="293" y="2568"/>
                  </a:lnTo>
                  <a:lnTo>
                    <a:pt x="302" y="2568"/>
                  </a:lnTo>
                  <a:lnTo>
                    <a:pt x="304" y="2567"/>
                  </a:lnTo>
                  <a:lnTo>
                    <a:pt x="307" y="2564"/>
                  </a:lnTo>
                  <a:lnTo>
                    <a:pt x="310" y="2558"/>
                  </a:lnTo>
                  <a:lnTo>
                    <a:pt x="310" y="2554"/>
                  </a:lnTo>
                  <a:lnTo>
                    <a:pt x="313" y="2546"/>
                  </a:lnTo>
                  <a:lnTo>
                    <a:pt x="322" y="2539"/>
                  </a:lnTo>
                  <a:lnTo>
                    <a:pt x="329" y="2530"/>
                  </a:lnTo>
                  <a:lnTo>
                    <a:pt x="333" y="2528"/>
                  </a:lnTo>
                  <a:lnTo>
                    <a:pt x="343" y="2526"/>
                  </a:lnTo>
                  <a:lnTo>
                    <a:pt x="349" y="2520"/>
                  </a:lnTo>
                  <a:lnTo>
                    <a:pt x="356" y="2518"/>
                  </a:lnTo>
                  <a:lnTo>
                    <a:pt x="357" y="2516"/>
                  </a:lnTo>
                  <a:lnTo>
                    <a:pt x="357" y="2508"/>
                  </a:lnTo>
                  <a:lnTo>
                    <a:pt x="354" y="2491"/>
                  </a:lnTo>
                  <a:lnTo>
                    <a:pt x="350" y="2477"/>
                  </a:lnTo>
                  <a:lnTo>
                    <a:pt x="352" y="2463"/>
                  </a:lnTo>
                  <a:lnTo>
                    <a:pt x="350" y="2452"/>
                  </a:lnTo>
                  <a:lnTo>
                    <a:pt x="357" y="2421"/>
                  </a:lnTo>
                  <a:lnTo>
                    <a:pt x="360" y="2416"/>
                  </a:lnTo>
                  <a:lnTo>
                    <a:pt x="361" y="2410"/>
                  </a:lnTo>
                  <a:lnTo>
                    <a:pt x="369" y="2399"/>
                  </a:lnTo>
                  <a:lnTo>
                    <a:pt x="371" y="2393"/>
                  </a:lnTo>
                  <a:lnTo>
                    <a:pt x="374" y="2389"/>
                  </a:lnTo>
                  <a:lnTo>
                    <a:pt x="360" y="2370"/>
                  </a:lnTo>
                  <a:lnTo>
                    <a:pt x="360" y="2367"/>
                  </a:lnTo>
                  <a:lnTo>
                    <a:pt x="360" y="2352"/>
                  </a:lnTo>
                  <a:lnTo>
                    <a:pt x="352" y="2343"/>
                  </a:lnTo>
                  <a:lnTo>
                    <a:pt x="347" y="2335"/>
                  </a:lnTo>
                  <a:lnTo>
                    <a:pt x="344" y="2326"/>
                  </a:lnTo>
                  <a:lnTo>
                    <a:pt x="342" y="2322"/>
                  </a:lnTo>
                  <a:lnTo>
                    <a:pt x="333" y="2318"/>
                  </a:lnTo>
                  <a:lnTo>
                    <a:pt x="329" y="2317"/>
                  </a:lnTo>
                  <a:lnTo>
                    <a:pt x="321" y="2314"/>
                  </a:lnTo>
                  <a:lnTo>
                    <a:pt x="310" y="2309"/>
                  </a:lnTo>
                  <a:lnTo>
                    <a:pt x="307" y="2303"/>
                  </a:lnTo>
                  <a:lnTo>
                    <a:pt x="310" y="2300"/>
                  </a:lnTo>
                  <a:lnTo>
                    <a:pt x="310" y="2296"/>
                  </a:lnTo>
                  <a:lnTo>
                    <a:pt x="304" y="2288"/>
                  </a:lnTo>
                  <a:lnTo>
                    <a:pt x="297" y="2283"/>
                  </a:lnTo>
                  <a:lnTo>
                    <a:pt x="294" y="2272"/>
                  </a:lnTo>
                  <a:lnTo>
                    <a:pt x="289" y="2272"/>
                  </a:lnTo>
                  <a:lnTo>
                    <a:pt x="288" y="2268"/>
                  </a:lnTo>
                  <a:lnTo>
                    <a:pt x="288" y="2265"/>
                  </a:lnTo>
                  <a:lnTo>
                    <a:pt x="292" y="2265"/>
                  </a:lnTo>
                  <a:lnTo>
                    <a:pt x="292" y="2264"/>
                  </a:lnTo>
                  <a:lnTo>
                    <a:pt x="286" y="2264"/>
                  </a:lnTo>
                  <a:lnTo>
                    <a:pt x="283" y="2261"/>
                  </a:lnTo>
                  <a:lnTo>
                    <a:pt x="288" y="2259"/>
                  </a:lnTo>
                  <a:lnTo>
                    <a:pt x="288" y="2253"/>
                  </a:lnTo>
                  <a:lnTo>
                    <a:pt x="291" y="2252"/>
                  </a:lnTo>
                  <a:lnTo>
                    <a:pt x="291" y="2253"/>
                  </a:lnTo>
                  <a:lnTo>
                    <a:pt x="293" y="2253"/>
                  </a:lnTo>
                  <a:lnTo>
                    <a:pt x="293" y="2250"/>
                  </a:lnTo>
                  <a:lnTo>
                    <a:pt x="416" y="2251"/>
                  </a:lnTo>
                  <a:lnTo>
                    <a:pt x="443" y="2251"/>
                  </a:lnTo>
                  <a:lnTo>
                    <a:pt x="443" y="2086"/>
                  </a:lnTo>
                  <a:lnTo>
                    <a:pt x="449" y="2060"/>
                  </a:lnTo>
                  <a:lnTo>
                    <a:pt x="445" y="2059"/>
                  </a:lnTo>
                  <a:lnTo>
                    <a:pt x="445" y="1974"/>
                  </a:lnTo>
                  <a:lnTo>
                    <a:pt x="486" y="1861"/>
                  </a:lnTo>
                  <a:lnTo>
                    <a:pt x="532" y="1731"/>
                  </a:lnTo>
                  <a:lnTo>
                    <a:pt x="536" y="1726"/>
                  </a:lnTo>
                  <a:lnTo>
                    <a:pt x="542" y="1726"/>
                  </a:lnTo>
                  <a:lnTo>
                    <a:pt x="538" y="1723"/>
                  </a:lnTo>
                  <a:lnTo>
                    <a:pt x="536" y="1719"/>
                  </a:lnTo>
                  <a:lnTo>
                    <a:pt x="534" y="1716"/>
                  </a:lnTo>
                  <a:lnTo>
                    <a:pt x="521" y="1707"/>
                  </a:lnTo>
                  <a:lnTo>
                    <a:pt x="518" y="1712"/>
                  </a:lnTo>
                  <a:lnTo>
                    <a:pt x="516" y="1708"/>
                  </a:lnTo>
                  <a:lnTo>
                    <a:pt x="514" y="1707"/>
                  </a:lnTo>
                  <a:lnTo>
                    <a:pt x="509" y="1707"/>
                  </a:lnTo>
                  <a:lnTo>
                    <a:pt x="507" y="1708"/>
                  </a:lnTo>
                  <a:lnTo>
                    <a:pt x="507" y="1712"/>
                  </a:lnTo>
                  <a:lnTo>
                    <a:pt x="504" y="1714"/>
                  </a:lnTo>
                  <a:lnTo>
                    <a:pt x="502" y="1712"/>
                  </a:lnTo>
                  <a:lnTo>
                    <a:pt x="499" y="1708"/>
                  </a:lnTo>
                  <a:lnTo>
                    <a:pt x="495" y="1703"/>
                  </a:lnTo>
                  <a:lnTo>
                    <a:pt x="486" y="1699"/>
                  </a:lnTo>
                  <a:lnTo>
                    <a:pt x="477" y="1689"/>
                  </a:lnTo>
                  <a:lnTo>
                    <a:pt x="474" y="1689"/>
                  </a:lnTo>
                  <a:lnTo>
                    <a:pt x="460" y="1680"/>
                  </a:lnTo>
                  <a:lnTo>
                    <a:pt x="453" y="1678"/>
                  </a:lnTo>
                  <a:lnTo>
                    <a:pt x="449" y="1672"/>
                  </a:lnTo>
                  <a:lnTo>
                    <a:pt x="449" y="1667"/>
                  </a:lnTo>
                  <a:lnTo>
                    <a:pt x="439" y="1663"/>
                  </a:lnTo>
                  <a:lnTo>
                    <a:pt x="438" y="1662"/>
                  </a:lnTo>
                  <a:lnTo>
                    <a:pt x="433" y="1650"/>
                  </a:lnTo>
                  <a:lnTo>
                    <a:pt x="433" y="1641"/>
                  </a:lnTo>
                  <a:lnTo>
                    <a:pt x="432" y="1636"/>
                  </a:lnTo>
                  <a:lnTo>
                    <a:pt x="425" y="1622"/>
                  </a:lnTo>
                  <a:lnTo>
                    <a:pt x="421" y="1621"/>
                  </a:lnTo>
                  <a:lnTo>
                    <a:pt x="418" y="1620"/>
                  </a:lnTo>
                  <a:lnTo>
                    <a:pt x="413" y="1602"/>
                  </a:lnTo>
                  <a:lnTo>
                    <a:pt x="407" y="1600"/>
                  </a:lnTo>
                  <a:lnTo>
                    <a:pt x="404" y="1596"/>
                  </a:lnTo>
                  <a:lnTo>
                    <a:pt x="403" y="1595"/>
                  </a:lnTo>
                  <a:lnTo>
                    <a:pt x="399" y="1599"/>
                  </a:lnTo>
                  <a:lnTo>
                    <a:pt x="396" y="1599"/>
                  </a:lnTo>
                  <a:lnTo>
                    <a:pt x="389" y="1597"/>
                  </a:lnTo>
                  <a:lnTo>
                    <a:pt x="381" y="1592"/>
                  </a:lnTo>
                  <a:lnTo>
                    <a:pt x="375" y="1599"/>
                  </a:lnTo>
                  <a:lnTo>
                    <a:pt x="367" y="1599"/>
                  </a:lnTo>
                  <a:lnTo>
                    <a:pt x="360" y="1588"/>
                  </a:lnTo>
                  <a:lnTo>
                    <a:pt x="349" y="1584"/>
                  </a:lnTo>
                  <a:lnTo>
                    <a:pt x="341" y="1576"/>
                  </a:lnTo>
                  <a:lnTo>
                    <a:pt x="339" y="1574"/>
                  </a:lnTo>
                  <a:lnTo>
                    <a:pt x="339" y="1568"/>
                  </a:lnTo>
                  <a:lnTo>
                    <a:pt x="341" y="1565"/>
                  </a:lnTo>
                  <a:lnTo>
                    <a:pt x="321" y="1554"/>
                  </a:lnTo>
                  <a:lnTo>
                    <a:pt x="318" y="1551"/>
                  </a:lnTo>
                  <a:lnTo>
                    <a:pt x="316" y="1550"/>
                  </a:lnTo>
                  <a:lnTo>
                    <a:pt x="302" y="1539"/>
                  </a:lnTo>
                  <a:lnTo>
                    <a:pt x="299" y="1539"/>
                  </a:lnTo>
                  <a:lnTo>
                    <a:pt x="297" y="1542"/>
                  </a:lnTo>
                  <a:lnTo>
                    <a:pt x="291" y="1539"/>
                  </a:lnTo>
                  <a:lnTo>
                    <a:pt x="286" y="1534"/>
                  </a:lnTo>
                  <a:lnTo>
                    <a:pt x="281" y="1532"/>
                  </a:lnTo>
                  <a:lnTo>
                    <a:pt x="272" y="1517"/>
                  </a:lnTo>
                  <a:lnTo>
                    <a:pt x="274" y="1512"/>
                  </a:lnTo>
                  <a:lnTo>
                    <a:pt x="281" y="1501"/>
                  </a:lnTo>
                  <a:lnTo>
                    <a:pt x="281" y="1497"/>
                  </a:lnTo>
                  <a:lnTo>
                    <a:pt x="285" y="1487"/>
                  </a:lnTo>
                  <a:lnTo>
                    <a:pt x="285" y="1483"/>
                  </a:lnTo>
                  <a:lnTo>
                    <a:pt x="282" y="1477"/>
                  </a:lnTo>
                  <a:lnTo>
                    <a:pt x="278" y="1456"/>
                  </a:lnTo>
                  <a:lnTo>
                    <a:pt x="282" y="1453"/>
                  </a:lnTo>
                  <a:lnTo>
                    <a:pt x="307" y="1450"/>
                  </a:lnTo>
                  <a:lnTo>
                    <a:pt x="313" y="1448"/>
                  </a:lnTo>
                  <a:lnTo>
                    <a:pt x="314" y="1446"/>
                  </a:lnTo>
                  <a:lnTo>
                    <a:pt x="316" y="1442"/>
                  </a:lnTo>
                  <a:lnTo>
                    <a:pt x="314" y="1411"/>
                  </a:lnTo>
                  <a:lnTo>
                    <a:pt x="316" y="1400"/>
                  </a:lnTo>
                  <a:lnTo>
                    <a:pt x="316" y="1384"/>
                  </a:lnTo>
                  <a:lnTo>
                    <a:pt x="318" y="1384"/>
                  </a:lnTo>
                  <a:lnTo>
                    <a:pt x="331" y="1389"/>
                  </a:lnTo>
                  <a:lnTo>
                    <a:pt x="344" y="1389"/>
                  </a:lnTo>
                  <a:lnTo>
                    <a:pt x="361" y="1385"/>
                  </a:lnTo>
                  <a:lnTo>
                    <a:pt x="374" y="1378"/>
                  </a:lnTo>
                  <a:lnTo>
                    <a:pt x="375" y="1378"/>
                  </a:lnTo>
                  <a:lnTo>
                    <a:pt x="382" y="1375"/>
                  </a:lnTo>
                  <a:lnTo>
                    <a:pt x="388" y="1383"/>
                  </a:lnTo>
                  <a:lnTo>
                    <a:pt x="392" y="1381"/>
                  </a:lnTo>
                  <a:lnTo>
                    <a:pt x="393" y="1385"/>
                  </a:lnTo>
                  <a:lnTo>
                    <a:pt x="394" y="1388"/>
                  </a:lnTo>
                  <a:lnTo>
                    <a:pt x="396" y="1386"/>
                  </a:lnTo>
                  <a:lnTo>
                    <a:pt x="397" y="1385"/>
                  </a:lnTo>
                  <a:lnTo>
                    <a:pt x="403" y="1383"/>
                  </a:lnTo>
                  <a:lnTo>
                    <a:pt x="402" y="1378"/>
                  </a:lnTo>
                  <a:lnTo>
                    <a:pt x="396" y="1375"/>
                  </a:lnTo>
                  <a:lnTo>
                    <a:pt x="393" y="1367"/>
                  </a:lnTo>
                  <a:lnTo>
                    <a:pt x="389" y="1365"/>
                  </a:lnTo>
                  <a:lnTo>
                    <a:pt x="391" y="1356"/>
                  </a:lnTo>
                  <a:lnTo>
                    <a:pt x="388" y="1352"/>
                  </a:lnTo>
                  <a:lnTo>
                    <a:pt x="389" y="1348"/>
                  </a:lnTo>
                  <a:lnTo>
                    <a:pt x="388" y="1343"/>
                  </a:lnTo>
                  <a:lnTo>
                    <a:pt x="392" y="1339"/>
                  </a:lnTo>
                  <a:lnTo>
                    <a:pt x="388" y="1336"/>
                  </a:lnTo>
                  <a:lnTo>
                    <a:pt x="386" y="1328"/>
                  </a:lnTo>
                  <a:lnTo>
                    <a:pt x="377" y="1326"/>
                  </a:lnTo>
                  <a:lnTo>
                    <a:pt x="381" y="1322"/>
                  </a:lnTo>
                  <a:lnTo>
                    <a:pt x="379" y="1311"/>
                  </a:lnTo>
                  <a:lnTo>
                    <a:pt x="383" y="1307"/>
                  </a:lnTo>
                  <a:lnTo>
                    <a:pt x="379" y="1303"/>
                  </a:lnTo>
                  <a:lnTo>
                    <a:pt x="385" y="1298"/>
                  </a:lnTo>
                  <a:lnTo>
                    <a:pt x="382" y="1293"/>
                  </a:lnTo>
                  <a:lnTo>
                    <a:pt x="379" y="1292"/>
                  </a:lnTo>
                  <a:lnTo>
                    <a:pt x="375" y="1294"/>
                  </a:lnTo>
                  <a:lnTo>
                    <a:pt x="374" y="1302"/>
                  </a:lnTo>
                  <a:lnTo>
                    <a:pt x="368" y="1303"/>
                  </a:lnTo>
                  <a:lnTo>
                    <a:pt x="364" y="1303"/>
                  </a:lnTo>
                  <a:lnTo>
                    <a:pt x="360" y="1298"/>
                  </a:lnTo>
                  <a:lnTo>
                    <a:pt x="360" y="1296"/>
                  </a:lnTo>
                  <a:lnTo>
                    <a:pt x="363" y="1294"/>
                  </a:lnTo>
                  <a:lnTo>
                    <a:pt x="364" y="1289"/>
                  </a:lnTo>
                  <a:lnTo>
                    <a:pt x="363" y="1277"/>
                  </a:lnTo>
                  <a:lnTo>
                    <a:pt x="371" y="1269"/>
                  </a:lnTo>
                  <a:lnTo>
                    <a:pt x="369" y="1268"/>
                  </a:lnTo>
                  <a:lnTo>
                    <a:pt x="363" y="1268"/>
                  </a:lnTo>
                  <a:lnTo>
                    <a:pt x="357" y="1261"/>
                  </a:lnTo>
                  <a:lnTo>
                    <a:pt x="357" y="1255"/>
                  </a:lnTo>
                  <a:lnTo>
                    <a:pt x="354" y="1251"/>
                  </a:lnTo>
                  <a:lnTo>
                    <a:pt x="356" y="1246"/>
                  </a:lnTo>
                  <a:lnTo>
                    <a:pt x="356" y="1236"/>
                  </a:lnTo>
                  <a:lnTo>
                    <a:pt x="352" y="1232"/>
                  </a:lnTo>
                  <a:lnTo>
                    <a:pt x="350" y="1231"/>
                  </a:lnTo>
                  <a:lnTo>
                    <a:pt x="354" y="1224"/>
                  </a:lnTo>
                  <a:lnTo>
                    <a:pt x="354" y="1220"/>
                  </a:lnTo>
                  <a:lnTo>
                    <a:pt x="357" y="1217"/>
                  </a:lnTo>
                  <a:lnTo>
                    <a:pt x="357" y="1210"/>
                  </a:lnTo>
                  <a:lnTo>
                    <a:pt x="356" y="1206"/>
                  </a:lnTo>
                  <a:lnTo>
                    <a:pt x="353" y="1202"/>
                  </a:lnTo>
                  <a:lnTo>
                    <a:pt x="352" y="1202"/>
                  </a:lnTo>
                  <a:lnTo>
                    <a:pt x="344" y="1205"/>
                  </a:lnTo>
                  <a:lnTo>
                    <a:pt x="339" y="1198"/>
                  </a:lnTo>
                  <a:lnTo>
                    <a:pt x="339" y="1195"/>
                  </a:lnTo>
                  <a:lnTo>
                    <a:pt x="344" y="1192"/>
                  </a:lnTo>
                  <a:lnTo>
                    <a:pt x="344" y="1187"/>
                  </a:lnTo>
                  <a:lnTo>
                    <a:pt x="349" y="1186"/>
                  </a:lnTo>
                  <a:lnTo>
                    <a:pt x="356" y="1184"/>
                  </a:lnTo>
                  <a:lnTo>
                    <a:pt x="361" y="1182"/>
                  </a:lnTo>
                  <a:lnTo>
                    <a:pt x="367" y="1173"/>
                  </a:lnTo>
                  <a:lnTo>
                    <a:pt x="369" y="1157"/>
                  </a:lnTo>
                  <a:lnTo>
                    <a:pt x="375" y="1153"/>
                  </a:lnTo>
                  <a:lnTo>
                    <a:pt x="385" y="1149"/>
                  </a:lnTo>
                  <a:lnTo>
                    <a:pt x="393" y="1143"/>
                  </a:lnTo>
                  <a:lnTo>
                    <a:pt x="411" y="1142"/>
                  </a:lnTo>
                  <a:lnTo>
                    <a:pt x="417" y="1137"/>
                  </a:lnTo>
                  <a:lnTo>
                    <a:pt x="432" y="1103"/>
                  </a:lnTo>
                  <a:lnTo>
                    <a:pt x="447" y="1081"/>
                  </a:lnTo>
                  <a:lnTo>
                    <a:pt x="454" y="1063"/>
                  </a:lnTo>
                  <a:lnTo>
                    <a:pt x="456" y="1068"/>
                  </a:lnTo>
                  <a:lnTo>
                    <a:pt x="478" y="1072"/>
                  </a:lnTo>
                  <a:lnTo>
                    <a:pt x="486" y="1072"/>
                  </a:lnTo>
                  <a:lnTo>
                    <a:pt x="495" y="1074"/>
                  </a:lnTo>
                  <a:lnTo>
                    <a:pt x="499" y="1068"/>
                  </a:lnTo>
                  <a:lnTo>
                    <a:pt x="502" y="1066"/>
                  </a:lnTo>
                  <a:lnTo>
                    <a:pt x="506" y="1066"/>
                  </a:lnTo>
                  <a:lnTo>
                    <a:pt x="517" y="1070"/>
                  </a:lnTo>
                  <a:lnTo>
                    <a:pt x="518" y="1074"/>
                  </a:lnTo>
                  <a:lnTo>
                    <a:pt x="516" y="1081"/>
                  </a:lnTo>
                  <a:lnTo>
                    <a:pt x="520" y="1082"/>
                  </a:lnTo>
                  <a:lnTo>
                    <a:pt x="521" y="1086"/>
                  </a:lnTo>
                  <a:lnTo>
                    <a:pt x="518" y="1093"/>
                  </a:lnTo>
                  <a:lnTo>
                    <a:pt x="518" y="1094"/>
                  </a:lnTo>
                  <a:lnTo>
                    <a:pt x="520" y="1097"/>
                  </a:lnTo>
                  <a:lnTo>
                    <a:pt x="534" y="1100"/>
                  </a:lnTo>
                  <a:lnTo>
                    <a:pt x="535" y="1108"/>
                  </a:lnTo>
                  <a:lnTo>
                    <a:pt x="531" y="1112"/>
                  </a:lnTo>
                  <a:lnTo>
                    <a:pt x="530" y="1116"/>
                  </a:lnTo>
                  <a:lnTo>
                    <a:pt x="530" y="1119"/>
                  </a:lnTo>
                  <a:lnTo>
                    <a:pt x="534" y="1119"/>
                  </a:lnTo>
                  <a:lnTo>
                    <a:pt x="535" y="1120"/>
                  </a:lnTo>
                  <a:lnTo>
                    <a:pt x="536" y="1128"/>
                  </a:lnTo>
                  <a:lnTo>
                    <a:pt x="538" y="1131"/>
                  </a:lnTo>
                  <a:lnTo>
                    <a:pt x="542" y="1135"/>
                  </a:lnTo>
                  <a:lnTo>
                    <a:pt x="542" y="1143"/>
                  </a:lnTo>
                  <a:lnTo>
                    <a:pt x="543" y="1145"/>
                  </a:lnTo>
                  <a:lnTo>
                    <a:pt x="546" y="1147"/>
                  </a:lnTo>
                  <a:lnTo>
                    <a:pt x="552" y="1142"/>
                  </a:lnTo>
                  <a:lnTo>
                    <a:pt x="556" y="1143"/>
                  </a:lnTo>
                  <a:lnTo>
                    <a:pt x="566" y="1157"/>
                  </a:lnTo>
                  <a:lnTo>
                    <a:pt x="574" y="1161"/>
                  </a:lnTo>
                  <a:lnTo>
                    <a:pt x="577" y="1168"/>
                  </a:lnTo>
                  <a:lnTo>
                    <a:pt x="588" y="1175"/>
                  </a:lnTo>
                  <a:lnTo>
                    <a:pt x="593" y="1178"/>
                  </a:lnTo>
                  <a:lnTo>
                    <a:pt x="602" y="1178"/>
                  </a:lnTo>
                  <a:lnTo>
                    <a:pt x="616" y="1173"/>
                  </a:lnTo>
                  <a:lnTo>
                    <a:pt x="638" y="1130"/>
                  </a:lnTo>
                  <a:lnTo>
                    <a:pt x="646" y="1120"/>
                  </a:lnTo>
                  <a:lnTo>
                    <a:pt x="652" y="1119"/>
                  </a:lnTo>
                  <a:lnTo>
                    <a:pt x="656" y="1120"/>
                  </a:lnTo>
                  <a:lnTo>
                    <a:pt x="660" y="1120"/>
                  </a:lnTo>
                  <a:lnTo>
                    <a:pt x="667" y="1124"/>
                  </a:lnTo>
                  <a:lnTo>
                    <a:pt x="667" y="1127"/>
                  </a:lnTo>
                  <a:lnTo>
                    <a:pt x="671" y="1131"/>
                  </a:lnTo>
                  <a:lnTo>
                    <a:pt x="674" y="1131"/>
                  </a:lnTo>
                  <a:lnTo>
                    <a:pt x="678" y="1131"/>
                  </a:lnTo>
                  <a:lnTo>
                    <a:pt x="681" y="1135"/>
                  </a:lnTo>
                  <a:lnTo>
                    <a:pt x="684" y="1135"/>
                  </a:lnTo>
                  <a:lnTo>
                    <a:pt x="685" y="1133"/>
                  </a:lnTo>
                  <a:lnTo>
                    <a:pt x="691" y="1133"/>
                  </a:lnTo>
                  <a:lnTo>
                    <a:pt x="695" y="1135"/>
                  </a:lnTo>
                  <a:lnTo>
                    <a:pt x="698" y="1142"/>
                  </a:lnTo>
                  <a:lnTo>
                    <a:pt x="699" y="1142"/>
                  </a:lnTo>
                  <a:lnTo>
                    <a:pt x="724" y="1032"/>
                  </a:lnTo>
                  <a:lnTo>
                    <a:pt x="728" y="1025"/>
                  </a:lnTo>
                  <a:lnTo>
                    <a:pt x="726" y="1011"/>
                  </a:lnTo>
                  <a:lnTo>
                    <a:pt x="723" y="993"/>
                  </a:lnTo>
                  <a:lnTo>
                    <a:pt x="720" y="978"/>
                  </a:lnTo>
                  <a:lnTo>
                    <a:pt x="721" y="970"/>
                  </a:lnTo>
                  <a:lnTo>
                    <a:pt x="712" y="951"/>
                  </a:lnTo>
                  <a:lnTo>
                    <a:pt x="706" y="948"/>
                  </a:lnTo>
                  <a:lnTo>
                    <a:pt x="730" y="917"/>
                  </a:lnTo>
                  <a:lnTo>
                    <a:pt x="727" y="917"/>
                  </a:lnTo>
                  <a:lnTo>
                    <a:pt x="726" y="914"/>
                  </a:lnTo>
                  <a:lnTo>
                    <a:pt x="723" y="913"/>
                  </a:lnTo>
                  <a:lnTo>
                    <a:pt x="717" y="907"/>
                  </a:lnTo>
                  <a:lnTo>
                    <a:pt x="717" y="899"/>
                  </a:lnTo>
                  <a:lnTo>
                    <a:pt x="716" y="899"/>
                  </a:lnTo>
                  <a:lnTo>
                    <a:pt x="718" y="899"/>
                  </a:lnTo>
                  <a:lnTo>
                    <a:pt x="718" y="898"/>
                  </a:lnTo>
                  <a:lnTo>
                    <a:pt x="713" y="895"/>
                  </a:lnTo>
                  <a:lnTo>
                    <a:pt x="712" y="895"/>
                  </a:lnTo>
                  <a:lnTo>
                    <a:pt x="707" y="895"/>
                  </a:lnTo>
                  <a:lnTo>
                    <a:pt x="705" y="888"/>
                  </a:lnTo>
                  <a:lnTo>
                    <a:pt x="699" y="884"/>
                  </a:lnTo>
                  <a:lnTo>
                    <a:pt x="695" y="884"/>
                  </a:lnTo>
                  <a:lnTo>
                    <a:pt x="690" y="876"/>
                  </a:lnTo>
                  <a:lnTo>
                    <a:pt x="688" y="876"/>
                  </a:lnTo>
                  <a:lnTo>
                    <a:pt x="688" y="875"/>
                  </a:lnTo>
                  <a:lnTo>
                    <a:pt x="690" y="872"/>
                  </a:lnTo>
                  <a:lnTo>
                    <a:pt x="688" y="870"/>
                  </a:lnTo>
                  <a:lnTo>
                    <a:pt x="680" y="869"/>
                  </a:lnTo>
                  <a:lnTo>
                    <a:pt x="673" y="871"/>
                  </a:lnTo>
                  <a:lnTo>
                    <a:pt x="670" y="867"/>
                  </a:lnTo>
                  <a:lnTo>
                    <a:pt x="666" y="866"/>
                  </a:lnTo>
                  <a:lnTo>
                    <a:pt x="666" y="862"/>
                  </a:lnTo>
                  <a:lnTo>
                    <a:pt x="663" y="862"/>
                  </a:lnTo>
                  <a:lnTo>
                    <a:pt x="653" y="864"/>
                  </a:lnTo>
                  <a:lnTo>
                    <a:pt x="643" y="862"/>
                  </a:lnTo>
                  <a:lnTo>
                    <a:pt x="652" y="836"/>
                  </a:lnTo>
                  <a:lnTo>
                    <a:pt x="653" y="822"/>
                  </a:lnTo>
                  <a:lnTo>
                    <a:pt x="657" y="808"/>
                  </a:lnTo>
                  <a:lnTo>
                    <a:pt x="659" y="795"/>
                  </a:lnTo>
                  <a:lnTo>
                    <a:pt x="662" y="785"/>
                  </a:lnTo>
                  <a:lnTo>
                    <a:pt x="660" y="775"/>
                  </a:lnTo>
                  <a:lnTo>
                    <a:pt x="663" y="763"/>
                  </a:lnTo>
                  <a:lnTo>
                    <a:pt x="659" y="753"/>
                  </a:lnTo>
                  <a:lnTo>
                    <a:pt x="659" y="746"/>
                  </a:lnTo>
                  <a:lnTo>
                    <a:pt x="657" y="742"/>
                  </a:lnTo>
                  <a:lnTo>
                    <a:pt x="627" y="724"/>
                  </a:lnTo>
                  <a:lnTo>
                    <a:pt x="624" y="722"/>
                  </a:lnTo>
                  <a:lnTo>
                    <a:pt x="624" y="718"/>
                  </a:lnTo>
                  <a:lnTo>
                    <a:pt x="627" y="678"/>
                  </a:lnTo>
                  <a:lnTo>
                    <a:pt x="626" y="671"/>
                  </a:lnTo>
                  <a:lnTo>
                    <a:pt x="606" y="641"/>
                  </a:lnTo>
                  <a:lnTo>
                    <a:pt x="635" y="581"/>
                  </a:lnTo>
                  <a:lnTo>
                    <a:pt x="643" y="559"/>
                  </a:lnTo>
                  <a:lnTo>
                    <a:pt x="656" y="510"/>
                  </a:lnTo>
                  <a:lnTo>
                    <a:pt x="657" y="497"/>
                  </a:lnTo>
                  <a:lnTo>
                    <a:pt x="651" y="486"/>
                  </a:lnTo>
                  <a:lnTo>
                    <a:pt x="645" y="472"/>
                  </a:lnTo>
                  <a:lnTo>
                    <a:pt x="645" y="469"/>
                  </a:lnTo>
                  <a:lnTo>
                    <a:pt x="649" y="457"/>
                  </a:lnTo>
                  <a:lnTo>
                    <a:pt x="659" y="417"/>
                  </a:lnTo>
                  <a:lnTo>
                    <a:pt x="660" y="401"/>
                  </a:lnTo>
                  <a:lnTo>
                    <a:pt x="674" y="386"/>
                  </a:lnTo>
                  <a:lnTo>
                    <a:pt x="681" y="376"/>
                  </a:lnTo>
                  <a:lnTo>
                    <a:pt x="680" y="372"/>
                  </a:lnTo>
                  <a:lnTo>
                    <a:pt x="678" y="368"/>
                  </a:lnTo>
                  <a:lnTo>
                    <a:pt x="673" y="364"/>
                  </a:lnTo>
                  <a:lnTo>
                    <a:pt x="668" y="364"/>
                  </a:lnTo>
                  <a:lnTo>
                    <a:pt x="667" y="364"/>
                  </a:lnTo>
                  <a:lnTo>
                    <a:pt x="666" y="360"/>
                  </a:lnTo>
                  <a:lnTo>
                    <a:pt x="665" y="356"/>
                  </a:lnTo>
                  <a:lnTo>
                    <a:pt x="652" y="352"/>
                  </a:lnTo>
                  <a:lnTo>
                    <a:pt x="635" y="344"/>
                  </a:lnTo>
                  <a:lnTo>
                    <a:pt x="709" y="210"/>
                  </a:lnTo>
                  <a:lnTo>
                    <a:pt x="745" y="185"/>
                  </a:lnTo>
                  <a:lnTo>
                    <a:pt x="773" y="181"/>
                  </a:lnTo>
                  <a:lnTo>
                    <a:pt x="798" y="175"/>
                  </a:lnTo>
                  <a:lnTo>
                    <a:pt x="820" y="169"/>
                  </a:lnTo>
                  <a:lnTo>
                    <a:pt x="873" y="153"/>
                  </a:lnTo>
                  <a:lnTo>
                    <a:pt x="901" y="102"/>
                  </a:lnTo>
                  <a:lnTo>
                    <a:pt x="906" y="94"/>
                  </a:lnTo>
                  <a:lnTo>
                    <a:pt x="909" y="87"/>
                  </a:lnTo>
                  <a:lnTo>
                    <a:pt x="913" y="78"/>
                  </a:lnTo>
                  <a:lnTo>
                    <a:pt x="925" y="59"/>
                  </a:lnTo>
                  <a:lnTo>
                    <a:pt x="926" y="57"/>
                  </a:lnTo>
                  <a:lnTo>
                    <a:pt x="911" y="57"/>
                  </a:lnTo>
                  <a:lnTo>
                    <a:pt x="903" y="56"/>
                  </a:lnTo>
                  <a:lnTo>
                    <a:pt x="902" y="42"/>
                  </a:lnTo>
                  <a:lnTo>
                    <a:pt x="905" y="34"/>
                  </a:lnTo>
                  <a:lnTo>
                    <a:pt x="911" y="33"/>
                  </a:lnTo>
                  <a:lnTo>
                    <a:pt x="913" y="31"/>
                  </a:lnTo>
                  <a:lnTo>
                    <a:pt x="923" y="19"/>
                  </a:lnTo>
                  <a:lnTo>
                    <a:pt x="925" y="12"/>
                  </a:lnTo>
                  <a:lnTo>
                    <a:pt x="930" y="0"/>
                  </a:lnTo>
                  <a:lnTo>
                    <a:pt x="931" y="4"/>
                  </a:lnTo>
                  <a:lnTo>
                    <a:pt x="936" y="8"/>
                  </a:lnTo>
                  <a:lnTo>
                    <a:pt x="950" y="7"/>
                  </a:lnTo>
                  <a:lnTo>
                    <a:pt x="972" y="20"/>
                  </a:lnTo>
                  <a:lnTo>
                    <a:pt x="976" y="27"/>
                  </a:lnTo>
                  <a:lnTo>
                    <a:pt x="977" y="33"/>
                  </a:lnTo>
                  <a:lnTo>
                    <a:pt x="981" y="39"/>
                  </a:lnTo>
                  <a:lnTo>
                    <a:pt x="990" y="42"/>
                  </a:lnTo>
                  <a:lnTo>
                    <a:pt x="997" y="57"/>
                  </a:lnTo>
                  <a:lnTo>
                    <a:pt x="1008" y="65"/>
                  </a:lnTo>
                  <a:lnTo>
                    <a:pt x="1036" y="78"/>
                  </a:lnTo>
                  <a:lnTo>
                    <a:pt x="1050" y="78"/>
                  </a:lnTo>
                  <a:lnTo>
                    <a:pt x="1068" y="82"/>
                  </a:lnTo>
                  <a:lnTo>
                    <a:pt x="1077" y="83"/>
                  </a:lnTo>
                  <a:lnTo>
                    <a:pt x="1090" y="91"/>
                  </a:lnTo>
                  <a:lnTo>
                    <a:pt x="1112" y="94"/>
                  </a:lnTo>
                  <a:lnTo>
                    <a:pt x="1121" y="102"/>
                  </a:lnTo>
                  <a:lnTo>
                    <a:pt x="1129" y="106"/>
                  </a:lnTo>
                  <a:lnTo>
                    <a:pt x="1135" y="112"/>
                  </a:lnTo>
                  <a:lnTo>
                    <a:pt x="1144" y="114"/>
                  </a:lnTo>
                  <a:lnTo>
                    <a:pt x="1146" y="119"/>
                  </a:lnTo>
                  <a:lnTo>
                    <a:pt x="1144" y="124"/>
                  </a:lnTo>
                  <a:lnTo>
                    <a:pt x="1146" y="128"/>
                  </a:lnTo>
                  <a:lnTo>
                    <a:pt x="1147" y="143"/>
                  </a:lnTo>
                  <a:lnTo>
                    <a:pt x="1150" y="146"/>
                  </a:lnTo>
                  <a:lnTo>
                    <a:pt x="1157" y="150"/>
                  </a:lnTo>
                  <a:lnTo>
                    <a:pt x="1160" y="153"/>
                  </a:lnTo>
                  <a:lnTo>
                    <a:pt x="1166" y="158"/>
                  </a:lnTo>
                  <a:lnTo>
                    <a:pt x="1173" y="171"/>
                  </a:lnTo>
                  <a:lnTo>
                    <a:pt x="1180" y="175"/>
                  </a:lnTo>
                  <a:lnTo>
                    <a:pt x="1182" y="181"/>
                  </a:lnTo>
                  <a:lnTo>
                    <a:pt x="1180" y="187"/>
                  </a:lnTo>
                  <a:lnTo>
                    <a:pt x="1182" y="190"/>
                  </a:lnTo>
                  <a:lnTo>
                    <a:pt x="1193" y="191"/>
                  </a:lnTo>
                  <a:lnTo>
                    <a:pt x="1210" y="202"/>
                  </a:lnTo>
                  <a:lnTo>
                    <a:pt x="1215" y="207"/>
                  </a:lnTo>
                  <a:lnTo>
                    <a:pt x="1216" y="211"/>
                  </a:lnTo>
                  <a:lnTo>
                    <a:pt x="1218" y="225"/>
                  </a:lnTo>
                  <a:lnTo>
                    <a:pt x="1212" y="239"/>
                  </a:lnTo>
                  <a:lnTo>
                    <a:pt x="1212" y="244"/>
                  </a:lnTo>
                  <a:lnTo>
                    <a:pt x="1214" y="248"/>
                  </a:lnTo>
                  <a:lnTo>
                    <a:pt x="1219" y="252"/>
                  </a:lnTo>
                  <a:lnTo>
                    <a:pt x="1222" y="258"/>
                  </a:lnTo>
                  <a:lnTo>
                    <a:pt x="1229" y="262"/>
                  </a:lnTo>
                  <a:lnTo>
                    <a:pt x="1232" y="266"/>
                  </a:lnTo>
                  <a:lnTo>
                    <a:pt x="1229" y="281"/>
                  </a:lnTo>
                  <a:lnTo>
                    <a:pt x="1230" y="287"/>
                  </a:lnTo>
                  <a:lnTo>
                    <a:pt x="1235" y="293"/>
                  </a:lnTo>
                  <a:lnTo>
                    <a:pt x="1243" y="300"/>
                  </a:lnTo>
                  <a:lnTo>
                    <a:pt x="1246" y="305"/>
                  </a:lnTo>
                  <a:lnTo>
                    <a:pt x="1246" y="310"/>
                  </a:lnTo>
                  <a:lnTo>
                    <a:pt x="1243" y="325"/>
                  </a:lnTo>
                  <a:lnTo>
                    <a:pt x="1243" y="332"/>
                  </a:lnTo>
                  <a:lnTo>
                    <a:pt x="1264" y="356"/>
                  </a:lnTo>
                  <a:lnTo>
                    <a:pt x="1269" y="372"/>
                  </a:lnTo>
                  <a:lnTo>
                    <a:pt x="1280" y="382"/>
                  </a:lnTo>
                  <a:lnTo>
                    <a:pt x="1282" y="386"/>
                  </a:lnTo>
                  <a:lnTo>
                    <a:pt x="1282" y="399"/>
                  </a:lnTo>
                  <a:lnTo>
                    <a:pt x="1286" y="423"/>
                  </a:lnTo>
                  <a:lnTo>
                    <a:pt x="1289" y="434"/>
                  </a:lnTo>
                  <a:lnTo>
                    <a:pt x="1297" y="447"/>
                  </a:lnTo>
                  <a:lnTo>
                    <a:pt x="1300" y="454"/>
                  </a:lnTo>
                  <a:lnTo>
                    <a:pt x="1302" y="461"/>
                  </a:lnTo>
                  <a:lnTo>
                    <a:pt x="1308" y="468"/>
                  </a:lnTo>
                  <a:lnTo>
                    <a:pt x="1312" y="469"/>
                  </a:lnTo>
                  <a:lnTo>
                    <a:pt x="1328" y="471"/>
                  </a:lnTo>
                  <a:lnTo>
                    <a:pt x="1333" y="476"/>
                  </a:lnTo>
                  <a:lnTo>
                    <a:pt x="1340" y="492"/>
                  </a:lnTo>
                  <a:lnTo>
                    <a:pt x="1346" y="501"/>
                  </a:lnTo>
                  <a:lnTo>
                    <a:pt x="1347" y="505"/>
                  </a:lnTo>
                  <a:lnTo>
                    <a:pt x="1349" y="529"/>
                  </a:lnTo>
                  <a:lnTo>
                    <a:pt x="1354" y="536"/>
                  </a:lnTo>
                  <a:lnTo>
                    <a:pt x="1357" y="541"/>
                  </a:lnTo>
                  <a:lnTo>
                    <a:pt x="1374" y="555"/>
                  </a:lnTo>
                  <a:lnTo>
                    <a:pt x="1378" y="563"/>
                  </a:lnTo>
                  <a:lnTo>
                    <a:pt x="1382" y="572"/>
                  </a:lnTo>
                  <a:lnTo>
                    <a:pt x="1381" y="578"/>
                  </a:lnTo>
                  <a:lnTo>
                    <a:pt x="1378" y="584"/>
                  </a:lnTo>
                  <a:lnTo>
                    <a:pt x="1381" y="592"/>
                  </a:lnTo>
                  <a:lnTo>
                    <a:pt x="1390" y="606"/>
                  </a:lnTo>
                  <a:lnTo>
                    <a:pt x="1395" y="609"/>
                  </a:lnTo>
                  <a:lnTo>
                    <a:pt x="1414" y="614"/>
                  </a:lnTo>
                  <a:lnTo>
                    <a:pt x="1417" y="618"/>
                  </a:lnTo>
                  <a:lnTo>
                    <a:pt x="1418" y="621"/>
                  </a:lnTo>
                  <a:lnTo>
                    <a:pt x="1424" y="639"/>
                  </a:lnTo>
                  <a:lnTo>
                    <a:pt x="1426" y="645"/>
                  </a:lnTo>
                  <a:lnTo>
                    <a:pt x="1431" y="648"/>
                  </a:lnTo>
                  <a:lnTo>
                    <a:pt x="1437" y="653"/>
                  </a:lnTo>
                  <a:lnTo>
                    <a:pt x="1445" y="658"/>
                  </a:lnTo>
                  <a:lnTo>
                    <a:pt x="1446" y="663"/>
                  </a:lnTo>
                  <a:lnTo>
                    <a:pt x="1446" y="667"/>
                  </a:lnTo>
                  <a:lnTo>
                    <a:pt x="1440" y="679"/>
                  </a:lnTo>
                  <a:lnTo>
                    <a:pt x="1442" y="689"/>
                  </a:lnTo>
                  <a:lnTo>
                    <a:pt x="1465" y="708"/>
                  </a:lnTo>
                  <a:lnTo>
                    <a:pt x="1475" y="712"/>
                  </a:lnTo>
                  <a:lnTo>
                    <a:pt x="1487" y="718"/>
                  </a:lnTo>
                  <a:lnTo>
                    <a:pt x="1492" y="718"/>
                  </a:lnTo>
                  <a:lnTo>
                    <a:pt x="1497" y="712"/>
                  </a:lnTo>
                  <a:lnTo>
                    <a:pt x="1504" y="710"/>
                  </a:lnTo>
                  <a:lnTo>
                    <a:pt x="1510" y="712"/>
                  </a:lnTo>
                  <a:lnTo>
                    <a:pt x="1515" y="714"/>
                  </a:lnTo>
                  <a:lnTo>
                    <a:pt x="1526" y="722"/>
                  </a:lnTo>
                  <a:lnTo>
                    <a:pt x="1534" y="724"/>
                  </a:lnTo>
                  <a:lnTo>
                    <a:pt x="1551" y="726"/>
                  </a:lnTo>
                  <a:lnTo>
                    <a:pt x="1557" y="722"/>
                  </a:lnTo>
                  <a:lnTo>
                    <a:pt x="1564" y="718"/>
                  </a:lnTo>
                  <a:lnTo>
                    <a:pt x="1571" y="718"/>
                  </a:lnTo>
                  <a:lnTo>
                    <a:pt x="1575" y="720"/>
                  </a:lnTo>
                  <a:lnTo>
                    <a:pt x="1578" y="722"/>
                  </a:lnTo>
                  <a:lnTo>
                    <a:pt x="1584" y="733"/>
                  </a:lnTo>
                  <a:lnTo>
                    <a:pt x="1593" y="753"/>
                  </a:lnTo>
                  <a:lnTo>
                    <a:pt x="1595" y="760"/>
                  </a:lnTo>
                  <a:lnTo>
                    <a:pt x="1595" y="767"/>
                  </a:lnTo>
                  <a:lnTo>
                    <a:pt x="1587" y="778"/>
                  </a:lnTo>
                  <a:lnTo>
                    <a:pt x="1589" y="787"/>
                  </a:lnTo>
                  <a:lnTo>
                    <a:pt x="1592" y="794"/>
                  </a:lnTo>
                  <a:lnTo>
                    <a:pt x="1599" y="799"/>
                  </a:lnTo>
                  <a:lnTo>
                    <a:pt x="1610" y="800"/>
                  </a:lnTo>
                  <a:lnTo>
                    <a:pt x="1614" y="801"/>
                  </a:lnTo>
                  <a:lnTo>
                    <a:pt x="1618" y="813"/>
                  </a:lnTo>
                  <a:lnTo>
                    <a:pt x="1621" y="813"/>
                  </a:lnTo>
                  <a:lnTo>
                    <a:pt x="1636" y="817"/>
                  </a:lnTo>
                  <a:lnTo>
                    <a:pt x="1641" y="821"/>
                  </a:lnTo>
                  <a:lnTo>
                    <a:pt x="1649" y="830"/>
                  </a:lnTo>
                  <a:lnTo>
                    <a:pt x="1657" y="836"/>
                  </a:lnTo>
                  <a:lnTo>
                    <a:pt x="1659" y="844"/>
                  </a:lnTo>
                  <a:lnTo>
                    <a:pt x="1657" y="850"/>
                  </a:lnTo>
                  <a:lnTo>
                    <a:pt x="1667" y="875"/>
                  </a:lnTo>
                  <a:lnTo>
                    <a:pt x="1669" y="883"/>
                  </a:lnTo>
                  <a:lnTo>
                    <a:pt x="1670" y="884"/>
                  </a:lnTo>
                  <a:lnTo>
                    <a:pt x="1666" y="894"/>
                  </a:lnTo>
                  <a:lnTo>
                    <a:pt x="1664" y="899"/>
                  </a:lnTo>
                  <a:lnTo>
                    <a:pt x="1663" y="903"/>
                  </a:lnTo>
                  <a:lnTo>
                    <a:pt x="1659" y="907"/>
                  </a:lnTo>
                  <a:lnTo>
                    <a:pt x="1659" y="911"/>
                  </a:lnTo>
                  <a:lnTo>
                    <a:pt x="1660" y="913"/>
                  </a:lnTo>
                  <a:lnTo>
                    <a:pt x="1674" y="921"/>
                  </a:lnTo>
                  <a:lnTo>
                    <a:pt x="1677" y="925"/>
                  </a:lnTo>
                  <a:lnTo>
                    <a:pt x="1677" y="932"/>
                  </a:lnTo>
                  <a:lnTo>
                    <a:pt x="1678" y="936"/>
                  </a:lnTo>
                  <a:lnTo>
                    <a:pt x="1689" y="938"/>
                  </a:lnTo>
                  <a:lnTo>
                    <a:pt x="1691" y="940"/>
                  </a:lnTo>
                  <a:lnTo>
                    <a:pt x="1692" y="948"/>
                  </a:lnTo>
                  <a:lnTo>
                    <a:pt x="1716" y="962"/>
                  </a:lnTo>
                  <a:lnTo>
                    <a:pt x="1739" y="970"/>
                  </a:lnTo>
                  <a:lnTo>
                    <a:pt x="1746" y="970"/>
                  </a:lnTo>
                  <a:lnTo>
                    <a:pt x="1755" y="969"/>
                  </a:lnTo>
                  <a:lnTo>
                    <a:pt x="1760" y="969"/>
                  </a:lnTo>
                  <a:lnTo>
                    <a:pt x="1764" y="974"/>
                  </a:lnTo>
                  <a:lnTo>
                    <a:pt x="1769" y="982"/>
                  </a:lnTo>
                  <a:lnTo>
                    <a:pt x="1773" y="986"/>
                  </a:lnTo>
                  <a:lnTo>
                    <a:pt x="1784" y="987"/>
                  </a:lnTo>
                  <a:lnTo>
                    <a:pt x="1803" y="987"/>
                  </a:lnTo>
                  <a:lnTo>
                    <a:pt x="1825" y="995"/>
                  </a:lnTo>
                  <a:lnTo>
                    <a:pt x="1846" y="996"/>
                  </a:lnTo>
                  <a:lnTo>
                    <a:pt x="1866" y="1000"/>
                  </a:lnTo>
                  <a:lnTo>
                    <a:pt x="1875" y="1007"/>
                  </a:lnTo>
                  <a:lnTo>
                    <a:pt x="1883" y="1013"/>
                  </a:lnTo>
                  <a:lnTo>
                    <a:pt x="1892" y="1018"/>
                  </a:lnTo>
                  <a:lnTo>
                    <a:pt x="1905" y="1027"/>
                  </a:lnTo>
                  <a:lnTo>
                    <a:pt x="1923" y="1031"/>
                  </a:lnTo>
                  <a:lnTo>
                    <a:pt x="1928" y="1035"/>
                  </a:lnTo>
                  <a:lnTo>
                    <a:pt x="1942" y="1048"/>
                  </a:lnTo>
                  <a:lnTo>
                    <a:pt x="1956" y="1049"/>
                  </a:lnTo>
                  <a:lnTo>
                    <a:pt x="1962" y="1053"/>
                  </a:lnTo>
                  <a:lnTo>
                    <a:pt x="1970" y="1060"/>
                  </a:lnTo>
                  <a:lnTo>
                    <a:pt x="1980" y="1070"/>
                  </a:lnTo>
                  <a:lnTo>
                    <a:pt x="1980" y="1075"/>
                  </a:lnTo>
                  <a:lnTo>
                    <a:pt x="1977" y="1086"/>
                  </a:lnTo>
                  <a:lnTo>
                    <a:pt x="1977" y="1093"/>
                  </a:lnTo>
                  <a:lnTo>
                    <a:pt x="1981" y="1107"/>
                  </a:lnTo>
                  <a:lnTo>
                    <a:pt x="1987" y="1115"/>
                  </a:lnTo>
                  <a:lnTo>
                    <a:pt x="2001" y="1124"/>
                  </a:lnTo>
                  <a:lnTo>
                    <a:pt x="2010" y="1135"/>
                  </a:lnTo>
                  <a:lnTo>
                    <a:pt x="2012" y="1139"/>
                  </a:lnTo>
                  <a:lnTo>
                    <a:pt x="2012" y="1153"/>
                  </a:lnTo>
                  <a:lnTo>
                    <a:pt x="2015" y="1161"/>
                  </a:lnTo>
                  <a:lnTo>
                    <a:pt x="2019" y="1165"/>
                  </a:lnTo>
                  <a:lnTo>
                    <a:pt x="2021" y="1169"/>
                  </a:lnTo>
                  <a:lnTo>
                    <a:pt x="2038" y="1169"/>
                  </a:lnTo>
                  <a:lnTo>
                    <a:pt x="2049" y="1175"/>
                  </a:lnTo>
                  <a:lnTo>
                    <a:pt x="2058" y="1182"/>
                  </a:lnTo>
                  <a:lnTo>
                    <a:pt x="2063" y="1187"/>
                  </a:lnTo>
                  <a:lnTo>
                    <a:pt x="2066" y="1198"/>
                  </a:lnTo>
                  <a:lnTo>
                    <a:pt x="2070" y="1199"/>
                  </a:lnTo>
                  <a:lnTo>
                    <a:pt x="2080" y="1201"/>
                  </a:lnTo>
                  <a:lnTo>
                    <a:pt x="2088" y="1206"/>
                  </a:lnTo>
                  <a:lnTo>
                    <a:pt x="2095" y="1209"/>
                  </a:lnTo>
                  <a:lnTo>
                    <a:pt x="2101" y="1214"/>
                  </a:lnTo>
                  <a:lnTo>
                    <a:pt x="2102" y="1219"/>
                  </a:lnTo>
                  <a:lnTo>
                    <a:pt x="2110" y="1224"/>
                  </a:lnTo>
                  <a:lnTo>
                    <a:pt x="2115" y="1231"/>
                  </a:lnTo>
                  <a:lnTo>
                    <a:pt x="2121" y="1244"/>
                  </a:lnTo>
                  <a:lnTo>
                    <a:pt x="2138" y="1247"/>
                  </a:lnTo>
                  <a:lnTo>
                    <a:pt x="2149" y="1259"/>
                  </a:lnTo>
                  <a:lnTo>
                    <a:pt x="2162" y="1262"/>
                  </a:lnTo>
                  <a:lnTo>
                    <a:pt x="2174" y="1299"/>
                  </a:lnTo>
                  <a:lnTo>
                    <a:pt x="2177" y="1303"/>
                  </a:lnTo>
                  <a:lnTo>
                    <a:pt x="2184" y="1315"/>
                  </a:lnTo>
                  <a:lnTo>
                    <a:pt x="2195" y="1340"/>
                  </a:lnTo>
                  <a:lnTo>
                    <a:pt x="2198" y="1355"/>
                  </a:lnTo>
                  <a:lnTo>
                    <a:pt x="2206" y="1373"/>
                  </a:lnTo>
                  <a:lnTo>
                    <a:pt x="2206" y="1377"/>
                  </a:lnTo>
                  <a:lnTo>
                    <a:pt x="2204" y="1381"/>
                  </a:lnTo>
                  <a:lnTo>
                    <a:pt x="2202" y="1388"/>
                  </a:lnTo>
                  <a:lnTo>
                    <a:pt x="2214" y="1401"/>
                  </a:lnTo>
                  <a:lnTo>
                    <a:pt x="2215" y="1405"/>
                  </a:lnTo>
                  <a:lnTo>
                    <a:pt x="2214" y="1411"/>
                  </a:lnTo>
                  <a:lnTo>
                    <a:pt x="2215" y="1418"/>
                  </a:lnTo>
                  <a:lnTo>
                    <a:pt x="2212" y="1422"/>
                  </a:lnTo>
                  <a:lnTo>
                    <a:pt x="2215" y="1431"/>
                  </a:lnTo>
                  <a:lnTo>
                    <a:pt x="2211" y="1438"/>
                  </a:lnTo>
                  <a:lnTo>
                    <a:pt x="2214" y="1440"/>
                  </a:lnTo>
                  <a:lnTo>
                    <a:pt x="2225" y="1438"/>
                  </a:lnTo>
                  <a:lnTo>
                    <a:pt x="2228" y="1442"/>
                  </a:lnTo>
                  <a:lnTo>
                    <a:pt x="2225" y="1446"/>
                  </a:lnTo>
                  <a:lnTo>
                    <a:pt x="2220" y="1448"/>
                  </a:lnTo>
                  <a:lnTo>
                    <a:pt x="2202" y="1448"/>
                  </a:lnTo>
                  <a:lnTo>
                    <a:pt x="2200" y="1453"/>
                  </a:lnTo>
                  <a:lnTo>
                    <a:pt x="2204" y="1459"/>
                  </a:lnTo>
                  <a:lnTo>
                    <a:pt x="2204" y="1460"/>
                  </a:lnTo>
                  <a:lnTo>
                    <a:pt x="2187" y="1464"/>
                  </a:lnTo>
                  <a:lnTo>
                    <a:pt x="2183" y="1468"/>
                  </a:lnTo>
                  <a:lnTo>
                    <a:pt x="2181" y="1471"/>
                  </a:lnTo>
                  <a:lnTo>
                    <a:pt x="2181" y="1476"/>
                  </a:lnTo>
                  <a:lnTo>
                    <a:pt x="2188" y="1483"/>
                  </a:lnTo>
                  <a:lnTo>
                    <a:pt x="2191" y="1495"/>
                  </a:lnTo>
                  <a:lnTo>
                    <a:pt x="2190" y="1501"/>
                  </a:lnTo>
                  <a:lnTo>
                    <a:pt x="2184" y="1509"/>
                  </a:lnTo>
                  <a:lnTo>
                    <a:pt x="2184" y="1517"/>
                  </a:lnTo>
                  <a:lnTo>
                    <a:pt x="2187" y="1520"/>
                  </a:lnTo>
                  <a:lnTo>
                    <a:pt x="2194" y="1525"/>
                  </a:lnTo>
                  <a:lnTo>
                    <a:pt x="2195" y="1529"/>
                  </a:lnTo>
                  <a:lnTo>
                    <a:pt x="2194" y="1532"/>
                  </a:lnTo>
                  <a:lnTo>
                    <a:pt x="2193" y="1532"/>
                  </a:lnTo>
                  <a:lnTo>
                    <a:pt x="2177" y="1532"/>
                  </a:lnTo>
                  <a:lnTo>
                    <a:pt x="2176" y="1539"/>
                  </a:lnTo>
                  <a:lnTo>
                    <a:pt x="2176" y="1543"/>
                  </a:lnTo>
                  <a:lnTo>
                    <a:pt x="2184" y="1546"/>
                  </a:lnTo>
                  <a:lnTo>
                    <a:pt x="2188" y="1551"/>
                  </a:lnTo>
                  <a:lnTo>
                    <a:pt x="2191" y="1551"/>
                  </a:lnTo>
                  <a:lnTo>
                    <a:pt x="2202" y="1543"/>
                  </a:lnTo>
                  <a:lnTo>
                    <a:pt x="2209" y="1542"/>
                  </a:lnTo>
                  <a:lnTo>
                    <a:pt x="2219" y="1543"/>
                  </a:lnTo>
                  <a:lnTo>
                    <a:pt x="2220" y="1546"/>
                  </a:lnTo>
                  <a:lnTo>
                    <a:pt x="2222" y="1554"/>
                  </a:lnTo>
                  <a:lnTo>
                    <a:pt x="2225" y="1558"/>
                  </a:lnTo>
                  <a:lnTo>
                    <a:pt x="2228" y="1558"/>
                  </a:lnTo>
                  <a:lnTo>
                    <a:pt x="2231" y="1552"/>
                  </a:lnTo>
                  <a:lnTo>
                    <a:pt x="2234" y="1552"/>
                  </a:lnTo>
                  <a:lnTo>
                    <a:pt x="2239" y="1564"/>
                  </a:lnTo>
                  <a:lnTo>
                    <a:pt x="2243" y="1570"/>
                  </a:lnTo>
                  <a:lnTo>
                    <a:pt x="2251" y="1576"/>
                  </a:lnTo>
                  <a:lnTo>
                    <a:pt x="2254" y="1583"/>
                  </a:lnTo>
                  <a:lnTo>
                    <a:pt x="2253" y="1584"/>
                  </a:lnTo>
                  <a:lnTo>
                    <a:pt x="2250" y="1587"/>
                  </a:lnTo>
                  <a:close/>
                  <a:moveTo>
                    <a:pt x="1271" y="3107"/>
                  </a:moveTo>
                  <a:lnTo>
                    <a:pt x="1271" y="3111"/>
                  </a:lnTo>
                  <a:lnTo>
                    <a:pt x="1265" y="3111"/>
                  </a:lnTo>
                  <a:lnTo>
                    <a:pt x="1264" y="3110"/>
                  </a:lnTo>
                  <a:lnTo>
                    <a:pt x="1264" y="3107"/>
                  </a:lnTo>
                  <a:lnTo>
                    <a:pt x="1261" y="3110"/>
                  </a:lnTo>
                  <a:lnTo>
                    <a:pt x="1250" y="3111"/>
                  </a:lnTo>
                  <a:lnTo>
                    <a:pt x="1233" y="3118"/>
                  </a:lnTo>
                  <a:lnTo>
                    <a:pt x="1227" y="3115"/>
                  </a:lnTo>
                  <a:lnTo>
                    <a:pt x="1226" y="3115"/>
                  </a:lnTo>
                  <a:lnTo>
                    <a:pt x="1226" y="3114"/>
                  </a:lnTo>
                  <a:lnTo>
                    <a:pt x="1230" y="3105"/>
                  </a:lnTo>
                  <a:lnTo>
                    <a:pt x="1229" y="3097"/>
                  </a:lnTo>
                  <a:lnTo>
                    <a:pt x="1222" y="3089"/>
                  </a:lnTo>
                  <a:lnTo>
                    <a:pt x="1212" y="3085"/>
                  </a:lnTo>
                  <a:lnTo>
                    <a:pt x="1208" y="3075"/>
                  </a:lnTo>
                  <a:lnTo>
                    <a:pt x="1208" y="3070"/>
                  </a:lnTo>
                  <a:lnTo>
                    <a:pt x="1210" y="3069"/>
                  </a:lnTo>
                  <a:lnTo>
                    <a:pt x="1211" y="3069"/>
                  </a:lnTo>
                  <a:lnTo>
                    <a:pt x="1227" y="3080"/>
                  </a:lnTo>
                  <a:lnTo>
                    <a:pt x="1232" y="3080"/>
                  </a:lnTo>
                  <a:lnTo>
                    <a:pt x="1239" y="3078"/>
                  </a:lnTo>
                  <a:lnTo>
                    <a:pt x="1241" y="3080"/>
                  </a:lnTo>
                  <a:lnTo>
                    <a:pt x="1247" y="3085"/>
                  </a:lnTo>
                  <a:lnTo>
                    <a:pt x="1249" y="3085"/>
                  </a:lnTo>
                  <a:lnTo>
                    <a:pt x="1257" y="3092"/>
                  </a:lnTo>
                  <a:lnTo>
                    <a:pt x="1255" y="3095"/>
                  </a:lnTo>
                  <a:lnTo>
                    <a:pt x="1258" y="3098"/>
                  </a:lnTo>
                  <a:lnTo>
                    <a:pt x="1258" y="3101"/>
                  </a:lnTo>
                  <a:lnTo>
                    <a:pt x="1254" y="3103"/>
                  </a:lnTo>
                  <a:lnTo>
                    <a:pt x="1258" y="3103"/>
                  </a:lnTo>
                  <a:lnTo>
                    <a:pt x="1262" y="3098"/>
                  </a:lnTo>
                  <a:lnTo>
                    <a:pt x="1271" y="3107"/>
                  </a:lnTo>
                  <a:close/>
                  <a:moveTo>
                    <a:pt x="1105" y="2375"/>
                  </a:moveTo>
                  <a:lnTo>
                    <a:pt x="1102" y="2375"/>
                  </a:lnTo>
                  <a:lnTo>
                    <a:pt x="1098" y="2374"/>
                  </a:lnTo>
                  <a:lnTo>
                    <a:pt x="1100" y="2375"/>
                  </a:lnTo>
                  <a:lnTo>
                    <a:pt x="1077" y="2371"/>
                  </a:lnTo>
                  <a:lnTo>
                    <a:pt x="1069" y="2367"/>
                  </a:lnTo>
                  <a:lnTo>
                    <a:pt x="1066" y="2367"/>
                  </a:lnTo>
                  <a:lnTo>
                    <a:pt x="1066" y="2363"/>
                  </a:lnTo>
                  <a:lnTo>
                    <a:pt x="1076" y="2359"/>
                  </a:lnTo>
                  <a:lnTo>
                    <a:pt x="1082" y="2359"/>
                  </a:lnTo>
                  <a:lnTo>
                    <a:pt x="1087" y="2363"/>
                  </a:lnTo>
                  <a:lnTo>
                    <a:pt x="1098" y="2367"/>
                  </a:lnTo>
                  <a:lnTo>
                    <a:pt x="1105" y="2375"/>
                  </a:lnTo>
                  <a:close/>
                  <a:moveTo>
                    <a:pt x="1040" y="2363"/>
                  </a:moveTo>
                  <a:lnTo>
                    <a:pt x="1030" y="2355"/>
                  </a:lnTo>
                  <a:lnTo>
                    <a:pt x="1027" y="2351"/>
                  </a:lnTo>
                  <a:lnTo>
                    <a:pt x="1027" y="2345"/>
                  </a:lnTo>
                  <a:lnTo>
                    <a:pt x="1036" y="2345"/>
                  </a:lnTo>
                  <a:lnTo>
                    <a:pt x="1034" y="2354"/>
                  </a:lnTo>
                  <a:lnTo>
                    <a:pt x="1036" y="2358"/>
                  </a:lnTo>
                  <a:lnTo>
                    <a:pt x="1041" y="2363"/>
                  </a:lnTo>
                  <a:lnTo>
                    <a:pt x="1040" y="2363"/>
                  </a:lnTo>
                  <a:close/>
                  <a:moveTo>
                    <a:pt x="1063" y="2719"/>
                  </a:moveTo>
                  <a:lnTo>
                    <a:pt x="1063" y="2723"/>
                  </a:lnTo>
                  <a:lnTo>
                    <a:pt x="1061" y="2723"/>
                  </a:lnTo>
                  <a:lnTo>
                    <a:pt x="1055" y="2719"/>
                  </a:lnTo>
                  <a:lnTo>
                    <a:pt x="1048" y="2721"/>
                  </a:lnTo>
                  <a:lnTo>
                    <a:pt x="1045" y="2719"/>
                  </a:lnTo>
                  <a:lnTo>
                    <a:pt x="1052" y="2711"/>
                  </a:lnTo>
                  <a:lnTo>
                    <a:pt x="1055" y="2711"/>
                  </a:lnTo>
                  <a:lnTo>
                    <a:pt x="1063" y="2719"/>
                  </a:lnTo>
                  <a:close/>
                  <a:moveTo>
                    <a:pt x="1113" y="2400"/>
                  </a:moveTo>
                  <a:lnTo>
                    <a:pt x="1112" y="2400"/>
                  </a:lnTo>
                  <a:lnTo>
                    <a:pt x="1102" y="2388"/>
                  </a:lnTo>
                  <a:lnTo>
                    <a:pt x="1101" y="2384"/>
                  </a:lnTo>
                  <a:lnTo>
                    <a:pt x="1102" y="2381"/>
                  </a:lnTo>
                  <a:lnTo>
                    <a:pt x="1104" y="2384"/>
                  </a:lnTo>
                  <a:lnTo>
                    <a:pt x="1105" y="2384"/>
                  </a:lnTo>
                  <a:lnTo>
                    <a:pt x="1108" y="2384"/>
                  </a:lnTo>
                  <a:lnTo>
                    <a:pt x="1111" y="2388"/>
                  </a:lnTo>
                  <a:lnTo>
                    <a:pt x="1112" y="2396"/>
                  </a:lnTo>
                  <a:lnTo>
                    <a:pt x="1113" y="2400"/>
                  </a:lnTo>
                  <a:close/>
                  <a:moveTo>
                    <a:pt x="1129" y="2395"/>
                  </a:moveTo>
                  <a:lnTo>
                    <a:pt x="1130" y="2397"/>
                  </a:lnTo>
                  <a:lnTo>
                    <a:pt x="1127" y="2399"/>
                  </a:lnTo>
                  <a:lnTo>
                    <a:pt x="1129" y="2400"/>
                  </a:lnTo>
                  <a:lnTo>
                    <a:pt x="1127" y="2400"/>
                  </a:lnTo>
                  <a:lnTo>
                    <a:pt x="1125" y="2400"/>
                  </a:lnTo>
                  <a:lnTo>
                    <a:pt x="1122" y="2396"/>
                  </a:lnTo>
                  <a:lnTo>
                    <a:pt x="1121" y="2396"/>
                  </a:lnTo>
                  <a:lnTo>
                    <a:pt x="1121" y="2392"/>
                  </a:lnTo>
                  <a:lnTo>
                    <a:pt x="1118" y="2389"/>
                  </a:lnTo>
                  <a:lnTo>
                    <a:pt x="1116" y="2389"/>
                  </a:lnTo>
                  <a:lnTo>
                    <a:pt x="1115" y="2389"/>
                  </a:lnTo>
                  <a:lnTo>
                    <a:pt x="1118" y="2396"/>
                  </a:lnTo>
                  <a:lnTo>
                    <a:pt x="1116" y="2397"/>
                  </a:lnTo>
                  <a:lnTo>
                    <a:pt x="1118" y="2400"/>
                  </a:lnTo>
                  <a:lnTo>
                    <a:pt x="1116" y="2400"/>
                  </a:lnTo>
                  <a:lnTo>
                    <a:pt x="1115" y="2389"/>
                  </a:lnTo>
                  <a:lnTo>
                    <a:pt x="1116" y="2388"/>
                  </a:lnTo>
                  <a:lnTo>
                    <a:pt x="1118" y="2388"/>
                  </a:lnTo>
                  <a:lnTo>
                    <a:pt x="1125" y="2392"/>
                  </a:lnTo>
                  <a:lnTo>
                    <a:pt x="1129" y="2395"/>
                  </a:lnTo>
                  <a:close/>
                  <a:moveTo>
                    <a:pt x="1042" y="2347"/>
                  </a:moveTo>
                  <a:lnTo>
                    <a:pt x="1041" y="2358"/>
                  </a:lnTo>
                  <a:lnTo>
                    <a:pt x="1037" y="2355"/>
                  </a:lnTo>
                  <a:lnTo>
                    <a:pt x="1037" y="2350"/>
                  </a:lnTo>
                  <a:lnTo>
                    <a:pt x="1041" y="2340"/>
                  </a:lnTo>
                  <a:lnTo>
                    <a:pt x="1042" y="2347"/>
                  </a:lnTo>
                  <a:close/>
                  <a:moveTo>
                    <a:pt x="1108" y="2475"/>
                  </a:moveTo>
                  <a:lnTo>
                    <a:pt x="1105" y="2479"/>
                  </a:lnTo>
                  <a:lnTo>
                    <a:pt x="1097" y="2477"/>
                  </a:lnTo>
                  <a:lnTo>
                    <a:pt x="1096" y="2475"/>
                  </a:lnTo>
                  <a:lnTo>
                    <a:pt x="1098" y="2474"/>
                  </a:lnTo>
                  <a:lnTo>
                    <a:pt x="1102" y="2471"/>
                  </a:lnTo>
                  <a:lnTo>
                    <a:pt x="1104" y="2470"/>
                  </a:lnTo>
                  <a:lnTo>
                    <a:pt x="1105" y="2470"/>
                  </a:lnTo>
                  <a:lnTo>
                    <a:pt x="1105" y="2471"/>
                  </a:lnTo>
                  <a:lnTo>
                    <a:pt x="1108" y="2475"/>
                  </a:lnTo>
                  <a:close/>
                  <a:moveTo>
                    <a:pt x="1058" y="2377"/>
                  </a:moveTo>
                  <a:lnTo>
                    <a:pt x="1054" y="2377"/>
                  </a:lnTo>
                  <a:lnTo>
                    <a:pt x="1050" y="2376"/>
                  </a:lnTo>
                  <a:lnTo>
                    <a:pt x="1048" y="2375"/>
                  </a:lnTo>
                  <a:lnTo>
                    <a:pt x="1040" y="2365"/>
                  </a:lnTo>
                  <a:lnTo>
                    <a:pt x="1042" y="2363"/>
                  </a:lnTo>
                  <a:lnTo>
                    <a:pt x="1051" y="2372"/>
                  </a:lnTo>
                  <a:lnTo>
                    <a:pt x="1058" y="2377"/>
                  </a:lnTo>
                  <a:close/>
                  <a:moveTo>
                    <a:pt x="1040" y="3009"/>
                  </a:moveTo>
                  <a:lnTo>
                    <a:pt x="1040" y="3011"/>
                  </a:lnTo>
                  <a:lnTo>
                    <a:pt x="1036" y="3018"/>
                  </a:lnTo>
                  <a:lnTo>
                    <a:pt x="1034" y="3022"/>
                  </a:lnTo>
                  <a:lnTo>
                    <a:pt x="1033" y="3022"/>
                  </a:lnTo>
                  <a:lnTo>
                    <a:pt x="1031" y="3022"/>
                  </a:lnTo>
                  <a:lnTo>
                    <a:pt x="1033" y="3018"/>
                  </a:lnTo>
                  <a:lnTo>
                    <a:pt x="1037" y="3009"/>
                  </a:lnTo>
                  <a:lnTo>
                    <a:pt x="1038" y="3007"/>
                  </a:lnTo>
                  <a:lnTo>
                    <a:pt x="1040" y="3009"/>
                  </a:lnTo>
                  <a:close/>
                  <a:moveTo>
                    <a:pt x="1255" y="3118"/>
                  </a:moveTo>
                  <a:lnTo>
                    <a:pt x="1257" y="3120"/>
                  </a:lnTo>
                  <a:lnTo>
                    <a:pt x="1255" y="3122"/>
                  </a:lnTo>
                  <a:lnTo>
                    <a:pt x="1244" y="3123"/>
                  </a:lnTo>
                  <a:lnTo>
                    <a:pt x="1244" y="3122"/>
                  </a:lnTo>
                  <a:lnTo>
                    <a:pt x="1246" y="3122"/>
                  </a:lnTo>
                  <a:lnTo>
                    <a:pt x="1251" y="3118"/>
                  </a:lnTo>
                  <a:lnTo>
                    <a:pt x="1255" y="3118"/>
                  </a:lnTo>
                  <a:close/>
                  <a:moveTo>
                    <a:pt x="1144" y="2399"/>
                  </a:moveTo>
                  <a:lnTo>
                    <a:pt x="1144" y="2400"/>
                  </a:lnTo>
                  <a:lnTo>
                    <a:pt x="1143" y="2400"/>
                  </a:lnTo>
                  <a:lnTo>
                    <a:pt x="1140" y="2400"/>
                  </a:lnTo>
                  <a:lnTo>
                    <a:pt x="1137" y="2395"/>
                  </a:lnTo>
                  <a:lnTo>
                    <a:pt x="1144" y="2399"/>
                  </a:lnTo>
                  <a:close/>
                  <a:moveTo>
                    <a:pt x="1038" y="2848"/>
                  </a:moveTo>
                  <a:lnTo>
                    <a:pt x="1038" y="2849"/>
                  </a:lnTo>
                  <a:lnTo>
                    <a:pt x="1037" y="2848"/>
                  </a:lnTo>
                  <a:lnTo>
                    <a:pt x="1037" y="2847"/>
                  </a:lnTo>
                  <a:lnTo>
                    <a:pt x="1038" y="2848"/>
                  </a:lnTo>
                  <a:close/>
                  <a:moveTo>
                    <a:pt x="1026" y="2887"/>
                  </a:moveTo>
                  <a:lnTo>
                    <a:pt x="1026" y="2890"/>
                  </a:lnTo>
                  <a:lnTo>
                    <a:pt x="1025" y="2891"/>
                  </a:lnTo>
                  <a:lnTo>
                    <a:pt x="1025" y="2890"/>
                  </a:lnTo>
                  <a:lnTo>
                    <a:pt x="1026" y="288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317" name="Rectangle 316"/>
          <p:cNvSpPr>
            <a:spLocks noChangeArrowheads="1"/>
          </p:cNvSpPr>
          <p:nvPr/>
        </p:nvSpPr>
        <p:spPr bwMode="auto">
          <a:xfrm>
            <a:off x="7435057" y="4049620"/>
            <a:ext cx="42263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Gaza</a:t>
            </a: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(22)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318" name="Rectangle 317"/>
          <p:cNvSpPr>
            <a:spLocks noChangeArrowheads="1"/>
          </p:cNvSpPr>
          <p:nvPr/>
        </p:nvSpPr>
        <p:spPr bwMode="auto">
          <a:xfrm>
            <a:off x="7484583" y="3288088"/>
            <a:ext cx="41197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 err="1" smtClean="0">
                <a:latin typeface="+mn-lt"/>
                <a:cs typeface="Times New Roman" pitchFamily="18" charset="0"/>
              </a:rPr>
              <a:t>Manica</a:t>
            </a:r>
            <a:endParaRPr lang="en-US" sz="1000" dirty="0" smtClean="0">
              <a:latin typeface="+mn-lt"/>
              <a:cs typeface="Times New Roman" pitchFamily="18" charset="0"/>
            </a:endParaRP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(50)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319" name="Rectangle 318"/>
          <p:cNvSpPr>
            <a:spLocks noChangeArrowheads="1"/>
          </p:cNvSpPr>
          <p:nvPr/>
        </p:nvSpPr>
        <p:spPr bwMode="auto">
          <a:xfrm>
            <a:off x="7495305" y="2562341"/>
            <a:ext cx="25487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 err="1" smtClean="0">
                <a:latin typeface="+mn-lt"/>
                <a:cs typeface="Times New Roman" pitchFamily="18" charset="0"/>
              </a:rPr>
              <a:t>Tete</a:t>
            </a:r>
            <a:endParaRPr lang="en-US" sz="1000" dirty="0" smtClean="0">
              <a:latin typeface="+mn-lt"/>
              <a:cs typeface="Times New Roman" pitchFamily="18" charset="0"/>
            </a:endParaRP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(60)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320" name="Rectangle 319"/>
          <p:cNvSpPr>
            <a:spLocks noChangeArrowheads="1"/>
          </p:cNvSpPr>
          <p:nvPr/>
        </p:nvSpPr>
        <p:spPr bwMode="auto">
          <a:xfrm>
            <a:off x="8307124" y="2141828"/>
            <a:ext cx="39113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 err="1" smtClean="0">
                <a:latin typeface="+mn-lt"/>
                <a:cs typeface="Times New Roman" pitchFamily="18" charset="0"/>
              </a:rPr>
              <a:t>Niassa</a:t>
            </a:r>
            <a:endParaRPr lang="en-US" sz="1000" dirty="0" smtClean="0">
              <a:latin typeface="+mn-lt"/>
              <a:cs typeface="Times New Roman" pitchFamily="18" charset="0"/>
            </a:endParaRP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(0)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321" name="Rectangle 320"/>
          <p:cNvSpPr>
            <a:spLocks noChangeArrowheads="1"/>
          </p:cNvSpPr>
          <p:nvPr/>
        </p:nvSpPr>
        <p:spPr bwMode="auto">
          <a:xfrm>
            <a:off x="8935228" y="2504504"/>
            <a:ext cx="51135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 err="1" smtClean="0">
                <a:latin typeface="+mn-lt"/>
                <a:cs typeface="Times New Roman" pitchFamily="18" charset="0"/>
              </a:rPr>
              <a:t>Nampula</a:t>
            </a:r>
            <a:endParaRPr lang="en-US" sz="1000" dirty="0" smtClean="0">
              <a:latin typeface="+mn-lt"/>
              <a:cs typeface="Times New Roman" pitchFamily="18" charset="0"/>
            </a:endParaRP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(44)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322" name="Rectangle 321"/>
          <p:cNvSpPr>
            <a:spLocks noChangeArrowheads="1"/>
          </p:cNvSpPr>
          <p:nvPr/>
        </p:nvSpPr>
        <p:spPr bwMode="auto">
          <a:xfrm>
            <a:off x="8442900" y="2807738"/>
            <a:ext cx="56105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 err="1" smtClean="0">
                <a:latin typeface="+mn-lt"/>
                <a:cs typeface="Times New Roman" pitchFamily="18" charset="0"/>
              </a:rPr>
              <a:t>Zambezia</a:t>
            </a:r>
            <a:endParaRPr lang="en-US" sz="1000" dirty="0" smtClean="0">
              <a:latin typeface="+mn-lt"/>
              <a:cs typeface="Times New Roman" pitchFamily="18" charset="0"/>
            </a:endParaRP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(85)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323" name="Rectangle 322"/>
          <p:cNvSpPr>
            <a:spLocks noChangeArrowheads="1"/>
          </p:cNvSpPr>
          <p:nvPr/>
        </p:nvSpPr>
        <p:spPr bwMode="auto">
          <a:xfrm>
            <a:off x="7911647" y="3950713"/>
            <a:ext cx="63639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 err="1" smtClean="0">
                <a:latin typeface="+mn-lt"/>
                <a:cs typeface="Times New Roman" pitchFamily="18" charset="0"/>
              </a:rPr>
              <a:t>Inhambane</a:t>
            </a:r>
            <a:endParaRPr lang="en-US" sz="1000" dirty="0" smtClean="0">
              <a:latin typeface="+mn-lt"/>
              <a:cs typeface="Times New Roman" pitchFamily="18" charset="0"/>
            </a:endParaRP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(29)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324" name="Rectangle 323"/>
          <p:cNvSpPr>
            <a:spLocks noChangeArrowheads="1"/>
          </p:cNvSpPr>
          <p:nvPr/>
        </p:nvSpPr>
        <p:spPr bwMode="auto">
          <a:xfrm>
            <a:off x="7153616" y="4736734"/>
            <a:ext cx="42479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Maputo</a:t>
            </a: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(16)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325" name="Rectangle 324"/>
          <p:cNvSpPr>
            <a:spLocks noChangeArrowheads="1"/>
          </p:cNvSpPr>
          <p:nvPr/>
        </p:nvSpPr>
        <p:spPr bwMode="auto">
          <a:xfrm>
            <a:off x="7781565" y="4714546"/>
            <a:ext cx="68127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>
                <a:latin typeface="+mn-lt"/>
                <a:cs typeface="Times New Roman" pitchFamily="18" charset="0"/>
              </a:rPr>
              <a:t>Maputo </a:t>
            </a:r>
            <a:r>
              <a:rPr lang="en-US" sz="1000" dirty="0" smtClean="0">
                <a:latin typeface="+mn-lt"/>
                <a:cs typeface="Times New Roman" pitchFamily="18" charset="0"/>
              </a:rPr>
              <a:t>City</a:t>
            </a: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(15) 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326" name="Rectangle 325"/>
          <p:cNvSpPr>
            <a:spLocks noChangeArrowheads="1"/>
          </p:cNvSpPr>
          <p:nvPr/>
        </p:nvSpPr>
        <p:spPr bwMode="auto">
          <a:xfrm>
            <a:off x="8029140" y="3215579"/>
            <a:ext cx="36067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 err="1" smtClean="0">
                <a:latin typeface="+mn-lt"/>
                <a:cs typeface="Times New Roman" pitchFamily="18" charset="0"/>
              </a:rPr>
              <a:t>Sofala</a:t>
            </a:r>
            <a:endParaRPr lang="en-US" sz="1000" dirty="0" smtClean="0">
              <a:latin typeface="+mn-lt"/>
              <a:cs typeface="Times New Roman" pitchFamily="18" charset="0"/>
            </a:endParaRP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(51)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327" name="Rectangle 326"/>
          <p:cNvSpPr>
            <a:spLocks noChangeArrowheads="1"/>
          </p:cNvSpPr>
          <p:nvPr/>
        </p:nvSpPr>
        <p:spPr bwMode="auto">
          <a:xfrm>
            <a:off x="7403436" y="2021471"/>
            <a:ext cx="39" cy="151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pt-PT" sz="12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28" name="Rectangle 327"/>
          <p:cNvSpPr>
            <a:spLocks noChangeArrowheads="1"/>
          </p:cNvSpPr>
          <p:nvPr/>
        </p:nvSpPr>
        <p:spPr bwMode="auto">
          <a:xfrm>
            <a:off x="8890485" y="1942832"/>
            <a:ext cx="47448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>
                <a:latin typeface="+mn-lt"/>
                <a:cs typeface="Times New Roman" pitchFamily="18" charset="0"/>
              </a:rPr>
              <a:t>Cabo </a:t>
            </a:r>
            <a:endParaRPr lang="en-US" sz="1000" dirty="0" smtClean="0">
              <a:latin typeface="+mn-lt"/>
              <a:cs typeface="Times New Roman" pitchFamily="18" charset="0"/>
            </a:endParaRP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Delgado</a:t>
            </a:r>
          </a:p>
          <a:p>
            <a:pPr algn="ctr"/>
            <a:r>
              <a:rPr lang="en-US" sz="1000" dirty="0" smtClean="0">
                <a:latin typeface="+mn-lt"/>
                <a:cs typeface="Times New Roman" pitchFamily="18" charset="0"/>
              </a:rPr>
              <a:t>(32)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329" name="Oval 328"/>
          <p:cNvSpPr/>
          <p:nvPr/>
        </p:nvSpPr>
        <p:spPr>
          <a:xfrm>
            <a:off x="8382642" y="2688044"/>
            <a:ext cx="658132" cy="513549"/>
          </a:xfrm>
          <a:prstGeom prst="ellipse">
            <a:avLst/>
          </a:prstGeom>
          <a:noFill/>
          <a:ln w="2540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31" name="Straight Connector 330"/>
          <p:cNvCxnSpPr>
            <a:stCxn id="200" idx="2"/>
            <a:endCxn id="190" idx="43"/>
          </p:cNvCxnSpPr>
          <p:nvPr/>
        </p:nvCxnSpPr>
        <p:spPr>
          <a:xfrm>
            <a:off x="796399" y="3397041"/>
            <a:ext cx="255978" cy="8067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2" name="Rectangle 331"/>
          <p:cNvSpPr>
            <a:spLocks noChangeArrowheads="1"/>
          </p:cNvSpPr>
          <p:nvPr/>
        </p:nvSpPr>
        <p:spPr bwMode="auto">
          <a:xfrm>
            <a:off x="4696323" y="4602413"/>
            <a:ext cx="68127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smtClean="0">
                <a:latin typeface="+mn-lt"/>
                <a:cs typeface="Times New Roman" pitchFamily="18" charset="0"/>
              </a:rPr>
              <a:t>Maputo City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cxnSp>
        <p:nvCxnSpPr>
          <p:cNvPr id="369" name="Straight Connector 368"/>
          <p:cNvCxnSpPr>
            <a:endCxn id="332" idx="1"/>
          </p:cNvCxnSpPr>
          <p:nvPr/>
        </p:nvCxnSpPr>
        <p:spPr>
          <a:xfrm flipV="1">
            <a:off x="4337562" y="4679357"/>
            <a:ext cx="358761" cy="2998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0" name="Oval 369"/>
          <p:cNvSpPr/>
          <p:nvPr/>
        </p:nvSpPr>
        <p:spPr>
          <a:xfrm>
            <a:off x="7307386" y="2477685"/>
            <a:ext cx="571318" cy="486500"/>
          </a:xfrm>
          <a:prstGeom prst="ellipse">
            <a:avLst/>
          </a:prstGeom>
          <a:noFill/>
          <a:ln w="2540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1" name="Oval 370"/>
          <p:cNvSpPr/>
          <p:nvPr/>
        </p:nvSpPr>
        <p:spPr>
          <a:xfrm>
            <a:off x="7954982" y="3095144"/>
            <a:ext cx="571318" cy="486500"/>
          </a:xfrm>
          <a:prstGeom prst="ellipse">
            <a:avLst/>
          </a:prstGeom>
          <a:noFill/>
          <a:ln w="2540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2" name="Oval 371"/>
          <p:cNvSpPr/>
          <p:nvPr/>
        </p:nvSpPr>
        <p:spPr>
          <a:xfrm>
            <a:off x="5619801" y="2186264"/>
            <a:ext cx="585187" cy="338244"/>
          </a:xfrm>
          <a:prstGeom prst="ellipse">
            <a:avLst/>
          </a:prstGeom>
          <a:noFill/>
          <a:ln w="254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3" name="Oval 372"/>
          <p:cNvSpPr/>
          <p:nvPr/>
        </p:nvSpPr>
        <p:spPr>
          <a:xfrm>
            <a:off x="5064977" y="2493468"/>
            <a:ext cx="698862" cy="350419"/>
          </a:xfrm>
          <a:prstGeom prst="ellipse">
            <a:avLst/>
          </a:prstGeom>
          <a:noFill/>
          <a:ln w="254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4" name="Oval 373"/>
          <p:cNvSpPr/>
          <p:nvPr/>
        </p:nvSpPr>
        <p:spPr>
          <a:xfrm>
            <a:off x="4270477" y="2379241"/>
            <a:ext cx="556353" cy="423243"/>
          </a:xfrm>
          <a:prstGeom prst="ellipse">
            <a:avLst/>
          </a:prstGeom>
          <a:noFill/>
          <a:ln w="254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256397" y="6549044"/>
            <a:ext cx="827700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</a:rPr>
              <a:t>Source: UN Inventory exercise; MICS 2009 (UNICEF); </a:t>
            </a:r>
            <a:r>
              <a:rPr lang="fr-FR" sz="800" dirty="0" smtClean="0"/>
              <a:t>Population and </a:t>
            </a:r>
            <a:r>
              <a:rPr lang="fr-FR" sz="800" dirty="0" err="1" smtClean="0"/>
              <a:t>Housing</a:t>
            </a:r>
            <a:r>
              <a:rPr lang="fr-FR" sz="800" dirty="0" smtClean="0"/>
              <a:t> </a:t>
            </a:r>
            <a:r>
              <a:rPr lang="fr-FR" sz="800" dirty="0" err="1" smtClean="0"/>
              <a:t>Census</a:t>
            </a:r>
            <a:r>
              <a:rPr lang="fr-FR" sz="800" dirty="0" smtClean="0"/>
              <a:t> 2007, National Institute of </a:t>
            </a:r>
            <a:r>
              <a:rPr lang="fr-FR" sz="800" dirty="0" err="1" smtClean="0"/>
              <a:t>Statistics</a:t>
            </a:r>
            <a:r>
              <a:rPr lang="fr-FR" sz="800" dirty="0" smtClean="0"/>
              <a:t>, </a:t>
            </a:r>
            <a:r>
              <a:rPr lang="fr-FR" sz="800" dirty="0"/>
              <a:t>Mozambique </a:t>
            </a:r>
            <a:r>
              <a:rPr lang="en-US" sz="800" dirty="0" smtClean="0">
                <a:solidFill>
                  <a:srgbClr val="000000"/>
                </a:solidFill>
              </a:rPr>
              <a:t>(Projections </a:t>
            </a:r>
            <a:r>
              <a:rPr lang="en-US" sz="800" dirty="0">
                <a:solidFill>
                  <a:srgbClr val="000000"/>
                </a:solidFill>
              </a:rPr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2011)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206945" y="1138465"/>
            <a:ext cx="31607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00000"/>
                </a:solidFill>
              </a:rPr>
              <a:t>MICS 2009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01" name="TextBox 200"/>
          <p:cNvSpPr txBox="1"/>
          <p:nvPr/>
        </p:nvSpPr>
        <p:spPr>
          <a:xfrm>
            <a:off x="6730407" y="1060885"/>
            <a:ext cx="3100678" cy="92042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1600" b="1" i="1" dirty="0">
                <a:cs typeface="Arial" pitchFamily="34" charset="0"/>
              </a:rPr>
              <a:t>Are UN efforts concentrated in the ‘right’ geographic areas?</a:t>
            </a:r>
          </a:p>
        </p:txBody>
      </p:sp>
      <p:sp>
        <p:nvSpPr>
          <p:cNvPr id="222" name="TextBox 221"/>
          <p:cNvSpPr txBox="1"/>
          <p:nvPr/>
        </p:nvSpPr>
        <p:spPr>
          <a:xfrm>
            <a:off x="6653940" y="5316099"/>
            <a:ext cx="3203456" cy="85886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GB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umber of UN nutrition actions by region</a:t>
            </a:r>
          </a:p>
          <a:p>
            <a:endParaRPr lang="en-GB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GB" sz="10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: The actions included here do not include actions being supported only at national level</a:t>
            </a:r>
          </a:p>
        </p:txBody>
      </p:sp>
      <p:sp>
        <p:nvSpPr>
          <p:cNvPr id="411" name="TextBox 410"/>
          <p:cNvSpPr txBox="1"/>
          <p:nvPr/>
        </p:nvSpPr>
        <p:spPr>
          <a:xfrm>
            <a:off x="618443" y="5472718"/>
            <a:ext cx="818592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000" u="sng" dirty="0">
                <a:solidFill>
                  <a:srgbClr val="000000"/>
                </a:solidFill>
              </a:rPr>
              <a:t>&gt;</a:t>
            </a:r>
            <a:r>
              <a:rPr lang="en-US" sz="1000" dirty="0">
                <a:solidFill>
                  <a:srgbClr val="000000"/>
                </a:solidFill>
              </a:rPr>
              <a:t> 40%</a:t>
            </a:r>
          </a:p>
          <a:p>
            <a:pPr>
              <a:spcAft>
                <a:spcPts val="300"/>
              </a:spcAft>
            </a:pPr>
            <a:r>
              <a:rPr lang="fr-FR" sz="1000" dirty="0" smtClean="0">
                <a:solidFill>
                  <a:srgbClr val="000000"/>
                </a:solidFill>
              </a:rPr>
              <a:t>30-39.9</a:t>
            </a:r>
            <a:r>
              <a:rPr lang="fr-FR" sz="1000" dirty="0">
                <a:solidFill>
                  <a:srgbClr val="000000"/>
                </a:solidFill>
              </a:rPr>
              <a:t>%</a:t>
            </a:r>
          </a:p>
          <a:p>
            <a:pPr>
              <a:spcAft>
                <a:spcPts val="30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20-29.9%</a:t>
            </a:r>
            <a:endParaRPr lang="en-US" sz="1000" dirty="0">
              <a:solidFill>
                <a:srgbClr val="000000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&lt; 20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52" name="TextBox 451"/>
          <p:cNvSpPr txBox="1"/>
          <p:nvPr/>
        </p:nvSpPr>
        <p:spPr>
          <a:xfrm>
            <a:off x="207767" y="5273264"/>
            <a:ext cx="30129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</a:rPr>
              <a:t>Stunting prevalence among &lt;5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56" name="TextBox 255"/>
          <p:cNvSpPr txBox="1"/>
          <p:nvPr/>
        </p:nvSpPr>
        <p:spPr>
          <a:xfrm>
            <a:off x="8692284" y="32491"/>
            <a:ext cx="994670" cy="4125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5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DRAFT</a:t>
            </a:r>
          </a:p>
        </p:txBody>
      </p:sp>
      <p:sp>
        <p:nvSpPr>
          <p:cNvPr id="205" name="Rounded Rectangular Callout 204"/>
          <p:cNvSpPr/>
          <p:nvPr/>
        </p:nvSpPr>
        <p:spPr>
          <a:xfrm>
            <a:off x="8286136" y="3519914"/>
            <a:ext cx="1644972" cy="1221707"/>
          </a:xfrm>
          <a:prstGeom prst="wedgeRoundRectCallout">
            <a:avLst>
              <a:gd name="adj1" fmla="val -30779"/>
              <a:gd name="adj2" fmla="val -81226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Add together all of the implementation and governance actions being supported at each </a:t>
            </a:r>
            <a:r>
              <a:rPr lang="en-GB" sz="1000" i="1" dirty="0" smtClean="0">
                <a:solidFill>
                  <a:srgbClr val="FFFFFF"/>
                </a:solidFill>
                <a:cs typeface="Arial" pitchFamily="34" charset="0"/>
              </a:rPr>
              <a:t>sub-national level 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and report them here. Do not include actions at national level.</a:t>
            </a:r>
          </a:p>
        </p:txBody>
      </p:sp>
      <p:sp>
        <p:nvSpPr>
          <p:cNvPr id="210" name="Rounded Rectangular Callout 209"/>
          <p:cNvSpPr/>
          <p:nvPr/>
        </p:nvSpPr>
        <p:spPr>
          <a:xfrm>
            <a:off x="105710" y="1416459"/>
            <a:ext cx="995548" cy="793913"/>
          </a:xfrm>
          <a:prstGeom prst="wedgeRoundRectCallout">
            <a:avLst>
              <a:gd name="adj1" fmla="val 74410"/>
              <a:gd name="adj2" fmla="val 28697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Circle the three areas with the highest prevalence</a:t>
            </a:r>
          </a:p>
        </p:txBody>
      </p:sp>
      <p:sp>
        <p:nvSpPr>
          <p:cNvPr id="211" name="Rounded Rectangular Callout 210"/>
          <p:cNvSpPr/>
          <p:nvPr/>
        </p:nvSpPr>
        <p:spPr>
          <a:xfrm>
            <a:off x="1362920" y="5814854"/>
            <a:ext cx="1677700" cy="665280"/>
          </a:xfrm>
          <a:prstGeom prst="wedgeRoundRectCallout">
            <a:avLst>
              <a:gd name="adj1" fmla="val -64305"/>
              <a:gd name="adj2" fmla="val -54133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hade the regions according these exact ranges and using the colours shown here</a:t>
            </a:r>
          </a:p>
        </p:txBody>
      </p:sp>
      <p:sp>
        <p:nvSpPr>
          <p:cNvPr id="212" name="Rounded Rectangular Callout 211"/>
          <p:cNvSpPr/>
          <p:nvPr/>
        </p:nvSpPr>
        <p:spPr>
          <a:xfrm>
            <a:off x="1431428" y="870745"/>
            <a:ext cx="1807564" cy="839813"/>
          </a:xfrm>
          <a:prstGeom prst="wedgeRoundRectCallout">
            <a:avLst>
              <a:gd name="adj1" fmla="val -73453"/>
              <a:gd name="adj2" fmla="val -24604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pecify name (e.g. DHS) &amp; year of most recent nationally representative nutrition survey w/ stunting prevalence data</a:t>
            </a:r>
          </a:p>
        </p:txBody>
      </p:sp>
      <p:sp>
        <p:nvSpPr>
          <p:cNvPr id="214" name="Rectangle 213"/>
          <p:cNvSpPr/>
          <p:nvPr/>
        </p:nvSpPr>
        <p:spPr>
          <a:xfrm>
            <a:off x="7761312" y="810277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grpSp>
        <p:nvGrpSpPr>
          <p:cNvPr id="380" name="Group 379"/>
          <p:cNvGrpSpPr/>
          <p:nvPr/>
        </p:nvGrpSpPr>
        <p:grpSpPr>
          <a:xfrm>
            <a:off x="3474518" y="5284527"/>
            <a:ext cx="2210379" cy="1046869"/>
            <a:chOff x="4720686" y="5648642"/>
            <a:chExt cx="2210379" cy="1046869"/>
          </a:xfrm>
        </p:grpSpPr>
        <p:sp>
          <p:nvSpPr>
            <p:cNvPr id="381" name="TextBox 380"/>
            <p:cNvSpPr txBox="1"/>
            <p:nvPr/>
          </p:nvSpPr>
          <p:spPr>
            <a:xfrm>
              <a:off x="5165028" y="5948832"/>
              <a:ext cx="1464945" cy="7466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en-US" sz="1000" dirty="0" smtClean="0">
                  <a:solidFill>
                    <a:srgbClr val="000000"/>
                  </a:solidFill>
                </a:rPr>
                <a:t>0-XX,XXX</a:t>
              </a:r>
              <a:endParaRPr lang="en-US" sz="1000" dirty="0">
                <a:solidFill>
                  <a:srgbClr val="000000"/>
                </a:solidFill>
              </a:endParaRPr>
            </a:p>
            <a:p>
              <a:pPr>
                <a:lnSpc>
                  <a:spcPts val="1300"/>
                </a:lnSpc>
              </a:pPr>
              <a:r>
                <a:rPr lang="en-US" sz="1000" dirty="0" smtClean="0">
                  <a:solidFill>
                    <a:srgbClr val="000000"/>
                  </a:solidFill>
                </a:rPr>
                <a:t>XX,XXX,-XX,XXX</a:t>
              </a:r>
              <a:endParaRPr lang="en-US" sz="1000" dirty="0">
                <a:solidFill>
                  <a:srgbClr val="000000"/>
                </a:solidFill>
              </a:endParaRPr>
            </a:p>
            <a:p>
              <a:pPr>
                <a:lnSpc>
                  <a:spcPts val="1300"/>
                </a:lnSpc>
              </a:pPr>
              <a:r>
                <a:rPr lang="en-US" sz="1000" dirty="0" smtClean="0">
                  <a:solidFill>
                    <a:srgbClr val="000000"/>
                  </a:solidFill>
                </a:rPr>
                <a:t>XXX,XXX–XXX,XXX</a:t>
              </a:r>
              <a:endParaRPr lang="en-US" sz="1000" dirty="0">
                <a:solidFill>
                  <a:srgbClr val="000000"/>
                </a:solidFill>
              </a:endParaRPr>
            </a:p>
            <a:p>
              <a:pPr>
                <a:lnSpc>
                  <a:spcPts val="1300"/>
                </a:lnSpc>
              </a:pPr>
              <a:r>
                <a:rPr lang="en-US" sz="1000" dirty="0" smtClean="0">
                  <a:solidFill>
                    <a:srgbClr val="000000"/>
                  </a:solidFill>
                </a:rPr>
                <a:t>&gt;X,XXX,XXX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382" name="TextBox 381"/>
            <p:cNvSpPr txBox="1"/>
            <p:nvPr/>
          </p:nvSpPr>
          <p:spPr>
            <a:xfrm>
              <a:off x="4720686" y="5648642"/>
              <a:ext cx="221037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rgbClr val="000000"/>
                  </a:solidFill>
                </a:rPr>
                <a:t>Absolute </a:t>
              </a:r>
              <a:r>
                <a:rPr lang="en-US" sz="1200" b="1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#s</a:t>
              </a:r>
              <a:r>
                <a:rPr lang="en-US" sz="1200" b="1" dirty="0" smtClean="0">
                  <a:solidFill>
                    <a:srgbClr val="000000"/>
                  </a:solidFill>
                </a:rPr>
                <a:t> </a:t>
              </a:r>
              <a:r>
                <a:rPr lang="en-US" sz="1200" b="1" dirty="0">
                  <a:solidFill>
                    <a:srgbClr val="000000"/>
                  </a:solidFill>
                </a:rPr>
                <a:t>of </a:t>
              </a:r>
              <a:r>
                <a:rPr lang="en-US" sz="1200" b="1" dirty="0" smtClean="0">
                  <a:solidFill>
                    <a:srgbClr val="000000"/>
                  </a:solidFill>
                </a:rPr>
                <a:t>stunted &lt;5s</a:t>
              </a:r>
              <a:endParaRPr lang="en-US" sz="1200" b="1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383" name="Straight Connector 382"/>
          <p:cNvCxnSpPr/>
          <p:nvPr/>
        </p:nvCxnSpPr>
        <p:spPr>
          <a:xfrm>
            <a:off x="3360213" y="1273344"/>
            <a:ext cx="0" cy="4238878"/>
          </a:xfrm>
          <a:prstGeom prst="line">
            <a:avLst/>
          </a:prstGeom>
          <a:ln w="22225">
            <a:solidFill>
              <a:srgbClr val="CC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0" name="Rectangle 449"/>
          <p:cNvSpPr/>
          <p:nvPr/>
        </p:nvSpPr>
        <p:spPr bwMode="auto">
          <a:xfrm>
            <a:off x="3573090" y="5615843"/>
            <a:ext cx="345770" cy="121063"/>
          </a:xfrm>
          <a:prstGeom prst="rect">
            <a:avLst/>
          </a:prstGeom>
          <a:solidFill>
            <a:srgbClr val="FFEFBD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51" name="Rectangle 450"/>
          <p:cNvSpPr/>
          <p:nvPr/>
        </p:nvSpPr>
        <p:spPr bwMode="auto">
          <a:xfrm>
            <a:off x="3573090" y="5806349"/>
            <a:ext cx="345770" cy="121063"/>
          </a:xfrm>
          <a:prstGeom prst="rect">
            <a:avLst/>
          </a:prstGeom>
          <a:solidFill>
            <a:srgbClr val="CCCCFF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dirty="0" smtClean="0">
              <a:ln>
                <a:noFill/>
              </a:ln>
              <a:solidFill>
                <a:srgbClr val="16AABA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53" name="Rectangle 452"/>
          <p:cNvSpPr/>
          <p:nvPr/>
        </p:nvSpPr>
        <p:spPr bwMode="auto">
          <a:xfrm>
            <a:off x="3573090" y="5996855"/>
            <a:ext cx="345770" cy="121063"/>
          </a:xfrm>
          <a:prstGeom prst="rect">
            <a:avLst/>
          </a:prstGeom>
          <a:solidFill>
            <a:srgbClr val="9966FF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54" name="Rectangle 453"/>
          <p:cNvSpPr/>
          <p:nvPr/>
        </p:nvSpPr>
        <p:spPr bwMode="auto">
          <a:xfrm>
            <a:off x="3573090" y="6187361"/>
            <a:ext cx="345770" cy="121063"/>
          </a:xfrm>
          <a:prstGeom prst="rect">
            <a:avLst/>
          </a:prstGeom>
          <a:solidFill>
            <a:srgbClr val="7030A0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55" name="Straight Connector 454"/>
          <p:cNvCxnSpPr/>
          <p:nvPr/>
        </p:nvCxnSpPr>
        <p:spPr>
          <a:xfrm>
            <a:off x="6609184" y="1316375"/>
            <a:ext cx="0" cy="4238878"/>
          </a:xfrm>
          <a:prstGeom prst="line">
            <a:avLst/>
          </a:prstGeom>
          <a:ln w="22225">
            <a:solidFill>
              <a:srgbClr val="CC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ounded Rectangular Callout 185"/>
          <p:cNvSpPr/>
          <p:nvPr/>
        </p:nvSpPr>
        <p:spPr>
          <a:xfrm>
            <a:off x="5267315" y="5633433"/>
            <a:ext cx="1331771" cy="872208"/>
          </a:xfrm>
          <a:prstGeom prst="wedgeRoundRectCallout">
            <a:avLst>
              <a:gd name="adj1" fmla="val -68431"/>
              <a:gd name="adj2" fmla="val -44957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Please create ranges here based on the data, and use the colours provided here.</a:t>
            </a:r>
          </a:p>
        </p:txBody>
      </p:sp>
      <p:sp>
        <p:nvSpPr>
          <p:cNvPr id="457" name="Rectangle 456"/>
          <p:cNvSpPr/>
          <p:nvPr/>
        </p:nvSpPr>
        <p:spPr bwMode="auto">
          <a:xfrm>
            <a:off x="299177" y="6108448"/>
            <a:ext cx="355371" cy="105250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58" name="Rectangle 457"/>
          <p:cNvSpPr/>
          <p:nvPr/>
        </p:nvSpPr>
        <p:spPr bwMode="auto">
          <a:xfrm>
            <a:off x="299177" y="5914898"/>
            <a:ext cx="355371" cy="111075"/>
          </a:xfrm>
          <a:prstGeom prst="rect">
            <a:avLst/>
          </a:prstGeom>
          <a:solidFill>
            <a:srgbClr val="00B0F0"/>
          </a:solidFill>
          <a:ln w="127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dirty="0" smtClean="0">
              <a:ln>
                <a:noFill/>
              </a:ln>
              <a:solidFill>
                <a:srgbClr val="16AABA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59" name="Rectangle 458"/>
          <p:cNvSpPr/>
          <p:nvPr/>
        </p:nvSpPr>
        <p:spPr bwMode="auto">
          <a:xfrm>
            <a:off x="299177" y="5730297"/>
            <a:ext cx="355371" cy="108491"/>
          </a:xfrm>
          <a:prstGeom prst="rect">
            <a:avLst/>
          </a:prstGeom>
          <a:solidFill>
            <a:srgbClr val="548DD4"/>
          </a:solidFill>
          <a:ln w="127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60" name="Rectangle 459"/>
          <p:cNvSpPr/>
          <p:nvPr/>
        </p:nvSpPr>
        <p:spPr bwMode="auto">
          <a:xfrm>
            <a:off x="299177" y="5540782"/>
            <a:ext cx="355371" cy="113264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3" name="Rounded Rectangular Callout 122"/>
          <p:cNvSpPr/>
          <p:nvPr/>
        </p:nvSpPr>
        <p:spPr>
          <a:xfrm>
            <a:off x="6701668" y="1277210"/>
            <a:ext cx="1258519" cy="1014726"/>
          </a:xfrm>
          <a:prstGeom prst="wedgeRoundRectCallout">
            <a:avLst>
              <a:gd name="adj1" fmla="val -7425"/>
              <a:gd name="adj2" fmla="val 7110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Circle the 3 geographic areas with the highest number of UN actions</a:t>
            </a:r>
          </a:p>
        </p:txBody>
      </p:sp>
      <p:sp>
        <p:nvSpPr>
          <p:cNvPr id="124" name="Rounded Rectangular Callout 123"/>
          <p:cNvSpPr/>
          <p:nvPr/>
        </p:nvSpPr>
        <p:spPr>
          <a:xfrm>
            <a:off x="5359790" y="3519914"/>
            <a:ext cx="1331771" cy="872208"/>
          </a:xfrm>
          <a:prstGeom prst="wedgeRoundRectCallout">
            <a:avLst>
              <a:gd name="adj1" fmla="val -68431"/>
              <a:gd name="adj2" fmla="val -44957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Report the absolute number of stunted children per region in a blue box.</a:t>
            </a:r>
          </a:p>
        </p:txBody>
      </p:sp>
      <p:sp>
        <p:nvSpPr>
          <p:cNvPr id="125" name="Rounded Rectangular Callout 124"/>
          <p:cNvSpPr/>
          <p:nvPr/>
        </p:nvSpPr>
        <p:spPr>
          <a:xfrm>
            <a:off x="3413521" y="1354182"/>
            <a:ext cx="1182977" cy="793913"/>
          </a:xfrm>
          <a:prstGeom prst="wedgeRoundRectCallout">
            <a:avLst>
              <a:gd name="adj1" fmla="val 34609"/>
              <a:gd name="adj2" fmla="val 72208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Circle the 3 areas with the highest absolute numbers of stunted children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>
                <a:latin typeface="Arial" pitchFamily="34" charset="0"/>
                <a:cs typeface="Arial" pitchFamily="34" charset="0"/>
              </a:rPr>
              <a:t>UN </a:t>
            </a:r>
            <a:r>
              <a:rPr lang="en-GB" dirty="0"/>
              <a:t>support compared to stunting prevalence and number of stunted </a:t>
            </a:r>
            <a:r>
              <a:rPr lang="en-GB" dirty="0" smtClean="0"/>
              <a:t>child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6111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6" name="Group 135"/>
          <p:cNvGrpSpPr>
            <a:grpSpLocks noChangeAspect="1"/>
          </p:cNvGrpSpPr>
          <p:nvPr/>
        </p:nvGrpSpPr>
        <p:grpSpPr>
          <a:xfrm>
            <a:off x="1524810" y="1877150"/>
            <a:ext cx="2694615" cy="3470878"/>
            <a:chOff x="609041" y="1620702"/>
            <a:chExt cx="1701378" cy="3509813"/>
          </a:xfrm>
        </p:grpSpPr>
        <p:sp>
          <p:nvSpPr>
            <p:cNvPr id="138" name="Freeform 137"/>
            <p:cNvSpPr>
              <a:spLocks/>
            </p:cNvSpPr>
            <p:nvPr/>
          </p:nvSpPr>
          <p:spPr bwMode="auto">
            <a:xfrm>
              <a:off x="782887" y="3924703"/>
              <a:ext cx="507782" cy="883038"/>
            </a:xfrm>
            <a:custGeom>
              <a:avLst/>
              <a:gdLst>
                <a:gd name="T0" fmla="*/ 2039 w 2547"/>
                <a:gd name="T1" fmla="*/ 3029 h 3272"/>
                <a:gd name="T2" fmla="*/ 1538 w 2547"/>
                <a:gd name="T3" fmla="*/ 3233 h 3272"/>
                <a:gd name="T4" fmla="*/ 1364 w 2547"/>
                <a:gd name="T5" fmla="*/ 3099 h 3272"/>
                <a:gd name="T6" fmla="*/ 1359 w 2547"/>
                <a:gd name="T7" fmla="*/ 3040 h 3272"/>
                <a:gd name="T8" fmla="*/ 1303 w 2547"/>
                <a:gd name="T9" fmla="*/ 3013 h 3272"/>
                <a:gd name="T10" fmla="*/ 1286 w 2547"/>
                <a:gd name="T11" fmla="*/ 2922 h 3272"/>
                <a:gd name="T12" fmla="*/ 1314 w 2547"/>
                <a:gd name="T13" fmla="*/ 2891 h 3272"/>
                <a:gd name="T14" fmla="*/ 1292 w 2547"/>
                <a:gd name="T15" fmla="*/ 2864 h 3272"/>
                <a:gd name="T16" fmla="*/ 1259 w 2547"/>
                <a:gd name="T17" fmla="*/ 2775 h 3272"/>
                <a:gd name="T18" fmla="*/ 1236 w 2547"/>
                <a:gd name="T19" fmla="*/ 2716 h 3272"/>
                <a:gd name="T20" fmla="*/ 1184 w 2547"/>
                <a:gd name="T21" fmla="*/ 2644 h 3272"/>
                <a:gd name="T22" fmla="*/ 1136 w 2547"/>
                <a:gd name="T23" fmla="*/ 2579 h 3272"/>
                <a:gd name="T24" fmla="*/ 1060 w 2547"/>
                <a:gd name="T25" fmla="*/ 2468 h 3272"/>
                <a:gd name="T26" fmla="*/ 953 w 2547"/>
                <a:gd name="T27" fmla="*/ 2428 h 3272"/>
                <a:gd name="T28" fmla="*/ 860 w 2547"/>
                <a:gd name="T29" fmla="*/ 2365 h 3272"/>
                <a:gd name="T30" fmla="*/ 769 w 2547"/>
                <a:gd name="T31" fmla="*/ 2356 h 3272"/>
                <a:gd name="T32" fmla="*/ 704 w 2547"/>
                <a:gd name="T33" fmla="*/ 2336 h 3272"/>
                <a:gd name="T34" fmla="*/ 590 w 2547"/>
                <a:gd name="T35" fmla="*/ 2333 h 3272"/>
                <a:gd name="T36" fmla="*/ 374 w 2547"/>
                <a:gd name="T37" fmla="*/ 2071 h 3272"/>
                <a:gd name="T38" fmla="*/ 101 w 2547"/>
                <a:gd name="T39" fmla="*/ 1185 h 3272"/>
                <a:gd name="T40" fmla="*/ 54 w 2547"/>
                <a:gd name="T41" fmla="*/ 859 h 3272"/>
                <a:gd name="T42" fmla="*/ 740 w 2547"/>
                <a:gd name="T43" fmla="*/ 159 h 3272"/>
                <a:gd name="T44" fmla="*/ 1011 w 2547"/>
                <a:gd name="T45" fmla="*/ 68 h 3272"/>
                <a:gd name="T46" fmla="*/ 1127 w 2547"/>
                <a:gd name="T47" fmla="*/ 85 h 3272"/>
                <a:gd name="T48" fmla="*/ 1217 w 2547"/>
                <a:gd name="T49" fmla="*/ 152 h 3272"/>
                <a:gd name="T50" fmla="*/ 1317 w 2547"/>
                <a:gd name="T51" fmla="*/ 152 h 3272"/>
                <a:gd name="T52" fmla="*/ 1388 w 2547"/>
                <a:gd name="T53" fmla="*/ 214 h 3272"/>
                <a:gd name="T54" fmla="*/ 1479 w 2547"/>
                <a:gd name="T55" fmla="*/ 166 h 3272"/>
                <a:gd name="T56" fmla="*/ 1571 w 2547"/>
                <a:gd name="T57" fmla="*/ 143 h 3272"/>
                <a:gd name="T58" fmla="*/ 1530 w 2547"/>
                <a:gd name="T59" fmla="*/ 245 h 3272"/>
                <a:gd name="T60" fmla="*/ 1630 w 2547"/>
                <a:gd name="T61" fmla="*/ 607 h 3272"/>
                <a:gd name="T62" fmla="*/ 1635 w 2547"/>
                <a:gd name="T63" fmla="*/ 677 h 3272"/>
                <a:gd name="T64" fmla="*/ 1659 w 2547"/>
                <a:gd name="T65" fmla="*/ 776 h 3272"/>
                <a:gd name="T66" fmla="*/ 1666 w 2547"/>
                <a:gd name="T67" fmla="*/ 864 h 3272"/>
                <a:gd name="T68" fmla="*/ 1609 w 2547"/>
                <a:gd name="T69" fmla="*/ 904 h 3272"/>
                <a:gd name="T70" fmla="*/ 1583 w 2547"/>
                <a:gd name="T71" fmla="*/ 989 h 3272"/>
                <a:gd name="T72" fmla="*/ 1609 w 2547"/>
                <a:gd name="T73" fmla="*/ 1054 h 3272"/>
                <a:gd name="T74" fmla="*/ 1723 w 2547"/>
                <a:gd name="T75" fmla="*/ 1121 h 3272"/>
                <a:gd name="T76" fmla="*/ 1769 w 2547"/>
                <a:gd name="T77" fmla="*/ 1202 h 3272"/>
                <a:gd name="T78" fmla="*/ 1898 w 2547"/>
                <a:gd name="T79" fmla="*/ 1307 h 3272"/>
                <a:gd name="T80" fmla="*/ 1916 w 2547"/>
                <a:gd name="T81" fmla="*/ 1373 h 3272"/>
                <a:gd name="T82" fmla="*/ 1976 w 2547"/>
                <a:gd name="T83" fmla="*/ 1426 h 3272"/>
                <a:gd name="T84" fmla="*/ 2025 w 2547"/>
                <a:gd name="T85" fmla="*/ 1498 h 3272"/>
                <a:gd name="T86" fmla="*/ 2044 w 2547"/>
                <a:gd name="T87" fmla="*/ 1555 h 3272"/>
                <a:gd name="T88" fmla="*/ 2064 w 2547"/>
                <a:gd name="T89" fmla="*/ 1618 h 3272"/>
                <a:gd name="T90" fmla="*/ 2050 w 2547"/>
                <a:gd name="T91" fmla="*/ 1640 h 3272"/>
                <a:gd name="T92" fmla="*/ 2055 w 2547"/>
                <a:gd name="T93" fmla="*/ 1693 h 3272"/>
                <a:gd name="T94" fmla="*/ 2078 w 2547"/>
                <a:gd name="T95" fmla="*/ 1748 h 3272"/>
                <a:gd name="T96" fmla="*/ 2117 w 2547"/>
                <a:gd name="T97" fmla="*/ 1780 h 3272"/>
                <a:gd name="T98" fmla="*/ 2114 w 2547"/>
                <a:gd name="T99" fmla="*/ 1813 h 3272"/>
                <a:gd name="T100" fmla="*/ 2094 w 2547"/>
                <a:gd name="T101" fmla="*/ 1870 h 3272"/>
                <a:gd name="T102" fmla="*/ 2119 w 2547"/>
                <a:gd name="T103" fmla="*/ 1901 h 3272"/>
                <a:gd name="T104" fmla="*/ 2114 w 2547"/>
                <a:gd name="T105" fmla="*/ 1940 h 3272"/>
                <a:gd name="T106" fmla="*/ 2108 w 2547"/>
                <a:gd name="T107" fmla="*/ 2010 h 3272"/>
                <a:gd name="T108" fmla="*/ 2119 w 2547"/>
                <a:gd name="T109" fmla="*/ 2049 h 3272"/>
                <a:gd name="T110" fmla="*/ 2108 w 2547"/>
                <a:gd name="T111" fmla="*/ 2103 h 3272"/>
                <a:gd name="T112" fmla="*/ 2104 w 2547"/>
                <a:gd name="T113" fmla="*/ 2163 h 3272"/>
                <a:gd name="T114" fmla="*/ 2144 w 2547"/>
                <a:gd name="T115" fmla="*/ 2219 h 3272"/>
                <a:gd name="T116" fmla="*/ 2307 w 2547"/>
                <a:gd name="T117" fmla="*/ 2580 h 3272"/>
                <a:gd name="T118" fmla="*/ 2418 w 2547"/>
                <a:gd name="T119" fmla="*/ 2552 h 3272"/>
                <a:gd name="T120" fmla="*/ 2498 w 2547"/>
                <a:gd name="T121" fmla="*/ 2638 h 327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547"/>
                <a:gd name="T184" fmla="*/ 0 h 3272"/>
                <a:gd name="T185" fmla="*/ 2547 w 2547"/>
                <a:gd name="T186" fmla="*/ 3272 h 327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547" h="3272">
                  <a:moveTo>
                    <a:pt x="2489" y="2875"/>
                  </a:moveTo>
                  <a:lnTo>
                    <a:pt x="2475" y="2880"/>
                  </a:lnTo>
                  <a:lnTo>
                    <a:pt x="2468" y="2885"/>
                  </a:lnTo>
                  <a:lnTo>
                    <a:pt x="2438" y="2897"/>
                  </a:lnTo>
                  <a:lnTo>
                    <a:pt x="2423" y="2902"/>
                  </a:lnTo>
                  <a:lnTo>
                    <a:pt x="2412" y="2907"/>
                  </a:lnTo>
                  <a:lnTo>
                    <a:pt x="2377" y="2916"/>
                  </a:lnTo>
                  <a:lnTo>
                    <a:pt x="2365" y="2916"/>
                  </a:lnTo>
                  <a:lnTo>
                    <a:pt x="2356" y="2917"/>
                  </a:lnTo>
                  <a:lnTo>
                    <a:pt x="2253" y="2958"/>
                  </a:lnTo>
                  <a:lnTo>
                    <a:pt x="2210" y="2971"/>
                  </a:lnTo>
                  <a:lnTo>
                    <a:pt x="2188" y="2981"/>
                  </a:lnTo>
                  <a:lnTo>
                    <a:pt x="2176" y="2984"/>
                  </a:lnTo>
                  <a:lnTo>
                    <a:pt x="2163" y="2992"/>
                  </a:lnTo>
                  <a:lnTo>
                    <a:pt x="2144" y="2995"/>
                  </a:lnTo>
                  <a:lnTo>
                    <a:pt x="2133" y="2999"/>
                  </a:lnTo>
                  <a:lnTo>
                    <a:pt x="2121" y="3001"/>
                  </a:lnTo>
                  <a:lnTo>
                    <a:pt x="2078" y="3014"/>
                  </a:lnTo>
                  <a:lnTo>
                    <a:pt x="2057" y="3021"/>
                  </a:lnTo>
                  <a:lnTo>
                    <a:pt x="2039" y="3029"/>
                  </a:lnTo>
                  <a:lnTo>
                    <a:pt x="2003" y="3041"/>
                  </a:lnTo>
                  <a:lnTo>
                    <a:pt x="1969" y="3054"/>
                  </a:lnTo>
                  <a:lnTo>
                    <a:pt x="1957" y="3056"/>
                  </a:lnTo>
                  <a:lnTo>
                    <a:pt x="1939" y="3065"/>
                  </a:lnTo>
                  <a:lnTo>
                    <a:pt x="1904" y="3079"/>
                  </a:lnTo>
                  <a:lnTo>
                    <a:pt x="1878" y="3093"/>
                  </a:lnTo>
                  <a:lnTo>
                    <a:pt x="1848" y="3104"/>
                  </a:lnTo>
                  <a:lnTo>
                    <a:pt x="1818" y="3113"/>
                  </a:lnTo>
                  <a:lnTo>
                    <a:pt x="1797" y="3124"/>
                  </a:lnTo>
                  <a:lnTo>
                    <a:pt x="1769" y="3135"/>
                  </a:lnTo>
                  <a:lnTo>
                    <a:pt x="1764" y="3137"/>
                  </a:lnTo>
                  <a:lnTo>
                    <a:pt x="1730" y="3149"/>
                  </a:lnTo>
                  <a:lnTo>
                    <a:pt x="1689" y="3168"/>
                  </a:lnTo>
                  <a:lnTo>
                    <a:pt x="1648" y="3183"/>
                  </a:lnTo>
                  <a:lnTo>
                    <a:pt x="1630" y="3193"/>
                  </a:lnTo>
                  <a:lnTo>
                    <a:pt x="1591" y="3210"/>
                  </a:lnTo>
                  <a:lnTo>
                    <a:pt x="1560" y="3227"/>
                  </a:lnTo>
                  <a:lnTo>
                    <a:pt x="1558" y="3227"/>
                  </a:lnTo>
                  <a:lnTo>
                    <a:pt x="1552" y="3227"/>
                  </a:lnTo>
                  <a:lnTo>
                    <a:pt x="1538" y="3233"/>
                  </a:lnTo>
                  <a:lnTo>
                    <a:pt x="1470" y="3272"/>
                  </a:lnTo>
                  <a:lnTo>
                    <a:pt x="1470" y="3235"/>
                  </a:lnTo>
                  <a:lnTo>
                    <a:pt x="1473" y="3205"/>
                  </a:lnTo>
                  <a:lnTo>
                    <a:pt x="1470" y="3191"/>
                  </a:lnTo>
                  <a:lnTo>
                    <a:pt x="1469" y="3170"/>
                  </a:lnTo>
                  <a:lnTo>
                    <a:pt x="1466" y="3163"/>
                  </a:lnTo>
                  <a:lnTo>
                    <a:pt x="1457" y="3149"/>
                  </a:lnTo>
                  <a:lnTo>
                    <a:pt x="1442" y="3127"/>
                  </a:lnTo>
                  <a:lnTo>
                    <a:pt x="1355" y="3129"/>
                  </a:lnTo>
                  <a:lnTo>
                    <a:pt x="1355" y="3124"/>
                  </a:lnTo>
                  <a:lnTo>
                    <a:pt x="1359" y="3123"/>
                  </a:lnTo>
                  <a:lnTo>
                    <a:pt x="1359" y="3120"/>
                  </a:lnTo>
                  <a:lnTo>
                    <a:pt x="1362" y="3112"/>
                  </a:lnTo>
                  <a:lnTo>
                    <a:pt x="1360" y="3111"/>
                  </a:lnTo>
                  <a:lnTo>
                    <a:pt x="1357" y="3110"/>
                  </a:lnTo>
                  <a:lnTo>
                    <a:pt x="1357" y="3108"/>
                  </a:lnTo>
                  <a:lnTo>
                    <a:pt x="1359" y="3108"/>
                  </a:lnTo>
                  <a:lnTo>
                    <a:pt x="1357" y="3104"/>
                  </a:lnTo>
                  <a:lnTo>
                    <a:pt x="1362" y="3100"/>
                  </a:lnTo>
                  <a:lnTo>
                    <a:pt x="1364" y="3099"/>
                  </a:lnTo>
                  <a:lnTo>
                    <a:pt x="1366" y="3094"/>
                  </a:lnTo>
                  <a:lnTo>
                    <a:pt x="1370" y="3091"/>
                  </a:lnTo>
                  <a:lnTo>
                    <a:pt x="1371" y="3088"/>
                  </a:lnTo>
                  <a:lnTo>
                    <a:pt x="1370" y="3082"/>
                  </a:lnTo>
                  <a:lnTo>
                    <a:pt x="1371" y="3079"/>
                  </a:lnTo>
                  <a:lnTo>
                    <a:pt x="1369" y="3073"/>
                  </a:lnTo>
                  <a:lnTo>
                    <a:pt x="1364" y="3073"/>
                  </a:lnTo>
                  <a:lnTo>
                    <a:pt x="1359" y="3075"/>
                  </a:lnTo>
                  <a:lnTo>
                    <a:pt x="1353" y="3068"/>
                  </a:lnTo>
                  <a:lnTo>
                    <a:pt x="1349" y="3066"/>
                  </a:lnTo>
                  <a:lnTo>
                    <a:pt x="1348" y="3065"/>
                  </a:lnTo>
                  <a:lnTo>
                    <a:pt x="1348" y="3063"/>
                  </a:lnTo>
                  <a:lnTo>
                    <a:pt x="1350" y="3062"/>
                  </a:lnTo>
                  <a:lnTo>
                    <a:pt x="1349" y="3056"/>
                  </a:lnTo>
                  <a:lnTo>
                    <a:pt x="1353" y="3056"/>
                  </a:lnTo>
                  <a:lnTo>
                    <a:pt x="1353" y="3053"/>
                  </a:lnTo>
                  <a:lnTo>
                    <a:pt x="1355" y="3049"/>
                  </a:lnTo>
                  <a:lnTo>
                    <a:pt x="1355" y="3046"/>
                  </a:lnTo>
                  <a:lnTo>
                    <a:pt x="1357" y="3045"/>
                  </a:lnTo>
                  <a:lnTo>
                    <a:pt x="1359" y="3040"/>
                  </a:lnTo>
                  <a:lnTo>
                    <a:pt x="1360" y="3041"/>
                  </a:lnTo>
                  <a:lnTo>
                    <a:pt x="1363" y="3038"/>
                  </a:lnTo>
                  <a:lnTo>
                    <a:pt x="1363" y="3037"/>
                  </a:lnTo>
                  <a:lnTo>
                    <a:pt x="1360" y="3033"/>
                  </a:lnTo>
                  <a:lnTo>
                    <a:pt x="1357" y="3033"/>
                  </a:lnTo>
                  <a:lnTo>
                    <a:pt x="1355" y="3033"/>
                  </a:lnTo>
                  <a:lnTo>
                    <a:pt x="1352" y="3033"/>
                  </a:lnTo>
                  <a:lnTo>
                    <a:pt x="1348" y="3032"/>
                  </a:lnTo>
                  <a:lnTo>
                    <a:pt x="1344" y="3032"/>
                  </a:lnTo>
                  <a:lnTo>
                    <a:pt x="1341" y="3031"/>
                  </a:lnTo>
                  <a:lnTo>
                    <a:pt x="1334" y="3032"/>
                  </a:lnTo>
                  <a:lnTo>
                    <a:pt x="1330" y="3029"/>
                  </a:lnTo>
                  <a:lnTo>
                    <a:pt x="1322" y="3028"/>
                  </a:lnTo>
                  <a:lnTo>
                    <a:pt x="1321" y="3025"/>
                  </a:lnTo>
                  <a:lnTo>
                    <a:pt x="1317" y="3025"/>
                  </a:lnTo>
                  <a:lnTo>
                    <a:pt x="1316" y="3023"/>
                  </a:lnTo>
                  <a:lnTo>
                    <a:pt x="1313" y="3021"/>
                  </a:lnTo>
                  <a:lnTo>
                    <a:pt x="1302" y="3021"/>
                  </a:lnTo>
                  <a:lnTo>
                    <a:pt x="1300" y="3017"/>
                  </a:lnTo>
                  <a:lnTo>
                    <a:pt x="1303" y="3013"/>
                  </a:lnTo>
                  <a:lnTo>
                    <a:pt x="1303" y="3009"/>
                  </a:lnTo>
                  <a:lnTo>
                    <a:pt x="1296" y="3003"/>
                  </a:lnTo>
                  <a:lnTo>
                    <a:pt x="1295" y="3000"/>
                  </a:lnTo>
                  <a:lnTo>
                    <a:pt x="1295" y="2998"/>
                  </a:lnTo>
                  <a:lnTo>
                    <a:pt x="1300" y="2975"/>
                  </a:lnTo>
                  <a:lnTo>
                    <a:pt x="1299" y="2972"/>
                  </a:lnTo>
                  <a:lnTo>
                    <a:pt x="1295" y="2969"/>
                  </a:lnTo>
                  <a:lnTo>
                    <a:pt x="1296" y="2967"/>
                  </a:lnTo>
                  <a:lnTo>
                    <a:pt x="1300" y="2967"/>
                  </a:lnTo>
                  <a:lnTo>
                    <a:pt x="1302" y="2964"/>
                  </a:lnTo>
                  <a:lnTo>
                    <a:pt x="1302" y="2961"/>
                  </a:lnTo>
                  <a:lnTo>
                    <a:pt x="1297" y="2958"/>
                  </a:lnTo>
                  <a:lnTo>
                    <a:pt x="1299" y="2955"/>
                  </a:lnTo>
                  <a:lnTo>
                    <a:pt x="1302" y="2954"/>
                  </a:lnTo>
                  <a:lnTo>
                    <a:pt x="1303" y="2950"/>
                  </a:lnTo>
                  <a:lnTo>
                    <a:pt x="1302" y="2946"/>
                  </a:lnTo>
                  <a:lnTo>
                    <a:pt x="1295" y="2945"/>
                  </a:lnTo>
                  <a:lnTo>
                    <a:pt x="1286" y="2939"/>
                  </a:lnTo>
                  <a:lnTo>
                    <a:pt x="1285" y="2936"/>
                  </a:lnTo>
                  <a:lnTo>
                    <a:pt x="1286" y="2922"/>
                  </a:lnTo>
                  <a:lnTo>
                    <a:pt x="1289" y="2917"/>
                  </a:lnTo>
                  <a:lnTo>
                    <a:pt x="1294" y="2913"/>
                  </a:lnTo>
                  <a:lnTo>
                    <a:pt x="1295" y="2911"/>
                  </a:lnTo>
                  <a:lnTo>
                    <a:pt x="1295" y="2907"/>
                  </a:lnTo>
                  <a:lnTo>
                    <a:pt x="1296" y="2905"/>
                  </a:lnTo>
                  <a:lnTo>
                    <a:pt x="1300" y="2908"/>
                  </a:lnTo>
                  <a:lnTo>
                    <a:pt x="1302" y="2907"/>
                  </a:lnTo>
                  <a:lnTo>
                    <a:pt x="1299" y="2907"/>
                  </a:lnTo>
                  <a:lnTo>
                    <a:pt x="1300" y="2904"/>
                  </a:lnTo>
                  <a:lnTo>
                    <a:pt x="1306" y="2902"/>
                  </a:lnTo>
                  <a:lnTo>
                    <a:pt x="1306" y="2900"/>
                  </a:lnTo>
                  <a:lnTo>
                    <a:pt x="1309" y="2900"/>
                  </a:lnTo>
                  <a:lnTo>
                    <a:pt x="1309" y="2899"/>
                  </a:lnTo>
                  <a:lnTo>
                    <a:pt x="1311" y="2897"/>
                  </a:lnTo>
                  <a:lnTo>
                    <a:pt x="1313" y="2899"/>
                  </a:lnTo>
                  <a:lnTo>
                    <a:pt x="1316" y="2897"/>
                  </a:lnTo>
                  <a:lnTo>
                    <a:pt x="1317" y="2899"/>
                  </a:lnTo>
                  <a:lnTo>
                    <a:pt x="1319" y="2897"/>
                  </a:lnTo>
                  <a:lnTo>
                    <a:pt x="1317" y="2894"/>
                  </a:lnTo>
                  <a:lnTo>
                    <a:pt x="1314" y="2891"/>
                  </a:lnTo>
                  <a:lnTo>
                    <a:pt x="1316" y="2889"/>
                  </a:lnTo>
                  <a:lnTo>
                    <a:pt x="1316" y="2888"/>
                  </a:lnTo>
                  <a:lnTo>
                    <a:pt x="1316" y="2885"/>
                  </a:lnTo>
                  <a:lnTo>
                    <a:pt x="1314" y="2884"/>
                  </a:lnTo>
                  <a:lnTo>
                    <a:pt x="1313" y="2885"/>
                  </a:lnTo>
                  <a:lnTo>
                    <a:pt x="1306" y="2884"/>
                  </a:lnTo>
                  <a:lnTo>
                    <a:pt x="1305" y="2885"/>
                  </a:lnTo>
                  <a:lnTo>
                    <a:pt x="1302" y="2885"/>
                  </a:lnTo>
                  <a:lnTo>
                    <a:pt x="1296" y="2883"/>
                  </a:lnTo>
                  <a:lnTo>
                    <a:pt x="1297" y="2880"/>
                  </a:lnTo>
                  <a:lnTo>
                    <a:pt x="1295" y="2879"/>
                  </a:lnTo>
                  <a:lnTo>
                    <a:pt x="1297" y="2877"/>
                  </a:lnTo>
                  <a:lnTo>
                    <a:pt x="1295" y="2876"/>
                  </a:lnTo>
                  <a:lnTo>
                    <a:pt x="1297" y="2874"/>
                  </a:lnTo>
                  <a:lnTo>
                    <a:pt x="1296" y="2872"/>
                  </a:lnTo>
                  <a:lnTo>
                    <a:pt x="1294" y="2872"/>
                  </a:lnTo>
                  <a:lnTo>
                    <a:pt x="1292" y="2871"/>
                  </a:lnTo>
                  <a:lnTo>
                    <a:pt x="1292" y="2867"/>
                  </a:lnTo>
                  <a:lnTo>
                    <a:pt x="1294" y="2866"/>
                  </a:lnTo>
                  <a:lnTo>
                    <a:pt x="1292" y="2864"/>
                  </a:lnTo>
                  <a:lnTo>
                    <a:pt x="1294" y="2863"/>
                  </a:lnTo>
                  <a:lnTo>
                    <a:pt x="1286" y="2860"/>
                  </a:lnTo>
                  <a:lnTo>
                    <a:pt x="1288" y="2858"/>
                  </a:lnTo>
                  <a:lnTo>
                    <a:pt x="1291" y="2857"/>
                  </a:lnTo>
                  <a:lnTo>
                    <a:pt x="1289" y="2854"/>
                  </a:lnTo>
                  <a:lnTo>
                    <a:pt x="1291" y="2854"/>
                  </a:lnTo>
                  <a:lnTo>
                    <a:pt x="1291" y="2852"/>
                  </a:lnTo>
                  <a:lnTo>
                    <a:pt x="1291" y="2851"/>
                  </a:lnTo>
                  <a:lnTo>
                    <a:pt x="1285" y="2851"/>
                  </a:lnTo>
                  <a:lnTo>
                    <a:pt x="1285" y="2850"/>
                  </a:lnTo>
                  <a:lnTo>
                    <a:pt x="1296" y="2834"/>
                  </a:lnTo>
                  <a:lnTo>
                    <a:pt x="1306" y="2824"/>
                  </a:lnTo>
                  <a:lnTo>
                    <a:pt x="1327" y="2775"/>
                  </a:lnTo>
                  <a:lnTo>
                    <a:pt x="1288" y="2775"/>
                  </a:lnTo>
                  <a:lnTo>
                    <a:pt x="1272" y="2775"/>
                  </a:lnTo>
                  <a:lnTo>
                    <a:pt x="1260" y="2785"/>
                  </a:lnTo>
                  <a:lnTo>
                    <a:pt x="1256" y="2787"/>
                  </a:lnTo>
                  <a:lnTo>
                    <a:pt x="1256" y="2782"/>
                  </a:lnTo>
                  <a:lnTo>
                    <a:pt x="1260" y="2779"/>
                  </a:lnTo>
                  <a:lnTo>
                    <a:pt x="1259" y="2775"/>
                  </a:lnTo>
                  <a:lnTo>
                    <a:pt x="1261" y="2772"/>
                  </a:lnTo>
                  <a:lnTo>
                    <a:pt x="1263" y="2766"/>
                  </a:lnTo>
                  <a:lnTo>
                    <a:pt x="1259" y="2763"/>
                  </a:lnTo>
                  <a:lnTo>
                    <a:pt x="1256" y="2764"/>
                  </a:lnTo>
                  <a:lnTo>
                    <a:pt x="1252" y="2762"/>
                  </a:lnTo>
                  <a:lnTo>
                    <a:pt x="1252" y="2760"/>
                  </a:lnTo>
                  <a:lnTo>
                    <a:pt x="1250" y="2758"/>
                  </a:lnTo>
                  <a:lnTo>
                    <a:pt x="1250" y="2755"/>
                  </a:lnTo>
                  <a:lnTo>
                    <a:pt x="1241" y="2750"/>
                  </a:lnTo>
                  <a:lnTo>
                    <a:pt x="1239" y="2750"/>
                  </a:lnTo>
                  <a:lnTo>
                    <a:pt x="1234" y="2745"/>
                  </a:lnTo>
                  <a:lnTo>
                    <a:pt x="1232" y="2742"/>
                  </a:lnTo>
                  <a:lnTo>
                    <a:pt x="1235" y="2737"/>
                  </a:lnTo>
                  <a:lnTo>
                    <a:pt x="1234" y="2730"/>
                  </a:lnTo>
                  <a:lnTo>
                    <a:pt x="1235" y="2726"/>
                  </a:lnTo>
                  <a:lnTo>
                    <a:pt x="1236" y="2726"/>
                  </a:lnTo>
                  <a:lnTo>
                    <a:pt x="1234" y="2722"/>
                  </a:lnTo>
                  <a:lnTo>
                    <a:pt x="1238" y="2721"/>
                  </a:lnTo>
                  <a:lnTo>
                    <a:pt x="1239" y="2718"/>
                  </a:lnTo>
                  <a:lnTo>
                    <a:pt x="1236" y="2716"/>
                  </a:lnTo>
                  <a:lnTo>
                    <a:pt x="1236" y="2713"/>
                  </a:lnTo>
                  <a:lnTo>
                    <a:pt x="1232" y="2711"/>
                  </a:lnTo>
                  <a:lnTo>
                    <a:pt x="1232" y="2706"/>
                  </a:lnTo>
                  <a:lnTo>
                    <a:pt x="1230" y="2701"/>
                  </a:lnTo>
                  <a:lnTo>
                    <a:pt x="1227" y="2700"/>
                  </a:lnTo>
                  <a:lnTo>
                    <a:pt x="1222" y="2700"/>
                  </a:lnTo>
                  <a:lnTo>
                    <a:pt x="1221" y="2700"/>
                  </a:lnTo>
                  <a:lnTo>
                    <a:pt x="1211" y="2684"/>
                  </a:lnTo>
                  <a:lnTo>
                    <a:pt x="1213" y="2681"/>
                  </a:lnTo>
                  <a:lnTo>
                    <a:pt x="1211" y="2677"/>
                  </a:lnTo>
                  <a:lnTo>
                    <a:pt x="1209" y="2677"/>
                  </a:lnTo>
                  <a:lnTo>
                    <a:pt x="1206" y="2675"/>
                  </a:lnTo>
                  <a:lnTo>
                    <a:pt x="1206" y="2671"/>
                  </a:lnTo>
                  <a:lnTo>
                    <a:pt x="1200" y="2664"/>
                  </a:lnTo>
                  <a:lnTo>
                    <a:pt x="1197" y="2661"/>
                  </a:lnTo>
                  <a:lnTo>
                    <a:pt x="1196" y="2659"/>
                  </a:lnTo>
                  <a:lnTo>
                    <a:pt x="1191" y="2655"/>
                  </a:lnTo>
                  <a:lnTo>
                    <a:pt x="1189" y="2651"/>
                  </a:lnTo>
                  <a:lnTo>
                    <a:pt x="1185" y="2648"/>
                  </a:lnTo>
                  <a:lnTo>
                    <a:pt x="1184" y="2644"/>
                  </a:lnTo>
                  <a:lnTo>
                    <a:pt x="1182" y="2642"/>
                  </a:lnTo>
                  <a:lnTo>
                    <a:pt x="1181" y="2633"/>
                  </a:lnTo>
                  <a:lnTo>
                    <a:pt x="1178" y="2627"/>
                  </a:lnTo>
                  <a:lnTo>
                    <a:pt x="1178" y="2626"/>
                  </a:lnTo>
                  <a:lnTo>
                    <a:pt x="1174" y="2624"/>
                  </a:lnTo>
                  <a:lnTo>
                    <a:pt x="1175" y="2619"/>
                  </a:lnTo>
                  <a:lnTo>
                    <a:pt x="1174" y="2617"/>
                  </a:lnTo>
                  <a:lnTo>
                    <a:pt x="1174" y="2616"/>
                  </a:lnTo>
                  <a:lnTo>
                    <a:pt x="1167" y="2610"/>
                  </a:lnTo>
                  <a:lnTo>
                    <a:pt x="1163" y="2610"/>
                  </a:lnTo>
                  <a:lnTo>
                    <a:pt x="1160" y="2605"/>
                  </a:lnTo>
                  <a:lnTo>
                    <a:pt x="1161" y="2599"/>
                  </a:lnTo>
                  <a:lnTo>
                    <a:pt x="1157" y="2597"/>
                  </a:lnTo>
                  <a:lnTo>
                    <a:pt x="1155" y="2596"/>
                  </a:lnTo>
                  <a:lnTo>
                    <a:pt x="1152" y="2597"/>
                  </a:lnTo>
                  <a:lnTo>
                    <a:pt x="1150" y="2597"/>
                  </a:lnTo>
                  <a:lnTo>
                    <a:pt x="1150" y="2594"/>
                  </a:lnTo>
                  <a:lnTo>
                    <a:pt x="1142" y="2588"/>
                  </a:lnTo>
                  <a:lnTo>
                    <a:pt x="1142" y="2581"/>
                  </a:lnTo>
                  <a:lnTo>
                    <a:pt x="1136" y="2579"/>
                  </a:lnTo>
                  <a:lnTo>
                    <a:pt x="1135" y="2576"/>
                  </a:lnTo>
                  <a:lnTo>
                    <a:pt x="1135" y="2564"/>
                  </a:lnTo>
                  <a:lnTo>
                    <a:pt x="1138" y="2559"/>
                  </a:lnTo>
                  <a:lnTo>
                    <a:pt x="1138" y="2555"/>
                  </a:lnTo>
                  <a:lnTo>
                    <a:pt x="1145" y="2547"/>
                  </a:lnTo>
                  <a:lnTo>
                    <a:pt x="1145" y="2534"/>
                  </a:lnTo>
                  <a:lnTo>
                    <a:pt x="1143" y="2532"/>
                  </a:lnTo>
                  <a:lnTo>
                    <a:pt x="1145" y="2526"/>
                  </a:lnTo>
                  <a:lnTo>
                    <a:pt x="1142" y="2512"/>
                  </a:lnTo>
                  <a:lnTo>
                    <a:pt x="1143" y="2501"/>
                  </a:lnTo>
                  <a:lnTo>
                    <a:pt x="1141" y="2489"/>
                  </a:lnTo>
                  <a:lnTo>
                    <a:pt x="1127" y="2481"/>
                  </a:lnTo>
                  <a:lnTo>
                    <a:pt x="1122" y="2481"/>
                  </a:lnTo>
                  <a:lnTo>
                    <a:pt x="1118" y="2478"/>
                  </a:lnTo>
                  <a:lnTo>
                    <a:pt x="1120" y="2477"/>
                  </a:lnTo>
                  <a:lnTo>
                    <a:pt x="1100" y="2474"/>
                  </a:lnTo>
                  <a:lnTo>
                    <a:pt x="1088" y="2467"/>
                  </a:lnTo>
                  <a:lnTo>
                    <a:pt x="1084" y="2467"/>
                  </a:lnTo>
                  <a:lnTo>
                    <a:pt x="1075" y="2465"/>
                  </a:lnTo>
                  <a:lnTo>
                    <a:pt x="1060" y="2468"/>
                  </a:lnTo>
                  <a:lnTo>
                    <a:pt x="1054" y="2467"/>
                  </a:lnTo>
                  <a:lnTo>
                    <a:pt x="1050" y="2468"/>
                  </a:lnTo>
                  <a:lnTo>
                    <a:pt x="1046" y="2462"/>
                  </a:lnTo>
                  <a:lnTo>
                    <a:pt x="1040" y="2457"/>
                  </a:lnTo>
                  <a:lnTo>
                    <a:pt x="1039" y="2452"/>
                  </a:lnTo>
                  <a:lnTo>
                    <a:pt x="1036" y="2449"/>
                  </a:lnTo>
                  <a:lnTo>
                    <a:pt x="1035" y="2445"/>
                  </a:lnTo>
                  <a:lnTo>
                    <a:pt x="1032" y="2444"/>
                  </a:lnTo>
                  <a:lnTo>
                    <a:pt x="1031" y="2442"/>
                  </a:lnTo>
                  <a:lnTo>
                    <a:pt x="1020" y="2435"/>
                  </a:lnTo>
                  <a:lnTo>
                    <a:pt x="1010" y="2431"/>
                  </a:lnTo>
                  <a:lnTo>
                    <a:pt x="1000" y="2440"/>
                  </a:lnTo>
                  <a:lnTo>
                    <a:pt x="995" y="2442"/>
                  </a:lnTo>
                  <a:lnTo>
                    <a:pt x="987" y="2439"/>
                  </a:lnTo>
                  <a:lnTo>
                    <a:pt x="983" y="2431"/>
                  </a:lnTo>
                  <a:lnTo>
                    <a:pt x="979" y="2432"/>
                  </a:lnTo>
                  <a:lnTo>
                    <a:pt x="970" y="2428"/>
                  </a:lnTo>
                  <a:lnTo>
                    <a:pt x="960" y="2430"/>
                  </a:lnTo>
                  <a:lnTo>
                    <a:pt x="957" y="2428"/>
                  </a:lnTo>
                  <a:lnTo>
                    <a:pt x="953" y="2428"/>
                  </a:lnTo>
                  <a:lnTo>
                    <a:pt x="949" y="2427"/>
                  </a:lnTo>
                  <a:lnTo>
                    <a:pt x="946" y="2427"/>
                  </a:lnTo>
                  <a:lnTo>
                    <a:pt x="943" y="2425"/>
                  </a:lnTo>
                  <a:lnTo>
                    <a:pt x="931" y="2408"/>
                  </a:lnTo>
                  <a:lnTo>
                    <a:pt x="926" y="2408"/>
                  </a:lnTo>
                  <a:lnTo>
                    <a:pt x="922" y="2407"/>
                  </a:lnTo>
                  <a:lnTo>
                    <a:pt x="921" y="2399"/>
                  </a:lnTo>
                  <a:lnTo>
                    <a:pt x="917" y="2397"/>
                  </a:lnTo>
                  <a:lnTo>
                    <a:pt x="912" y="2385"/>
                  </a:lnTo>
                  <a:lnTo>
                    <a:pt x="906" y="2387"/>
                  </a:lnTo>
                  <a:lnTo>
                    <a:pt x="898" y="2381"/>
                  </a:lnTo>
                  <a:lnTo>
                    <a:pt x="896" y="2377"/>
                  </a:lnTo>
                  <a:lnTo>
                    <a:pt x="892" y="2373"/>
                  </a:lnTo>
                  <a:lnTo>
                    <a:pt x="889" y="2373"/>
                  </a:lnTo>
                  <a:lnTo>
                    <a:pt x="887" y="2369"/>
                  </a:lnTo>
                  <a:lnTo>
                    <a:pt x="885" y="2368"/>
                  </a:lnTo>
                  <a:lnTo>
                    <a:pt x="882" y="2368"/>
                  </a:lnTo>
                  <a:lnTo>
                    <a:pt x="881" y="2370"/>
                  </a:lnTo>
                  <a:lnTo>
                    <a:pt x="871" y="2365"/>
                  </a:lnTo>
                  <a:lnTo>
                    <a:pt x="860" y="2365"/>
                  </a:lnTo>
                  <a:lnTo>
                    <a:pt x="853" y="2361"/>
                  </a:lnTo>
                  <a:lnTo>
                    <a:pt x="844" y="2361"/>
                  </a:lnTo>
                  <a:lnTo>
                    <a:pt x="840" y="2358"/>
                  </a:lnTo>
                  <a:lnTo>
                    <a:pt x="835" y="2360"/>
                  </a:lnTo>
                  <a:lnTo>
                    <a:pt x="830" y="2358"/>
                  </a:lnTo>
                  <a:lnTo>
                    <a:pt x="829" y="2358"/>
                  </a:lnTo>
                  <a:lnTo>
                    <a:pt x="829" y="2360"/>
                  </a:lnTo>
                  <a:lnTo>
                    <a:pt x="823" y="2361"/>
                  </a:lnTo>
                  <a:lnTo>
                    <a:pt x="819" y="2365"/>
                  </a:lnTo>
                  <a:lnTo>
                    <a:pt x="814" y="2363"/>
                  </a:lnTo>
                  <a:lnTo>
                    <a:pt x="810" y="2365"/>
                  </a:lnTo>
                  <a:lnTo>
                    <a:pt x="805" y="2363"/>
                  </a:lnTo>
                  <a:lnTo>
                    <a:pt x="803" y="2362"/>
                  </a:lnTo>
                  <a:lnTo>
                    <a:pt x="797" y="2362"/>
                  </a:lnTo>
                  <a:lnTo>
                    <a:pt x="793" y="2363"/>
                  </a:lnTo>
                  <a:lnTo>
                    <a:pt x="790" y="2368"/>
                  </a:lnTo>
                  <a:lnTo>
                    <a:pt x="787" y="2368"/>
                  </a:lnTo>
                  <a:lnTo>
                    <a:pt x="782" y="2365"/>
                  </a:lnTo>
                  <a:lnTo>
                    <a:pt x="780" y="2362"/>
                  </a:lnTo>
                  <a:lnTo>
                    <a:pt x="769" y="2356"/>
                  </a:lnTo>
                  <a:lnTo>
                    <a:pt x="761" y="2350"/>
                  </a:lnTo>
                  <a:lnTo>
                    <a:pt x="758" y="2352"/>
                  </a:lnTo>
                  <a:lnTo>
                    <a:pt x="750" y="2348"/>
                  </a:lnTo>
                  <a:lnTo>
                    <a:pt x="748" y="2350"/>
                  </a:lnTo>
                  <a:lnTo>
                    <a:pt x="747" y="2349"/>
                  </a:lnTo>
                  <a:lnTo>
                    <a:pt x="743" y="2357"/>
                  </a:lnTo>
                  <a:lnTo>
                    <a:pt x="740" y="2352"/>
                  </a:lnTo>
                  <a:lnTo>
                    <a:pt x="735" y="2350"/>
                  </a:lnTo>
                  <a:lnTo>
                    <a:pt x="729" y="2350"/>
                  </a:lnTo>
                  <a:lnTo>
                    <a:pt x="725" y="2345"/>
                  </a:lnTo>
                  <a:lnTo>
                    <a:pt x="721" y="2344"/>
                  </a:lnTo>
                  <a:lnTo>
                    <a:pt x="721" y="2341"/>
                  </a:lnTo>
                  <a:lnTo>
                    <a:pt x="718" y="2343"/>
                  </a:lnTo>
                  <a:lnTo>
                    <a:pt x="718" y="2338"/>
                  </a:lnTo>
                  <a:lnTo>
                    <a:pt x="715" y="2336"/>
                  </a:lnTo>
                  <a:lnTo>
                    <a:pt x="711" y="2336"/>
                  </a:lnTo>
                  <a:lnTo>
                    <a:pt x="710" y="2337"/>
                  </a:lnTo>
                  <a:lnTo>
                    <a:pt x="708" y="2336"/>
                  </a:lnTo>
                  <a:lnTo>
                    <a:pt x="707" y="2337"/>
                  </a:lnTo>
                  <a:lnTo>
                    <a:pt x="704" y="2336"/>
                  </a:lnTo>
                  <a:lnTo>
                    <a:pt x="702" y="2337"/>
                  </a:lnTo>
                  <a:lnTo>
                    <a:pt x="698" y="2337"/>
                  </a:lnTo>
                  <a:lnTo>
                    <a:pt x="696" y="2336"/>
                  </a:lnTo>
                  <a:lnTo>
                    <a:pt x="693" y="2337"/>
                  </a:lnTo>
                  <a:lnTo>
                    <a:pt x="690" y="2333"/>
                  </a:lnTo>
                  <a:lnTo>
                    <a:pt x="686" y="2333"/>
                  </a:lnTo>
                  <a:lnTo>
                    <a:pt x="682" y="2335"/>
                  </a:lnTo>
                  <a:lnTo>
                    <a:pt x="677" y="2333"/>
                  </a:lnTo>
                  <a:lnTo>
                    <a:pt x="675" y="2337"/>
                  </a:lnTo>
                  <a:lnTo>
                    <a:pt x="669" y="2335"/>
                  </a:lnTo>
                  <a:lnTo>
                    <a:pt x="655" y="2335"/>
                  </a:lnTo>
                  <a:lnTo>
                    <a:pt x="654" y="2330"/>
                  </a:lnTo>
                  <a:lnTo>
                    <a:pt x="647" y="2330"/>
                  </a:lnTo>
                  <a:lnTo>
                    <a:pt x="644" y="2330"/>
                  </a:lnTo>
                  <a:lnTo>
                    <a:pt x="622" y="2325"/>
                  </a:lnTo>
                  <a:lnTo>
                    <a:pt x="616" y="2325"/>
                  </a:lnTo>
                  <a:lnTo>
                    <a:pt x="612" y="2328"/>
                  </a:lnTo>
                  <a:lnTo>
                    <a:pt x="612" y="2330"/>
                  </a:lnTo>
                  <a:lnTo>
                    <a:pt x="598" y="2330"/>
                  </a:lnTo>
                  <a:lnTo>
                    <a:pt x="590" y="2333"/>
                  </a:lnTo>
                  <a:lnTo>
                    <a:pt x="588" y="2336"/>
                  </a:lnTo>
                  <a:lnTo>
                    <a:pt x="584" y="2336"/>
                  </a:lnTo>
                  <a:lnTo>
                    <a:pt x="583" y="2338"/>
                  </a:lnTo>
                  <a:lnTo>
                    <a:pt x="580" y="2338"/>
                  </a:lnTo>
                  <a:lnTo>
                    <a:pt x="571" y="2345"/>
                  </a:lnTo>
                  <a:lnTo>
                    <a:pt x="561" y="2347"/>
                  </a:lnTo>
                  <a:lnTo>
                    <a:pt x="559" y="2349"/>
                  </a:lnTo>
                  <a:lnTo>
                    <a:pt x="545" y="2355"/>
                  </a:lnTo>
                  <a:lnTo>
                    <a:pt x="541" y="2358"/>
                  </a:lnTo>
                  <a:lnTo>
                    <a:pt x="522" y="2363"/>
                  </a:lnTo>
                  <a:lnTo>
                    <a:pt x="486" y="2307"/>
                  </a:lnTo>
                  <a:lnTo>
                    <a:pt x="465" y="2136"/>
                  </a:lnTo>
                  <a:lnTo>
                    <a:pt x="463" y="2133"/>
                  </a:lnTo>
                  <a:lnTo>
                    <a:pt x="463" y="2129"/>
                  </a:lnTo>
                  <a:lnTo>
                    <a:pt x="463" y="2127"/>
                  </a:lnTo>
                  <a:lnTo>
                    <a:pt x="463" y="2125"/>
                  </a:lnTo>
                  <a:lnTo>
                    <a:pt x="459" y="2122"/>
                  </a:lnTo>
                  <a:lnTo>
                    <a:pt x="458" y="2120"/>
                  </a:lnTo>
                  <a:lnTo>
                    <a:pt x="456" y="2120"/>
                  </a:lnTo>
                  <a:lnTo>
                    <a:pt x="374" y="2071"/>
                  </a:lnTo>
                  <a:lnTo>
                    <a:pt x="316" y="1938"/>
                  </a:lnTo>
                  <a:lnTo>
                    <a:pt x="312" y="1861"/>
                  </a:lnTo>
                  <a:lnTo>
                    <a:pt x="298" y="1843"/>
                  </a:lnTo>
                  <a:lnTo>
                    <a:pt x="291" y="1831"/>
                  </a:lnTo>
                  <a:lnTo>
                    <a:pt x="221" y="1760"/>
                  </a:lnTo>
                  <a:lnTo>
                    <a:pt x="207" y="1746"/>
                  </a:lnTo>
                  <a:lnTo>
                    <a:pt x="199" y="1688"/>
                  </a:lnTo>
                  <a:lnTo>
                    <a:pt x="203" y="1573"/>
                  </a:lnTo>
                  <a:lnTo>
                    <a:pt x="206" y="1543"/>
                  </a:lnTo>
                  <a:lnTo>
                    <a:pt x="206" y="1541"/>
                  </a:lnTo>
                  <a:lnTo>
                    <a:pt x="206" y="1539"/>
                  </a:lnTo>
                  <a:lnTo>
                    <a:pt x="209" y="1508"/>
                  </a:lnTo>
                  <a:lnTo>
                    <a:pt x="173" y="1402"/>
                  </a:lnTo>
                  <a:lnTo>
                    <a:pt x="170" y="1394"/>
                  </a:lnTo>
                  <a:lnTo>
                    <a:pt x="162" y="1366"/>
                  </a:lnTo>
                  <a:lnTo>
                    <a:pt x="159" y="1358"/>
                  </a:lnTo>
                  <a:lnTo>
                    <a:pt x="148" y="1325"/>
                  </a:lnTo>
                  <a:lnTo>
                    <a:pt x="129" y="1274"/>
                  </a:lnTo>
                  <a:lnTo>
                    <a:pt x="124" y="1258"/>
                  </a:lnTo>
                  <a:lnTo>
                    <a:pt x="101" y="1185"/>
                  </a:lnTo>
                  <a:lnTo>
                    <a:pt x="81" y="1126"/>
                  </a:lnTo>
                  <a:lnTo>
                    <a:pt x="74" y="1108"/>
                  </a:lnTo>
                  <a:lnTo>
                    <a:pt x="51" y="1037"/>
                  </a:lnTo>
                  <a:lnTo>
                    <a:pt x="34" y="988"/>
                  </a:lnTo>
                  <a:lnTo>
                    <a:pt x="34" y="984"/>
                  </a:lnTo>
                  <a:lnTo>
                    <a:pt x="29" y="972"/>
                  </a:lnTo>
                  <a:lnTo>
                    <a:pt x="23" y="954"/>
                  </a:lnTo>
                  <a:lnTo>
                    <a:pt x="17" y="934"/>
                  </a:lnTo>
                  <a:lnTo>
                    <a:pt x="16" y="931"/>
                  </a:lnTo>
                  <a:lnTo>
                    <a:pt x="10" y="914"/>
                  </a:lnTo>
                  <a:lnTo>
                    <a:pt x="9" y="910"/>
                  </a:lnTo>
                  <a:lnTo>
                    <a:pt x="4" y="899"/>
                  </a:lnTo>
                  <a:lnTo>
                    <a:pt x="4" y="896"/>
                  </a:lnTo>
                  <a:lnTo>
                    <a:pt x="3" y="896"/>
                  </a:lnTo>
                  <a:lnTo>
                    <a:pt x="2" y="896"/>
                  </a:lnTo>
                  <a:lnTo>
                    <a:pt x="2" y="894"/>
                  </a:lnTo>
                  <a:lnTo>
                    <a:pt x="0" y="894"/>
                  </a:lnTo>
                  <a:lnTo>
                    <a:pt x="23" y="880"/>
                  </a:lnTo>
                  <a:lnTo>
                    <a:pt x="43" y="867"/>
                  </a:lnTo>
                  <a:lnTo>
                    <a:pt x="54" y="859"/>
                  </a:lnTo>
                  <a:lnTo>
                    <a:pt x="63" y="854"/>
                  </a:lnTo>
                  <a:lnTo>
                    <a:pt x="143" y="772"/>
                  </a:lnTo>
                  <a:lnTo>
                    <a:pt x="162" y="757"/>
                  </a:lnTo>
                  <a:lnTo>
                    <a:pt x="181" y="731"/>
                  </a:lnTo>
                  <a:lnTo>
                    <a:pt x="234" y="678"/>
                  </a:lnTo>
                  <a:lnTo>
                    <a:pt x="245" y="670"/>
                  </a:lnTo>
                  <a:lnTo>
                    <a:pt x="269" y="645"/>
                  </a:lnTo>
                  <a:lnTo>
                    <a:pt x="303" y="608"/>
                  </a:lnTo>
                  <a:lnTo>
                    <a:pt x="341" y="570"/>
                  </a:lnTo>
                  <a:lnTo>
                    <a:pt x="372" y="539"/>
                  </a:lnTo>
                  <a:lnTo>
                    <a:pt x="380" y="529"/>
                  </a:lnTo>
                  <a:lnTo>
                    <a:pt x="394" y="514"/>
                  </a:lnTo>
                  <a:lnTo>
                    <a:pt x="477" y="430"/>
                  </a:lnTo>
                  <a:lnTo>
                    <a:pt x="484" y="424"/>
                  </a:lnTo>
                  <a:lnTo>
                    <a:pt x="517" y="390"/>
                  </a:lnTo>
                  <a:lnTo>
                    <a:pt x="531" y="375"/>
                  </a:lnTo>
                  <a:lnTo>
                    <a:pt x="641" y="259"/>
                  </a:lnTo>
                  <a:lnTo>
                    <a:pt x="648" y="253"/>
                  </a:lnTo>
                  <a:lnTo>
                    <a:pt x="661" y="241"/>
                  </a:lnTo>
                  <a:lnTo>
                    <a:pt x="740" y="159"/>
                  </a:lnTo>
                  <a:lnTo>
                    <a:pt x="766" y="131"/>
                  </a:lnTo>
                  <a:lnTo>
                    <a:pt x="796" y="101"/>
                  </a:lnTo>
                  <a:lnTo>
                    <a:pt x="870" y="26"/>
                  </a:lnTo>
                  <a:lnTo>
                    <a:pt x="890" y="5"/>
                  </a:lnTo>
                  <a:lnTo>
                    <a:pt x="903" y="1"/>
                  </a:lnTo>
                  <a:lnTo>
                    <a:pt x="914" y="0"/>
                  </a:lnTo>
                  <a:lnTo>
                    <a:pt x="923" y="1"/>
                  </a:lnTo>
                  <a:lnTo>
                    <a:pt x="946" y="14"/>
                  </a:lnTo>
                  <a:lnTo>
                    <a:pt x="956" y="19"/>
                  </a:lnTo>
                  <a:lnTo>
                    <a:pt x="961" y="26"/>
                  </a:lnTo>
                  <a:lnTo>
                    <a:pt x="965" y="27"/>
                  </a:lnTo>
                  <a:lnTo>
                    <a:pt x="971" y="31"/>
                  </a:lnTo>
                  <a:lnTo>
                    <a:pt x="974" y="31"/>
                  </a:lnTo>
                  <a:lnTo>
                    <a:pt x="975" y="38"/>
                  </a:lnTo>
                  <a:lnTo>
                    <a:pt x="981" y="46"/>
                  </a:lnTo>
                  <a:lnTo>
                    <a:pt x="992" y="50"/>
                  </a:lnTo>
                  <a:lnTo>
                    <a:pt x="997" y="56"/>
                  </a:lnTo>
                  <a:lnTo>
                    <a:pt x="1003" y="59"/>
                  </a:lnTo>
                  <a:lnTo>
                    <a:pt x="1007" y="64"/>
                  </a:lnTo>
                  <a:lnTo>
                    <a:pt x="1011" y="68"/>
                  </a:lnTo>
                  <a:lnTo>
                    <a:pt x="1015" y="68"/>
                  </a:lnTo>
                  <a:lnTo>
                    <a:pt x="1021" y="68"/>
                  </a:lnTo>
                  <a:lnTo>
                    <a:pt x="1025" y="67"/>
                  </a:lnTo>
                  <a:lnTo>
                    <a:pt x="1031" y="67"/>
                  </a:lnTo>
                  <a:lnTo>
                    <a:pt x="1039" y="64"/>
                  </a:lnTo>
                  <a:lnTo>
                    <a:pt x="1059" y="71"/>
                  </a:lnTo>
                  <a:lnTo>
                    <a:pt x="1067" y="68"/>
                  </a:lnTo>
                  <a:lnTo>
                    <a:pt x="1082" y="65"/>
                  </a:lnTo>
                  <a:lnTo>
                    <a:pt x="1085" y="65"/>
                  </a:lnTo>
                  <a:lnTo>
                    <a:pt x="1086" y="72"/>
                  </a:lnTo>
                  <a:lnTo>
                    <a:pt x="1089" y="75"/>
                  </a:lnTo>
                  <a:lnTo>
                    <a:pt x="1093" y="76"/>
                  </a:lnTo>
                  <a:lnTo>
                    <a:pt x="1099" y="79"/>
                  </a:lnTo>
                  <a:lnTo>
                    <a:pt x="1103" y="79"/>
                  </a:lnTo>
                  <a:lnTo>
                    <a:pt x="1104" y="79"/>
                  </a:lnTo>
                  <a:lnTo>
                    <a:pt x="1106" y="76"/>
                  </a:lnTo>
                  <a:lnTo>
                    <a:pt x="1107" y="80"/>
                  </a:lnTo>
                  <a:lnTo>
                    <a:pt x="1113" y="79"/>
                  </a:lnTo>
                  <a:lnTo>
                    <a:pt x="1121" y="81"/>
                  </a:lnTo>
                  <a:lnTo>
                    <a:pt x="1127" y="85"/>
                  </a:lnTo>
                  <a:lnTo>
                    <a:pt x="1134" y="89"/>
                  </a:lnTo>
                  <a:lnTo>
                    <a:pt x="1134" y="93"/>
                  </a:lnTo>
                  <a:lnTo>
                    <a:pt x="1132" y="94"/>
                  </a:lnTo>
                  <a:lnTo>
                    <a:pt x="1132" y="97"/>
                  </a:lnTo>
                  <a:lnTo>
                    <a:pt x="1138" y="104"/>
                  </a:lnTo>
                  <a:lnTo>
                    <a:pt x="1150" y="107"/>
                  </a:lnTo>
                  <a:lnTo>
                    <a:pt x="1157" y="107"/>
                  </a:lnTo>
                  <a:lnTo>
                    <a:pt x="1163" y="109"/>
                  </a:lnTo>
                  <a:lnTo>
                    <a:pt x="1182" y="119"/>
                  </a:lnTo>
                  <a:lnTo>
                    <a:pt x="1188" y="129"/>
                  </a:lnTo>
                  <a:lnTo>
                    <a:pt x="1186" y="131"/>
                  </a:lnTo>
                  <a:lnTo>
                    <a:pt x="1186" y="134"/>
                  </a:lnTo>
                  <a:lnTo>
                    <a:pt x="1194" y="137"/>
                  </a:lnTo>
                  <a:lnTo>
                    <a:pt x="1199" y="135"/>
                  </a:lnTo>
                  <a:lnTo>
                    <a:pt x="1203" y="138"/>
                  </a:lnTo>
                  <a:lnTo>
                    <a:pt x="1205" y="139"/>
                  </a:lnTo>
                  <a:lnTo>
                    <a:pt x="1209" y="143"/>
                  </a:lnTo>
                  <a:lnTo>
                    <a:pt x="1211" y="147"/>
                  </a:lnTo>
                  <a:lnTo>
                    <a:pt x="1217" y="150"/>
                  </a:lnTo>
                  <a:lnTo>
                    <a:pt x="1217" y="152"/>
                  </a:lnTo>
                  <a:lnTo>
                    <a:pt x="1222" y="156"/>
                  </a:lnTo>
                  <a:lnTo>
                    <a:pt x="1227" y="158"/>
                  </a:lnTo>
                  <a:lnTo>
                    <a:pt x="1231" y="154"/>
                  </a:lnTo>
                  <a:lnTo>
                    <a:pt x="1236" y="155"/>
                  </a:lnTo>
                  <a:lnTo>
                    <a:pt x="1239" y="151"/>
                  </a:lnTo>
                  <a:lnTo>
                    <a:pt x="1245" y="150"/>
                  </a:lnTo>
                  <a:lnTo>
                    <a:pt x="1252" y="152"/>
                  </a:lnTo>
                  <a:lnTo>
                    <a:pt x="1259" y="156"/>
                  </a:lnTo>
                  <a:lnTo>
                    <a:pt x="1266" y="156"/>
                  </a:lnTo>
                  <a:lnTo>
                    <a:pt x="1269" y="155"/>
                  </a:lnTo>
                  <a:lnTo>
                    <a:pt x="1277" y="143"/>
                  </a:lnTo>
                  <a:lnTo>
                    <a:pt x="1278" y="142"/>
                  </a:lnTo>
                  <a:lnTo>
                    <a:pt x="1282" y="143"/>
                  </a:lnTo>
                  <a:lnTo>
                    <a:pt x="1286" y="138"/>
                  </a:lnTo>
                  <a:lnTo>
                    <a:pt x="1289" y="138"/>
                  </a:lnTo>
                  <a:lnTo>
                    <a:pt x="1294" y="143"/>
                  </a:lnTo>
                  <a:lnTo>
                    <a:pt x="1305" y="150"/>
                  </a:lnTo>
                  <a:lnTo>
                    <a:pt x="1309" y="150"/>
                  </a:lnTo>
                  <a:lnTo>
                    <a:pt x="1313" y="152"/>
                  </a:lnTo>
                  <a:lnTo>
                    <a:pt x="1317" y="152"/>
                  </a:lnTo>
                  <a:lnTo>
                    <a:pt x="1325" y="159"/>
                  </a:lnTo>
                  <a:lnTo>
                    <a:pt x="1327" y="161"/>
                  </a:lnTo>
                  <a:lnTo>
                    <a:pt x="1325" y="162"/>
                  </a:lnTo>
                  <a:lnTo>
                    <a:pt x="1325" y="166"/>
                  </a:lnTo>
                  <a:lnTo>
                    <a:pt x="1331" y="174"/>
                  </a:lnTo>
                  <a:lnTo>
                    <a:pt x="1332" y="178"/>
                  </a:lnTo>
                  <a:lnTo>
                    <a:pt x="1334" y="180"/>
                  </a:lnTo>
                  <a:lnTo>
                    <a:pt x="1327" y="192"/>
                  </a:lnTo>
                  <a:lnTo>
                    <a:pt x="1327" y="194"/>
                  </a:lnTo>
                  <a:lnTo>
                    <a:pt x="1330" y="200"/>
                  </a:lnTo>
                  <a:lnTo>
                    <a:pt x="1332" y="200"/>
                  </a:lnTo>
                  <a:lnTo>
                    <a:pt x="1334" y="203"/>
                  </a:lnTo>
                  <a:lnTo>
                    <a:pt x="1344" y="203"/>
                  </a:lnTo>
                  <a:lnTo>
                    <a:pt x="1346" y="206"/>
                  </a:lnTo>
                  <a:lnTo>
                    <a:pt x="1348" y="209"/>
                  </a:lnTo>
                  <a:lnTo>
                    <a:pt x="1352" y="211"/>
                  </a:lnTo>
                  <a:lnTo>
                    <a:pt x="1367" y="211"/>
                  </a:lnTo>
                  <a:lnTo>
                    <a:pt x="1374" y="213"/>
                  </a:lnTo>
                  <a:lnTo>
                    <a:pt x="1380" y="211"/>
                  </a:lnTo>
                  <a:lnTo>
                    <a:pt x="1388" y="214"/>
                  </a:lnTo>
                  <a:lnTo>
                    <a:pt x="1395" y="214"/>
                  </a:lnTo>
                  <a:lnTo>
                    <a:pt x="1402" y="218"/>
                  </a:lnTo>
                  <a:lnTo>
                    <a:pt x="1410" y="218"/>
                  </a:lnTo>
                  <a:lnTo>
                    <a:pt x="1419" y="217"/>
                  </a:lnTo>
                  <a:lnTo>
                    <a:pt x="1419" y="209"/>
                  </a:lnTo>
                  <a:lnTo>
                    <a:pt x="1420" y="206"/>
                  </a:lnTo>
                  <a:lnTo>
                    <a:pt x="1426" y="206"/>
                  </a:lnTo>
                  <a:lnTo>
                    <a:pt x="1430" y="203"/>
                  </a:lnTo>
                  <a:lnTo>
                    <a:pt x="1431" y="199"/>
                  </a:lnTo>
                  <a:lnTo>
                    <a:pt x="1435" y="196"/>
                  </a:lnTo>
                  <a:lnTo>
                    <a:pt x="1435" y="192"/>
                  </a:lnTo>
                  <a:lnTo>
                    <a:pt x="1438" y="188"/>
                  </a:lnTo>
                  <a:lnTo>
                    <a:pt x="1452" y="184"/>
                  </a:lnTo>
                  <a:lnTo>
                    <a:pt x="1459" y="175"/>
                  </a:lnTo>
                  <a:lnTo>
                    <a:pt x="1463" y="172"/>
                  </a:lnTo>
                  <a:lnTo>
                    <a:pt x="1463" y="168"/>
                  </a:lnTo>
                  <a:lnTo>
                    <a:pt x="1467" y="168"/>
                  </a:lnTo>
                  <a:lnTo>
                    <a:pt x="1470" y="169"/>
                  </a:lnTo>
                  <a:lnTo>
                    <a:pt x="1476" y="169"/>
                  </a:lnTo>
                  <a:lnTo>
                    <a:pt x="1479" y="166"/>
                  </a:lnTo>
                  <a:lnTo>
                    <a:pt x="1479" y="164"/>
                  </a:lnTo>
                  <a:lnTo>
                    <a:pt x="1480" y="162"/>
                  </a:lnTo>
                  <a:lnTo>
                    <a:pt x="1484" y="162"/>
                  </a:lnTo>
                  <a:lnTo>
                    <a:pt x="1487" y="162"/>
                  </a:lnTo>
                  <a:lnTo>
                    <a:pt x="1490" y="162"/>
                  </a:lnTo>
                  <a:lnTo>
                    <a:pt x="1494" y="155"/>
                  </a:lnTo>
                  <a:lnTo>
                    <a:pt x="1499" y="151"/>
                  </a:lnTo>
                  <a:lnTo>
                    <a:pt x="1502" y="147"/>
                  </a:lnTo>
                  <a:lnTo>
                    <a:pt x="1510" y="143"/>
                  </a:lnTo>
                  <a:lnTo>
                    <a:pt x="1510" y="139"/>
                  </a:lnTo>
                  <a:lnTo>
                    <a:pt x="1517" y="135"/>
                  </a:lnTo>
                  <a:lnTo>
                    <a:pt x="1537" y="131"/>
                  </a:lnTo>
                  <a:lnTo>
                    <a:pt x="1540" y="133"/>
                  </a:lnTo>
                  <a:lnTo>
                    <a:pt x="1544" y="133"/>
                  </a:lnTo>
                  <a:lnTo>
                    <a:pt x="1551" y="129"/>
                  </a:lnTo>
                  <a:lnTo>
                    <a:pt x="1554" y="129"/>
                  </a:lnTo>
                  <a:lnTo>
                    <a:pt x="1559" y="131"/>
                  </a:lnTo>
                  <a:lnTo>
                    <a:pt x="1563" y="131"/>
                  </a:lnTo>
                  <a:lnTo>
                    <a:pt x="1570" y="138"/>
                  </a:lnTo>
                  <a:lnTo>
                    <a:pt x="1571" y="143"/>
                  </a:lnTo>
                  <a:lnTo>
                    <a:pt x="1577" y="146"/>
                  </a:lnTo>
                  <a:lnTo>
                    <a:pt x="1580" y="147"/>
                  </a:lnTo>
                  <a:lnTo>
                    <a:pt x="1583" y="150"/>
                  </a:lnTo>
                  <a:lnTo>
                    <a:pt x="1587" y="147"/>
                  </a:lnTo>
                  <a:lnTo>
                    <a:pt x="1596" y="155"/>
                  </a:lnTo>
                  <a:lnTo>
                    <a:pt x="1601" y="155"/>
                  </a:lnTo>
                  <a:lnTo>
                    <a:pt x="1583" y="178"/>
                  </a:lnTo>
                  <a:lnTo>
                    <a:pt x="1577" y="178"/>
                  </a:lnTo>
                  <a:lnTo>
                    <a:pt x="1576" y="172"/>
                  </a:lnTo>
                  <a:lnTo>
                    <a:pt x="1569" y="176"/>
                  </a:lnTo>
                  <a:lnTo>
                    <a:pt x="1555" y="176"/>
                  </a:lnTo>
                  <a:lnTo>
                    <a:pt x="1552" y="180"/>
                  </a:lnTo>
                  <a:lnTo>
                    <a:pt x="1551" y="187"/>
                  </a:lnTo>
                  <a:lnTo>
                    <a:pt x="1556" y="200"/>
                  </a:lnTo>
                  <a:lnTo>
                    <a:pt x="1558" y="206"/>
                  </a:lnTo>
                  <a:lnTo>
                    <a:pt x="1552" y="214"/>
                  </a:lnTo>
                  <a:lnTo>
                    <a:pt x="1535" y="218"/>
                  </a:lnTo>
                  <a:lnTo>
                    <a:pt x="1531" y="222"/>
                  </a:lnTo>
                  <a:lnTo>
                    <a:pt x="1527" y="231"/>
                  </a:lnTo>
                  <a:lnTo>
                    <a:pt x="1530" y="245"/>
                  </a:lnTo>
                  <a:lnTo>
                    <a:pt x="1527" y="249"/>
                  </a:lnTo>
                  <a:lnTo>
                    <a:pt x="1524" y="250"/>
                  </a:lnTo>
                  <a:lnTo>
                    <a:pt x="1519" y="246"/>
                  </a:lnTo>
                  <a:lnTo>
                    <a:pt x="1513" y="248"/>
                  </a:lnTo>
                  <a:lnTo>
                    <a:pt x="1492" y="301"/>
                  </a:lnTo>
                  <a:lnTo>
                    <a:pt x="1499" y="312"/>
                  </a:lnTo>
                  <a:lnTo>
                    <a:pt x="1516" y="346"/>
                  </a:lnTo>
                  <a:lnTo>
                    <a:pt x="1499" y="378"/>
                  </a:lnTo>
                  <a:lnTo>
                    <a:pt x="1498" y="386"/>
                  </a:lnTo>
                  <a:lnTo>
                    <a:pt x="1520" y="441"/>
                  </a:lnTo>
                  <a:lnTo>
                    <a:pt x="1562" y="504"/>
                  </a:lnTo>
                  <a:lnTo>
                    <a:pt x="1567" y="514"/>
                  </a:lnTo>
                  <a:lnTo>
                    <a:pt x="1596" y="539"/>
                  </a:lnTo>
                  <a:lnTo>
                    <a:pt x="1638" y="556"/>
                  </a:lnTo>
                  <a:lnTo>
                    <a:pt x="1631" y="577"/>
                  </a:lnTo>
                  <a:lnTo>
                    <a:pt x="1626" y="583"/>
                  </a:lnTo>
                  <a:lnTo>
                    <a:pt x="1624" y="587"/>
                  </a:lnTo>
                  <a:lnTo>
                    <a:pt x="1626" y="598"/>
                  </a:lnTo>
                  <a:lnTo>
                    <a:pt x="1624" y="602"/>
                  </a:lnTo>
                  <a:lnTo>
                    <a:pt x="1630" y="607"/>
                  </a:lnTo>
                  <a:lnTo>
                    <a:pt x="1629" y="611"/>
                  </a:lnTo>
                  <a:lnTo>
                    <a:pt x="1627" y="615"/>
                  </a:lnTo>
                  <a:lnTo>
                    <a:pt x="1629" y="620"/>
                  </a:lnTo>
                  <a:lnTo>
                    <a:pt x="1633" y="624"/>
                  </a:lnTo>
                  <a:lnTo>
                    <a:pt x="1643" y="626"/>
                  </a:lnTo>
                  <a:lnTo>
                    <a:pt x="1645" y="629"/>
                  </a:lnTo>
                  <a:lnTo>
                    <a:pt x="1647" y="633"/>
                  </a:lnTo>
                  <a:lnTo>
                    <a:pt x="1649" y="636"/>
                  </a:lnTo>
                  <a:lnTo>
                    <a:pt x="1649" y="638"/>
                  </a:lnTo>
                  <a:lnTo>
                    <a:pt x="1652" y="641"/>
                  </a:lnTo>
                  <a:lnTo>
                    <a:pt x="1651" y="648"/>
                  </a:lnTo>
                  <a:lnTo>
                    <a:pt x="1654" y="653"/>
                  </a:lnTo>
                  <a:lnTo>
                    <a:pt x="1655" y="656"/>
                  </a:lnTo>
                  <a:lnTo>
                    <a:pt x="1654" y="660"/>
                  </a:lnTo>
                  <a:lnTo>
                    <a:pt x="1655" y="664"/>
                  </a:lnTo>
                  <a:lnTo>
                    <a:pt x="1654" y="669"/>
                  </a:lnTo>
                  <a:lnTo>
                    <a:pt x="1652" y="673"/>
                  </a:lnTo>
                  <a:lnTo>
                    <a:pt x="1649" y="676"/>
                  </a:lnTo>
                  <a:lnTo>
                    <a:pt x="1637" y="676"/>
                  </a:lnTo>
                  <a:lnTo>
                    <a:pt x="1635" y="677"/>
                  </a:lnTo>
                  <a:lnTo>
                    <a:pt x="1635" y="685"/>
                  </a:lnTo>
                  <a:lnTo>
                    <a:pt x="1638" y="694"/>
                  </a:lnTo>
                  <a:lnTo>
                    <a:pt x="1635" y="699"/>
                  </a:lnTo>
                  <a:lnTo>
                    <a:pt x="1634" y="705"/>
                  </a:lnTo>
                  <a:lnTo>
                    <a:pt x="1635" y="708"/>
                  </a:lnTo>
                  <a:lnTo>
                    <a:pt x="1633" y="713"/>
                  </a:lnTo>
                  <a:lnTo>
                    <a:pt x="1631" y="722"/>
                  </a:lnTo>
                  <a:lnTo>
                    <a:pt x="1626" y="727"/>
                  </a:lnTo>
                  <a:lnTo>
                    <a:pt x="1626" y="733"/>
                  </a:lnTo>
                  <a:lnTo>
                    <a:pt x="1627" y="735"/>
                  </a:lnTo>
                  <a:lnTo>
                    <a:pt x="1627" y="743"/>
                  </a:lnTo>
                  <a:lnTo>
                    <a:pt x="1629" y="744"/>
                  </a:lnTo>
                  <a:lnTo>
                    <a:pt x="1627" y="747"/>
                  </a:lnTo>
                  <a:lnTo>
                    <a:pt x="1629" y="750"/>
                  </a:lnTo>
                  <a:lnTo>
                    <a:pt x="1637" y="753"/>
                  </a:lnTo>
                  <a:lnTo>
                    <a:pt x="1648" y="763"/>
                  </a:lnTo>
                  <a:lnTo>
                    <a:pt x="1658" y="764"/>
                  </a:lnTo>
                  <a:lnTo>
                    <a:pt x="1662" y="770"/>
                  </a:lnTo>
                  <a:lnTo>
                    <a:pt x="1662" y="775"/>
                  </a:lnTo>
                  <a:lnTo>
                    <a:pt x="1659" y="776"/>
                  </a:lnTo>
                  <a:lnTo>
                    <a:pt x="1662" y="778"/>
                  </a:lnTo>
                  <a:lnTo>
                    <a:pt x="1662" y="780"/>
                  </a:lnTo>
                  <a:lnTo>
                    <a:pt x="1659" y="782"/>
                  </a:lnTo>
                  <a:lnTo>
                    <a:pt x="1656" y="785"/>
                  </a:lnTo>
                  <a:lnTo>
                    <a:pt x="1656" y="788"/>
                  </a:lnTo>
                  <a:lnTo>
                    <a:pt x="1648" y="802"/>
                  </a:lnTo>
                  <a:lnTo>
                    <a:pt x="1648" y="809"/>
                  </a:lnTo>
                  <a:lnTo>
                    <a:pt x="1649" y="812"/>
                  </a:lnTo>
                  <a:lnTo>
                    <a:pt x="1652" y="813"/>
                  </a:lnTo>
                  <a:lnTo>
                    <a:pt x="1652" y="818"/>
                  </a:lnTo>
                  <a:lnTo>
                    <a:pt x="1652" y="825"/>
                  </a:lnTo>
                  <a:lnTo>
                    <a:pt x="1654" y="832"/>
                  </a:lnTo>
                  <a:lnTo>
                    <a:pt x="1658" y="838"/>
                  </a:lnTo>
                  <a:lnTo>
                    <a:pt x="1656" y="842"/>
                  </a:lnTo>
                  <a:lnTo>
                    <a:pt x="1663" y="847"/>
                  </a:lnTo>
                  <a:lnTo>
                    <a:pt x="1665" y="855"/>
                  </a:lnTo>
                  <a:lnTo>
                    <a:pt x="1672" y="859"/>
                  </a:lnTo>
                  <a:lnTo>
                    <a:pt x="1672" y="860"/>
                  </a:lnTo>
                  <a:lnTo>
                    <a:pt x="1670" y="863"/>
                  </a:lnTo>
                  <a:lnTo>
                    <a:pt x="1666" y="864"/>
                  </a:lnTo>
                  <a:lnTo>
                    <a:pt x="1662" y="860"/>
                  </a:lnTo>
                  <a:lnTo>
                    <a:pt x="1655" y="860"/>
                  </a:lnTo>
                  <a:lnTo>
                    <a:pt x="1647" y="855"/>
                  </a:lnTo>
                  <a:lnTo>
                    <a:pt x="1644" y="855"/>
                  </a:lnTo>
                  <a:lnTo>
                    <a:pt x="1640" y="856"/>
                  </a:lnTo>
                  <a:lnTo>
                    <a:pt x="1629" y="864"/>
                  </a:lnTo>
                  <a:lnTo>
                    <a:pt x="1626" y="864"/>
                  </a:lnTo>
                  <a:lnTo>
                    <a:pt x="1621" y="860"/>
                  </a:lnTo>
                  <a:lnTo>
                    <a:pt x="1617" y="862"/>
                  </a:lnTo>
                  <a:lnTo>
                    <a:pt x="1617" y="863"/>
                  </a:lnTo>
                  <a:lnTo>
                    <a:pt x="1619" y="865"/>
                  </a:lnTo>
                  <a:lnTo>
                    <a:pt x="1616" y="868"/>
                  </a:lnTo>
                  <a:lnTo>
                    <a:pt x="1617" y="869"/>
                  </a:lnTo>
                  <a:lnTo>
                    <a:pt x="1612" y="877"/>
                  </a:lnTo>
                  <a:lnTo>
                    <a:pt x="1612" y="881"/>
                  </a:lnTo>
                  <a:lnTo>
                    <a:pt x="1608" y="885"/>
                  </a:lnTo>
                  <a:lnTo>
                    <a:pt x="1613" y="892"/>
                  </a:lnTo>
                  <a:lnTo>
                    <a:pt x="1615" y="894"/>
                  </a:lnTo>
                  <a:lnTo>
                    <a:pt x="1609" y="902"/>
                  </a:lnTo>
                  <a:lnTo>
                    <a:pt x="1609" y="904"/>
                  </a:lnTo>
                  <a:lnTo>
                    <a:pt x="1609" y="907"/>
                  </a:lnTo>
                  <a:lnTo>
                    <a:pt x="1613" y="912"/>
                  </a:lnTo>
                  <a:lnTo>
                    <a:pt x="1609" y="914"/>
                  </a:lnTo>
                  <a:lnTo>
                    <a:pt x="1610" y="917"/>
                  </a:lnTo>
                  <a:lnTo>
                    <a:pt x="1608" y="918"/>
                  </a:lnTo>
                  <a:lnTo>
                    <a:pt x="1609" y="922"/>
                  </a:lnTo>
                  <a:lnTo>
                    <a:pt x="1606" y="927"/>
                  </a:lnTo>
                  <a:lnTo>
                    <a:pt x="1605" y="937"/>
                  </a:lnTo>
                  <a:lnTo>
                    <a:pt x="1602" y="939"/>
                  </a:lnTo>
                  <a:lnTo>
                    <a:pt x="1601" y="944"/>
                  </a:lnTo>
                  <a:lnTo>
                    <a:pt x="1596" y="952"/>
                  </a:lnTo>
                  <a:lnTo>
                    <a:pt x="1598" y="956"/>
                  </a:lnTo>
                  <a:lnTo>
                    <a:pt x="1596" y="960"/>
                  </a:lnTo>
                  <a:lnTo>
                    <a:pt x="1592" y="963"/>
                  </a:lnTo>
                  <a:lnTo>
                    <a:pt x="1594" y="971"/>
                  </a:lnTo>
                  <a:lnTo>
                    <a:pt x="1590" y="975"/>
                  </a:lnTo>
                  <a:lnTo>
                    <a:pt x="1591" y="980"/>
                  </a:lnTo>
                  <a:lnTo>
                    <a:pt x="1585" y="984"/>
                  </a:lnTo>
                  <a:lnTo>
                    <a:pt x="1588" y="989"/>
                  </a:lnTo>
                  <a:lnTo>
                    <a:pt x="1583" y="989"/>
                  </a:lnTo>
                  <a:lnTo>
                    <a:pt x="1580" y="996"/>
                  </a:lnTo>
                  <a:lnTo>
                    <a:pt x="1581" y="1000"/>
                  </a:lnTo>
                  <a:lnTo>
                    <a:pt x="1577" y="1003"/>
                  </a:lnTo>
                  <a:lnTo>
                    <a:pt x="1584" y="1008"/>
                  </a:lnTo>
                  <a:lnTo>
                    <a:pt x="1590" y="1012"/>
                  </a:lnTo>
                  <a:lnTo>
                    <a:pt x="1588" y="1019"/>
                  </a:lnTo>
                  <a:lnTo>
                    <a:pt x="1590" y="1025"/>
                  </a:lnTo>
                  <a:lnTo>
                    <a:pt x="1592" y="1025"/>
                  </a:lnTo>
                  <a:lnTo>
                    <a:pt x="1594" y="1025"/>
                  </a:lnTo>
                  <a:lnTo>
                    <a:pt x="1592" y="1028"/>
                  </a:lnTo>
                  <a:lnTo>
                    <a:pt x="1596" y="1028"/>
                  </a:lnTo>
                  <a:lnTo>
                    <a:pt x="1596" y="1031"/>
                  </a:lnTo>
                  <a:lnTo>
                    <a:pt x="1599" y="1033"/>
                  </a:lnTo>
                  <a:lnTo>
                    <a:pt x="1599" y="1038"/>
                  </a:lnTo>
                  <a:lnTo>
                    <a:pt x="1602" y="1042"/>
                  </a:lnTo>
                  <a:lnTo>
                    <a:pt x="1604" y="1046"/>
                  </a:lnTo>
                  <a:lnTo>
                    <a:pt x="1606" y="1047"/>
                  </a:lnTo>
                  <a:lnTo>
                    <a:pt x="1606" y="1054"/>
                  </a:lnTo>
                  <a:lnTo>
                    <a:pt x="1609" y="1055"/>
                  </a:lnTo>
                  <a:lnTo>
                    <a:pt x="1609" y="1054"/>
                  </a:lnTo>
                  <a:lnTo>
                    <a:pt x="1610" y="1054"/>
                  </a:lnTo>
                  <a:lnTo>
                    <a:pt x="1612" y="1056"/>
                  </a:lnTo>
                  <a:lnTo>
                    <a:pt x="1615" y="1059"/>
                  </a:lnTo>
                  <a:lnTo>
                    <a:pt x="1617" y="1063"/>
                  </a:lnTo>
                  <a:lnTo>
                    <a:pt x="1617" y="1066"/>
                  </a:lnTo>
                  <a:lnTo>
                    <a:pt x="1621" y="1072"/>
                  </a:lnTo>
                  <a:lnTo>
                    <a:pt x="1623" y="1083"/>
                  </a:lnTo>
                  <a:lnTo>
                    <a:pt x="1626" y="1090"/>
                  </a:lnTo>
                  <a:lnTo>
                    <a:pt x="1629" y="1090"/>
                  </a:lnTo>
                  <a:lnTo>
                    <a:pt x="1634" y="1085"/>
                  </a:lnTo>
                  <a:lnTo>
                    <a:pt x="1651" y="1083"/>
                  </a:lnTo>
                  <a:lnTo>
                    <a:pt x="1655" y="1093"/>
                  </a:lnTo>
                  <a:lnTo>
                    <a:pt x="1666" y="1096"/>
                  </a:lnTo>
                  <a:lnTo>
                    <a:pt x="1675" y="1100"/>
                  </a:lnTo>
                  <a:lnTo>
                    <a:pt x="1681" y="1105"/>
                  </a:lnTo>
                  <a:lnTo>
                    <a:pt x="1689" y="1108"/>
                  </a:lnTo>
                  <a:lnTo>
                    <a:pt x="1695" y="1113"/>
                  </a:lnTo>
                  <a:lnTo>
                    <a:pt x="1701" y="1120"/>
                  </a:lnTo>
                  <a:lnTo>
                    <a:pt x="1711" y="1121"/>
                  </a:lnTo>
                  <a:lnTo>
                    <a:pt x="1723" y="1121"/>
                  </a:lnTo>
                  <a:lnTo>
                    <a:pt x="1729" y="1124"/>
                  </a:lnTo>
                  <a:lnTo>
                    <a:pt x="1730" y="1128"/>
                  </a:lnTo>
                  <a:lnTo>
                    <a:pt x="1729" y="1132"/>
                  </a:lnTo>
                  <a:lnTo>
                    <a:pt x="1733" y="1141"/>
                  </a:lnTo>
                  <a:lnTo>
                    <a:pt x="1733" y="1143"/>
                  </a:lnTo>
                  <a:lnTo>
                    <a:pt x="1739" y="1150"/>
                  </a:lnTo>
                  <a:lnTo>
                    <a:pt x="1740" y="1153"/>
                  </a:lnTo>
                  <a:lnTo>
                    <a:pt x="1744" y="1154"/>
                  </a:lnTo>
                  <a:lnTo>
                    <a:pt x="1756" y="1158"/>
                  </a:lnTo>
                  <a:lnTo>
                    <a:pt x="1761" y="1162"/>
                  </a:lnTo>
                  <a:lnTo>
                    <a:pt x="1758" y="1166"/>
                  </a:lnTo>
                  <a:lnTo>
                    <a:pt x="1753" y="1171"/>
                  </a:lnTo>
                  <a:lnTo>
                    <a:pt x="1753" y="1179"/>
                  </a:lnTo>
                  <a:lnTo>
                    <a:pt x="1755" y="1183"/>
                  </a:lnTo>
                  <a:lnTo>
                    <a:pt x="1764" y="1180"/>
                  </a:lnTo>
                  <a:lnTo>
                    <a:pt x="1766" y="1184"/>
                  </a:lnTo>
                  <a:lnTo>
                    <a:pt x="1769" y="1188"/>
                  </a:lnTo>
                  <a:lnTo>
                    <a:pt x="1766" y="1193"/>
                  </a:lnTo>
                  <a:lnTo>
                    <a:pt x="1766" y="1196"/>
                  </a:lnTo>
                  <a:lnTo>
                    <a:pt x="1769" y="1202"/>
                  </a:lnTo>
                  <a:lnTo>
                    <a:pt x="1786" y="1215"/>
                  </a:lnTo>
                  <a:lnTo>
                    <a:pt x="1794" y="1215"/>
                  </a:lnTo>
                  <a:lnTo>
                    <a:pt x="1804" y="1225"/>
                  </a:lnTo>
                  <a:lnTo>
                    <a:pt x="1822" y="1233"/>
                  </a:lnTo>
                  <a:lnTo>
                    <a:pt x="1830" y="1246"/>
                  </a:lnTo>
                  <a:lnTo>
                    <a:pt x="1829" y="1252"/>
                  </a:lnTo>
                  <a:lnTo>
                    <a:pt x="1830" y="1255"/>
                  </a:lnTo>
                  <a:lnTo>
                    <a:pt x="1843" y="1263"/>
                  </a:lnTo>
                  <a:lnTo>
                    <a:pt x="1848" y="1274"/>
                  </a:lnTo>
                  <a:lnTo>
                    <a:pt x="1865" y="1278"/>
                  </a:lnTo>
                  <a:lnTo>
                    <a:pt x="1869" y="1277"/>
                  </a:lnTo>
                  <a:lnTo>
                    <a:pt x="1879" y="1270"/>
                  </a:lnTo>
                  <a:lnTo>
                    <a:pt x="1880" y="1270"/>
                  </a:lnTo>
                  <a:lnTo>
                    <a:pt x="1883" y="1270"/>
                  </a:lnTo>
                  <a:lnTo>
                    <a:pt x="1886" y="1278"/>
                  </a:lnTo>
                  <a:lnTo>
                    <a:pt x="1883" y="1282"/>
                  </a:lnTo>
                  <a:lnTo>
                    <a:pt x="1881" y="1286"/>
                  </a:lnTo>
                  <a:lnTo>
                    <a:pt x="1884" y="1291"/>
                  </a:lnTo>
                  <a:lnTo>
                    <a:pt x="1894" y="1296"/>
                  </a:lnTo>
                  <a:lnTo>
                    <a:pt x="1898" y="1307"/>
                  </a:lnTo>
                  <a:lnTo>
                    <a:pt x="1904" y="1314"/>
                  </a:lnTo>
                  <a:lnTo>
                    <a:pt x="1909" y="1315"/>
                  </a:lnTo>
                  <a:lnTo>
                    <a:pt x="1911" y="1317"/>
                  </a:lnTo>
                  <a:lnTo>
                    <a:pt x="1911" y="1319"/>
                  </a:lnTo>
                  <a:lnTo>
                    <a:pt x="1908" y="1322"/>
                  </a:lnTo>
                  <a:lnTo>
                    <a:pt x="1909" y="1328"/>
                  </a:lnTo>
                  <a:lnTo>
                    <a:pt x="1911" y="1329"/>
                  </a:lnTo>
                  <a:lnTo>
                    <a:pt x="1915" y="1331"/>
                  </a:lnTo>
                  <a:lnTo>
                    <a:pt x="1915" y="1333"/>
                  </a:lnTo>
                  <a:lnTo>
                    <a:pt x="1912" y="1340"/>
                  </a:lnTo>
                  <a:lnTo>
                    <a:pt x="1914" y="1341"/>
                  </a:lnTo>
                  <a:lnTo>
                    <a:pt x="1916" y="1345"/>
                  </a:lnTo>
                  <a:lnTo>
                    <a:pt x="1919" y="1348"/>
                  </a:lnTo>
                  <a:lnTo>
                    <a:pt x="1921" y="1354"/>
                  </a:lnTo>
                  <a:lnTo>
                    <a:pt x="1923" y="1358"/>
                  </a:lnTo>
                  <a:lnTo>
                    <a:pt x="1921" y="1359"/>
                  </a:lnTo>
                  <a:lnTo>
                    <a:pt x="1919" y="1361"/>
                  </a:lnTo>
                  <a:lnTo>
                    <a:pt x="1918" y="1367"/>
                  </a:lnTo>
                  <a:lnTo>
                    <a:pt x="1919" y="1370"/>
                  </a:lnTo>
                  <a:lnTo>
                    <a:pt x="1916" y="1373"/>
                  </a:lnTo>
                  <a:lnTo>
                    <a:pt x="1916" y="1376"/>
                  </a:lnTo>
                  <a:lnTo>
                    <a:pt x="1919" y="1379"/>
                  </a:lnTo>
                  <a:lnTo>
                    <a:pt x="1923" y="1379"/>
                  </a:lnTo>
                  <a:lnTo>
                    <a:pt x="1930" y="1384"/>
                  </a:lnTo>
                  <a:lnTo>
                    <a:pt x="1936" y="1386"/>
                  </a:lnTo>
                  <a:lnTo>
                    <a:pt x="1939" y="1389"/>
                  </a:lnTo>
                  <a:lnTo>
                    <a:pt x="1941" y="1393"/>
                  </a:lnTo>
                  <a:lnTo>
                    <a:pt x="1941" y="1398"/>
                  </a:lnTo>
                  <a:lnTo>
                    <a:pt x="1943" y="1399"/>
                  </a:lnTo>
                  <a:lnTo>
                    <a:pt x="1944" y="1403"/>
                  </a:lnTo>
                  <a:lnTo>
                    <a:pt x="1955" y="1408"/>
                  </a:lnTo>
                  <a:lnTo>
                    <a:pt x="1954" y="1412"/>
                  </a:lnTo>
                  <a:lnTo>
                    <a:pt x="1954" y="1416"/>
                  </a:lnTo>
                  <a:lnTo>
                    <a:pt x="1957" y="1419"/>
                  </a:lnTo>
                  <a:lnTo>
                    <a:pt x="1955" y="1424"/>
                  </a:lnTo>
                  <a:lnTo>
                    <a:pt x="1957" y="1428"/>
                  </a:lnTo>
                  <a:lnTo>
                    <a:pt x="1961" y="1431"/>
                  </a:lnTo>
                  <a:lnTo>
                    <a:pt x="1966" y="1427"/>
                  </a:lnTo>
                  <a:lnTo>
                    <a:pt x="1972" y="1424"/>
                  </a:lnTo>
                  <a:lnTo>
                    <a:pt x="1976" y="1426"/>
                  </a:lnTo>
                  <a:lnTo>
                    <a:pt x="1982" y="1423"/>
                  </a:lnTo>
                  <a:lnTo>
                    <a:pt x="1985" y="1424"/>
                  </a:lnTo>
                  <a:lnTo>
                    <a:pt x="1990" y="1433"/>
                  </a:lnTo>
                  <a:lnTo>
                    <a:pt x="1989" y="1437"/>
                  </a:lnTo>
                  <a:lnTo>
                    <a:pt x="1983" y="1443"/>
                  </a:lnTo>
                  <a:lnTo>
                    <a:pt x="1985" y="1446"/>
                  </a:lnTo>
                  <a:lnTo>
                    <a:pt x="1988" y="1448"/>
                  </a:lnTo>
                  <a:lnTo>
                    <a:pt x="2007" y="1456"/>
                  </a:lnTo>
                  <a:lnTo>
                    <a:pt x="2007" y="1460"/>
                  </a:lnTo>
                  <a:lnTo>
                    <a:pt x="2008" y="1464"/>
                  </a:lnTo>
                  <a:lnTo>
                    <a:pt x="2007" y="1469"/>
                  </a:lnTo>
                  <a:lnTo>
                    <a:pt x="2013" y="1476"/>
                  </a:lnTo>
                  <a:lnTo>
                    <a:pt x="2016" y="1477"/>
                  </a:lnTo>
                  <a:lnTo>
                    <a:pt x="2028" y="1480"/>
                  </a:lnTo>
                  <a:lnTo>
                    <a:pt x="2029" y="1483"/>
                  </a:lnTo>
                  <a:lnTo>
                    <a:pt x="2032" y="1486"/>
                  </a:lnTo>
                  <a:lnTo>
                    <a:pt x="2032" y="1489"/>
                  </a:lnTo>
                  <a:lnTo>
                    <a:pt x="2028" y="1491"/>
                  </a:lnTo>
                  <a:lnTo>
                    <a:pt x="2025" y="1495"/>
                  </a:lnTo>
                  <a:lnTo>
                    <a:pt x="2025" y="1498"/>
                  </a:lnTo>
                  <a:lnTo>
                    <a:pt x="2025" y="1502"/>
                  </a:lnTo>
                  <a:lnTo>
                    <a:pt x="2032" y="1505"/>
                  </a:lnTo>
                  <a:lnTo>
                    <a:pt x="2035" y="1506"/>
                  </a:lnTo>
                  <a:lnTo>
                    <a:pt x="2038" y="1506"/>
                  </a:lnTo>
                  <a:lnTo>
                    <a:pt x="2040" y="1505"/>
                  </a:lnTo>
                  <a:lnTo>
                    <a:pt x="2044" y="1505"/>
                  </a:lnTo>
                  <a:lnTo>
                    <a:pt x="2046" y="1506"/>
                  </a:lnTo>
                  <a:lnTo>
                    <a:pt x="2041" y="1510"/>
                  </a:lnTo>
                  <a:lnTo>
                    <a:pt x="2046" y="1516"/>
                  </a:lnTo>
                  <a:lnTo>
                    <a:pt x="2043" y="1519"/>
                  </a:lnTo>
                  <a:lnTo>
                    <a:pt x="2043" y="1522"/>
                  </a:lnTo>
                  <a:lnTo>
                    <a:pt x="2047" y="1522"/>
                  </a:lnTo>
                  <a:lnTo>
                    <a:pt x="2047" y="1523"/>
                  </a:lnTo>
                  <a:lnTo>
                    <a:pt x="2043" y="1527"/>
                  </a:lnTo>
                  <a:lnTo>
                    <a:pt x="2043" y="1535"/>
                  </a:lnTo>
                  <a:lnTo>
                    <a:pt x="2046" y="1539"/>
                  </a:lnTo>
                  <a:lnTo>
                    <a:pt x="2043" y="1545"/>
                  </a:lnTo>
                  <a:lnTo>
                    <a:pt x="2040" y="1548"/>
                  </a:lnTo>
                  <a:lnTo>
                    <a:pt x="2041" y="1551"/>
                  </a:lnTo>
                  <a:lnTo>
                    <a:pt x="2044" y="1555"/>
                  </a:lnTo>
                  <a:lnTo>
                    <a:pt x="2049" y="1555"/>
                  </a:lnTo>
                  <a:lnTo>
                    <a:pt x="2053" y="1555"/>
                  </a:lnTo>
                  <a:lnTo>
                    <a:pt x="2055" y="1555"/>
                  </a:lnTo>
                  <a:lnTo>
                    <a:pt x="2057" y="1558"/>
                  </a:lnTo>
                  <a:lnTo>
                    <a:pt x="2060" y="1561"/>
                  </a:lnTo>
                  <a:lnTo>
                    <a:pt x="2063" y="1568"/>
                  </a:lnTo>
                  <a:lnTo>
                    <a:pt x="2068" y="1573"/>
                  </a:lnTo>
                  <a:lnTo>
                    <a:pt x="2066" y="1577"/>
                  </a:lnTo>
                  <a:lnTo>
                    <a:pt x="2063" y="1577"/>
                  </a:lnTo>
                  <a:lnTo>
                    <a:pt x="2063" y="1581"/>
                  </a:lnTo>
                  <a:lnTo>
                    <a:pt x="2064" y="1585"/>
                  </a:lnTo>
                  <a:lnTo>
                    <a:pt x="2060" y="1589"/>
                  </a:lnTo>
                  <a:lnTo>
                    <a:pt x="2058" y="1594"/>
                  </a:lnTo>
                  <a:lnTo>
                    <a:pt x="2060" y="1599"/>
                  </a:lnTo>
                  <a:lnTo>
                    <a:pt x="2064" y="1603"/>
                  </a:lnTo>
                  <a:lnTo>
                    <a:pt x="2063" y="1611"/>
                  </a:lnTo>
                  <a:lnTo>
                    <a:pt x="2066" y="1614"/>
                  </a:lnTo>
                  <a:lnTo>
                    <a:pt x="2066" y="1615"/>
                  </a:lnTo>
                  <a:lnTo>
                    <a:pt x="2064" y="1615"/>
                  </a:lnTo>
                  <a:lnTo>
                    <a:pt x="2064" y="1618"/>
                  </a:lnTo>
                  <a:lnTo>
                    <a:pt x="2069" y="1622"/>
                  </a:lnTo>
                  <a:lnTo>
                    <a:pt x="2076" y="1620"/>
                  </a:lnTo>
                  <a:lnTo>
                    <a:pt x="2083" y="1619"/>
                  </a:lnTo>
                  <a:lnTo>
                    <a:pt x="2086" y="1619"/>
                  </a:lnTo>
                  <a:lnTo>
                    <a:pt x="2088" y="1620"/>
                  </a:lnTo>
                  <a:lnTo>
                    <a:pt x="2086" y="1630"/>
                  </a:lnTo>
                  <a:lnTo>
                    <a:pt x="2079" y="1635"/>
                  </a:lnTo>
                  <a:lnTo>
                    <a:pt x="2075" y="1636"/>
                  </a:lnTo>
                  <a:lnTo>
                    <a:pt x="2068" y="1634"/>
                  </a:lnTo>
                  <a:lnTo>
                    <a:pt x="2065" y="1632"/>
                  </a:lnTo>
                  <a:lnTo>
                    <a:pt x="2064" y="1632"/>
                  </a:lnTo>
                  <a:lnTo>
                    <a:pt x="2061" y="1638"/>
                  </a:lnTo>
                  <a:lnTo>
                    <a:pt x="2066" y="1640"/>
                  </a:lnTo>
                  <a:lnTo>
                    <a:pt x="2066" y="1642"/>
                  </a:lnTo>
                  <a:lnTo>
                    <a:pt x="2064" y="1643"/>
                  </a:lnTo>
                  <a:lnTo>
                    <a:pt x="2063" y="1647"/>
                  </a:lnTo>
                  <a:lnTo>
                    <a:pt x="2061" y="1648"/>
                  </a:lnTo>
                  <a:lnTo>
                    <a:pt x="2054" y="1648"/>
                  </a:lnTo>
                  <a:lnTo>
                    <a:pt x="2053" y="1643"/>
                  </a:lnTo>
                  <a:lnTo>
                    <a:pt x="2050" y="1640"/>
                  </a:lnTo>
                  <a:lnTo>
                    <a:pt x="2044" y="1640"/>
                  </a:lnTo>
                  <a:lnTo>
                    <a:pt x="2041" y="1643"/>
                  </a:lnTo>
                  <a:lnTo>
                    <a:pt x="2040" y="1644"/>
                  </a:lnTo>
                  <a:lnTo>
                    <a:pt x="2040" y="1648"/>
                  </a:lnTo>
                  <a:lnTo>
                    <a:pt x="2041" y="1654"/>
                  </a:lnTo>
                  <a:lnTo>
                    <a:pt x="2044" y="1656"/>
                  </a:lnTo>
                  <a:lnTo>
                    <a:pt x="2043" y="1659"/>
                  </a:lnTo>
                  <a:lnTo>
                    <a:pt x="2044" y="1661"/>
                  </a:lnTo>
                  <a:lnTo>
                    <a:pt x="2040" y="1670"/>
                  </a:lnTo>
                  <a:lnTo>
                    <a:pt x="2039" y="1674"/>
                  </a:lnTo>
                  <a:lnTo>
                    <a:pt x="2041" y="1677"/>
                  </a:lnTo>
                  <a:lnTo>
                    <a:pt x="2051" y="1677"/>
                  </a:lnTo>
                  <a:lnTo>
                    <a:pt x="2054" y="1680"/>
                  </a:lnTo>
                  <a:lnTo>
                    <a:pt x="2061" y="1682"/>
                  </a:lnTo>
                  <a:lnTo>
                    <a:pt x="2061" y="1684"/>
                  </a:lnTo>
                  <a:lnTo>
                    <a:pt x="2061" y="1685"/>
                  </a:lnTo>
                  <a:lnTo>
                    <a:pt x="2058" y="1686"/>
                  </a:lnTo>
                  <a:lnTo>
                    <a:pt x="2058" y="1688"/>
                  </a:lnTo>
                  <a:lnTo>
                    <a:pt x="2060" y="1690"/>
                  </a:lnTo>
                  <a:lnTo>
                    <a:pt x="2055" y="1693"/>
                  </a:lnTo>
                  <a:lnTo>
                    <a:pt x="2055" y="1697"/>
                  </a:lnTo>
                  <a:lnTo>
                    <a:pt x="2058" y="1699"/>
                  </a:lnTo>
                  <a:lnTo>
                    <a:pt x="2057" y="1704"/>
                  </a:lnTo>
                  <a:lnTo>
                    <a:pt x="2057" y="1705"/>
                  </a:lnTo>
                  <a:lnTo>
                    <a:pt x="2060" y="1709"/>
                  </a:lnTo>
                  <a:lnTo>
                    <a:pt x="2064" y="1709"/>
                  </a:lnTo>
                  <a:lnTo>
                    <a:pt x="2065" y="1711"/>
                  </a:lnTo>
                  <a:lnTo>
                    <a:pt x="2066" y="1711"/>
                  </a:lnTo>
                  <a:lnTo>
                    <a:pt x="2069" y="1709"/>
                  </a:lnTo>
                  <a:lnTo>
                    <a:pt x="2072" y="1711"/>
                  </a:lnTo>
                  <a:lnTo>
                    <a:pt x="2072" y="1715"/>
                  </a:lnTo>
                  <a:lnTo>
                    <a:pt x="2075" y="1715"/>
                  </a:lnTo>
                  <a:lnTo>
                    <a:pt x="2074" y="1719"/>
                  </a:lnTo>
                  <a:lnTo>
                    <a:pt x="2078" y="1726"/>
                  </a:lnTo>
                  <a:lnTo>
                    <a:pt x="2078" y="1729"/>
                  </a:lnTo>
                  <a:lnTo>
                    <a:pt x="2075" y="1731"/>
                  </a:lnTo>
                  <a:lnTo>
                    <a:pt x="2076" y="1738"/>
                  </a:lnTo>
                  <a:lnTo>
                    <a:pt x="2078" y="1741"/>
                  </a:lnTo>
                  <a:lnTo>
                    <a:pt x="2076" y="1742"/>
                  </a:lnTo>
                  <a:lnTo>
                    <a:pt x="2078" y="1748"/>
                  </a:lnTo>
                  <a:lnTo>
                    <a:pt x="2083" y="1749"/>
                  </a:lnTo>
                  <a:lnTo>
                    <a:pt x="2090" y="1748"/>
                  </a:lnTo>
                  <a:lnTo>
                    <a:pt x="2090" y="1747"/>
                  </a:lnTo>
                  <a:lnTo>
                    <a:pt x="2090" y="1746"/>
                  </a:lnTo>
                  <a:lnTo>
                    <a:pt x="2093" y="1744"/>
                  </a:lnTo>
                  <a:lnTo>
                    <a:pt x="2097" y="1747"/>
                  </a:lnTo>
                  <a:lnTo>
                    <a:pt x="2101" y="1746"/>
                  </a:lnTo>
                  <a:lnTo>
                    <a:pt x="2107" y="1748"/>
                  </a:lnTo>
                  <a:lnTo>
                    <a:pt x="2110" y="1757"/>
                  </a:lnTo>
                  <a:lnTo>
                    <a:pt x="2108" y="1759"/>
                  </a:lnTo>
                  <a:lnTo>
                    <a:pt x="2105" y="1760"/>
                  </a:lnTo>
                  <a:lnTo>
                    <a:pt x="2105" y="1764"/>
                  </a:lnTo>
                  <a:lnTo>
                    <a:pt x="2107" y="1767"/>
                  </a:lnTo>
                  <a:lnTo>
                    <a:pt x="2111" y="1768"/>
                  </a:lnTo>
                  <a:lnTo>
                    <a:pt x="2113" y="1774"/>
                  </a:lnTo>
                  <a:lnTo>
                    <a:pt x="2111" y="1777"/>
                  </a:lnTo>
                  <a:lnTo>
                    <a:pt x="2113" y="1777"/>
                  </a:lnTo>
                  <a:lnTo>
                    <a:pt x="2115" y="1776"/>
                  </a:lnTo>
                  <a:lnTo>
                    <a:pt x="2115" y="1779"/>
                  </a:lnTo>
                  <a:lnTo>
                    <a:pt x="2117" y="1780"/>
                  </a:lnTo>
                  <a:lnTo>
                    <a:pt x="2115" y="1784"/>
                  </a:lnTo>
                  <a:lnTo>
                    <a:pt x="2114" y="1784"/>
                  </a:lnTo>
                  <a:lnTo>
                    <a:pt x="2113" y="1784"/>
                  </a:lnTo>
                  <a:lnTo>
                    <a:pt x="2111" y="1783"/>
                  </a:lnTo>
                  <a:lnTo>
                    <a:pt x="2110" y="1785"/>
                  </a:lnTo>
                  <a:lnTo>
                    <a:pt x="2111" y="1786"/>
                  </a:lnTo>
                  <a:lnTo>
                    <a:pt x="2113" y="1786"/>
                  </a:lnTo>
                  <a:lnTo>
                    <a:pt x="2114" y="1789"/>
                  </a:lnTo>
                  <a:lnTo>
                    <a:pt x="2114" y="1791"/>
                  </a:lnTo>
                  <a:lnTo>
                    <a:pt x="2117" y="1791"/>
                  </a:lnTo>
                  <a:lnTo>
                    <a:pt x="2121" y="1797"/>
                  </a:lnTo>
                  <a:lnTo>
                    <a:pt x="2125" y="1797"/>
                  </a:lnTo>
                  <a:lnTo>
                    <a:pt x="2126" y="1799"/>
                  </a:lnTo>
                  <a:lnTo>
                    <a:pt x="2126" y="1801"/>
                  </a:lnTo>
                  <a:lnTo>
                    <a:pt x="2122" y="1804"/>
                  </a:lnTo>
                  <a:lnTo>
                    <a:pt x="2122" y="1808"/>
                  </a:lnTo>
                  <a:lnTo>
                    <a:pt x="2119" y="1809"/>
                  </a:lnTo>
                  <a:lnTo>
                    <a:pt x="2115" y="1811"/>
                  </a:lnTo>
                  <a:lnTo>
                    <a:pt x="2114" y="1811"/>
                  </a:lnTo>
                  <a:lnTo>
                    <a:pt x="2114" y="1813"/>
                  </a:lnTo>
                  <a:lnTo>
                    <a:pt x="2108" y="1818"/>
                  </a:lnTo>
                  <a:lnTo>
                    <a:pt x="2107" y="1823"/>
                  </a:lnTo>
                  <a:lnTo>
                    <a:pt x="2111" y="1823"/>
                  </a:lnTo>
                  <a:lnTo>
                    <a:pt x="2114" y="1827"/>
                  </a:lnTo>
                  <a:lnTo>
                    <a:pt x="2121" y="1827"/>
                  </a:lnTo>
                  <a:lnTo>
                    <a:pt x="2124" y="1827"/>
                  </a:lnTo>
                  <a:lnTo>
                    <a:pt x="2122" y="1831"/>
                  </a:lnTo>
                  <a:lnTo>
                    <a:pt x="2117" y="1838"/>
                  </a:lnTo>
                  <a:lnTo>
                    <a:pt x="2110" y="1841"/>
                  </a:lnTo>
                  <a:lnTo>
                    <a:pt x="2108" y="1844"/>
                  </a:lnTo>
                  <a:lnTo>
                    <a:pt x="2108" y="1851"/>
                  </a:lnTo>
                  <a:lnTo>
                    <a:pt x="2113" y="1855"/>
                  </a:lnTo>
                  <a:lnTo>
                    <a:pt x="2110" y="1856"/>
                  </a:lnTo>
                  <a:lnTo>
                    <a:pt x="2110" y="1860"/>
                  </a:lnTo>
                  <a:lnTo>
                    <a:pt x="2105" y="1861"/>
                  </a:lnTo>
                  <a:lnTo>
                    <a:pt x="2103" y="1864"/>
                  </a:lnTo>
                  <a:lnTo>
                    <a:pt x="2101" y="1866"/>
                  </a:lnTo>
                  <a:lnTo>
                    <a:pt x="2100" y="1864"/>
                  </a:lnTo>
                  <a:lnTo>
                    <a:pt x="2099" y="1867"/>
                  </a:lnTo>
                  <a:lnTo>
                    <a:pt x="2094" y="1870"/>
                  </a:lnTo>
                  <a:lnTo>
                    <a:pt x="2096" y="1872"/>
                  </a:lnTo>
                  <a:lnTo>
                    <a:pt x="2093" y="1876"/>
                  </a:lnTo>
                  <a:lnTo>
                    <a:pt x="2096" y="1876"/>
                  </a:lnTo>
                  <a:lnTo>
                    <a:pt x="2096" y="1880"/>
                  </a:lnTo>
                  <a:lnTo>
                    <a:pt x="2093" y="1880"/>
                  </a:lnTo>
                  <a:lnTo>
                    <a:pt x="2090" y="1880"/>
                  </a:lnTo>
                  <a:lnTo>
                    <a:pt x="2089" y="1880"/>
                  </a:lnTo>
                  <a:lnTo>
                    <a:pt x="2089" y="1884"/>
                  </a:lnTo>
                  <a:lnTo>
                    <a:pt x="2086" y="1886"/>
                  </a:lnTo>
                  <a:lnTo>
                    <a:pt x="2085" y="1888"/>
                  </a:lnTo>
                  <a:lnTo>
                    <a:pt x="2079" y="1889"/>
                  </a:lnTo>
                  <a:lnTo>
                    <a:pt x="2079" y="1892"/>
                  </a:lnTo>
                  <a:lnTo>
                    <a:pt x="2086" y="1893"/>
                  </a:lnTo>
                  <a:lnTo>
                    <a:pt x="2088" y="1896"/>
                  </a:lnTo>
                  <a:lnTo>
                    <a:pt x="2091" y="1896"/>
                  </a:lnTo>
                  <a:lnTo>
                    <a:pt x="2101" y="1892"/>
                  </a:lnTo>
                  <a:lnTo>
                    <a:pt x="2107" y="1884"/>
                  </a:lnTo>
                  <a:lnTo>
                    <a:pt x="2113" y="1884"/>
                  </a:lnTo>
                  <a:lnTo>
                    <a:pt x="2114" y="1895"/>
                  </a:lnTo>
                  <a:lnTo>
                    <a:pt x="2119" y="1901"/>
                  </a:lnTo>
                  <a:lnTo>
                    <a:pt x="2118" y="1903"/>
                  </a:lnTo>
                  <a:lnTo>
                    <a:pt x="2117" y="1909"/>
                  </a:lnTo>
                  <a:lnTo>
                    <a:pt x="2121" y="1910"/>
                  </a:lnTo>
                  <a:lnTo>
                    <a:pt x="2126" y="1909"/>
                  </a:lnTo>
                  <a:lnTo>
                    <a:pt x="2126" y="1914"/>
                  </a:lnTo>
                  <a:lnTo>
                    <a:pt x="2125" y="1917"/>
                  </a:lnTo>
                  <a:lnTo>
                    <a:pt x="2124" y="1917"/>
                  </a:lnTo>
                  <a:lnTo>
                    <a:pt x="2122" y="1920"/>
                  </a:lnTo>
                  <a:lnTo>
                    <a:pt x="2124" y="1920"/>
                  </a:lnTo>
                  <a:lnTo>
                    <a:pt x="2125" y="1921"/>
                  </a:lnTo>
                  <a:lnTo>
                    <a:pt x="2129" y="1922"/>
                  </a:lnTo>
                  <a:lnTo>
                    <a:pt x="2130" y="1923"/>
                  </a:lnTo>
                  <a:lnTo>
                    <a:pt x="2130" y="1926"/>
                  </a:lnTo>
                  <a:lnTo>
                    <a:pt x="2128" y="1928"/>
                  </a:lnTo>
                  <a:lnTo>
                    <a:pt x="2121" y="1928"/>
                  </a:lnTo>
                  <a:lnTo>
                    <a:pt x="2118" y="1929"/>
                  </a:lnTo>
                  <a:lnTo>
                    <a:pt x="2118" y="1933"/>
                  </a:lnTo>
                  <a:lnTo>
                    <a:pt x="2113" y="1934"/>
                  </a:lnTo>
                  <a:lnTo>
                    <a:pt x="2110" y="1937"/>
                  </a:lnTo>
                  <a:lnTo>
                    <a:pt x="2114" y="1940"/>
                  </a:lnTo>
                  <a:lnTo>
                    <a:pt x="2113" y="1946"/>
                  </a:lnTo>
                  <a:lnTo>
                    <a:pt x="2115" y="1950"/>
                  </a:lnTo>
                  <a:lnTo>
                    <a:pt x="2110" y="1955"/>
                  </a:lnTo>
                  <a:lnTo>
                    <a:pt x="2108" y="1960"/>
                  </a:lnTo>
                  <a:lnTo>
                    <a:pt x="2110" y="1963"/>
                  </a:lnTo>
                  <a:lnTo>
                    <a:pt x="2110" y="1966"/>
                  </a:lnTo>
                  <a:lnTo>
                    <a:pt x="2107" y="1968"/>
                  </a:lnTo>
                  <a:lnTo>
                    <a:pt x="2107" y="1973"/>
                  </a:lnTo>
                  <a:lnTo>
                    <a:pt x="2100" y="1980"/>
                  </a:lnTo>
                  <a:lnTo>
                    <a:pt x="2100" y="1982"/>
                  </a:lnTo>
                  <a:lnTo>
                    <a:pt x="2100" y="1984"/>
                  </a:lnTo>
                  <a:lnTo>
                    <a:pt x="2104" y="1985"/>
                  </a:lnTo>
                  <a:lnTo>
                    <a:pt x="2105" y="1990"/>
                  </a:lnTo>
                  <a:lnTo>
                    <a:pt x="2107" y="1991"/>
                  </a:lnTo>
                  <a:lnTo>
                    <a:pt x="2107" y="1993"/>
                  </a:lnTo>
                  <a:lnTo>
                    <a:pt x="2110" y="1996"/>
                  </a:lnTo>
                  <a:lnTo>
                    <a:pt x="2108" y="2000"/>
                  </a:lnTo>
                  <a:lnTo>
                    <a:pt x="2111" y="2004"/>
                  </a:lnTo>
                  <a:lnTo>
                    <a:pt x="2108" y="2008"/>
                  </a:lnTo>
                  <a:lnTo>
                    <a:pt x="2108" y="2010"/>
                  </a:lnTo>
                  <a:lnTo>
                    <a:pt x="2105" y="2013"/>
                  </a:lnTo>
                  <a:lnTo>
                    <a:pt x="2108" y="2016"/>
                  </a:lnTo>
                  <a:lnTo>
                    <a:pt x="2110" y="2015"/>
                  </a:lnTo>
                  <a:lnTo>
                    <a:pt x="2110" y="2017"/>
                  </a:lnTo>
                  <a:lnTo>
                    <a:pt x="2111" y="2018"/>
                  </a:lnTo>
                  <a:lnTo>
                    <a:pt x="2107" y="2020"/>
                  </a:lnTo>
                  <a:lnTo>
                    <a:pt x="2105" y="2025"/>
                  </a:lnTo>
                  <a:lnTo>
                    <a:pt x="2103" y="2027"/>
                  </a:lnTo>
                  <a:lnTo>
                    <a:pt x="2101" y="2025"/>
                  </a:lnTo>
                  <a:lnTo>
                    <a:pt x="2099" y="2029"/>
                  </a:lnTo>
                  <a:lnTo>
                    <a:pt x="2103" y="2034"/>
                  </a:lnTo>
                  <a:lnTo>
                    <a:pt x="2104" y="2034"/>
                  </a:lnTo>
                  <a:lnTo>
                    <a:pt x="2107" y="2037"/>
                  </a:lnTo>
                  <a:lnTo>
                    <a:pt x="2104" y="2040"/>
                  </a:lnTo>
                  <a:lnTo>
                    <a:pt x="2104" y="2044"/>
                  </a:lnTo>
                  <a:lnTo>
                    <a:pt x="2108" y="2044"/>
                  </a:lnTo>
                  <a:lnTo>
                    <a:pt x="2110" y="2045"/>
                  </a:lnTo>
                  <a:lnTo>
                    <a:pt x="2114" y="2047"/>
                  </a:lnTo>
                  <a:lnTo>
                    <a:pt x="2114" y="2049"/>
                  </a:lnTo>
                  <a:lnTo>
                    <a:pt x="2119" y="2049"/>
                  </a:lnTo>
                  <a:lnTo>
                    <a:pt x="2121" y="2054"/>
                  </a:lnTo>
                  <a:lnTo>
                    <a:pt x="2118" y="2057"/>
                  </a:lnTo>
                  <a:lnTo>
                    <a:pt x="2113" y="2059"/>
                  </a:lnTo>
                  <a:lnTo>
                    <a:pt x="2103" y="2062"/>
                  </a:lnTo>
                  <a:lnTo>
                    <a:pt x="2103" y="2065"/>
                  </a:lnTo>
                  <a:lnTo>
                    <a:pt x="2099" y="2063"/>
                  </a:lnTo>
                  <a:lnTo>
                    <a:pt x="2097" y="2065"/>
                  </a:lnTo>
                  <a:lnTo>
                    <a:pt x="2099" y="2066"/>
                  </a:lnTo>
                  <a:lnTo>
                    <a:pt x="2097" y="2067"/>
                  </a:lnTo>
                  <a:lnTo>
                    <a:pt x="2096" y="2067"/>
                  </a:lnTo>
                  <a:lnTo>
                    <a:pt x="2094" y="2067"/>
                  </a:lnTo>
                  <a:lnTo>
                    <a:pt x="2097" y="2071"/>
                  </a:lnTo>
                  <a:lnTo>
                    <a:pt x="2097" y="2077"/>
                  </a:lnTo>
                  <a:lnTo>
                    <a:pt x="2101" y="2079"/>
                  </a:lnTo>
                  <a:lnTo>
                    <a:pt x="2104" y="2079"/>
                  </a:lnTo>
                  <a:lnTo>
                    <a:pt x="2103" y="2083"/>
                  </a:lnTo>
                  <a:lnTo>
                    <a:pt x="2100" y="2087"/>
                  </a:lnTo>
                  <a:lnTo>
                    <a:pt x="2103" y="2092"/>
                  </a:lnTo>
                  <a:lnTo>
                    <a:pt x="2111" y="2099"/>
                  </a:lnTo>
                  <a:lnTo>
                    <a:pt x="2108" y="2103"/>
                  </a:lnTo>
                  <a:lnTo>
                    <a:pt x="2107" y="2104"/>
                  </a:lnTo>
                  <a:lnTo>
                    <a:pt x="2104" y="2107"/>
                  </a:lnTo>
                  <a:lnTo>
                    <a:pt x="2105" y="2109"/>
                  </a:lnTo>
                  <a:lnTo>
                    <a:pt x="2103" y="2112"/>
                  </a:lnTo>
                  <a:lnTo>
                    <a:pt x="2107" y="2115"/>
                  </a:lnTo>
                  <a:lnTo>
                    <a:pt x="2110" y="2116"/>
                  </a:lnTo>
                  <a:lnTo>
                    <a:pt x="2110" y="2124"/>
                  </a:lnTo>
                  <a:lnTo>
                    <a:pt x="2113" y="2132"/>
                  </a:lnTo>
                  <a:lnTo>
                    <a:pt x="2110" y="2138"/>
                  </a:lnTo>
                  <a:lnTo>
                    <a:pt x="2105" y="2142"/>
                  </a:lnTo>
                  <a:lnTo>
                    <a:pt x="2104" y="2145"/>
                  </a:lnTo>
                  <a:lnTo>
                    <a:pt x="2105" y="2149"/>
                  </a:lnTo>
                  <a:lnTo>
                    <a:pt x="2108" y="2150"/>
                  </a:lnTo>
                  <a:lnTo>
                    <a:pt x="2111" y="2150"/>
                  </a:lnTo>
                  <a:lnTo>
                    <a:pt x="2114" y="2149"/>
                  </a:lnTo>
                  <a:lnTo>
                    <a:pt x="2117" y="2152"/>
                  </a:lnTo>
                  <a:lnTo>
                    <a:pt x="2113" y="2158"/>
                  </a:lnTo>
                  <a:lnTo>
                    <a:pt x="2111" y="2159"/>
                  </a:lnTo>
                  <a:lnTo>
                    <a:pt x="2107" y="2161"/>
                  </a:lnTo>
                  <a:lnTo>
                    <a:pt x="2104" y="2163"/>
                  </a:lnTo>
                  <a:lnTo>
                    <a:pt x="2105" y="2165"/>
                  </a:lnTo>
                  <a:lnTo>
                    <a:pt x="2107" y="2169"/>
                  </a:lnTo>
                  <a:lnTo>
                    <a:pt x="2111" y="2170"/>
                  </a:lnTo>
                  <a:lnTo>
                    <a:pt x="2113" y="2174"/>
                  </a:lnTo>
                  <a:lnTo>
                    <a:pt x="2110" y="2179"/>
                  </a:lnTo>
                  <a:lnTo>
                    <a:pt x="2104" y="2179"/>
                  </a:lnTo>
                  <a:lnTo>
                    <a:pt x="2104" y="2183"/>
                  </a:lnTo>
                  <a:lnTo>
                    <a:pt x="2107" y="2187"/>
                  </a:lnTo>
                  <a:lnTo>
                    <a:pt x="2108" y="2195"/>
                  </a:lnTo>
                  <a:lnTo>
                    <a:pt x="2114" y="2206"/>
                  </a:lnTo>
                  <a:lnTo>
                    <a:pt x="2113" y="2208"/>
                  </a:lnTo>
                  <a:lnTo>
                    <a:pt x="2115" y="2209"/>
                  </a:lnTo>
                  <a:lnTo>
                    <a:pt x="2115" y="2213"/>
                  </a:lnTo>
                  <a:lnTo>
                    <a:pt x="2117" y="2213"/>
                  </a:lnTo>
                  <a:lnTo>
                    <a:pt x="2117" y="2221"/>
                  </a:lnTo>
                  <a:lnTo>
                    <a:pt x="2118" y="2224"/>
                  </a:lnTo>
                  <a:lnTo>
                    <a:pt x="2124" y="2224"/>
                  </a:lnTo>
                  <a:lnTo>
                    <a:pt x="2129" y="2220"/>
                  </a:lnTo>
                  <a:lnTo>
                    <a:pt x="2136" y="2223"/>
                  </a:lnTo>
                  <a:lnTo>
                    <a:pt x="2144" y="2219"/>
                  </a:lnTo>
                  <a:lnTo>
                    <a:pt x="2153" y="2224"/>
                  </a:lnTo>
                  <a:lnTo>
                    <a:pt x="2155" y="2232"/>
                  </a:lnTo>
                  <a:lnTo>
                    <a:pt x="2163" y="2234"/>
                  </a:lnTo>
                  <a:lnTo>
                    <a:pt x="2165" y="2320"/>
                  </a:lnTo>
                  <a:lnTo>
                    <a:pt x="2167" y="2362"/>
                  </a:lnTo>
                  <a:lnTo>
                    <a:pt x="2165" y="2445"/>
                  </a:lnTo>
                  <a:lnTo>
                    <a:pt x="2182" y="2464"/>
                  </a:lnTo>
                  <a:lnTo>
                    <a:pt x="2200" y="2490"/>
                  </a:lnTo>
                  <a:lnTo>
                    <a:pt x="2207" y="2497"/>
                  </a:lnTo>
                  <a:lnTo>
                    <a:pt x="2208" y="2502"/>
                  </a:lnTo>
                  <a:lnTo>
                    <a:pt x="2214" y="2509"/>
                  </a:lnTo>
                  <a:lnTo>
                    <a:pt x="2227" y="2524"/>
                  </a:lnTo>
                  <a:lnTo>
                    <a:pt x="2243" y="2539"/>
                  </a:lnTo>
                  <a:lnTo>
                    <a:pt x="2281" y="2593"/>
                  </a:lnTo>
                  <a:lnTo>
                    <a:pt x="2282" y="2594"/>
                  </a:lnTo>
                  <a:lnTo>
                    <a:pt x="2286" y="2591"/>
                  </a:lnTo>
                  <a:lnTo>
                    <a:pt x="2290" y="2588"/>
                  </a:lnTo>
                  <a:lnTo>
                    <a:pt x="2298" y="2588"/>
                  </a:lnTo>
                  <a:lnTo>
                    <a:pt x="2304" y="2584"/>
                  </a:lnTo>
                  <a:lnTo>
                    <a:pt x="2307" y="2580"/>
                  </a:lnTo>
                  <a:lnTo>
                    <a:pt x="2315" y="2580"/>
                  </a:lnTo>
                  <a:lnTo>
                    <a:pt x="2317" y="2579"/>
                  </a:lnTo>
                  <a:lnTo>
                    <a:pt x="2323" y="2577"/>
                  </a:lnTo>
                  <a:lnTo>
                    <a:pt x="2325" y="2580"/>
                  </a:lnTo>
                  <a:lnTo>
                    <a:pt x="2329" y="2580"/>
                  </a:lnTo>
                  <a:lnTo>
                    <a:pt x="2331" y="2577"/>
                  </a:lnTo>
                  <a:lnTo>
                    <a:pt x="2339" y="2576"/>
                  </a:lnTo>
                  <a:lnTo>
                    <a:pt x="2340" y="2571"/>
                  </a:lnTo>
                  <a:lnTo>
                    <a:pt x="2343" y="2568"/>
                  </a:lnTo>
                  <a:lnTo>
                    <a:pt x="2364" y="2561"/>
                  </a:lnTo>
                  <a:lnTo>
                    <a:pt x="2371" y="2560"/>
                  </a:lnTo>
                  <a:lnTo>
                    <a:pt x="2381" y="2554"/>
                  </a:lnTo>
                  <a:lnTo>
                    <a:pt x="2385" y="2554"/>
                  </a:lnTo>
                  <a:lnTo>
                    <a:pt x="2390" y="2556"/>
                  </a:lnTo>
                  <a:lnTo>
                    <a:pt x="2393" y="2556"/>
                  </a:lnTo>
                  <a:lnTo>
                    <a:pt x="2402" y="2551"/>
                  </a:lnTo>
                  <a:lnTo>
                    <a:pt x="2409" y="2549"/>
                  </a:lnTo>
                  <a:lnTo>
                    <a:pt x="2413" y="2549"/>
                  </a:lnTo>
                  <a:lnTo>
                    <a:pt x="2417" y="2552"/>
                  </a:lnTo>
                  <a:lnTo>
                    <a:pt x="2418" y="2552"/>
                  </a:lnTo>
                  <a:lnTo>
                    <a:pt x="2429" y="2549"/>
                  </a:lnTo>
                  <a:lnTo>
                    <a:pt x="2431" y="2547"/>
                  </a:lnTo>
                  <a:lnTo>
                    <a:pt x="2434" y="2543"/>
                  </a:lnTo>
                  <a:lnTo>
                    <a:pt x="2445" y="2537"/>
                  </a:lnTo>
                  <a:lnTo>
                    <a:pt x="2457" y="2536"/>
                  </a:lnTo>
                  <a:lnTo>
                    <a:pt x="2464" y="2536"/>
                  </a:lnTo>
                  <a:lnTo>
                    <a:pt x="2474" y="2532"/>
                  </a:lnTo>
                  <a:lnTo>
                    <a:pt x="2485" y="2532"/>
                  </a:lnTo>
                  <a:lnTo>
                    <a:pt x="2499" y="2526"/>
                  </a:lnTo>
                  <a:lnTo>
                    <a:pt x="2508" y="2527"/>
                  </a:lnTo>
                  <a:lnTo>
                    <a:pt x="2510" y="2530"/>
                  </a:lnTo>
                  <a:lnTo>
                    <a:pt x="2510" y="2532"/>
                  </a:lnTo>
                  <a:lnTo>
                    <a:pt x="2449" y="2594"/>
                  </a:lnTo>
                  <a:lnTo>
                    <a:pt x="2449" y="2596"/>
                  </a:lnTo>
                  <a:lnTo>
                    <a:pt x="2464" y="2597"/>
                  </a:lnTo>
                  <a:lnTo>
                    <a:pt x="2468" y="2601"/>
                  </a:lnTo>
                  <a:lnTo>
                    <a:pt x="2473" y="2610"/>
                  </a:lnTo>
                  <a:lnTo>
                    <a:pt x="2477" y="2617"/>
                  </a:lnTo>
                  <a:lnTo>
                    <a:pt x="2488" y="2630"/>
                  </a:lnTo>
                  <a:lnTo>
                    <a:pt x="2498" y="2638"/>
                  </a:lnTo>
                  <a:lnTo>
                    <a:pt x="2527" y="2672"/>
                  </a:lnTo>
                  <a:lnTo>
                    <a:pt x="2406" y="2733"/>
                  </a:lnTo>
                  <a:lnTo>
                    <a:pt x="2407" y="2758"/>
                  </a:lnTo>
                  <a:lnTo>
                    <a:pt x="2407" y="2801"/>
                  </a:lnTo>
                  <a:lnTo>
                    <a:pt x="2516" y="2810"/>
                  </a:lnTo>
                  <a:lnTo>
                    <a:pt x="2547" y="2855"/>
                  </a:lnTo>
                  <a:lnTo>
                    <a:pt x="2539" y="2855"/>
                  </a:lnTo>
                  <a:lnTo>
                    <a:pt x="2489" y="2875"/>
                  </a:lnTo>
                  <a:close/>
                </a:path>
              </a:pathLst>
            </a:custGeom>
            <a:solidFill>
              <a:srgbClr val="00B0F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41" name="Freeform 140"/>
            <p:cNvSpPr>
              <a:spLocks/>
            </p:cNvSpPr>
            <p:nvPr/>
          </p:nvSpPr>
          <p:spPr bwMode="auto">
            <a:xfrm>
              <a:off x="953145" y="2857068"/>
              <a:ext cx="348490" cy="1126469"/>
            </a:xfrm>
            <a:custGeom>
              <a:avLst/>
              <a:gdLst>
                <a:gd name="T0" fmla="*/ 1527 w 1748"/>
                <a:gd name="T1" fmla="*/ 539 h 4174"/>
                <a:gd name="T2" fmla="*/ 1461 w 1748"/>
                <a:gd name="T3" fmla="*/ 888 h 4174"/>
                <a:gd name="T4" fmla="*/ 1481 w 1748"/>
                <a:gd name="T5" fmla="*/ 1191 h 4174"/>
                <a:gd name="T6" fmla="*/ 1535 w 1748"/>
                <a:gd name="T7" fmla="*/ 1228 h 4174"/>
                <a:gd name="T8" fmla="*/ 1499 w 1748"/>
                <a:gd name="T9" fmla="*/ 1464 h 4174"/>
                <a:gd name="T10" fmla="*/ 1364 w 1748"/>
                <a:gd name="T11" fmla="*/ 1476 h 4174"/>
                <a:gd name="T12" fmla="*/ 1335 w 1748"/>
                <a:gd name="T13" fmla="*/ 1399 h 4174"/>
                <a:gd name="T14" fmla="*/ 1167 w 1748"/>
                <a:gd name="T15" fmla="*/ 1515 h 4174"/>
                <a:gd name="T16" fmla="*/ 1181 w 1748"/>
                <a:gd name="T17" fmla="*/ 1597 h 4174"/>
                <a:gd name="T18" fmla="*/ 1204 w 1748"/>
                <a:gd name="T19" fmla="*/ 1657 h 4174"/>
                <a:gd name="T20" fmla="*/ 1192 w 1748"/>
                <a:gd name="T21" fmla="*/ 1707 h 4174"/>
                <a:gd name="T22" fmla="*/ 1090 w 1748"/>
                <a:gd name="T23" fmla="*/ 1846 h 4174"/>
                <a:gd name="T24" fmla="*/ 1214 w 1748"/>
                <a:gd name="T25" fmla="*/ 1928 h 4174"/>
                <a:gd name="T26" fmla="*/ 1304 w 1748"/>
                <a:gd name="T27" fmla="*/ 2028 h 4174"/>
                <a:gd name="T28" fmla="*/ 1263 w 1748"/>
                <a:gd name="T29" fmla="*/ 2388 h 4174"/>
                <a:gd name="T30" fmla="*/ 1122 w 1748"/>
                <a:gd name="T31" fmla="*/ 2617 h 4174"/>
                <a:gd name="T32" fmla="*/ 1175 w 1748"/>
                <a:gd name="T33" fmla="*/ 2750 h 4174"/>
                <a:gd name="T34" fmla="*/ 1103 w 1748"/>
                <a:gd name="T35" fmla="*/ 2896 h 4174"/>
                <a:gd name="T36" fmla="*/ 990 w 1748"/>
                <a:gd name="T37" fmla="*/ 2843 h 4174"/>
                <a:gd name="T38" fmla="*/ 944 w 1748"/>
                <a:gd name="T39" fmla="*/ 2887 h 4174"/>
                <a:gd name="T40" fmla="*/ 883 w 1748"/>
                <a:gd name="T41" fmla="*/ 2924 h 4174"/>
                <a:gd name="T42" fmla="*/ 821 w 1748"/>
                <a:gd name="T43" fmla="*/ 2971 h 4174"/>
                <a:gd name="T44" fmla="*/ 891 w 1748"/>
                <a:gd name="T45" fmla="*/ 3141 h 4174"/>
                <a:gd name="T46" fmla="*/ 1054 w 1748"/>
                <a:gd name="T47" fmla="*/ 3404 h 4174"/>
                <a:gd name="T48" fmla="*/ 1171 w 1748"/>
                <a:gd name="T49" fmla="*/ 3497 h 4174"/>
                <a:gd name="T50" fmla="*/ 1342 w 1748"/>
                <a:gd name="T51" fmla="*/ 3882 h 4174"/>
                <a:gd name="T52" fmla="*/ 1263 w 1748"/>
                <a:gd name="T53" fmla="*/ 3995 h 4174"/>
                <a:gd name="T54" fmla="*/ 1209 w 1748"/>
                <a:gd name="T55" fmla="*/ 4037 h 4174"/>
                <a:gd name="T56" fmla="*/ 1124 w 1748"/>
                <a:gd name="T57" fmla="*/ 4036 h 4174"/>
                <a:gd name="T58" fmla="*/ 1014 w 1748"/>
                <a:gd name="T59" fmla="*/ 4021 h 4174"/>
                <a:gd name="T60" fmla="*/ 908 w 1748"/>
                <a:gd name="T61" fmla="*/ 4023 h 4174"/>
                <a:gd name="T62" fmla="*/ 812 w 1748"/>
                <a:gd name="T63" fmla="*/ 4083 h 4174"/>
                <a:gd name="T64" fmla="*/ 709 w 1748"/>
                <a:gd name="T65" fmla="*/ 4087 h 4174"/>
                <a:gd name="T66" fmla="*/ 616 w 1748"/>
                <a:gd name="T67" fmla="*/ 4125 h 4174"/>
                <a:gd name="T68" fmla="*/ 520 w 1748"/>
                <a:gd name="T69" fmla="*/ 4169 h 4174"/>
                <a:gd name="T70" fmla="*/ 455 w 1748"/>
                <a:gd name="T71" fmla="*/ 4106 h 4174"/>
                <a:gd name="T72" fmla="*/ 357 w 1748"/>
                <a:gd name="T73" fmla="*/ 4103 h 4174"/>
                <a:gd name="T74" fmla="*/ 259 w 1748"/>
                <a:gd name="T75" fmla="*/ 4035 h 4174"/>
                <a:gd name="T76" fmla="*/ 149 w 1748"/>
                <a:gd name="T77" fmla="*/ 4015 h 4174"/>
                <a:gd name="T78" fmla="*/ 13 w 1748"/>
                <a:gd name="T79" fmla="*/ 3792 h 4174"/>
                <a:gd name="T80" fmla="*/ 225 w 1748"/>
                <a:gd name="T81" fmla="*/ 3354 h 4174"/>
                <a:gd name="T82" fmla="*/ 405 w 1748"/>
                <a:gd name="T83" fmla="*/ 3048 h 4174"/>
                <a:gd name="T84" fmla="*/ 553 w 1748"/>
                <a:gd name="T85" fmla="*/ 2741 h 4174"/>
                <a:gd name="T86" fmla="*/ 391 w 1748"/>
                <a:gd name="T87" fmla="*/ 2542 h 4174"/>
                <a:gd name="T88" fmla="*/ 390 w 1748"/>
                <a:gd name="T89" fmla="*/ 2277 h 4174"/>
                <a:gd name="T90" fmla="*/ 271 w 1748"/>
                <a:gd name="T91" fmla="*/ 2048 h 4174"/>
                <a:gd name="T92" fmla="*/ 473 w 1748"/>
                <a:gd name="T93" fmla="*/ 1856 h 4174"/>
                <a:gd name="T94" fmla="*/ 547 w 1748"/>
                <a:gd name="T95" fmla="*/ 1601 h 4174"/>
                <a:gd name="T96" fmla="*/ 485 w 1748"/>
                <a:gd name="T97" fmla="*/ 1399 h 4174"/>
                <a:gd name="T98" fmla="*/ 522 w 1748"/>
                <a:gd name="T99" fmla="*/ 1120 h 4174"/>
                <a:gd name="T100" fmla="*/ 477 w 1748"/>
                <a:gd name="T101" fmla="*/ 907 h 4174"/>
                <a:gd name="T102" fmla="*/ 569 w 1748"/>
                <a:gd name="T103" fmla="*/ 696 h 4174"/>
                <a:gd name="T104" fmla="*/ 611 w 1748"/>
                <a:gd name="T105" fmla="*/ 598 h 4174"/>
                <a:gd name="T106" fmla="*/ 637 w 1748"/>
                <a:gd name="T107" fmla="*/ 514 h 4174"/>
                <a:gd name="T108" fmla="*/ 704 w 1748"/>
                <a:gd name="T109" fmla="*/ 412 h 4174"/>
                <a:gd name="T110" fmla="*/ 759 w 1748"/>
                <a:gd name="T111" fmla="*/ 283 h 4174"/>
                <a:gd name="T112" fmla="*/ 827 w 1748"/>
                <a:gd name="T113" fmla="*/ 212 h 4174"/>
                <a:gd name="T114" fmla="*/ 876 w 1748"/>
                <a:gd name="T115" fmla="*/ 105 h 4174"/>
                <a:gd name="T116" fmla="*/ 1004 w 1748"/>
                <a:gd name="T117" fmla="*/ 34 h 4174"/>
                <a:gd name="T118" fmla="*/ 1125 w 1748"/>
                <a:gd name="T119" fmla="*/ 6 h 4174"/>
                <a:gd name="T120" fmla="*/ 1303 w 1748"/>
                <a:gd name="T121" fmla="*/ 149 h 4174"/>
                <a:gd name="T122" fmla="*/ 1483 w 1748"/>
                <a:gd name="T123" fmla="*/ 262 h 4174"/>
                <a:gd name="T124" fmla="*/ 1713 w 1748"/>
                <a:gd name="T125" fmla="*/ 315 h 417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748"/>
                <a:gd name="T190" fmla="*/ 0 h 4174"/>
                <a:gd name="T191" fmla="*/ 1748 w 1748"/>
                <a:gd name="T192" fmla="*/ 4174 h 417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748" h="4174">
                  <a:moveTo>
                    <a:pt x="1743" y="341"/>
                  </a:moveTo>
                  <a:lnTo>
                    <a:pt x="1741" y="348"/>
                  </a:lnTo>
                  <a:lnTo>
                    <a:pt x="1731" y="360"/>
                  </a:lnTo>
                  <a:lnTo>
                    <a:pt x="1729" y="362"/>
                  </a:lnTo>
                  <a:lnTo>
                    <a:pt x="1723" y="363"/>
                  </a:lnTo>
                  <a:lnTo>
                    <a:pt x="1720" y="371"/>
                  </a:lnTo>
                  <a:lnTo>
                    <a:pt x="1721" y="385"/>
                  </a:lnTo>
                  <a:lnTo>
                    <a:pt x="1729" y="386"/>
                  </a:lnTo>
                  <a:lnTo>
                    <a:pt x="1744" y="386"/>
                  </a:lnTo>
                  <a:lnTo>
                    <a:pt x="1743" y="388"/>
                  </a:lnTo>
                  <a:lnTo>
                    <a:pt x="1731" y="407"/>
                  </a:lnTo>
                  <a:lnTo>
                    <a:pt x="1727" y="416"/>
                  </a:lnTo>
                  <a:lnTo>
                    <a:pt x="1724" y="423"/>
                  </a:lnTo>
                  <a:lnTo>
                    <a:pt x="1719" y="431"/>
                  </a:lnTo>
                  <a:lnTo>
                    <a:pt x="1691" y="482"/>
                  </a:lnTo>
                  <a:lnTo>
                    <a:pt x="1638" y="498"/>
                  </a:lnTo>
                  <a:lnTo>
                    <a:pt x="1616" y="504"/>
                  </a:lnTo>
                  <a:lnTo>
                    <a:pt x="1591" y="510"/>
                  </a:lnTo>
                  <a:lnTo>
                    <a:pt x="1563" y="514"/>
                  </a:lnTo>
                  <a:lnTo>
                    <a:pt x="1527" y="539"/>
                  </a:lnTo>
                  <a:lnTo>
                    <a:pt x="1453" y="673"/>
                  </a:lnTo>
                  <a:lnTo>
                    <a:pt x="1470" y="681"/>
                  </a:lnTo>
                  <a:lnTo>
                    <a:pt x="1483" y="685"/>
                  </a:lnTo>
                  <a:lnTo>
                    <a:pt x="1484" y="689"/>
                  </a:lnTo>
                  <a:lnTo>
                    <a:pt x="1485" y="693"/>
                  </a:lnTo>
                  <a:lnTo>
                    <a:pt x="1486" y="693"/>
                  </a:lnTo>
                  <a:lnTo>
                    <a:pt x="1491" y="693"/>
                  </a:lnTo>
                  <a:lnTo>
                    <a:pt x="1496" y="697"/>
                  </a:lnTo>
                  <a:lnTo>
                    <a:pt x="1498" y="701"/>
                  </a:lnTo>
                  <a:lnTo>
                    <a:pt x="1499" y="705"/>
                  </a:lnTo>
                  <a:lnTo>
                    <a:pt x="1492" y="715"/>
                  </a:lnTo>
                  <a:lnTo>
                    <a:pt x="1478" y="730"/>
                  </a:lnTo>
                  <a:lnTo>
                    <a:pt x="1477" y="746"/>
                  </a:lnTo>
                  <a:lnTo>
                    <a:pt x="1467" y="786"/>
                  </a:lnTo>
                  <a:lnTo>
                    <a:pt x="1463" y="798"/>
                  </a:lnTo>
                  <a:lnTo>
                    <a:pt x="1463" y="801"/>
                  </a:lnTo>
                  <a:lnTo>
                    <a:pt x="1469" y="815"/>
                  </a:lnTo>
                  <a:lnTo>
                    <a:pt x="1475" y="826"/>
                  </a:lnTo>
                  <a:lnTo>
                    <a:pt x="1474" y="839"/>
                  </a:lnTo>
                  <a:lnTo>
                    <a:pt x="1461" y="888"/>
                  </a:lnTo>
                  <a:lnTo>
                    <a:pt x="1453" y="910"/>
                  </a:lnTo>
                  <a:lnTo>
                    <a:pt x="1424" y="970"/>
                  </a:lnTo>
                  <a:lnTo>
                    <a:pt x="1444" y="1000"/>
                  </a:lnTo>
                  <a:lnTo>
                    <a:pt x="1445" y="1007"/>
                  </a:lnTo>
                  <a:lnTo>
                    <a:pt x="1442" y="1047"/>
                  </a:lnTo>
                  <a:lnTo>
                    <a:pt x="1442" y="1051"/>
                  </a:lnTo>
                  <a:lnTo>
                    <a:pt x="1445" y="1053"/>
                  </a:lnTo>
                  <a:lnTo>
                    <a:pt x="1475" y="1071"/>
                  </a:lnTo>
                  <a:lnTo>
                    <a:pt x="1477" y="1075"/>
                  </a:lnTo>
                  <a:lnTo>
                    <a:pt x="1477" y="1082"/>
                  </a:lnTo>
                  <a:lnTo>
                    <a:pt x="1481" y="1092"/>
                  </a:lnTo>
                  <a:lnTo>
                    <a:pt x="1478" y="1104"/>
                  </a:lnTo>
                  <a:lnTo>
                    <a:pt x="1480" y="1114"/>
                  </a:lnTo>
                  <a:lnTo>
                    <a:pt x="1477" y="1124"/>
                  </a:lnTo>
                  <a:lnTo>
                    <a:pt x="1475" y="1137"/>
                  </a:lnTo>
                  <a:lnTo>
                    <a:pt x="1471" y="1151"/>
                  </a:lnTo>
                  <a:lnTo>
                    <a:pt x="1470" y="1165"/>
                  </a:lnTo>
                  <a:lnTo>
                    <a:pt x="1461" y="1191"/>
                  </a:lnTo>
                  <a:lnTo>
                    <a:pt x="1471" y="1193"/>
                  </a:lnTo>
                  <a:lnTo>
                    <a:pt x="1481" y="1191"/>
                  </a:lnTo>
                  <a:lnTo>
                    <a:pt x="1484" y="1191"/>
                  </a:lnTo>
                  <a:lnTo>
                    <a:pt x="1484" y="1195"/>
                  </a:lnTo>
                  <a:lnTo>
                    <a:pt x="1488" y="1196"/>
                  </a:lnTo>
                  <a:lnTo>
                    <a:pt x="1491" y="1200"/>
                  </a:lnTo>
                  <a:lnTo>
                    <a:pt x="1498" y="1198"/>
                  </a:lnTo>
                  <a:lnTo>
                    <a:pt x="1506" y="1199"/>
                  </a:lnTo>
                  <a:lnTo>
                    <a:pt x="1508" y="1201"/>
                  </a:lnTo>
                  <a:lnTo>
                    <a:pt x="1506" y="1204"/>
                  </a:lnTo>
                  <a:lnTo>
                    <a:pt x="1506" y="1205"/>
                  </a:lnTo>
                  <a:lnTo>
                    <a:pt x="1508" y="1205"/>
                  </a:lnTo>
                  <a:lnTo>
                    <a:pt x="1513" y="1213"/>
                  </a:lnTo>
                  <a:lnTo>
                    <a:pt x="1517" y="1213"/>
                  </a:lnTo>
                  <a:lnTo>
                    <a:pt x="1523" y="1217"/>
                  </a:lnTo>
                  <a:lnTo>
                    <a:pt x="1525" y="1224"/>
                  </a:lnTo>
                  <a:lnTo>
                    <a:pt x="1530" y="1224"/>
                  </a:lnTo>
                  <a:lnTo>
                    <a:pt x="1531" y="1224"/>
                  </a:lnTo>
                  <a:lnTo>
                    <a:pt x="1536" y="1227"/>
                  </a:lnTo>
                  <a:lnTo>
                    <a:pt x="1536" y="1228"/>
                  </a:lnTo>
                  <a:lnTo>
                    <a:pt x="1534" y="1228"/>
                  </a:lnTo>
                  <a:lnTo>
                    <a:pt x="1535" y="1228"/>
                  </a:lnTo>
                  <a:lnTo>
                    <a:pt x="1535" y="1236"/>
                  </a:lnTo>
                  <a:lnTo>
                    <a:pt x="1541" y="1242"/>
                  </a:lnTo>
                  <a:lnTo>
                    <a:pt x="1544" y="1243"/>
                  </a:lnTo>
                  <a:lnTo>
                    <a:pt x="1545" y="1246"/>
                  </a:lnTo>
                  <a:lnTo>
                    <a:pt x="1548" y="1246"/>
                  </a:lnTo>
                  <a:lnTo>
                    <a:pt x="1524" y="1277"/>
                  </a:lnTo>
                  <a:lnTo>
                    <a:pt x="1530" y="1280"/>
                  </a:lnTo>
                  <a:lnTo>
                    <a:pt x="1539" y="1299"/>
                  </a:lnTo>
                  <a:lnTo>
                    <a:pt x="1538" y="1307"/>
                  </a:lnTo>
                  <a:lnTo>
                    <a:pt x="1541" y="1322"/>
                  </a:lnTo>
                  <a:lnTo>
                    <a:pt x="1544" y="1340"/>
                  </a:lnTo>
                  <a:lnTo>
                    <a:pt x="1546" y="1354"/>
                  </a:lnTo>
                  <a:lnTo>
                    <a:pt x="1542" y="1361"/>
                  </a:lnTo>
                  <a:lnTo>
                    <a:pt x="1517" y="1471"/>
                  </a:lnTo>
                  <a:lnTo>
                    <a:pt x="1516" y="1471"/>
                  </a:lnTo>
                  <a:lnTo>
                    <a:pt x="1513" y="1464"/>
                  </a:lnTo>
                  <a:lnTo>
                    <a:pt x="1509" y="1462"/>
                  </a:lnTo>
                  <a:lnTo>
                    <a:pt x="1503" y="1462"/>
                  </a:lnTo>
                  <a:lnTo>
                    <a:pt x="1502" y="1464"/>
                  </a:lnTo>
                  <a:lnTo>
                    <a:pt x="1499" y="1464"/>
                  </a:lnTo>
                  <a:lnTo>
                    <a:pt x="1496" y="1460"/>
                  </a:lnTo>
                  <a:lnTo>
                    <a:pt x="1492" y="1460"/>
                  </a:lnTo>
                  <a:lnTo>
                    <a:pt x="1489" y="1460"/>
                  </a:lnTo>
                  <a:lnTo>
                    <a:pt x="1485" y="1456"/>
                  </a:lnTo>
                  <a:lnTo>
                    <a:pt x="1485" y="1453"/>
                  </a:lnTo>
                  <a:lnTo>
                    <a:pt x="1478" y="1449"/>
                  </a:lnTo>
                  <a:lnTo>
                    <a:pt x="1474" y="1449"/>
                  </a:lnTo>
                  <a:lnTo>
                    <a:pt x="1470" y="1448"/>
                  </a:lnTo>
                  <a:lnTo>
                    <a:pt x="1464" y="1449"/>
                  </a:lnTo>
                  <a:lnTo>
                    <a:pt x="1456" y="1459"/>
                  </a:lnTo>
                  <a:lnTo>
                    <a:pt x="1434" y="1502"/>
                  </a:lnTo>
                  <a:lnTo>
                    <a:pt x="1420" y="1507"/>
                  </a:lnTo>
                  <a:lnTo>
                    <a:pt x="1411" y="1507"/>
                  </a:lnTo>
                  <a:lnTo>
                    <a:pt x="1406" y="1504"/>
                  </a:lnTo>
                  <a:lnTo>
                    <a:pt x="1395" y="1497"/>
                  </a:lnTo>
                  <a:lnTo>
                    <a:pt x="1392" y="1490"/>
                  </a:lnTo>
                  <a:lnTo>
                    <a:pt x="1384" y="1486"/>
                  </a:lnTo>
                  <a:lnTo>
                    <a:pt x="1374" y="1472"/>
                  </a:lnTo>
                  <a:lnTo>
                    <a:pt x="1370" y="1471"/>
                  </a:lnTo>
                  <a:lnTo>
                    <a:pt x="1364" y="1476"/>
                  </a:lnTo>
                  <a:lnTo>
                    <a:pt x="1361" y="1474"/>
                  </a:lnTo>
                  <a:lnTo>
                    <a:pt x="1360" y="1472"/>
                  </a:lnTo>
                  <a:lnTo>
                    <a:pt x="1360" y="1464"/>
                  </a:lnTo>
                  <a:lnTo>
                    <a:pt x="1356" y="1460"/>
                  </a:lnTo>
                  <a:lnTo>
                    <a:pt x="1354" y="1457"/>
                  </a:lnTo>
                  <a:lnTo>
                    <a:pt x="1353" y="1449"/>
                  </a:lnTo>
                  <a:lnTo>
                    <a:pt x="1352" y="1448"/>
                  </a:lnTo>
                  <a:lnTo>
                    <a:pt x="1348" y="1448"/>
                  </a:lnTo>
                  <a:lnTo>
                    <a:pt x="1348" y="1445"/>
                  </a:lnTo>
                  <a:lnTo>
                    <a:pt x="1349" y="1441"/>
                  </a:lnTo>
                  <a:lnTo>
                    <a:pt x="1353" y="1437"/>
                  </a:lnTo>
                  <a:lnTo>
                    <a:pt x="1352" y="1429"/>
                  </a:lnTo>
                  <a:lnTo>
                    <a:pt x="1338" y="1426"/>
                  </a:lnTo>
                  <a:lnTo>
                    <a:pt x="1336" y="1423"/>
                  </a:lnTo>
                  <a:lnTo>
                    <a:pt x="1336" y="1422"/>
                  </a:lnTo>
                  <a:lnTo>
                    <a:pt x="1339" y="1415"/>
                  </a:lnTo>
                  <a:lnTo>
                    <a:pt x="1338" y="1411"/>
                  </a:lnTo>
                  <a:lnTo>
                    <a:pt x="1334" y="1410"/>
                  </a:lnTo>
                  <a:lnTo>
                    <a:pt x="1336" y="1403"/>
                  </a:lnTo>
                  <a:lnTo>
                    <a:pt x="1335" y="1399"/>
                  </a:lnTo>
                  <a:lnTo>
                    <a:pt x="1324" y="1395"/>
                  </a:lnTo>
                  <a:lnTo>
                    <a:pt x="1320" y="1395"/>
                  </a:lnTo>
                  <a:lnTo>
                    <a:pt x="1317" y="1397"/>
                  </a:lnTo>
                  <a:lnTo>
                    <a:pt x="1313" y="1403"/>
                  </a:lnTo>
                  <a:lnTo>
                    <a:pt x="1304" y="1401"/>
                  </a:lnTo>
                  <a:lnTo>
                    <a:pt x="1296" y="1401"/>
                  </a:lnTo>
                  <a:lnTo>
                    <a:pt x="1274" y="1397"/>
                  </a:lnTo>
                  <a:lnTo>
                    <a:pt x="1272" y="1392"/>
                  </a:lnTo>
                  <a:lnTo>
                    <a:pt x="1265" y="1410"/>
                  </a:lnTo>
                  <a:lnTo>
                    <a:pt x="1250" y="1432"/>
                  </a:lnTo>
                  <a:lnTo>
                    <a:pt x="1235" y="1466"/>
                  </a:lnTo>
                  <a:lnTo>
                    <a:pt x="1229" y="1471"/>
                  </a:lnTo>
                  <a:lnTo>
                    <a:pt x="1211" y="1472"/>
                  </a:lnTo>
                  <a:lnTo>
                    <a:pt x="1203" y="1478"/>
                  </a:lnTo>
                  <a:lnTo>
                    <a:pt x="1193" y="1482"/>
                  </a:lnTo>
                  <a:lnTo>
                    <a:pt x="1187" y="1486"/>
                  </a:lnTo>
                  <a:lnTo>
                    <a:pt x="1185" y="1502"/>
                  </a:lnTo>
                  <a:lnTo>
                    <a:pt x="1179" y="1511"/>
                  </a:lnTo>
                  <a:lnTo>
                    <a:pt x="1174" y="1513"/>
                  </a:lnTo>
                  <a:lnTo>
                    <a:pt x="1167" y="1515"/>
                  </a:lnTo>
                  <a:lnTo>
                    <a:pt x="1162" y="1516"/>
                  </a:lnTo>
                  <a:lnTo>
                    <a:pt x="1162" y="1521"/>
                  </a:lnTo>
                  <a:lnTo>
                    <a:pt x="1157" y="1524"/>
                  </a:lnTo>
                  <a:lnTo>
                    <a:pt x="1157" y="1527"/>
                  </a:lnTo>
                  <a:lnTo>
                    <a:pt x="1162" y="1534"/>
                  </a:lnTo>
                  <a:lnTo>
                    <a:pt x="1170" y="1531"/>
                  </a:lnTo>
                  <a:lnTo>
                    <a:pt x="1171" y="1531"/>
                  </a:lnTo>
                  <a:lnTo>
                    <a:pt x="1174" y="1535"/>
                  </a:lnTo>
                  <a:lnTo>
                    <a:pt x="1175" y="1539"/>
                  </a:lnTo>
                  <a:lnTo>
                    <a:pt x="1175" y="1546"/>
                  </a:lnTo>
                  <a:lnTo>
                    <a:pt x="1172" y="1549"/>
                  </a:lnTo>
                  <a:lnTo>
                    <a:pt x="1172" y="1553"/>
                  </a:lnTo>
                  <a:lnTo>
                    <a:pt x="1168" y="1560"/>
                  </a:lnTo>
                  <a:lnTo>
                    <a:pt x="1170" y="1561"/>
                  </a:lnTo>
                  <a:lnTo>
                    <a:pt x="1174" y="1565"/>
                  </a:lnTo>
                  <a:lnTo>
                    <a:pt x="1174" y="1575"/>
                  </a:lnTo>
                  <a:lnTo>
                    <a:pt x="1172" y="1580"/>
                  </a:lnTo>
                  <a:lnTo>
                    <a:pt x="1175" y="1584"/>
                  </a:lnTo>
                  <a:lnTo>
                    <a:pt x="1175" y="1590"/>
                  </a:lnTo>
                  <a:lnTo>
                    <a:pt x="1181" y="1597"/>
                  </a:lnTo>
                  <a:lnTo>
                    <a:pt x="1187" y="1597"/>
                  </a:lnTo>
                  <a:lnTo>
                    <a:pt x="1189" y="1598"/>
                  </a:lnTo>
                  <a:lnTo>
                    <a:pt x="1181" y="1606"/>
                  </a:lnTo>
                  <a:lnTo>
                    <a:pt x="1182" y="1618"/>
                  </a:lnTo>
                  <a:lnTo>
                    <a:pt x="1181" y="1623"/>
                  </a:lnTo>
                  <a:lnTo>
                    <a:pt x="1178" y="1625"/>
                  </a:lnTo>
                  <a:lnTo>
                    <a:pt x="1178" y="1627"/>
                  </a:lnTo>
                  <a:lnTo>
                    <a:pt x="1182" y="1632"/>
                  </a:lnTo>
                  <a:lnTo>
                    <a:pt x="1186" y="1632"/>
                  </a:lnTo>
                  <a:lnTo>
                    <a:pt x="1192" y="1631"/>
                  </a:lnTo>
                  <a:lnTo>
                    <a:pt x="1193" y="1623"/>
                  </a:lnTo>
                  <a:lnTo>
                    <a:pt x="1197" y="1621"/>
                  </a:lnTo>
                  <a:lnTo>
                    <a:pt x="1200" y="1622"/>
                  </a:lnTo>
                  <a:lnTo>
                    <a:pt x="1203" y="1627"/>
                  </a:lnTo>
                  <a:lnTo>
                    <a:pt x="1197" y="1632"/>
                  </a:lnTo>
                  <a:lnTo>
                    <a:pt x="1201" y="1636"/>
                  </a:lnTo>
                  <a:lnTo>
                    <a:pt x="1197" y="1640"/>
                  </a:lnTo>
                  <a:lnTo>
                    <a:pt x="1199" y="1651"/>
                  </a:lnTo>
                  <a:lnTo>
                    <a:pt x="1195" y="1655"/>
                  </a:lnTo>
                  <a:lnTo>
                    <a:pt x="1204" y="1657"/>
                  </a:lnTo>
                  <a:lnTo>
                    <a:pt x="1206" y="1665"/>
                  </a:lnTo>
                  <a:lnTo>
                    <a:pt x="1210" y="1668"/>
                  </a:lnTo>
                  <a:lnTo>
                    <a:pt x="1206" y="1672"/>
                  </a:lnTo>
                  <a:lnTo>
                    <a:pt x="1207" y="1677"/>
                  </a:lnTo>
                  <a:lnTo>
                    <a:pt x="1206" y="1681"/>
                  </a:lnTo>
                  <a:lnTo>
                    <a:pt x="1209" y="1685"/>
                  </a:lnTo>
                  <a:lnTo>
                    <a:pt x="1207" y="1694"/>
                  </a:lnTo>
                  <a:lnTo>
                    <a:pt x="1211" y="1696"/>
                  </a:lnTo>
                  <a:lnTo>
                    <a:pt x="1214" y="1704"/>
                  </a:lnTo>
                  <a:lnTo>
                    <a:pt x="1220" y="1707"/>
                  </a:lnTo>
                  <a:lnTo>
                    <a:pt x="1221" y="1712"/>
                  </a:lnTo>
                  <a:lnTo>
                    <a:pt x="1215" y="1714"/>
                  </a:lnTo>
                  <a:lnTo>
                    <a:pt x="1214" y="1715"/>
                  </a:lnTo>
                  <a:lnTo>
                    <a:pt x="1212" y="1717"/>
                  </a:lnTo>
                  <a:lnTo>
                    <a:pt x="1211" y="1714"/>
                  </a:lnTo>
                  <a:lnTo>
                    <a:pt x="1210" y="1710"/>
                  </a:lnTo>
                  <a:lnTo>
                    <a:pt x="1206" y="1712"/>
                  </a:lnTo>
                  <a:lnTo>
                    <a:pt x="1200" y="1704"/>
                  </a:lnTo>
                  <a:lnTo>
                    <a:pt x="1193" y="1707"/>
                  </a:lnTo>
                  <a:lnTo>
                    <a:pt x="1192" y="1707"/>
                  </a:lnTo>
                  <a:lnTo>
                    <a:pt x="1179" y="1714"/>
                  </a:lnTo>
                  <a:lnTo>
                    <a:pt x="1162" y="1718"/>
                  </a:lnTo>
                  <a:lnTo>
                    <a:pt x="1149" y="1718"/>
                  </a:lnTo>
                  <a:lnTo>
                    <a:pt x="1136" y="1713"/>
                  </a:lnTo>
                  <a:lnTo>
                    <a:pt x="1134" y="1713"/>
                  </a:lnTo>
                  <a:lnTo>
                    <a:pt x="1134" y="1729"/>
                  </a:lnTo>
                  <a:lnTo>
                    <a:pt x="1132" y="1740"/>
                  </a:lnTo>
                  <a:lnTo>
                    <a:pt x="1134" y="1771"/>
                  </a:lnTo>
                  <a:lnTo>
                    <a:pt x="1132" y="1775"/>
                  </a:lnTo>
                  <a:lnTo>
                    <a:pt x="1131" y="1777"/>
                  </a:lnTo>
                  <a:lnTo>
                    <a:pt x="1125" y="1779"/>
                  </a:lnTo>
                  <a:lnTo>
                    <a:pt x="1100" y="1782"/>
                  </a:lnTo>
                  <a:lnTo>
                    <a:pt x="1096" y="1785"/>
                  </a:lnTo>
                  <a:lnTo>
                    <a:pt x="1100" y="1806"/>
                  </a:lnTo>
                  <a:lnTo>
                    <a:pt x="1103" y="1812"/>
                  </a:lnTo>
                  <a:lnTo>
                    <a:pt x="1103" y="1816"/>
                  </a:lnTo>
                  <a:lnTo>
                    <a:pt x="1099" y="1826"/>
                  </a:lnTo>
                  <a:lnTo>
                    <a:pt x="1099" y="1830"/>
                  </a:lnTo>
                  <a:lnTo>
                    <a:pt x="1092" y="1841"/>
                  </a:lnTo>
                  <a:lnTo>
                    <a:pt x="1090" y="1846"/>
                  </a:lnTo>
                  <a:lnTo>
                    <a:pt x="1099" y="1861"/>
                  </a:lnTo>
                  <a:lnTo>
                    <a:pt x="1104" y="1863"/>
                  </a:lnTo>
                  <a:lnTo>
                    <a:pt x="1109" y="1868"/>
                  </a:lnTo>
                  <a:lnTo>
                    <a:pt x="1115" y="1871"/>
                  </a:lnTo>
                  <a:lnTo>
                    <a:pt x="1117" y="1868"/>
                  </a:lnTo>
                  <a:lnTo>
                    <a:pt x="1120" y="1868"/>
                  </a:lnTo>
                  <a:lnTo>
                    <a:pt x="1134" y="1879"/>
                  </a:lnTo>
                  <a:lnTo>
                    <a:pt x="1136" y="1880"/>
                  </a:lnTo>
                  <a:lnTo>
                    <a:pt x="1139" y="1883"/>
                  </a:lnTo>
                  <a:lnTo>
                    <a:pt x="1159" y="1894"/>
                  </a:lnTo>
                  <a:lnTo>
                    <a:pt x="1157" y="1897"/>
                  </a:lnTo>
                  <a:lnTo>
                    <a:pt x="1157" y="1903"/>
                  </a:lnTo>
                  <a:lnTo>
                    <a:pt x="1159" y="1905"/>
                  </a:lnTo>
                  <a:lnTo>
                    <a:pt x="1167" y="1913"/>
                  </a:lnTo>
                  <a:lnTo>
                    <a:pt x="1178" y="1917"/>
                  </a:lnTo>
                  <a:lnTo>
                    <a:pt x="1185" y="1928"/>
                  </a:lnTo>
                  <a:lnTo>
                    <a:pt x="1193" y="1928"/>
                  </a:lnTo>
                  <a:lnTo>
                    <a:pt x="1199" y="1921"/>
                  </a:lnTo>
                  <a:lnTo>
                    <a:pt x="1207" y="1926"/>
                  </a:lnTo>
                  <a:lnTo>
                    <a:pt x="1214" y="1928"/>
                  </a:lnTo>
                  <a:lnTo>
                    <a:pt x="1217" y="1928"/>
                  </a:lnTo>
                  <a:lnTo>
                    <a:pt x="1221" y="1924"/>
                  </a:lnTo>
                  <a:lnTo>
                    <a:pt x="1222" y="1925"/>
                  </a:lnTo>
                  <a:lnTo>
                    <a:pt x="1225" y="1929"/>
                  </a:lnTo>
                  <a:lnTo>
                    <a:pt x="1231" y="1931"/>
                  </a:lnTo>
                  <a:lnTo>
                    <a:pt x="1236" y="1949"/>
                  </a:lnTo>
                  <a:lnTo>
                    <a:pt x="1239" y="1950"/>
                  </a:lnTo>
                  <a:lnTo>
                    <a:pt x="1243" y="1951"/>
                  </a:lnTo>
                  <a:lnTo>
                    <a:pt x="1250" y="1965"/>
                  </a:lnTo>
                  <a:lnTo>
                    <a:pt x="1251" y="1970"/>
                  </a:lnTo>
                  <a:lnTo>
                    <a:pt x="1251" y="1979"/>
                  </a:lnTo>
                  <a:lnTo>
                    <a:pt x="1256" y="1991"/>
                  </a:lnTo>
                  <a:lnTo>
                    <a:pt x="1257" y="1992"/>
                  </a:lnTo>
                  <a:lnTo>
                    <a:pt x="1267" y="1996"/>
                  </a:lnTo>
                  <a:lnTo>
                    <a:pt x="1267" y="2001"/>
                  </a:lnTo>
                  <a:lnTo>
                    <a:pt x="1271" y="2007"/>
                  </a:lnTo>
                  <a:lnTo>
                    <a:pt x="1278" y="2009"/>
                  </a:lnTo>
                  <a:lnTo>
                    <a:pt x="1292" y="2018"/>
                  </a:lnTo>
                  <a:lnTo>
                    <a:pt x="1295" y="2018"/>
                  </a:lnTo>
                  <a:lnTo>
                    <a:pt x="1304" y="2028"/>
                  </a:lnTo>
                  <a:lnTo>
                    <a:pt x="1313" y="2032"/>
                  </a:lnTo>
                  <a:lnTo>
                    <a:pt x="1317" y="2037"/>
                  </a:lnTo>
                  <a:lnTo>
                    <a:pt x="1320" y="2041"/>
                  </a:lnTo>
                  <a:lnTo>
                    <a:pt x="1322" y="2043"/>
                  </a:lnTo>
                  <a:lnTo>
                    <a:pt x="1325" y="2041"/>
                  </a:lnTo>
                  <a:lnTo>
                    <a:pt x="1325" y="2037"/>
                  </a:lnTo>
                  <a:lnTo>
                    <a:pt x="1327" y="2036"/>
                  </a:lnTo>
                  <a:lnTo>
                    <a:pt x="1332" y="2036"/>
                  </a:lnTo>
                  <a:lnTo>
                    <a:pt x="1334" y="2037"/>
                  </a:lnTo>
                  <a:lnTo>
                    <a:pt x="1336" y="2041"/>
                  </a:lnTo>
                  <a:lnTo>
                    <a:pt x="1339" y="2036"/>
                  </a:lnTo>
                  <a:lnTo>
                    <a:pt x="1352" y="2045"/>
                  </a:lnTo>
                  <a:lnTo>
                    <a:pt x="1354" y="2048"/>
                  </a:lnTo>
                  <a:lnTo>
                    <a:pt x="1356" y="2052"/>
                  </a:lnTo>
                  <a:lnTo>
                    <a:pt x="1360" y="2055"/>
                  </a:lnTo>
                  <a:lnTo>
                    <a:pt x="1354" y="2055"/>
                  </a:lnTo>
                  <a:lnTo>
                    <a:pt x="1350" y="2060"/>
                  </a:lnTo>
                  <a:lnTo>
                    <a:pt x="1304" y="2190"/>
                  </a:lnTo>
                  <a:lnTo>
                    <a:pt x="1263" y="2303"/>
                  </a:lnTo>
                  <a:lnTo>
                    <a:pt x="1263" y="2388"/>
                  </a:lnTo>
                  <a:lnTo>
                    <a:pt x="1267" y="2389"/>
                  </a:lnTo>
                  <a:lnTo>
                    <a:pt x="1261" y="2415"/>
                  </a:lnTo>
                  <a:lnTo>
                    <a:pt x="1261" y="2580"/>
                  </a:lnTo>
                  <a:lnTo>
                    <a:pt x="1234" y="2580"/>
                  </a:lnTo>
                  <a:lnTo>
                    <a:pt x="1111" y="2579"/>
                  </a:lnTo>
                  <a:lnTo>
                    <a:pt x="1111" y="2582"/>
                  </a:lnTo>
                  <a:lnTo>
                    <a:pt x="1109" y="2582"/>
                  </a:lnTo>
                  <a:lnTo>
                    <a:pt x="1109" y="2581"/>
                  </a:lnTo>
                  <a:lnTo>
                    <a:pt x="1106" y="2582"/>
                  </a:lnTo>
                  <a:lnTo>
                    <a:pt x="1106" y="2588"/>
                  </a:lnTo>
                  <a:lnTo>
                    <a:pt x="1101" y="2590"/>
                  </a:lnTo>
                  <a:lnTo>
                    <a:pt x="1104" y="2593"/>
                  </a:lnTo>
                  <a:lnTo>
                    <a:pt x="1110" y="2593"/>
                  </a:lnTo>
                  <a:lnTo>
                    <a:pt x="1110" y="2594"/>
                  </a:lnTo>
                  <a:lnTo>
                    <a:pt x="1106" y="2594"/>
                  </a:lnTo>
                  <a:lnTo>
                    <a:pt x="1106" y="2597"/>
                  </a:lnTo>
                  <a:lnTo>
                    <a:pt x="1107" y="2601"/>
                  </a:lnTo>
                  <a:lnTo>
                    <a:pt x="1112" y="2601"/>
                  </a:lnTo>
                  <a:lnTo>
                    <a:pt x="1115" y="2612"/>
                  </a:lnTo>
                  <a:lnTo>
                    <a:pt x="1122" y="2617"/>
                  </a:lnTo>
                  <a:lnTo>
                    <a:pt x="1128" y="2625"/>
                  </a:lnTo>
                  <a:lnTo>
                    <a:pt x="1128" y="2629"/>
                  </a:lnTo>
                  <a:lnTo>
                    <a:pt x="1125" y="2632"/>
                  </a:lnTo>
                  <a:lnTo>
                    <a:pt x="1128" y="2638"/>
                  </a:lnTo>
                  <a:lnTo>
                    <a:pt x="1139" y="2643"/>
                  </a:lnTo>
                  <a:lnTo>
                    <a:pt x="1147" y="2646"/>
                  </a:lnTo>
                  <a:lnTo>
                    <a:pt x="1151" y="2647"/>
                  </a:lnTo>
                  <a:lnTo>
                    <a:pt x="1160" y="2651"/>
                  </a:lnTo>
                  <a:lnTo>
                    <a:pt x="1162" y="2655"/>
                  </a:lnTo>
                  <a:lnTo>
                    <a:pt x="1165" y="2664"/>
                  </a:lnTo>
                  <a:lnTo>
                    <a:pt x="1170" y="2672"/>
                  </a:lnTo>
                  <a:lnTo>
                    <a:pt x="1178" y="2681"/>
                  </a:lnTo>
                  <a:lnTo>
                    <a:pt x="1178" y="2696"/>
                  </a:lnTo>
                  <a:lnTo>
                    <a:pt x="1178" y="2699"/>
                  </a:lnTo>
                  <a:lnTo>
                    <a:pt x="1192" y="2718"/>
                  </a:lnTo>
                  <a:lnTo>
                    <a:pt x="1189" y="2722"/>
                  </a:lnTo>
                  <a:lnTo>
                    <a:pt x="1187" y="2728"/>
                  </a:lnTo>
                  <a:lnTo>
                    <a:pt x="1179" y="2739"/>
                  </a:lnTo>
                  <a:lnTo>
                    <a:pt x="1178" y="2745"/>
                  </a:lnTo>
                  <a:lnTo>
                    <a:pt x="1175" y="2750"/>
                  </a:lnTo>
                  <a:lnTo>
                    <a:pt x="1168" y="2781"/>
                  </a:lnTo>
                  <a:lnTo>
                    <a:pt x="1170" y="2792"/>
                  </a:lnTo>
                  <a:lnTo>
                    <a:pt x="1168" y="2806"/>
                  </a:lnTo>
                  <a:lnTo>
                    <a:pt x="1172" y="2820"/>
                  </a:lnTo>
                  <a:lnTo>
                    <a:pt x="1175" y="2837"/>
                  </a:lnTo>
                  <a:lnTo>
                    <a:pt x="1175" y="2845"/>
                  </a:lnTo>
                  <a:lnTo>
                    <a:pt x="1174" y="2847"/>
                  </a:lnTo>
                  <a:lnTo>
                    <a:pt x="1167" y="2849"/>
                  </a:lnTo>
                  <a:lnTo>
                    <a:pt x="1161" y="2855"/>
                  </a:lnTo>
                  <a:lnTo>
                    <a:pt x="1151" y="2857"/>
                  </a:lnTo>
                  <a:lnTo>
                    <a:pt x="1147" y="2859"/>
                  </a:lnTo>
                  <a:lnTo>
                    <a:pt x="1140" y="2868"/>
                  </a:lnTo>
                  <a:lnTo>
                    <a:pt x="1131" y="2875"/>
                  </a:lnTo>
                  <a:lnTo>
                    <a:pt x="1128" y="2883"/>
                  </a:lnTo>
                  <a:lnTo>
                    <a:pt x="1128" y="2887"/>
                  </a:lnTo>
                  <a:lnTo>
                    <a:pt x="1125" y="2893"/>
                  </a:lnTo>
                  <a:lnTo>
                    <a:pt x="1122" y="2896"/>
                  </a:lnTo>
                  <a:lnTo>
                    <a:pt x="1120" y="2897"/>
                  </a:lnTo>
                  <a:lnTo>
                    <a:pt x="1111" y="2897"/>
                  </a:lnTo>
                  <a:lnTo>
                    <a:pt x="1103" y="2896"/>
                  </a:lnTo>
                  <a:lnTo>
                    <a:pt x="1093" y="2888"/>
                  </a:lnTo>
                  <a:lnTo>
                    <a:pt x="1086" y="2885"/>
                  </a:lnTo>
                  <a:lnTo>
                    <a:pt x="1081" y="2878"/>
                  </a:lnTo>
                  <a:lnTo>
                    <a:pt x="1064" y="2866"/>
                  </a:lnTo>
                  <a:lnTo>
                    <a:pt x="1053" y="2851"/>
                  </a:lnTo>
                  <a:lnTo>
                    <a:pt x="1047" y="2849"/>
                  </a:lnTo>
                  <a:lnTo>
                    <a:pt x="1039" y="2853"/>
                  </a:lnTo>
                  <a:lnTo>
                    <a:pt x="1037" y="2851"/>
                  </a:lnTo>
                  <a:lnTo>
                    <a:pt x="1036" y="2849"/>
                  </a:lnTo>
                  <a:lnTo>
                    <a:pt x="1032" y="2849"/>
                  </a:lnTo>
                  <a:lnTo>
                    <a:pt x="1030" y="2849"/>
                  </a:lnTo>
                  <a:lnTo>
                    <a:pt x="1026" y="2857"/>
                  </a:lnTo>
                  <a:lnTo>
                    <a:pt x="1024" y="2859"/>
                  </a:lnTo>
                  <a:lnTo>
                    <a:pt x="1016" y="2860"/>
                  </a:lnTo>
                  <a:lnTo>
                    <a:pt x="1012" y="2860"/>
                  </a:lnTo>
                  <a:lnTo>
                    <a:pt x="1004" y="2857"/>
                  </a:lnTo>
                  <a:lnTo>
                    <a:pt x="1000" y="2853"/>
                  </a:lnTo>
                  <a:lnTo>
                    <a:pt x="994" y="2841"/>
                  </a:lnTo>
                  <a:lnTo>
                    <a:pt x="991" y="2841"/>
                  </a:lnTo>
                  <a:lnTo>
                    <a:pt x="990" y="2843"/>
                  </a:lnTo>
                  <a:lnTo>
                    <a:pt x="991" y="2849"/>
                  </a:lnTo>
                  <a:lnTo>
                    <a:pt x="989" y="2853"/>
                  </a:lnTo>
                  <a:lnTo>
                    <a:pt x="987" y="2860"/>
                  </a:lnTo>
                  <a:lnTo>
                    <a:pt x="986" y="2863"/>
                  </a:lnTo>
                  <a:lnTo>
                    <a:pt x="982" y="2865"/>
                  </a:lnTo>
                  <a:lnTo>
                    <a:pt x="977" y="2868"/>
                  </a:lnTo>
                  <a:lnTo>
                    <a:pt x="966" y="2871"/>
                  </a:lnTo>
                  <a:lnTo>
                    <a:pt x="962" y="2871"/>
                  </a:lnTo>
                  <a:lnTo>
                    <a:pt x="958" y="2870"/>
                  </a:lnTo>
                  <a:lnTo>
                    <a:pt x="957" y="2868"/>
                  </a:lnTo>
                  <a:lnTo>
                    <a:pt x="955" y="2868"/>
                  </a:lnTo>
                  <a:lnTo>
                    <a:pt x="955" y="2871"/>
                  </a:lnTo>
                  <a:lnTo>
                    <a:pt x="952" y="2874"/>
                  </a:lnTo>
                  <a:lnTo>
                    <a:pt x="952" y="2871"/>
                  </a:lnTo>
                  <a:lnTo>
                    <a:pt x="951" y="2871"/>
                  </a:lnTo>
                  <a:lnTo>
                    <a:pt x="951" y="2875"/>
                  </a:lnTo>
                  <a:lnTo>
                    <a:pt x="949" y="2878"/>
                  </a:lnTo>
                  <a:lnTo>
                    <a:pt x="949" y="2879"/>
                  </a:lnTo>
                  <a:lnTo>
                    <a:pt x="943" y="2883"/>
                  </a:lnTo>
                  <a:lnTo>
                    <a:pt x="944" y="2887"/>
                  </a:lnTo>
                  <a:lnTo>
                    <a:pt x="941" y="2890"/>
                  </a:lnTo>
                  <a:lnTo>
                    <a:pt x="940" y="2893"/>
                  </a:lnTo>
                  <a:lnTo>
                    <a:pt x="930" y="2896"/>
                  </a:lnTo>
                  <a:lnTo>
                    <a:pt x="929" y="2892"/>
                  </a:lnTo>
                  <a:lnTo>
                    <a:pt x="926" y="2893"/>
                  </a:lnTo>
                  <a:lnTo>
                    <a:pt x="921" y="2893"/>
                  </a:lnTo>
                  <a:lnTo>
                    <a:pt x="921" y="2897"/>
                  </a:lnTo>
                  <a:lnTo>
                    <a:pt x="921" y="2902"/>
                  </a:lnTo>
                  <a:lnTo>
                    <a:pt x="919" y="2905"/>
                  </a:lnTo>
                  <a:lnTo>
                    <a:pt x="911" y="2905"/>
                  </a:lnTo>
                  <a:lnTo>
                    <a:pt x="910" y="2902"/>
                  </a:lnTo>
                  <a:lnTo>
                    <a:pt x="907" y="2897"/>
                  </a:lnTo>
                  <a:lnTo>
                    <a:pt x="900" y="2900"/>
                  </a:lnTo>
                  <a:lnTo>
                    <a:pt x="896" y="2902"/>
                  </a:lnTo>
                  <a:lnTo>
                    <a:pt x="893" y="2902"/>
                  </a:lnTo>
                  <a:lnTo>
                    <a:pt x="889" y="2905"/>
                  </a:lnTo>
                  <a:lnTo>
                    <a:pt x="889" y="2910"/>
                  </a:lnTo>
                  <a:lnTo>
                    <a:pt x="886" y="2912"/>
                  </a:lnTo>
                  <a:lnTo>
                    <a:pt x="886" y="2920"/>
                  </a:lnTo>
                  <a:lnTo>
                    <a:pt x="883" y="2924"/>
                  </a:lnTo>
                  <a:lnTo>
                    <a:pt x="883" y="2930"/>
                  </a:lnTo>
                  <a:lnTo>
                    <a:pt x="882" y="2934"/>
                  </a:lnTo>
                  <a:lnTo>
                    <a:pt x="874" y="2940"/>
                  </a:lnTo>
                  <a:lnTo>
                    <a:pt x="875" y="2942"/>
                  </a:lnTo>
                  <a:lnTo>
                    <a:pt x="871" y="2942"/>
                  </a:lnTo>
                  <a:lnTo>
                    <a:pt x="868" y="2942"/>
                  </a:lnTo>
                  <a:lnTo>
                    <a:pt x="865" y="2941"/>
                  </a:lnTo>
                  <a:lnTo>
                    <a:pt x="861" y="2942"/>
                  </a:lnTo>
                  <a:lnTo>
                    <a:pt x="857" y="2942"/>
                  </a:lnTo>
                  <a:lnTo>
                    <a:pt x="852" y="2945"/>
                  </a:lnTo>
                  <a:lnTo>
                    <a:pt x="850" y="2945"/>
                  </a:lnTo>
                  <a:lnTo>
                    <a:pt x="847" y="2946"/>
                  </a:lnTo>
                  <a:lnTo>
                    <a:pt x="844" y="2950"/>
                  </a:lnTo>
                  <a:lnTo>
                    <a:pt x="840" y="2954"/>
                  </a:lnTo>
                  <a:lnTo>
                    <a:pt x="840" y="2958"/>
                  </a:lnTo>
                  <a:lnTo>
                    <a:pt x="836" y="2959"/>
                  </a:lnTo>
                  <a:lnTo>
                    <a:pt x="833" y="2962"/>
                  </a:lnTo>
                  <a:lnTo>
                    <a:pt x="823" y="2963"/>
                  </a:lnTo>
                  <a:lnTo>
                    <a:pt x="821" y="2965"/>
                  </a:lnTo>
                  <a:lnTo>
                    <a:pt x="821" y="2971"/>
                  </a:lnTo>
                  <a:lnTo>
                    <a:pt x="818" y="2977"/>
                  </a:lnTo>
                  <a:lnTo>
                    <a:pt x="819" y="2980"/>
                  </a:lnTo>
                  <a:lnTo>
                    <a:pt x="823" y="2986"/>
                  </a:lnTo>
                  <a:lnTo>
                    <a:pt x="832" y="2987"/>
                  </a:lnTo>
                  <a:lnTo>
                    <a:pt x="833" y="2995"/>
                  </a:lnTo>
                  <a:lnTo>
                    <a:pt x="877" y="3039"/>
                  </a:lnTo>
                  <a:lnTo>
                    <a:pt x="882" y="3054"/>
                  </a:lnTo>
                  <a:lnTo>
                    <a:pt x="891" y="3062"/>
                  </a:lnTo>
                  <a:lnTo>
                    <a:pt x="904" y="3093"/>
                  </a:lnTo>
                  <a:lnTo>
                    <a:pt x="904" y="3102"/>
                  </a:lnTo>
                  <a:lnTo>
                    <a:pt x="907" y="3106"/>
                  </a:lnTo>
                  <a:lnTo>
                    <a:pt x="910" y="3111"/>
                  </a:lnTo>
                  <a:lnTo>
                    <a:pt x="918" y="3115"/>
                  </a:lnTo>
                  <a:lnTo>
                    <a:pt x="922" y="3119"/>
                  </a:lnTo>
                  <a:lnTo>
                    <a:pt x="918" y="3121"/>
                  </a:lnTo>
                  <a:lnTo>
                    <a:pt x="908" y="3123"/>
                  </a:lnTo>
                  <a:lnTo>
                    <a:pt x="900" y="3128"/>
                  </a:lnTo>
                  <a:lnTo>
                    <a:pt x="897" y="3137"/>
                  </a:lnTo>
                  <a:lnTo>
                    <a:pt x="889" y="3137"/>
                  </a:lnTo>
                  <a:lnTo>
                    <a:pt x="891" y="3141"/>
                  </a:lnTo>
                  <a:lnTo>
                    <a:pt x="889" y="3145"/>
                  </a:lnTo>
                  <a:lnTo>
                    <a:pt x="889" y="3148"/>
                  </a:lnTo>
                  <a:lnTo>
                    <a:pt x="887" y="3149"/>
                  </a:lnTo>
                  <a:lnTo>
                    <a:pt x="887" y="3151"/>
                  </a:lnTo>
                  <a:lnTo>
                    <a:pt x="886" y="3152"/>
                  </a:lnTo>
                  <a:lnTo>
                    <a:pt x="908" y="3182"/>
                  </a:lnTo>
                  <a:lnTo>
                    <a:pt x="904" y="3186"/>
                  </a:lnTo>
                  <a:lnTo>
                    <a:pt x="889" y="3238"/>
                  </a:lnTo>
                  <a:lnTo>
                    <a:pt x="926" y="3269"/>
                  </a:lnTo>
                  <a:lnTo>
                    <a:pt x="977" y="3315"/>
                  </a:lnTo>
                  <a:lnTo>
                    <a:pt x="996" y="3331"/>
                  </a:lnTo>
                  <a:lnTo>
                    <a:pt x="1043" y="3334"/>
                  </a:lnTo>
                  <a:lnTo>
                    <a:pt x="1036" y="3347"/>
                  </a:lnTo>
                  <a:lnTo>
                    <a:pt x="1029" y="3381"/>
                  </a:lnTo>
                  <a:lnTo>
                    <a:pt x="1033" y="3386"/>
                  </a:lnTo>
                  <a:lnTo>
                    <a:pt x="1036" y="3388"/>
                  </a:lnTo>
                  <a:lnTo>
                    <a:pt x="1036" y="3390"/>
                  </a:lnTo>
                  <a:lnTo>
                    <a:pt x="1036" y="3392"/>
                  </a:lnTo>
                  <a:lnTo>
                    <a:pt x="1046" y="3399"/>
                  </a:lnTo>
                  <a:lnTo>
                    <a:pt x="1054" y="3404"/>
                  </a:lnTo>
                  <a:lnTo>
                    <a:pt x="1055" y="3406"/>
                  </a:lnTo>
                  <a:lnTo>
                    <a:pt x="1061" y="3407"/>
                  </a:lnTo>
                  <a:lnTo>
                    <a:pt x="1072" y="3414"/>
                  </a:lnTo>
                  <a:lnTo>
                    <a:pt x="1089" y="3421"/>
                  </a:lnTo>
                  <a:lnTo>
                    <a:pt x="1092" y="3469"/>
                  </a:lnTo>
                  <a:lnTo>
                    <a:pt x="1096" y="3473"/>
                  </a:lnTo>
                  <a:lnTo>
                    <a:pt x="1100" y="3474"/>
                  </a:lnTo>
                  <a:lnTo>
                    <a:pt x="1103" y="3479"/>
                  </a:lnTo>
                  <a:lnTo>
                    <a:pt x="1107" y="3479"/>
                  </a:lnTo>
                  <a:lnTo>
                    <a:pt x="1109" y="3480"/>
                  </a:lnTo>
                  <a:lnTo>
                    <a:pt x="1115" y="3481"/>
                  </a:lnTo>
                  <a:lnTo>
                    <a:pt x="1124" y="3484"/>
                  </a:lnTo>
                  <a:lnTo>
                    <a:pt x="1125" y="3485"/>
                  </a:lnTo>
                  <a:lnTo>
                    <a:pt x="1134" y="3488"/>
                  </a:lnTo>
                  <a:lnTo>
                    <a:pt x="1135" y="3489"/>
                  </a:lnTo>
                  <a:lnTo>
                    <a:pt x="1147" y="3489"/>
                  </a:lnTo>
                  <a:lnTo>
                    <a:pt x="1153" y="3492"/>
                  </a:lnTo>
                  <a:lnTo>
                    <a:pt x="1156" y="3496"/>
                  </a:lnTo>
                  <a:lnTo>
                    <a:pt x="1161" y="3497"/>
                  </a:lnTo>
                  <a:lnTo>
                    <a:pt x="1171" y="3497"/>
                  </a:lnTo>
                  <a:lnTo>
                    <a:pt x="1176" y="3493"/>
                  </a:lnTo>
                  <a:lnTo>
                    <a:pt x="1179" y="3493"/>
                  </a:lnTo>
                  <a:lnTo>
                    <a:pt x="1187" y="3497"/>
                  </a:lnTo>
                  <a:lnTo>
                    <a:pt x="1190" y="3499"/>
                  </a:lnTo>
                  <a:lnTo>
                    <a:pt x="1195" y="3508"/>
                  </a:lnTo>
                  <a:lnTo>
                    <a:pt x="1210" y="3518"/>
                  </a:lnTo>
                  <a:lnTo>
                    <a:pt x="1211" y="3525"/>
                  </a:lnTo>
                  <a:lnTo>
                    <a:pt x="1220" y="3530"/>
                  </a:lnTo>
                  <a:lnTo>
                    <a:pt x="1222" y="3538"/>
                  </a:lnTo>
                  <a:lnTo>
                    <a:pt x="1225" y="3541"/>
                  </a:lnTo>
                  <a:lnTo>
                    <a:pt x="1231" y="3542"/>
                  </a:lnTo>
                  <a:lnTo>
                    <a:pt x="1235" y="3597"/>
                  </a:lnTo>
                  <a:lnTo>
                    <a:pt x="1226" y="3707"/>
                  </a:lnTo>
                  <a:lnTo>
                    <a:pt x="1297" y="3707"/>
                  </a:lnTo>
                  <a:lnTo>
                    <a:pt x="1306" y="3707"/>
                  </a:lnTo>
                  <a:lnTo>
                    <a:pt x="1403" y="3766"/>
                  </a:lnTo>
                  <a:lnTo>
                    <a:pt x="1394" y="3809"/>
                  </a:lnTo>
                  <a:lnTo>
                    <a:pt x="1348" y="3837"/>
                  </a:lnTo>
                  <a:lnTo>
                    <a:pt x="1342" y="3870"/>
                  </a:lnTo>
                  <a:lnTo>
                    <a:pt x="1342" y="3882"/>
                  </a:lnTo>
                  <a:lnTo>
                    <a:pt x="1332" y="3890"/>
                  </a:lnTo>
                  <a:lnTo>
                    <a:pt x="1327" y="3899"/>
                  </a:lnTo>
                  <a:lnTo>
                    <a:pt x="1322" y="3911"/>
                  </a:lnTo>
                  <a:lnTo>
                    <a:pt x="1320" y="3952"/>
                  </a:lnTo>
                  <a:lnTo>
                    <a:pt x="1321" y="3956"/>
                  </a:lnTo>
                  <a:lnTo>
                    <a:pt x="1314" y="3957"/>
                  </a:lnTo>
                  <a:lnTo>
                    <a:pt x="1290" y="3957"/>
                  </a:lnTo>
                  <a:lnTo>
                    <a:pt x="1286" y="3953"/>
                  </a:lnTo>
                  <a:lnTo>
                    <a:pt x="1284" y="3953"/>
                  </a:lnTo>
                  <a:lnTo>
                    <a:pt x="1281" y="3953"/>
                  </a:lnTo>
                  <a:lnTo>
                    <a:pt x="1276" y="3957"/>
                  </a:lnTo>
                  <a:lnTo>
                    <a:pt x="1270" y="3960"/>
                  </a:lnTo>
                  <a:lnTo>
                    <a:pt x="1268" y="3965"/>
                  </a:lnTo>
                  <a:lnTo>
                    <a:pt x="1263" y="3966"/>
                  </a:lnTo>
                  <a:lnTo>
                    <a:pt x="1261" y="3969"/>
                  </a:lnTo>
                  <a:lnTo>
                    <a:pt x="1261" y="3975"/>
                  </a:lnTo>
                  <a:lnTo>
                    <a:pt x="1263" y="3979"/>
                  </a:lnTo>
                  <a:lnTo>
                    <a:pt x="1263" y="3983"/>
                  </a:lnTo>
                  <a:lnTo>
                    <a:pt x="1264" y="3987"/>
                  </a:lnTo>
                  <a:lnTo>
                    <a:pt x="1263" y="3995"/>
                  </a:lnTo>
                  <a:lnTo>
                    <a:pt x="1260" y="3998"/>
                  </a:lnTo>
                  <a:lnTo>
                    <a:pt x="1259" y="4004"/>
                  </a:lnTo>
                  <a:lnTo>
                    <a:pt x="1256" y="4006"/>
                  </a:lnTo>
                  <a:lnTo>
                    <a:pt x="1251" y="4006"/>
                  </a:lnTo>
                  <a:lnTo>
                    <a:pt x="1250" y="4008"/>
                  </a:lnTo>
                  <a:lnTo>
                    <a:pt x="1250" y="4012"/>
                  </a:lnTo>
                  <a:lnTo>
                    <a:pt x="1253" y="4013"/>
                  </a:lnTo>
                  <a:lnTo>
                    <a:pt x="1254" y="4015"/>
                  </a:lnTo>
                  <a:lnTo>
                    <a:pt x="1253" y="4016"/>
                  </a:lnTo>
                  <a:lnTo>
                    <a:pt x="1250" y="4019"/>
                  </a:lnTo>
                  <a:lnTo>
                    <a:pt x="1250" y="4023"/>
                  </a:lnTo>
                  <a:lnTo>
                    <a:pt x="1246" y="4024"/>
                  </a:lnTo>
                  <a:lnTo>
                    <a:pt x="1243" y="4028"/>
                  </a:lnTo>
                  <a:lnTo>
                    <a:pt x="1240" y="4028"/>
                  </a:lnTo>
                  <a:lnTo>
                    <a:pt x="1237" y="4027"/>
                  </a:lnTo>
                  <a:lnTo>
                    <a:pt x="1234" y="4027"/>
                  </a:lnTo>
                  <a:lnTo>
                    <a:pt x="1229" y="4032"/>
                  </a:lnTo>
                  <a:lnTo>
                    <a:pt x="1222" y="4032"/>
                  </a:lnTo>
                  <a:lnTo>
                    <a:pt x="1218" y="4035"/>
                  </a:lnTo>
                  <a:lnTo>
                    <a:pt x="1209" y="4037"/>
                  </a:lnTo>
                  <a:lnTo>
                    <a:pt x="1204" y="4040"/>
                  </a:lnTo>
                  <a:lnTo>
                    <a:pt x="1199" y="4037"/>
                  </a:lnTo>
                  <a:lnTo>
                    <a:pt x="1199" y="4035"/>
                  </a:lnTo>
                  <a:lnTo>
                    <a:pt x="1190" y="4032"/>
                  </a:lnTo>
                  <a:lnTo>
                    <a:pt x="1182" y="4024"/>
                  </a:lnTo>
                  <a:lnTo>
                    <a:pt x="1176" y="4024"/>
                  </a:lnTo>
                  <a:lnTo>
                    <a:pt x="1175" y="4020"/>
                  </a:lnTo>
                  <a:lnTo>
                    <a:pt x="1170" y="4020"/>
                  </a:lnTo>
                  <a:lnTo>
                    <a:pt x="1168" y="4021"/>
                  </a:lnTo>
                  <a:lnTo>
                    <a:pt x="1167" y="4021"/>
                  </a:lnTo>
                  <a:lnTo>
                    <a:pt x="1161" y="4018"/>
                  </a:lnTo>
                  <a:lnTo>
                    <a:pt x="1154" y="4019"/>
                  </a:lnTo>
                  <a:lnTo>
                    <a:pt x="1146" y="4018"/>
                  </a:lnTo>
                  <a:lnTo>
                    <a:pt x="1145" y="4015"/>
                  </a:lnTo>
                  <a:lnTo>
                    <a:pt x="1139" y="4016"/>
                  </a:lnTo>
                  <a:lnTo>
                    <a:pt x="1137" y="4021"/>
                  </a:lnTo>
                  <a:lnTo>
                    <a:pt x="1128" y="4024"/>
                  </a:lnTo>
                  <a:lnTo>
                    <a:pt x="1128" y="4027"/>
                  </a:lnTo>
                  <a:lnTo>
                    <a:pt x="1128" y="4032"/>
                  </a:lnTo>
                  <a:lnTo>
                    <a:pt x="1124" y="4036"/>
                  </a:lnTo>
                  <a:lnTo>
                    <a:pt x="1117" y="4040"/>
                  </a:lnTo>
                  <a:lnTo>
                    <a:pt x="1112" y="4038"/>
                  </a:lnTo>
                  <a:lnTo>
                    <a:pt x="1104" y="4045"/>
                  </a:lnTo>
                  <a:lnTo>
                    <a:pt x="1101" y="4047"/>
                  </a:lnTo>
                  <a:lnTo>
                    <a:pt x="1096" y="4043"/>
                  </a:lnTo>
                  <a:lnTo>
                    <a:pt x="1090" y="4041"/>
                  </a:lnTo>
                  <a:lnTo>
                    <a:pt x="1083" y="4036"/>
                  </a:lnTo>
                  <a:lnTo>
                    <a:pt x="1078" y="4037"/>
                  </a:lnTo>
                  <a:lnTo>
                    <a:pt x="1075" y="4032"/>
                  </a:lnTo>
                  <a:lnTo>
                    <a:pt x="1069" y="4032"/>
                  </a:lnTo>
                  <a:lnTo>
                    <a:pt x="1065" y="4035"/>
                  </a:lnTo>
                  <a:lnTo>
                    <a:pt x="1060" y="4027"/>
                  </a:lnTo>
                  <a:lnTo>
                    <a:pt x="1053" y="4024"/>
                  </a:lnTo>
                  <a:lnTo>
                    <a:pt x="1044" y="4021"/>
                  </a:lnTo>
                  <a:lnTo>
                    <a:pt x="1043" y="4020"/>
                  </a:lnTo>
                  <a:lnTo>
                    <a:pt x="1044" y="4015"/>
                  </a:lnTo>
                  <a:lnTo>
                    <a:pt x="1039" y="4012"/>
                  </a:lnTo>
                  <a:lnTo>
                    <a:pt x="1029" y="4012"/>
                  </a:lnTo>
                  <a:lnTo>
                    <a:pt x="1024" y="4019"/>
                  </a:lnTo>
                  <a:lnTo>
                    <a:pt x="1014" y="4021"/>
                  </a:lnTo>
                  <a:lnTo>
                    <a:pt x="1012" y="4021"/>
                  </a:lnTo>
                  <a:lnTo>
                    <a:pt x="1008" y="4019"/>
                  </a:lnTo>
                  <a:lnTo>
                    <a:pt x="1005" y="4018"/>
                  </a:lnTo>
                  <a:lnTo>
                    <a:pt x="1002" y="4019"/>
                  </a:lnTo>
                  <a:lnTo>
                    <a:pt x="999" y="4021"/>
                  </a:lnTo>
                  <a:lnTo>
                    <a:pt x="987" y="4021"/>
                  </a:lnTo>
                  <a:lnTo>
                    <a:pt x="983" y="4020"/>
                  </a:lnTo>
                  <a:lnTo>
                    <a:pt x="975" y="4019"/>
                  </a:lnTo>
                  <a:lnTo>
                    <a:pt x="969" y="4013"/>
                  </a:lnTo>
                  <a:lnTo>
                    <a:pt x="957" y="4015"/>
                  </a:lnTo>
                  <a:lnTo>
                    <a:pt x="954" y="4013"/>
                  </a:lnTo>
                  <a:lnTo>
                    <a:pt x="951" y="4010"/>
                  </a:lnTo>
                  <a:lnTo>
                    <a:pt x="944" y="4010"/>
                  </a:lnTo>
                  <a:lnTo>
                    <a:pt x="941" y="4008"/>
                  </a:lnTo>
                  <a:lnTo>
                    <a:pt x="940" y="4008"/>
                  </a:lnTo>
                  <a:lnTo>
                    <a:pt x="929" y="4010"/>
                  </a:lnTo>
                  <a:lnTo>
                    <a:pt x="927" y="4012"/>
                  </a:lnTo>
                  <a:lnTo>
                    <a:pt x="921" y="4013"/>
                  </a:lnTo>
                  <a:lnTo>
                    <a:pt x="910" y="4019"/>
                  </a:lnTo>
                  <a:lnTo>
                    <a:pt x="908" y="4023"/>
                  </a:lnTo>
                  <a:lnTo>
                    <a:pt x="904" y="4024"/>
                  </a:lnTo>
                  <a:lnTo>
                    <a:pt x="899" y="4035"/>
                  </a:lnTo>
                  <a:lnTo>
                    <a:pt x="893" y="4038"/>
                  </a:lnTo>
                  <a:lnTo>
                    <a:pt x="887" y="4038"/>
                  </a:lnTo>
                  <a:lnTo>
                    <a:pt x="882" y="4044"/>
                  </a:lnTo>
                  <a:lnTo>
                    <a:pt x="880" y="4047"/>
                  </a:lnTo>
                  <a:lnTo>
                    <a:pt x="882" y="4050"/>
                  </a:lnTo>
                  <a:lnTo>
                    <a:pt x="877" y="4062"/>
                  </a:lnTo>
                  <a:lnTo>
                    <a:pt x="875" y="4062"/>
                  </a:lnTo>
                  <a:lnTo>
                    <a:pt x="872" y="4061"/>
                  </a:lnTo>
                  <a:lnTo>
                    <a:pt x="862" y="4069"/>
                  </a:lnTo>
                  <a:lnTo>
                    <a:pt x="861" y="4069"/>
                  </a:lnTo>
                  <a:lnTo>
                    <a:pt x="858" y="4066"/>
                  </a:lnTo>
                  <a:lnTo>
                    <a:pt x="857" y="4068"/>
                  </a:lnTo>
                  <a:lnTo>
                    <a:pt x="847" y="4073"/>
                  </a:lnTo>
                  <a:lnTo>
                    <a:pt x="841" y="4075"/>
                  </a:lnTo>
                  <a:lnTo>
                    <a:pt x="832" y="4080"/>
                  </a:lnTo>
                  <a:lnTo>
                    <a:pt x="822" y="4087"/>
                  </a:lnTo>
                  <a:lnTo>
                    <a:pt x="818" y="4087"/>
                  </a:lnTo>
                  <a:lnTo>
                    <a:pt x="812" y="4083"/>
                  </a:lnTo>
                  <a:lnTo>
                    <a:pt x="808" y="4086"/>
                  </a:lnTo>
                  <a:lnTo>
                    <a:pt x="802" y="4087"/>
                  </a:lnTo>
                  <a:lnTo>
                    <a:pt x="800" y="4087"/>
                  </a:lnTo>
                  <a:lnTo>
                    <a:pt x="797" y="4085"/>
                  </a:lnTo>
                  <a:lnTo>
                    <a:pt x="794" y="4083"/>
                  </a:lnTo>
                  <a:lnTo>
                    <a:pt x="790" y="4083"/>
                  </a:lnTo>
                  <a:lnTo>
                    <a:pt x="786" y="4085"/>
                  </a:lnTo>
                  <a:lnTo>
                    <a:pt x="775" y="4090"/>
                  </a:lnTo>
                  <a:lnTo>
                    <a:pt x="770" y="4102"/>
                  </a:lnTo>
                  <a:lnTo>
                    <a:pt x="767" y="4103"/>
                  </a:lnTo>
                  <a:lnTo>
                    <a:pt x="759" y="4108"/>
                  </a:lnTo>
                  <a:lnTo>
                    <a:pt x="747" y="4111"/>
                  </a:lnTo>
                  <a:lnTo>
                    <a:pt x="742" y="4111"/>
                  </a:lnTo>
                  <a:lnTo>
                    <a:pt x="733" y="4103"/>
                  </a:lnTo>
                  <a:lnTo>
                    <a:pt x="729" y="4106"/>
                  </a:lnTo>
                  <a:lnTo>
                    <a:pt x="726" y="4103"/>
                  </a:lnTo>
                  <a:lnTo>
                    <a:pt x="723" y="4102"/>
                  </a:lnTo>
                  <a:lnTo>
                    <a:pt x="717" y="4099"/>
                  </a:lnTo>
                  <a:lnTo>
                    <a:pt x="716" y="4094"/>
                  </a:lnTo>
                  <a:lnTo>
                    <a:pt x="709" y="4087"/>
                  </a:lnTo>
                  <a:lnTo>
                    <a:pt x="705" y="4087"/>
                  </a:lnTo>
                  <a:lnTo>
                    <a:pt x="700" y="4085"/>
                  </a:lnTo>
                  <a:lnTo>
                    <a:pt x="697" y="4085"/>
                  </a:lnTo>
                  <a:lnTo>
                    <a:pt x="690" y="4089"/>
                  </a:lnTo>
                  <a:lnTo>
                    <a:pt x="686" y="4089"/>
                  </a:lnTo>
                  <a:lnTo>
                    <a:pt x="683" y="4087"/>
                  </a:lnTo>
                  <a:lnTo>
                    <a:pt x="663" y="4091"/>
                  </a:lnTo>
                  <a:lnTo>
                    <a:pt x="656" y="4095"/>
                  </a:lnTo>
                  <a:lnTo>
                    <a:pt x="656" y="4099"/>
                  </a:lnTo>
                  <a:lnTo>
                    <a:pt x="648" y="4103"/>
                  </a:lnTo>
                  <a:lnTo>
                    <a:pt x="645" y="4107"/>
                  </a:lnTo>
                  <a:lnTo>
                    <a:pt x="640" y="4111"/>
                  </a:lnTo>
                  <a:lnTo>
                    <a:pt x="636" y="4118"/>
                  </a:lnTo>
                  <a:lnTo>
                    <a:pt x="633" y="4118"/>
                  </a:lnTo>
                  <a:lnTo>
                    <a:pt x="630" y="4118"/>
                  </a:lnTo>
                  <a:lnTo>
                    <a:pt x="626" y="4118"/>
                  </a:lnTo>
                  <a:lnTo>
                    <a:pt x="625" y="4120"/>
                  </a:lnTo>
                  <a:lnTo>
                    <a:pt x="625" y="4122"/>
                  </a:lnTo>
                  <a:lnTo>
                    <a:pt x="622" y="4125"/>
                  </a:lnTo>
                  <a:lnTo>
                    <a:pt x="616" y="4125"/>
                  </a:lnTo>
                  <a:lnTo>
                    <a:pt x="613" y="4124"/>
                  </a:lnTo>
                  <a:lnTo>
                    <a:pt x="609" y="4124"/>
                  </a:lnTo>
                  <a:lnTo>
                    <a:pt x="609" y="4128"/>
                  </a:lnTo>
                  <a:lnTo>
                    <a:pt x="605" y="4131"/>
                  </a:lnTo>
                  <a:lnTo>
                    <a:pt x="598" y="4140"/>
                  </a:lnTo>
                  <a:lnTo>
                    <a:pt x="584" y="4144"/>
                  </a:lnTo>
                  <a:lnTo>
                    <a:pt x="581" y="4148"/>
                  </a:lnTo>
                  <a:lnTo>
                    <a:pt x="581" y="4152"/>
                  </a:lnTo>
                  <a:lnTo>
                    <a:pt x="577" y="4155"/>
                  </a:lnTo>
                  <a:lnTo>
                    <a:pt x="576" y="4159"/>
                  </a:lnTo>
                  <a:lnTo>
                    <a:pt x="572" y="4162"/>
                  </a:lnTo>
                  <a:lnTo>
                    <a:pt x="566" y="4162"/>
                  </a:lnTo>
                  <a:lnTo>
                    <a:pt x="565" y="4165"/>
                  </a:lnTo>
                  <a:lnTo>
                    <a:pt x="565" y="4173"/>
                  </a:lnTo>
                  <a:lnTo>
                    <a:pt x="556" y="4174"/>
                  </a:lnTo>
                  <a:lnTo>
                    <a:pt x="548" y="4174"/>
                  </a:lnTo>
                  <a:lnTo>
                    <a:pt x="541" y="4170"/>
                  </a:lnTo>
                  <a:lnTo>
                    <a:pt x="534" y="4170"/>
                  </a:lnTo>
                  <a:lnTo>
                    <a:pt x="526" y="4167"/>
                  </a:lnTo>
                  <a:lnTo>
                    <a:pt x="520" y="4169"/>
                  </a:lnTo>
                  <a:lnTo>
                    <a:pt x="513" y="4167"/>
                  </a:lnTo>
                  <a:lnTo>
                    <a:pt x="498" y="4167"/>
                  </a:lnTo>
                  <a:lnTo>
                    <a:pt x="494" y="4165"/>
                  </a:lnTo>
                  <a:lnTo>
                    <a:pt x="492" y="4162"/>
                  </a:lnTo>
                  <a:lnTo>
                    <a:pt x="490" y="4159"/>
                  </a:lnTo>
                  <a:lnTo>
                    <a:pt x="480" y="4159"/>
                  </a:lnTo>
                  <a:lnTo>
                    <a:pt x="478" y="4156"/>
                  </a:lnTo>
                  <a:lnTo>
                    <a:pt x="476" y="4156"/>
                  </a:lnTo>
                  <a:lnTo>
                    <a:pt x="473" y="4150"/>
                  </a:lnTo>
                  <a:lnTo>
                    <a:pt x="473" y="4148"/>
                  </a:lnTo>
                  <a:lnTo>
                    <a:pt x="480" y="4136"/>
                  </a:lnTo>
                  <a:lnTo>
                    <a:pt x="478" y="4134"/>
                  </a:lnTo>
                  <a:lnTo>
                    <a:pt x="477" y="4130"/>
                  </a:lnTo>
                  <a:lnTo>
                    <a:pt x="471" y="4122"/>
                  </a:lnTo>
                  <a:lnTo>
                    <a:pt x="471" y="4118"/>
                  </a:lnTo>
                  <a:lnTo>
                    <a:pt x="473" y="4117"/>
                  </a:lnTo>
                  <a:lnTo>
                    <a:pt x="471" y="4115"/>
                  </a:lnTo>
                  <a:lnTo>
                    <a:pt x="463" y="4108"/>
                  </a:lnTo>
                  <a:lnTo>
                    <a:pt x="459" y="4108"/>
                  </a:lnTo>
                  <a:lnTo>
                    <a:pt x="455" y="4106"/>
                  </a:lnTo>
                  <a:lnTo>
                    <a:pt x="451" y="4106"/>
                  </a:lnTo>
                  <a:lnTo>
                    <a:pt x="440" y="4099"/>
                  </a:lnTo>
                  <a:lnTo>
                    <a:pt x="435" y="4094"/>
                  </a:lnTo>
                  <a:lnTo>
                    <a:pt x="432" y="4094"/>
                  </a:lnTo>
                  <a:lnTo>
                    <a:pt x="428" y="4099"/>
                  </a:lnTo>
                  <a:lnTo>
                    <a:pt x="424" y="4098"/>
                  </a:lnTo>
                  <a:lnTo>
                    <a:pt x="423" y="4099"/>
                  </a:lnTo>
                  <a:lnTo>
                    <a:pt x="415" y="4111"/>
                  </a:lnTo>
                  <a:lnTo>
                    <a:pt x="412" y="4112"/>
                  </a:lnTo>
                  <a:lnTo>
                    <a:pt x="405" y="4112"/>
                  </a:lnTo>
                  <a:lnTo>
                    <a:pt x="398" y="4108"/>
                  </a:lnTo>
                  <a:lnTo>
                    <a:pt x="391" y="4106"/>
                  </a:lnTo>
                  <a:lnTo>
                    <a:pt x="385" y="4107"/>
                  </a:lnTo>
                  <a:lnTo>
                    <a:pt x="382" y="4111"/>
                  </a:lnTo>
                  <a:lnTo>
                    <a:pt x="377" y="4110"/>
                  </a:lnTo>
                  <a:lnTo>
                    <a:pt x="373" y="4114"/>
                  </a:lnTo>
                  <a:lnTo>
                    <a:pt x="368" y="4112"/>
                  </a:lnTo>
                  <a:lnTo>
                    <a:pt x="363" y="4108"/>
                  </a:lnTo>
                  <a:lnTo>
                    <a:pt x="363" y="4106"/>
                  </a:lnTo>
                  <a:lnTo>
                    <a:pt x="357" y="4103"/>
                  </a:lnTo>
                  <a:lnTo>
                    <a:pt x="355" y="4099"/>
                  </a:lnTo>
                  <a:lnTo>
                    <a:pt x="351" y="4095"/>
                  </a:lnTo>
                  <a:lnTo>
                    <a:pt x="349" y="4094"/>
                  </a:lnTo>
                  <a:lnTo>
                    <a:pt x="345" y="4091"/>
                  </a:lnTo>
                  <a:lnTo>
                    <a:pt x="340" y="4093"/>
                  </a:lnTo>
                  <a:lnTo>
                    <a:pt x="332" y="4090"/>
                  </a:lnTo>
                  <a:lnTo>
                    <a:pt x="332" y="4087"/>
                  </a:lnTo>
                  <a:lnTo>
                    <a:pt x="334" y="4085"/>
                  </a:lnTo>
                  <a:lnTo>
                    <a:pt x="328" y="4075"/>
                  </a:lnTo>
                  <a:lnTo>
                    <a:pt x="309" y="4065"/>
                  </a:lnTo>
                  <a:lnTo>
                    <a:pt x="303" y="4063"/>
                  </a:lnTo>
                  <a:lnTo>
                    <a:pt x="296" y="4063"/>
                  </a:lnTo>
                  <a:lnTo>
                    <a:pt x="284" y="4060"/>
                  </a:lnTo>
                  <a:lnTo>
                    <a:pt x="278" y="4053"/>
                  </a:lnTo>
                  <a:lnTo>
                    <a:pt x="278" y="4050"/>
                  </a:lnTo>
                  <a:lnTo>
                    <a:pt x="280" y="4049"/>
                  </a:lnTo>
                  <a:lnTo>
                    <a:pt x="280" y="4045"/>
                  </a:lnTo>
                  <a:lnTo>
                    <a:pt x="273" y="4041"/>
                  </a:lnTo>
                  <a:lnTo>
                    <a:pt x="267" y="4037"/>
                  </a:lnTo>
                  <a:lnTo>
                    <a:pt x="259" y="4035"/>
                  </a:lnTo>
                  <a:lnTo>
                    <a:pt x="253" y="4036"/>
                  </a:lnTo>
                  <a:lnTo>
                    <a:pt x="252" y="4032"/>
                  </a:lnTo>
                  <a:lnTo>
                    <a:pt x="250" y="4035"/>
                  </a:lnTo>
                  <a:lnTo>
                    <a:pt x="249" y="4035"/>
                  </a:lnTo>
                  <a:lnTo>
                    <a:pt x="245" y="4035"/>
                  </a:lnTo>
                  <a:lnTo>
                    <a:pt x="239" y="4032"/>
                  </a:lnTo>
                  <a:lnTo>
                    <a:pt x="235" y="4031"/>
                  </a:lnTo>
                  <a:lnTo>
                    <a:pt x="232" y="4028"/>
                  </a:lnTo>
                  <a:lnTo>
                    <a:pt x="231" y="4021"/>
                  </a:lnTo>
                  <a:lnTo>
                    <a:pt x="228" y="4021"/>
                  </a:lnTo>
                  <a:lnTo>
                    <a:pt x="213" y="4024"/>
                  </a:lnTo>
                  <a:lnTo>
                    <a:pt x="205" y="4027"/>
                  </a:lnTo>
                  <a:lnTo>
                    <a:pt x="185" y="4020"/>
                  </a:lnTo>
                  <a:lnTo>
                    <a:pt x="177" y="4023"/>
                  </a:lnTo>
                  <a:lnTo>
                    <a:pt x="171" y="4023"/>
                  </a:lnTo>
                  <a:lnTo>
                    <a:pt x="167" y="4024"/>
                  </a:lnTo>
                  <a:lnTo>
                    <a:pt x="161" y="4024"/>
                  </a:lnTo>
                  <a:lnTo>
                    <a:pt x="157" y="4024"/>
                  </a:lnTo>
                  <a:lnTo>
                    <a:pt x="153" y="4020"/>
                  </a:lnTo>
                  <a:lnTo>
                    <a:pt x="149" y="4015"/>
                  </a:lnTo>
                  <a:lnTo>
                    <a:pt x="143" y="4012"/>
                  </a:lnTo>
                  <a:lnTo>
                    <a:pt x="138" y="4006"/>
                  </a:lnTo>
                  <a:lnTo>
                    <a:pt x="127" y="4002"/>
                  </a:lnTo>
                  <a:lnTo>
                    <a:pt x="121" y="3994"/>
                  </a:lnTo>
                  <a:lnTo>
                    <a:pt x="120" y="3987"/>
                  </a:lnTo>
                  <a:lnTo>
                    <a:pt x="117" y="3987"/>
                  </a:lnTo>
                  <a:lnTo>
                    <a:pt x="111" y="3983"/>
                  </a:lnTo>
                  <a:lnTo>
                    <a:pt x="107" y="3982"/>
                  </a:lnTo>
                  <a:lnTo>
                    <a:pt x="102" y="3975"/>
                  </a:lnTo>
                  <a:lnTo>
                    <a:pt x="92" y="3970"/>
                  </a:lnTo>
                  <a:lnTo>
                    <a:pt x="88" y="3957"/>
                  </a:lnTo>
                  <a:lnTo>
                    <a:pt x="68" y="3928"/>
                  </a:lnTo>
                  <a:lnTo>
                    <a:pt x="53" y="3908"/>
                  </a:lnTo>
                  <a:lnTo>
                    <a:pt x="44" y="3890"/>
                  </a:lnTo>
                  <a:lnTo>
                    <a:pt x="27" y="3873"/>
                  </a:lnTo>
                  <a:lnTo>
                    <a:pt x="22" y="3862"/>
                  </a:lnTo>
                  <a:lnTo>
                    <a:pt x="32" y="3849"/>
                  </a:lnTo>
                  <a:lnTo>
                    <a:pt x="32" y="3844"/>
                  </a:lnTo>
                  <a:lnTo>
                    <a:pt x="0" y="3817"/>
                  </a:lnTo>
                  <a:lnTo>
                    <a:pt x="13" y="3792"/>
                  </a:lnTo>
                  <a:lnTo>
                    <a:pt x="29" y="3777"/>
                  </a:lnTo>
                  <a:lnTo>
                    <a:pt x="53" y="3750"/>
                  </a:lnTo>
                  <a:lnTo>
                    <a:pt x="58" y="3744"/>
                  </a:lnTo>
                  <a:lnTo>
                    <a:pt x="63" y="3740"/>
                  </a:lnTo>
                  <a:lnTo>
                    <a:pt x="92" y="3701"/>
                  </a:lnTo>
                  <a:lnTo>
                    <a:pt x="121" y="3634"/>
                  </a:lnTo>
                  <a:lnTo>
                    <a:pt x="121" y="3631"/>
                  </a:lnTo>
                  <a:lnTo>
                    <a:pt x="122" y="3618"/>
                  </a:lnTo>
                  <a:lnTo>
                    <a:pt x="122" y="3617"/>
                  </a:lnTo>
                  <a:lnTo>
                    <a:pt x="106" y="3547"/>
                  </a:lnTo>
                  <a:lnTo>
                    <a:pt x="104" y="3498"/>
                  </a:lnTo>
                  <a:lnTo>
                    <a:pt x="100" y="3459"/>
                  </a:lnTo>
                  <a:lnTo>
                    <a:pt x="96" y="3444"/>
                  </a:lnTo>
                  <a:lnTo>
                    <a:pt x="96" y="3440"/>
                  </a:lnTo>
                  <a:lnTo>
                    <a:pt x="95" y="3432"/>
                  </a:lnTo>
                  <a:lnTo>
                    <a:pt x="102" y="3399"/>
                  </a:lnTo>
                  <a:lnTo>
                    <a:pt x="153" y="3357"/>
                  </a:lnTo>
                  <a:lnTo>
                    <a:pt x="161" y="3354"/>
                  </a:lnTo>
                  <a:lnTo>
                    <a:pt x="216" y="3354"/>
                  </a:lnTo>
                  <a:lnTo>
                    <a:pt x="225" y="3354"/>
                  </a:lnTo>
                  <a:lnTo>
                    <a:pt x="234" y="3355"/>
                  </a:lnTo>
                  <a:lnTo>
                    <a:pt x="249" y="3343"/>
                  </a:lnTo>
                  <a:lnTo>
                    <a:pt x="260" y="3324"/>
                  </a:lnTo>
                  <a:lnTo>
                    <a:pt x="274" y="3298"/>
                  </a:lnTo>
                  <a:lnTo>
                    <a:pt x="298" y="3261"/>
                  </a:lnTo>
                  <a:lnTo>
                    <a:pt x="316" y="3239"/>
                  </a:lnTo>
                  <a:lnTo>
                    <a:pt x="331" y="3223"/>
                  </a:lnTo>
                  <a:lnTo>
                    <a:pt x="338" y="3215"/>
                  </a:lnTo>
                  <a:lnTo>
                    <a:pt x="346" y="3205"/>
                  </a:lnTo>
                  <a:lnTo>
                    <a:pt x="349" y="3186"/>
                  </a:lnTo>
                  <a:lnTo>
                    <a:pt x="355" y="3176"/>
                  </a:lnTo>
                  <a:lnTo>
                    <a:pt x="371" y="3160"/>
                  </a:lnTo>
                  <a:lnTo>
                    <a:pt x="399" y="3133"/>
                  </a:lnTo>
                  <a:lnTo>
                    <a:pt x="396" y="3124"/>
                  </a:lnTo>
                  <a:lnTo>
                    <a:pt x="402" y="3096"/>
                  </a:lnTo>
                  <a:lnTo>
                    <a:pt x="388" y="3089"/>
                  </a:lnTo>
                  <a:lnTo>
                    <a:pt x="380" y="3079"/>
                  </a:lnTo>
                  <a:lnTo>
                    <a:pt x="387" y="3065"/>
                  </a:lnTo>
                  <a:lnTo>
                    <a:pt x="406" y="3056"/>
                  </a:lnTo>
                  <a:lnTo>
                    <a:pt x="405" y="3048"/>
                  </a:lnTo>
                  <a:lnTo>
                    <a:pt x="393" y="3029"/>
                  </a:lnTo>
                  <a:lnTo>
                    <a:pt x="403" y="2991"/>
                  </a:lnTo>
                  <a:lnTo>
                    <a:pt x="405" y="2991"/>
                  </a:lnTo>
                  <a:lnTo>
                    <a:pt x="413" y="2986"/>
                  </a:lnTo>
                  <a:lnTo>
                    <a:pt x="418" y="2986"/>
                  </a:lnTo>
                  <a:lnTo>
                    <a:pt x="424" y="2995"/>
                  </a:lnTo>
                  <a:lnTo>
                    <a:pt x="437" y="2999"/>
                  </a:lnTo>
                  <a:lnTo>
                    <a:pt x="445" y="2995"/>
                  </a:lnTo>
                  <a:lnTo>
                    <a:pt x="443" y="2962"/>
                  </a:lnTo>
                  <a:lnTo>
                    <a:pt x="440" y="2950"/>
                  </a:lnTo>
                  <a:lnTo>
                    <a:pt x="445" y="2942"/>
                  </a:lnTo>
                  <a:lnTo>
                    <a:pt x="452" y="2938"/>
                  </a:lnTo>
                  <a:lnTo>
                    <a:pt x="473" y="2935"/>
                  </a:lnTo>
                  <a:lnTo>
                    <a:pt x="510" y="2922"/>
                  </a:lnTo>
                  <a:lnTo>
                    <a:pt x="517" y="2919"/>
                  </a:lnTo>
                  <a:lnTo>
                    <a:pt x="530" y="2871"/>
                  </a:lnTo>
                  <a:lnTo>
                    <a:pt x="531" y="2849"/>
                  </a:lnTo>
                  <a:lnTo>
                    <a:pt x="548" y="2770"/>
                  </a:lnTo>
                  <a:lnTo>
                    <a:pt x="547" y="2759"/>
                  </a:lnTo>
                  <a:lnTo>
                    <a:pt x="553" y="2741"/>
                  </a:lnTo>
                  <a:lnTo>
                    <a:pt x="552" y="2729"/>
                  </a:lnTo>
                  <a:lnTo>
                    <a:pt x="547" y="2722"/>
                  </a:lnTo>
                  <a:lnTo>
                    <a:pt x="540" y="2714"/>
                  </a:lnTo>
                  <a:lnTo>
                    <a:pt x="496" y="2696"/>
                  </a:lnTo>
                  <a:lnTo>
                    <a:pt x="476" y="2681"/>
                  </a:lnTo>
                  <a:lnTo>
                    <a:pt x="474" y="2672"/>
                  </a:lnTo>
                  <a:lnTo>
                    <a:pt x="492" y="2655"/>
                  </a:lnTo>
                  <a:lnTo>
                    <a:pt x="492" y="2639"/>
                  </a:lnTo>
                  <a:lnTo>
                    <a:pt x="484" y="2625"/>
                  </a:lnTo>
                  <a:lnTo>
                    <a:pt x="478" y="2625"/>
                  </a:lnTo>
                  <a:lnTo>
                    <a:pt x="466" y="2635"/>
                  </a:lnTo>
                  <a:lnTo>
                    <a:pt x="452" y="2639"/>
                  </a:lnTo>
                  <a:lnTo>
                    <a:pt x="420" y="2650"/>
                  </a:lnTo>
                  <a:lnTo>
                    <a:pt x="388" y="2650"/>
                  </a:lnTo>
                  <a:lnTo>
                    <a:pt x="377" y="2643"/>
                  </a:lnTo>
                  <a:lnTo>
                    <a:pt x="377" y="2635"/>
                  </a:lnTo>
                  <a:lnTo>
                    <a:pt x="390" y="2606"/>
                  </a:lnTo>
                  <a:lnTo>
                    <a:pt x="391" y="2601"/>
                  </a:lnTo>
                  <a:lnTo>
                    <a:pt x="387" y="2589"/>
                  </a:lnTo>
                  <a:lnTo>
                    <a:pt x="391" y="2542"/>
                  </a:lnTo>
                  <a:lnTo>
                    <a:pt x="390" y="2535"/>
                  </a:lnTo>
                  <a:lnTo>
                    <a:pt x="381" y="2523"/>
                  </a:lnTo>
                  <a:lnTo>
                    <a:pt x="381" y="2512"/>
                  </a:lnTo>
                  <a:lnTo>
                    <a:pt x="384" y="2490"/>
                  </a:lnTo>
                  <a:lnTo>
                    <a:pt x="384" y="2482"/>
                  </a:lnTo>
                  <a:lnTo>
                    <a:pt x="343" y="2481"/>
                  </a:lnTo>
                  <a:lnTo>
                    <a:pt x="330" y="2468"/>
                  </a:lnTo>
                  <a:lnTo>
                    <a:pt x="332" y="2445"/>
                  </a:lnTo>
                  <a:lnTo>
                    <a:pt x="331" y="2428"/>
                  </a:lnTo>
                  <a:lnTo>
                    <a:pt x="337" y="2416"/>
                  </a:lnTo>
                  <a:lnTo>
                    <a:pt x="337" y="2407"/>
                  </a:lnTo>
                  <a:lnTo>
                    <a:pt x="332" y="2402"/>
                  </a:lnTo>
                  <a:lnTo>
                    <a:pt x="331" y="2399"/>
                  </a:lnTo>
                  <a:lnTo>
                    <a:pt x="328" y="2397"/>
                  </a:lnTo>
                  <a:lnTo>
                    <a:pt x="330" y="2389"/>
                  </a:lnTo>
                  <a:lnTo>
                    <a:pt x="356" y="2369"/>
                  </a:lnTo>
                  <a:lnTo>
                    <a:pt x="388" y="2336"/>
                  </a:lnTo>
                  <a:lnTo>
                    <a:pt x="391" y="2323"/>
                  </a:lnTo>
                  <a:lnTo>
                    <a:pt x="388" y="2286"/>
                  </a:lnTo>
                  <a:lnTo>
                    <a:pt x="390" y="2277"/>
                  </a:lnTo>
                  <a:lnTo>
                    <a:pt x="391" y="2276"/>
                  </a:lnTo>
                  <a:lnTo>
                    <a:pt x="398" y="2242"/>
                  </a:lnTo>
                  <a:lnTo>
                    <a:pt x="410" y="2190"/>
                  </a:lnTo>
                  <a:lnTo>
                    <a:pt x="410" y="2178"/>
                  </a:lnTo>
                  <a:lnTo>
                    <a:pt x="406" y="2166"/>
                  </a:lnTo>
                  <a:lnTo>
                    <a:pt x="395" y="2161"/>
                  </a:lnTo>
                  <a:lnTo>
                    <a:pt x="390" y="2152"/>
                  </a:lnTo>
                  <a:lnTo>
                    <a:pt x="385" y="2119"/>
                  </a:lnTo>
                  <a:lnTo>
                    <a:pt x="376" y="2112"/>
                  </a:lnTo>
                  <a:lnTo>
                    <a:pt x="366" y="2113"/>
                  </a:lnTo>
                  <a:lnTo>
                    <a:pt x="356" y="2113"/>
                  </a:lnTo>
                  <a:lnTo>
                    <a:pt x="351" y="2113"/>
                  </a:lnTo>
                  <a:lnTo>
                    <a:pt x="342" y="2115"/>
                  </a:lnTo>
                  <a:lnTo>
                    <a:pt x="320" y="2123"/>
                  </a:lnTo>
                  <a:lnTo>
                    <a:pt x="302" y="2123"/>
                  </a:lnTo>
                  <a:lnTo>
                    <a:pt x="287" y="2119"/>
                  </a:lnTo>
                  <a:lnTo>
                    <a:pt x="281" y="2115"/>
                  </a:lnTo>
                  <a:lnTo>
                    <a:pt x="276" y="2100"/>
                  </a:lnTo>
                  <a:lnTo>
                    <a:pt x="268" y="2052"/>
                  </a:lnTo>
                  <a:lnTo>
                    <a:pt x="271" y="2048"/>
                  </a:lnTo>
                  <a:lnTo>
                    <a:pt x="273" y="2048"/>
                  </a:lnTo>
                  <a:lnTo>
                    <a:pt x="288" y="2043"/>
                  </a:lnTo>
                  <a:lnTo>
                    <a:pt x="292" y="2040"/>
                  </a:lnTo>
                  <a:lnTo>
                    <a:pt x="288" y="2011"/>
                  </a:lnTo>
                  <a:lnTo>
                    <a:pt x="271" y="1984"/>
                  </a:lnTo>
                  <a:lnTo>
                    <a:pt x="271" y="1975"/>
                  </a:lnTo>
                  <a:lnTo>
                    <a:pt x="278" y="1966"/>
                  </a:lnTo>
                  <a:lnTo>
                    <a:pt x="299" y="1953"/>
                  </a:lnTo>
                  <a:lnTo>
                    <a:pt x="306" y="1953"/>
                  </a:lnTo>
                  <a:lnTo>
                    <a:pt x="316" y="1950"/>
                  </a:lnTo>
                  <a:lnTo>
                    <a:pt x="330" y="1938"/>
                  </a:lnTo>
                  <a:lnTo>
                    <a:pt x="370" y="1921"/>
                  </a:lnTo>
                  <a:lnTo>
                    <a:pt x="382" y="1921"/>
                  </a:lnTo>
                  <a:lnTo>
                    <a:pt x="410" y="1936"/>
                  </a:lnTo>
                  <a:lnTo>
                    <a:pt x="423" y="1936"/>
                  </a:lnTo>
                  <a:lnTo>
                    <a:pt x="445" y="1920"/>
                  </a:lnTo>
                  <a:lnTo>
                    <a:pt x="451" y="1912"/>
                  </a:lnTo>
                  <a:lnTo>
                    <a:pt x="455" y="1894"/>
                  </a:lnTo>
                  <a:lnTo>
                    <a:pt x="468" y="1864"/>
                  </a:lnTo>
                  <a:lnTo>
                    <a:pt x="473" y="1856"/>
                  </a:lnTo>
                  <a:lnTo>
                    <a:pt x="471" y="1850"/>
                  </a:lnTo>
                  <a:lnTo>
                    <a:pt x="437" y="1796"/>
                  </a:lnTo>
                  <a:lnTo>
                    <a:pt x="428" y="1771"/>
                  </a:lnTo>
                  <a:lnTo>
                    <a:pt x="417" y="1762"/>
                  </a:lnTo>
                  <a:lnTo>
                    <a:pt x="426" y="1744"/>
                  </a:lnTo>
                  <a:lnTo>
                    <a:pt x="424" y="1732"/>
                  </a:lnTo>
                  <a:lnTo>
                    <a:pt x="416" y="1715"/>
                  </a:lnTo>
                  <a:lnTo>
                    <a:pt x="421" y="1704"/>
                  </a:lnTo>
                  <a:lnTo>
                    <a:pt x="428" y="1702"/>
                  </a:lnTo>
                  <a:lnTo>
                    <a:pt x="432" y="1696"/>
                  </a:lnTo>
                  <a:lnTo>
                    <a:pt x="441" y="1700"/>
                  </a:lnTo>
                  <a:lnTo>
                    <a:pt x="465" y="1690"/>
                  </a:lnTo>
                  <a:lnTo>
                    <a:pt x="477" y="1680"/>
                  </a:lnTo>
                  <a:lnTo>
                    <a:pt x="492" y="1689"/>
                  </a:lnTo>
                  <a:lnTo>
                    <a:pt x="520" y="1677"/>
                  </a:lnTo>
                  <a:lnTo>
                    <a:pt x="527" y="1663"/>
                  </a:lnTo>
                  <a:lnTo>
                    <a:pt x="527" y="1653"/>
                  </a:lnTo>
                  <a:lnTo>
                    <a:pt x="522" y="1643"/>
                  </a:lnTo>
                  <a:lnTo>
                    <a:pt x="528" y="1610"/>
                  </a:lnTo>
                  <a:lnTo>
                    <a:pt x="547" y="1601"/>
                  </a:lnTo>
                  <a:lnTo>
                    <a:pt x="548" y="1600"/>
                  </a:lnTo>
                  <a:lnTo>
                    <a:pt x="549" y="1596"/>
                  </a:lnTo>
                  <a:lnTo>
                    <a:pt x="553" y="1586"/>
                  </a:lnTo>
                  <a:lnTo>
                    <a:pt x="540" y="1572"/>
                  </a:lnTo>
                  <a:lnTo>
                    <a:pt x="541" y="1564"/>
                  </a:lnTo>
                  <a:lnTo>
                    <a:pt x="534" y="1557"/>
                  </a:lnTo>
                  <a:lnTo>
                    <a:pt x="519" y="1552"/>
                  </a:lnTo>
                  <a:lnTo>
                    <a:pt x="510" y="1539"/>
                  </a:lnTo>
                  <a:lnTo>
                    <a:pt x="508" y="1515"/>
                  </a:lnTo>
                  <a:lnTo>
                    <a:pt x="516" y="1489"/>
                  </a:lnTo>
                  <a:lnTo>
                    <a:pt x="516" y="1479"/>
                  </a:lnTo>
                  <a:lnTo>
                    <a:pt x="508" y="1460"/>
                  </a:lnTo>
                  <a:lnTo>
                    <a:pt x="508" y="1459"/>
                  </a:lnTo>
                  <a:lnTo>
                    <a:pt x="508" y="1456"/>
                  </a:lnTo>
                  <a:lnTo>
                    <a:pt x="506" y="1449"/>
                  </a:lnTo>
                  <a:lnTo>
                    <a:pt x="508" y="1434"/>
                  </a:lnTo>
                  <a:lnTo>
                    <a:pt x="499" y="1422"/>
                  </a:lnTo>
                  <a:lnTo>
                    <a:pt x="491" y="1419"/>
                  </a:lnTo>
                  <a:lnTo>
                    <a:pt x="487" y="1410"/>
                  </a:lnTo>
                  <a:lnTo>
                    <a:pt x="485" y="1399"/>
                  </a:lnTo>
                  <a:lnTo>
                    <a:pt x="488" y="1382"/>
                  </a:lnTo>
                  <a:lnTo>
                    <a:pt x="477" y="1352"/>
                  </a:lnTo>
                  <a:lnTo>
                    <a:pt x="476" y="1339"/>
                  </a:lnTo>
                  <a:lnTo>
                    <a:pt x="468" y="1322"/>
                  </a:lnTo>
                  <a:lnTo>
                    <a:pt x="463" y="1275"/>
                  </a:lnTo>
                  <a:lnTo>
                    <a:pt x="467" y="1266"/>
                  </a:lnTo>
                  <a:lnTo>
                    <a:pt x="470" y="1262"/>
                  </a:lnTo>
                  <a:lnTo>
                    <a:pt x="478" y="1266"/>
                  </a:lnTo>
                  <a:lnTo>
                    <a:pt x="484" y="1258"/>
                  </a:lnTo>
                  <a:lnTo>
                    <a:pt x="491" y="1228"/>
                  </a:lnTo>
                  <a:lnTo>
                    <a:pt x="474" y="1224"/>
                  </a:lnTo>
                  <a:lnTo>
                    <a:pt x="471" y="1213"/>
                  </a:lnTo>
                  <a:lnTo>
                    <a:pt x="471" y="1201"/>
                  </a:lnTo>
                  <a:lnTo>
                    <a:pt x="478" y="1179"/>
                  </a:lnTo>
                  <a:lnTo>
                    <a:pt x="477" y="1149"/>
                  </a:lnTo>
                  <a:lnTo>
                    <a:pt x="484" y="1137"/>
                  </a:lnTo>
                  <a:lnTo>
                    <a:pt x="501" y="1138"/>
                  </a:lnTo>
                  <a:lnTo>
                    <a:pt x="517" y="1137"/>
                  </a:lnTo>
                  <a:lnTo>
                    <a:pt x="519" y="1129"/>
                  </a:lnTo>
                  <a:lnTo>
                    <a:pt x="522" y="1120"/>
                  </a:lnTo>
                  <a:lnTo>
                    <a:pt x="520" y="1111"/>
                  </a:lnTo>
                  <a:lnTo>
                    <a:pt x="530" y="1105"/>
                  </a:lnTo>
                  <a:lnTo>
                    <a:pt x="530" y="1101"/>
                  </a:lnTo>
                  <a:lnTo>
                    <a:pt x="523" y="1096"/>
                  </a:lnTo>
                  <a:lnTo>
                    <a:pt x="510" y="1086"/>
                  </a:lnTo>
                  <a:lnTo>
                    <a:pt x="510" y="1075"/>
                  </a:lnTo>
                  <a:lnTo>
                    <a:pt x="512" y="1071"/>
                  </a:lnTo>
                  <a:lnTo>
                    <a:pt x="519" y="1074"/>
                  </a:lnTo>
                  <a:lnTo>
                    <a:pt x="526" y="1071"/>
                  </a:lnTo>
                  <a:lnTo>
                    <a:pt x="520" y="1066"/>
                  </a:lnTo>
                  <a:lnTo>
                    <a:pt x="519" y="1057"/>
                  </a:lnTo>
                  <a:lnTo>
                    <a:pt x="523" y="1030"/>
                  </a:lnTo>
                  <a:lnTo>
                    <a:pt x="530" y="1013"/>
                  </a:lnTo>
                  <a:lnTo>
                    <a:pt x="541" y="1004"/>
                  </a:lnTo>
                  <a:lnTo>
                    <a:pt x="544" y="977"/>
                  </a:lnTo>
                  <a:lnTo>
                    <a:pt x="516" y="950"/>
                  </a:lnTo>
                  <a:lnTo>
                    <a:pt x="494" y="943"/>
                  </a:lnTo>
                  <a:lnTo>
                    <a:pt x="488" y="929"/>
                  </a:lnTo>
                  <a:lnTo>
                    <a:pt x="481" y="920"/>
                  </a:lnTo>
                  <a:lnTo>
                    <a:pt x="477" y="907"/>
                  </a:lnTo>
                  <a:lnTo>
                    <a:pt x="478" y="879"/>
                  </a:lnTo>
                  <a:lnTo>
                    <a:pt x="495" y="858"/>
                  </a:lnTo>
                  <a:lnTo>
                    <a:pt x="508" y="856"/>
                  </a:lnTo>
                  <a:lnTo>
                    <a:pt x="510" y="826"/>
                  </a:lnTo>
                  <a:lnTo>
                    <a:pt x="515" y="813"/>
                  </a:lnTo>
                  <a:lnTo>
                    <a:pt x="526" y="794"/>
                  </a:lnTo>
                  <a:lnTo>
                    <a:pt x="545" y="771"/>
                  </a:lnTo>
                  <a:lnTo>
                    <a:pt x="549" y="763"/>
                  </a:lnTo>
                  <a:lnTo>
                    <a:pt x="552" y="756"/>
                  </a:lnTo>
                  <a:lnTo>
                    <a:pt x="553" y="752"/>
                  </a:lnTo>
                  <a:lnTo>
                    <a:pt x="551" y="750"/>
                  </a:lnTo>
                  <a:lnTo>
                    <a:pt x="549" y="741"/>
                  </a:lnTo>
                  <a:lnTo>
                    <a:pt x="548" y="738"/>
                  </a:lnTo>
                  <a:lnTo>
                    <a:pt x="549" y="734"/>
                  </a:lnTo>
                  <a:lnTo>
                    <a:pt x="555" y="726"/>
                  </a:lnTo>
                  <a:lnTo>
                    <a:pt x="562" y="719"/>
                  </a:lnTo>
                  <a:lnTo>
                    <a:pt x="562" y="711"/>
                  </a:lnTo>
                  <a:lnTo>
                    <a:pt x="565" y="707"/>
                  </a:lnTo>
                  <a:lnTo>
                    <a:pt x="566" y="699"/>
                  </a:lnTo>
                  <a:lnTo>
                    <a:pt x="569" y="696"/>
                  </a:lnTo>
                  <a:lnTo>
                    <a:pt x="569" y="691"/>
                  </a:lnTo>
                  <a:lnTo>
                    <a:pt x="573" y="688"/>
                  </a:lnTo>
                  <a:lnTo>
                    <a:pt x="581" y="684"/>
                  </a:lnTo>
                  <a:lnTo>
                    <a:pt x="583" y="684"/>
                  </a:lnTo>
                  <a:lnTo>
                    <a:pt x="583" y="669"/>
                  </a:lnTo>
                  <a:lnTo>
                    <a:pt x="584" y="661"/>
                  </a:lnTo>
                  <a:lnTo>
                    <a:pt x="584" y="656"/>
                  </a:lnTo>
                  <a:lnTo>
                    <a:pt x="581" y="652"/>
                  </a:lnTo>
                  <a:lnTo>
                    <a:pt x="583" y="648"/>
                  </a:lnTo>
                  <a:lnTo>
                    <a:pt x="581" y="644"/>
                  </a:lnTo>
                  <a:lnTo>
                    <a:pt x="583" y="640"/>
                  </a:lnTo>
                  <a:lnTo>
                    <a:pt x="583" y="636"/>
                  </a:lnTo>
                  <a:lnTo>
                    <a:pt x="586" y="634"/>
                  </a:lnTo>
                  <a:lnTo>
                    <a:pt x="594" y="626"/>
                  </a:lnTo>
                  <a:lnTo>
                    <a:pt x="595" y="624"/>
                  </a:lnTo>
                  <a:lnTo>
                    <a:pt x="595" y="618"/>
                  </a:lnTo>
                  <a:lnTo>
                    <a:pt x="597" y="614"/>
                  </a:lnTo>
                  <a:lnTo>
                    <a:pt x="612" y="602"/>
                  </a:lnTo>
                  <a:lnTo>
                    <a:pt x="612" y="599"/>
                  </a:lnTo>
                  <a:lnTo>
                    <a:pt x="611" y="598"/>
                  </a:lnTo>
                  <a:lnTo>
                    <a:pt x="602" y="595"/>
                  </a:lnTo>
                  <a:lnTo>
                    <a:pt x="601" y="595"/>
                  </a:lnTo>
                  <a:lnTo>
                    <a:pt x="600" y="585"/>
                  </a:lnTo>
                  <a:lnTo>
                    <a:pt x="594" y="581"/>
                  </a:lnTo>
                  <a:lnTo>
                    <a:pt x="592" y="577"/>
                  </a:lnTo>
                  <a:lnTo>
                    <a:pt x="594" y="576"/>
                  </a:lnTo>
                  <a:lnTo>
                    <a:pt x="605" y="572"/>
                  </a:lnTo>
                  <a:lnTo>
                    <a:pt x="606" y="565"/>
                  </a:lnTo>
                  <a:lnTo>
                    <a:pt x="613" y="564"/>
                  </a:lnTo>
                  <a:lnTo>
                    <a:pt x="613" y="554"/>
                  </a:lnTo>
                  <a:lnTo>
                    <a:pt x="615" y="550"/>
                  </a:lnTo>
                  <a:lnTo>
                    <a:pt x="625" y="549"/>
                  </a:lnTo>
                  <a:lnTo>
                    <a:pt x="626" y="543"/>
                  </a:lnTo>
                  <a:lnTo>
                    <a:pt x="625" y="540"/>
                  </a:lnTo>
                  <a:lnTo>
                    <a:pt x="626" y="532"/>
                  </a:lnTo>
                  <a:lnTo>
                    <a:pt x="625" y="524"/>
                  </a:lnTo>
                  <a:lnTo>
                    <a:pt x="626" y="520"/>
                  </a:lnTo>
                  <a:lnTo>
                    <a:pt x="633" y="516"/>
                  </a:lnTo>
                  <a:lnTo>
                    <a:pt x="633" y="514"/>
                  </a:lnTo>
                  <a:lnTo>
                    <a:pt x="637" y="514"/>
                  </a:lnTo>
                  <a:lnTo>
                    <a:pt x="638" y="510"/>
                  </a:lnTo>
                  <a:lnTo>
                    <a:pt x="645" y="510"/>
                  </a:lnTo>
                  <a:lnTo>
                    <a:pt x="647" y="506"/>
                  </a:lnTo>
                  <a:lnTo>
                    <a:pt x="662" y="497"/>
                  </a:lnTo>
                  <a:lnTo>
                    <a:pt x="666" y="493"/>
                  </a:lnTo>
                  <a:lnTo>
                    <a:pt x="672" y="487"/>
                  </a:lnTo>
                  <a:lnTo>
                    <a:pt x="675" y="487"/>
                  </a:lnTo>
                  <a:lnTo>
                    <a:pt x="673" y="486"/>
                  </a:lnTo>
                  <a:lnTo>
                    <a:pt x="679" y="483"/>
                  </a:lnTo>
                  <a:lnTo>
                    <a:pt x="680" y="483"/>
                  </a:lnTo>
                  <a:lnTo>
                    <a:pt x="684" y="479"/>
                  </a:lnTo>
                  <a:lnTo>
                    <a:pt x="687" y="475"/>
                  </a:lnTo>
                  <a:lnTo>
                    <a:pt x="686" y="472"/>
                  </a:lnTo>
                  <a:lnTo>
                    <a:pt x="681" y="465"/>
                  </a:lnTo>
                  <a:lnTo>
                    <a:pt x="683" y="461"/>
                  </a:lnTo>
                  <a:lnTo>
                    <a:pt x="691" y="449"/>
                  </a:lnTo>
                  <a:lnTo>
                    <a:pt x="692" y="438"/>
                  </a:lnTo>
                  <a:lnTo>
                    <a:pt x="700" y="427"/>
                  </a:lnTo>
                  <a:lnTo>
                    <a:pt x="700" y="423"/>
                  </a:lnTo>
                  <a:lnTo>
                    <a:pt x="704" y="412"/>
                  </a:lnTo>
                  <a:lnTo>
                    <a:pt x="706" y="408"/>
                  </a:lnTo>
                  <a:lnTo>
                    <a:pt x="712" y="399"/>
                  </a:lnTo>
                  <a:lnTo>
                    <a:pt x="717" y="393"/>
                  </a:lnTo>
                  <a:lnTo>
                    <a:pt x="727" y="388"/>
                  </a:lnTo>
                  <a:lnTo>
                    <a:pt x="731" y="382"/>
                  </a:lnTo>
                  <a:lnTo>
                    <a:pt x="736" y="378"/>
                  </a:lnTo>
                  <a:lnTo>
                    <a:pt x="738" y="375"/>
                  </a:lnTo>
                  <a:lnTo>
                    <a:pt x="741" y="362"/>
                  </a:lnTo>
                  <a:lnTo>
                    <a:pt x="737" y="356"/>
                  </a:lnTo>
                  <a:lnTo>
                    <a:pt x="741" y="348"/>
                  </a:lnTo>
                  <a:lnTo>
                    <a:pt x="742" y="341"/>
                  </a:lnTo>
                  <a:lnTo>
                    <a:pt x="741" y="333"/>
                  </a:lnTo>
                  <a:lnTo>
                    <a:pt x="742" y="332"/>
                  </a:lnTo>
                  <a:lnTo>
                    <a:pt x="747" y="321"/>
                  </a:lnTo>
                  <a:lnTo>
                    <a:pt x="747" y="315"/>
                  </a:lnTo>
                  <a:lnTo>
                    <a:pt x="748" y="307"/>
                  </a:lnTo>
                  <a:lnTo>
                    <a:pt x="752" y="303"/>
                  </a:lnTo>
                  <a:lnTo>
                    <a:pt x="752" y="295"/>
                  </a:lnTo>
                  <a:lnTo>
                    <a:pt x="761" y="288"/>
                  </a:lnTo>
                  <a:lnTo>
                    <a:pt x="759" y="283"/>
                  </a:lnTo>
                  <a:lnTo>
                    <a:pt x="763" y="276"/>
                  </a:lnTo>
                  <a:lnTo>
                    <a:pt x="767" y="274"/>
                  </a:lnTo>
                  <a:lnTo>
                    <a:pt x="769" y="274"/>
                  </a:lnTo>
                  <a:lnTo>
                    <a:pt x="769" y="270"/>
                  </a:lnTo>
                  <a:lnTo>
                    <a:pt x="767" y="266"/>
                  </a:lnTo>
                  <a:lnTo>
                    <a:pt x="772" y="258"/>
                  </a:lnTo>
                  <a:lnTo>
                    <a:pt x="780" y="251"/>
                  </a:lnTo>
                  <a:lnTo>
                    <a:pt x="780" y="254"/>
                  </a:lnTo>
                  <a:lnTo>
                    <a:pt x="780" y="250"/>
                  </a:lnTo>
                  <a:lnTo>
                    <a:pt x="781" y="247"/>
                  </a:lnTo>
                  <a:lnTo>
                    <a:pt x="786" y="247"/>
                  </a:lnTo>
                  <a:lnTo>
                    <a:pt x="793" y="247"/>
                  </a:lnTo>
                  <a:lnTo>
                    <a:pt x="795" y="247"/>
                  </a:lnTo>
                  <a:lnTo>
                    <a:pt x="801" y="247"/>
                  </a:lnTo>
                  <a:lnTo>
                    <a:pt x="809" y="242"/>
                  </a:lnTo>
                  <a:lnTo>
                    <a:pt x="812" y="228"/>
                  </a:lnTo>
                  <a:lnTo>
                    <a:pt x="818" y="224"/>
                  </a:lnTo>
                  <a:lnTo>
                    <a:pt x="826" y="221"/>
                  </a:lnTo>
                  <a:lnTo>
                    <a:pt x="827" y="217"/>
                  </a:lnTo>
                  <a:lnTo>
                    <a:pt x="827" y="212"/>
                  </a:lnTo>
                  <a:lnTo>
                    <a:pt x="825" y="207"/>
                  </a:lnTo>
                  <a:lnTo>
                    <a:pt x="825" y="201"/>
                  </a:lnTo>
                  <a:lnTo>
                    <a:pt x="833" y="195"/>
                  </a:lnTo>
                  <a:lnTo>
                    <a:pt x="839" y="189"/>
                  </a:lnTo>
                  <a:lnTo>
                    <a:pt x="848" y="184"/>
                  </a:lnTo>
                  <a:lnTo>
                    <a:pt x="851" y="175"/>
                  </a:lnTo>
                  <a:lnTo>
                    <a:pt x="855" y="172"/>
                  </a:lnTo>
                  <a:lnTo>
                    <a:pt x="857" y="171"/>
                  </a:lnTo>
                  <a:lnTo>
                    <a:pt x="860" y="162"/>
                  </a:lnTo>
                  <a:lnTo>
                    <a:pt x="868" y="160"/>
                  </a:lnTo>
                  <a:lnTo>
                    <a:pt x="869" y="157"/>
                  </a:lnTo>
                  <a:lnTo>
                    <a:pt x="866" y="152"/>
                  </a:lnTo>
                  <a:lnTo>
                    <a:pt x="861" y="146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58" y="120"/>
                  </a:lnTo>
                  <a:lnTo>
                    <a:pt x="858" y="113"/>
                  </a:lnTo>
                  <a:lnTo>
                    <a:pt x="860" y="112"/>
                  </a:lnTo>
                  <a:lnTo>
                    <a:pt x="868" y="112"/>
                  </a:lnTo>
                  <a:lnTo>
                    <a:pt x="876" y="105"/>
                  </a:lnTo>
                  <a:lnTo>
                    <a:pt x="877" y="101"/>
                  </a:lnTo>
                  <a:lnTo>
                    <a:pt x="885" y="90"/>
                  </a:lnTo>
                  <a:lnTo>
                    <a:pt x="886" y="79"/>
                  </a:lnTo>
                  <a:lnTo>
                    <a:pt x="887" y="77"/>
                  </a:lnTo>
                  <a:lnTo>
                    <a:pt x="893" y="73"/>
                  </a:lnTo>
                  <a:lnTo>
                    <a:pt x="901" y="75"/>
                  </a:lnTo>
                  <a:lnTo>
                    <a:pt x="912" y="71"/>
                  </a:lnTo>
                  <a:lnTo>
                    <a:pt x="919" y="56"/>
                  </a:lnTo>
                  <a:lnTo>
                    <a:pt x="925" y="48"/>
                  </a:lnTo>
                  <a:lnTo>
                    <a:pt x="930" y="46"/>
                  </a:lnTo>
                  <a:lnTo>
                    <a:pt x="944" y="42"/>
                  </a:lnTo>
                  <a:lnTo>
                    <a:pt x="952" y="34"/>
                  </a:lnTo>
                  <a:lnTo>
                    <a:pt x="957" y="30"/>
                  </a:lnTo>
                  <a:lnTo>
                    <a:pt x="961" y="30"/>
                  </a:lnTo>
                  <a:lnTo>
                    <a:pt x="968" y="34"/>
                  </a:lnTo>
                  <a:lnTo>
                    <a:pt x="974" y="30"/>
                  </a:lnTo>
                  <a:lnTo>
                    <a:pt x="982" y="29"/>
                  </a:lnTo>
                  <a:lnTo>
                    <a:pt x="991" y="33"/>
                  </a:lnTo>
                  <a:lnTo>
                    <a:pt x="994" y="34"/>
                  </a:lnTo>
                  <a:lnTo>
                    <a:pt x="1004" y="34"/>
                  </a:lnTo>
                  <a:lnTo>
                    <a:pt x="1012" y="37"/>
                  </a:lnTo>
                  <a:lnTo>
                    <a:pt x="1018" y="34"/>
                  </a:lnTo>
                  <a:lnTo>
                    <a:pt x="1021" y="34"/>
                  </a:lnTo>
                  <a:lnTo>
                    <a:pt x="1027" y="34"/>
                  </a:lnTo>
                  <a:lnTo>
                    <a:pt x="1030" y="30"/>
                  </a:lnTo>
                  <a:lnTo>
                    <a:pt x="1040" y="29"/>
                  </a:lnTo>
                  <a:lnTo>
                    <a:pt x="1053" y="26"/>
                  </a:lnTo>
                  <a:lnTo>
                    <a:pt x="1061" y="30"/>
                  </a:lnTo>
                  <a:lnTo>
                    <a:pt x="1069" y="26"/>
                  </a:lnTo>
                  <a:lnTo>
                    <a:pt x="1074" y="29"/>
                  </a:lnTo>
                  <a:lnTo>
                    <a:pt x="1078" y="34"/>
                  </a:lnTo>
                  <a:lnTo>
                    <a:pt x="1083" y="37"/>
                  </a:lnTo>
                  <a:lnTo>
                    <a:pt x="1087" y="33"/>
                  </a:lnTo>
                  <a:lnTo>
                    <a:pt x="1089" y="29"/>
                  </a:lnTo>
                  <a:lnTo>
                    <a:pt x="1092" y="26"/>
                  </a:lnTo>
                  <a:lnTo>
                    <a:pt x="1093" y="15"/>
                  </a:lnTo>
                  <a:lnTo>
                    <a:pt x="1103" y="10"/>
                  </a:lnTo>
                  <a:lnTo>
                    <a:pt x="1109" y="8"/>
                  </a:lnTo>
                  <a:lnTo>
                    <a:pt x="1112" y="10"/>
                  </a:lnTo>
                  <a:lnTo>
                    <a:pt x="1125" y="6"/>
                  </a:lnTo>
                  <a:lnTo>
                    <a:pt x="1129" y="6"/>
                  </a:lnTo>
                  <a:lnTo>
                    <a:pt x="1135" y="6"/>
                  </a:lnTo>
                  <a:lnTo>
                    <a:pt x="1146" y="0"/>
                  </a:lnTo>
                  <a:lnTo>
                    <a:pt x="1156" y="8"/>
                  </a:lnTo>
                  <a:lnTo>
                    <a:pt x="1164" y="14"/>
                  </a:lnTo>
                  <a:lnTo>
                    <a:pt x="1184" y="46"/>
                  </a:lnTo>
                  <a:lnTo>
                    <a:pt x="1190" y="60"/>
                  </a:lnTo>
                  <a:lnTo>
                    <a:pt x="1197" y="70"/>
                  </a:lnTo>
                  <a:lnTo>
                    <a:pt x="1210" y="77"/>
                  </a:lnTo>
                  <a:lnTo>
                    <a:pt x="1220" y="85"/>
                  </a:lnTo>
                  <a:lnTo>
                    <a:pt x="1229" y="97"/>
                  </a:lnTo>
                  <a:lnTo>
                    <a:pt x="1234" y="108"/>
                  </a:lnTo>
                  <a:lnTo>
                    <a:pt x="1240" y="113"/>
                  </a:lnTo>
                  <a:lnTo>
                    <a:pt x="1242" y="118"/>
                  </a:lnTo>
                  <a:lnTo>
                    <a:pt x="1246" y="122"/>
                  </a:lnTo>
                  <a:lnTo>
                    <a:pt x="1263" y="134"/>
                  </a:lnTo>
                  <a:lnTo>
                    <a:pt x="1271" y="145"/>
                  </a:lnTo>
                  <a:lnTo>
                    <a:pt x="1278" y="150"/>
                  </a:lnTo>
                  <a:lnTo>
                    <a:pt x="1285" y="150"/>
                  </a:lnTo>
                  <a:lnTo>
                    <a:pt x="1303" y="149"/>
                  </a:lnTo>
                  <a:lnTo>
                    <a:pt x="1311" y="150"/>
                  </a:lnTo>
                  <a:lnTo>
                    <a:pt x="1313" y="154"/>
                  </a:lnTo>
                  <a:lnTo>
                    <a:pt x="1310" y="169"/>
                  </a:lnTo>
                  <a:lnTo>
                    <a:pt x="1310" y="172"/>
                  </a:lnTo>
                  <a:lnTo>
                    <a:pt x="1315" y="179"/>
                  </a:lnTo>
                  <a:lnTo>
                    <a:pt x="1321" y="183"/>
                  </a:lnTo>
                  <a:lnTo>
                    <a:pt x="1328" y="184"/>
                  </a:lnTo>
                  <a:lnTo>
                    <a:pt x="1352" y="184"/>
                  </a:lnTo>
                  <a:lnTo>
                    <a:pt x="1364" y="176"/>
                  </a:lnTo>
                  <a:lnTo>
                    <a:pt x="1368" y="175"/>
                  </a:lnTo>
                  <a:lnTo>
                    <a:pt x="1381" y="184"/>
                  </a:lnTo>
                  <a:lnTo>
                    <a:pt x="1385" y="187"/>
                  </a:lnTo>
                  <a:lnTo>
                    <a:pt x="1406" y="187"/>
                  </a:lnTo>
                  <a:lnTo>
                    <a:pt x="1417" y="191"/>
                  </a:lnTo>
                  <a:lnTo>
                    <a:pt x="1424" y="202"/>
                  </a:lnTo>
                  <a:lnTo>
                    <a:pt x="1436" y="216"/>
                  </a:lnTo>
                  <a:lnTo>
                    <a:pt x="1452" y="239"/>
                  </a:lnTo>
                  <a:lnTo>
                    <a:pt x="1463" y="251"/>
                  </a:lnTo>
                  <a:lnTo>
                    <a:pt x="1477" y="258"/>
                  </a:lnTo>
                  <a:lnTo>
                    <a:pt x="1483" y="262"/>
                  </a:lnTo>
                  <a:lnTo>
                    <a:pt x="1516" y="262"/>
                  </a:lnTo>
                  <a:lnTo>
                    <a:pt x="1520" y="261"/>
                  </a:lnTo>
                  <a:lnTo>
                    <a:pt x="1523" y="254"/>
                  </a:lnTo>
                  <a:lnTo>
                    <a:pt x="1538" y="250"/>
                  </a:lnTo>
                  <a:lnTo>
                    <a:pt x="1544" y="251"/>
                  </a:lnTo>
                  <a:lnTo>
                    <a:pt x="1552" y="258"/>
                  </a:lnTo>
                  <a:lnTo>
                    <a:pt x="1573" y="261"/>
                  </a:lnTo>
                  <a:lnTo>
                    <a:pt x="1594" y="278"/>
                  </a:lnTo>
                  <a:lnTo>
                    <a:pt x="1602" y="281"/>
                  </a:lnTo>
                  <a:lnTo>
                    <a:pt x="1617" y="281"/>
                  </a:lnTo>
                  <a:lnTo>
                    <a:pt x="1671" y="270"/>
                  </a:lnTo>
                  <a:lnTo>
                    <a:pt x="1677" y="270"/>
                  </a:lnTo>
                  <a:lnTo>
                    <a:pt x="1683" y="270"/>
                  </a:lnTo>
                  <a:lnTo>
                    <a:pt x="1690" y="276"/>
                  </a:lnTo>
                  <a:lnTo>
                    <a:pt x="1698" y="284"/>
                  </a:lnTo>
                  <a:lnTo>
                    <a:pt x="1706" y="288"/>
                  </a:lnTo>
                  <a:lnTo>
                    <a:pt x="1708" y="299"/>
                  </a:lnTo>
                  <a:lnTo>
                    <a:pt x="1706" y="307"/>
                  </a:lnTo>
                  <a:lnTo>
                    <a:pt x="1709" y="313"/>
                  </a:lnTo>
                  <a:lnTo>
                    <a:pt x="1713" y="315"/>
                  </a:lnTo>
                  <a:lnTo>
                    <a:pt x="1721" y="313"/>
                  </a:lnTo>
                  <a:lnTo>
                    <a:pt x="1730" y="313"/>
                  </a:lnTo>
                  <a:lnTo>
                    <a:pt x="1745" y="326"/>
                  </a:lnTo>
                  <a:lnTo>
                    <a:pt x="1748" y="329"/>
                  </a:lnTo>
                  <a:lnTo>
                    <a:pt x="1743" y="341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44" name="Freeform 143"/>
            <p:cNvSpPr>
              <a:spLocks/>
            </p:cNvSpPr>
            <p:nvPr/>
          </p:nvSpPr>
          <p:spPr bwMode="auto">
            <a:xfrm>
              <a:off x="609041" y="2338364"/>
              <a:ext cx="821183" cy="803425"/>
            </a:xfrm>
            <a:custGeom>
              <a:avLst/>
              <a:gdLst>
                <a:gd name="T0" fmla="*/ 4106 w 4119"/>
                <a:gd name="T1" fmla="*/ 2864 h 2977"/>
                <a:gd name="T2" fmla="*/ 4019 w 4119"/>
                <a:gd name="T3" fmla="*/ 2963 h 2977"/>
                <a:gd name="T4" fmla="*/ 3846 w 4119"/>
                <a:gd name="T5" fmla="*/ 2712 h 2977"/>
                <a:gd name="T6" fmla="*/ 3726 w 4119"/>
                <a:gd name="T7" fmla="*/ 2432 h 2977"/>
                <a:gd name="T8" fmla="*/ 3471 w 4119"/>
                <a:gd name="T9" fmla="*/ 2248 h 2977"/>
                <a:gd name="T10" fmla="*/ 3107 w 4119"/>
                <a:gd name="T11" fmla="*/ 2106 h 2977"/>
                <a:gd name="T12" fmla="*/ 2838 w 4119"/>
                <a:gd name="T13" fmla="*/ 1932 h 2977"/>
                <a:gd name="T14" fmla="*/ 2638 w 4119"/>
                <a:gd name="T15" fmla="*/ 1993 h 2977"/>
                <a:gd name="T16" fmla="*/ 2535 w 4119"/>
                <a:gd name="T17" fmla="*/ 2164 h 2977"/>
                <a:gd name="T18" fmla="*/ 2443 w 4119"/>
                <a:gd name="T19" fmla="*/ 2315 h 2977"/>
                <a:gd name="T20" fmla="*/ 2341 w 4119"/>
                <a:gd name="T21" fmla="*/ 2472 h 2977"/>
                <a:gd name="T22" fmla="*/ 2292 w 4119"/>
                <a:gd name="T23" fmla="*/ 2621 h 2977"/>
                <a:gd name="T24" fmla="*/ 2213 w 4119"/>
                <a:gd name="T25" fmla="*/ 2218 h 2977"/>
                <a:gd name="T26" fmla="*/ 1482 w 4119"/>
                <a:gd name="T27" fmla="*/ 1964 h 2977"/>
                <a:gd name="T28" fmla="*/ 1125 w 4119"/>
                <a:gd name="T29" fmla="*/ 1764 h 2977"/>
                <a:gd name="T30" fmla="*/ 686 w 4119"/>
                <a:gd name="T31" fmla="*/ 1622 h 2977"/>
                <a:gd name="T32" fmla="*/ 141 w 4119"/>
                <a:gd name="T33" fmla="*/ 1273 h 2977"/>
                <a:gd name="T34" fmla="*/ 135 w 4119"/>
                <a:gd name="T35" fmla="*/ 1210 h 2977"/>
                <a:gd name="T36" fmla="*/ 131 w 4119"/>
                <a:gd name="T37" fmla="*/ 1143 h 2977"/>
                <a:gd name="T38" fmla="*/ 120 w 4119"/>
                <a:gd name="T39" fmla="*/ 1072 h 2977"/>
                <a:gd name="T40" fmla="*/ 73 w 4119"/>
                <a:gd name="T41" fmla="*/ 1024 h 2977"/>
                <a:gd name="T42" fmla="*/ 30 w 4119"/>
                <a:gd name="T43" fmla="*/ 980 h 2977"/>
                <a:gd name="T44" fmla="*/ 10 w 4119"/>
                <a:gd name="T45" fmla="*/ 918 h 2977"/>
                <a:gd name="T46" fmla="*/ 5 w 4119"/>
                <a:gd name="T47" fmla="*/ 850 h 2977"/>
                <a:gd name="T48" fmla="*/ 18 w 4119"/>
                <a:gd name="T49" fmla="*/ 798 h 2977"/>
                <a:gd name="T50" fmla="*/ 80 w 4119"/>
                <a:gd name="T51" fmla="*/ 783 h 2977"/>
                <a:gd name="T52" fmla="*/ 146 w 4119"/>
                <a:gd name="T53" fmla="*/ 762 h 2977"/>
                <a:gd name="T54" fmla="*/ 205 w 4119"/>
                <a:gd name="T55" fmla="*/ 734 h 2977"/>
                <a:gd name="T56" fmla="*/ 266 w 4119"/>
                <a:gd name="T57" fmla="*/ 708 h 2977"/>
                <a:gd name="T58" fmla="*/ 330 w 4119"/>
                <a:gd name="T59" fmla="*/ 684 h 2977"/>
                <a:gd name="T60" fmla="*/ 394 w 4119"/>
                <a:gd name="T61" fmla="*/ 662 h 2977"/>
                <a:gd name="T62" fmla="*/ 454 w 4119"/>
                <a:gd name="T63" fmla="*/ 637 h 2977"/>
                <a:gd name="T64" fmla="*/ 520 w 4119"/>
                <a:gd name="T65" fmla="*/ 620 h 2977"/>
                <a:gd name="T66" fmla="*/ 591 w 4119"/>
                <a:gd name="T67" fmla="*/ 604 h 2977"/>
                <a:gd name="T68" fmla="*/ 660 w 4119"/>
                <a:gd name="T69" fmla="*/ 587 h 2977"/>
                <a:gd name="T70" fmla="*/ 722 w 4119"/>
                <a:gd name="T71" fmla="*/ 570 h 2977"/>
                <a:gd name="T72" fmla="*/ 789 w 4119"/>
                <a:gd name="T73" fmla="*/ 547 h 2977"/>
                <a:gd name="T74" fmla="*/ 860 w 4119"/>
                <a:gd name="T75" fmla="*/ 530 h 2977"/>
                <a:gd name="T76" fmla="*/ 921 w 4119"/>
                <a:gd name="T77" fmla="*/ 517 h 2977"/>
                <a:gd name="T78" fmla="*/ 975 w 4119"/>
                <a:gd name="T79" fmla="*/ 506 h 2977"/>
                <a:gd name="T80" fmla="*/ 1034 w 4119"/>
                <a:gd name="T81" fmla="*/ 488 h 2977"/>
                <a:gd name="T82" fmla="*/ 1093 w 4119"/>
                <a:gd name="T83" fmla="*/ 455 h 2977"/>
                <a:gd name="T84" fmla="*/ 1159 w 4119"/>
                <a:gd name="T85" fmla="*/ 419 h 2977"/>
                <a:gd name="T86" fmla="*/ 1230 w 4119"/>
                <a:gd name="T87" fmla="*/ 401 h 2977"/>
                <a:gd name="T88" fmla="*/ 1292 w 4119"/>
                <a:gd name="T89" fmla="*/ 382 h 2977"/>
                <a:gd name="T90" fmla="*/ 1355 w 4119"/>
                <a:gd name="T91" fmla="*/ 351 h 2977"/>
                <a:gd name="T92" fmla="*/ 1413 w 4119"/>
                <a:gd name="T93" fmla="*/ 329 h 2977"/>
                <a:gd name="T94" fmla="*/ 1482 w 4119"/>
                <a:gd name="T95" fmla="*/ 312 h 2977"/>
                <a:gd name="T96" fmla="*/ 1540 w 4119"/>
                <a:gd name="T97" fmla="*/ 290 h 2977"/>
                <a:gd name="T98" fmla="*/ 1608 w 4119"/>
                <a:gd name="T99" fmla="*/ 268 h 2977"/>
                <a:gd name="T100" fmla="*/ 2463 w 4119"/>
                <a:gd name="T101" fmla="*/ 22 h 2977"/>
                <a:gd name="T102" fmla="*/ 2659 w 4119"/>
                <a:gd name="T103" fmla="*/ 339 h 2977"/>
                <a:gd name="T104" fmla="*/ 2925 w 4119"/>
                <a:gd name="T105" fmla="*/ 413 h 2977"/>
                <a:gd name="T106" fmla="*/ 3354 w 4119"/>
                <a:gd name="T107" fmla="*/ 327 h 2977"/>
                <a:gd name="T108" fmla="*/ 3502 w 4119"/>
                <a:gd name="T109" fmla="*/ 707 h 2977"/>
                <a:gd name="T110" fmla="*/ 3524 w 4119"/>
                <a:gd name="T111" fmla="*/ 998 h 2977"/>
                <a:gd name="T112" fmla="*/ 3378 w 4119"/>
                <a:gd name="T113" fmla="*/ 1344 h 2977"/>
                <a:gd name="T114" fmla="*/ 3343 w 4119"/>
                <a:gd name="T115" fmla="*/ 1621 h 2977"/>
                <a:gd name="T116" fmla="*/ 3539 w 4119"/>
                <a:gd name="T117" fmla="*/ 1951 h 2977"/>
                <a:gd name="T118" fmla="*/ 3862 w 4119"/>
                <a:gd name="T119" fmla="*/ 2259 h 2977"/>
                <a:gd name="T120" fmla="*/ 3926 w 4119"/>
                <a:gd name="T121" fmla="*/ 2484 h 2977"/>
                <a:gd name="T122" fmla="*/ 4093 w 4119"/>
                <a:gd name="T123" fmla="*/ 2583 h 297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119"/>
                <a:gd name="T187" fmla="*/ 0 h 2977"/>
                <a:gd name="T188" fmla="*/ 4119 w 4119"/>
                <a:gd name="T189" fmla="*/ 2977 h 297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119" h="2977">
                  <a:moveTo>
                    <a:pt x="4115" y="2711"/>
                  </a:moveTo>
                  <a:lnTo>
                    <a:pt x="4108" y="2712"/>
                  </a:lnTo>
                  <a:lnTo>
                    <a:pt x="4101" y="2716"/>
                  </a:lnTo>
                  <a:lnTo>
                    <a:pt x="4098" y="2727"/>
                  </a:lnTo>
                  <a:lnTo>
                    <a:pt x="4094" y="2731"/>
                  </a:lnTo>
                  <a:lnTo>
                    <a:pt x="4095" y="2731"/>
                  </a:lnTo>
                  <a:lnTo>
                    <a:pt x="4098" y="2731"/>
                  </a:lnTo>
                  <a:lnTo>
                    <a:pt x="4100" y="2733"/>
                  </a:lnTo>
                  <a:lnTo>
                    <a:pt x="4097" y="2745"/>
                  </a:lnTo>
                  <a:lnTo>
                    <a:pt x="4098" y="2749"/>
                  </a:lnTo>
                  <a:lnTo>
                    <a:pt x="4101" y="2752"/>
                  </a:lnTo>
                  <a:lnTo>
                    <a:pt x="4108" y="2752"/>
                  </a:lnTo>
                  <a:lnTo>
                    <a:pt x="4112" y="2760"/>
                  </a:lnTo>
                  <a:lnTo>
                    <a:pt x="4115" y="2760"/>
                  </a:lnTo>
                  <a:lnTo>
                    <a:pt x="4118" y="2757"/>
                  </a:lnTo>
                  <a:lnTo>
                    <a:pt x="4119" y="2760"/>
                  </a:lnTo>
                  <a:lnTo>
                    <a:pt x="4115" y="2772"/>
                  </a:lnTo>
                  <a:lnTo>
                    <a:pt x="4109" y="2775"/>
                  </a:lnTo>
                  <a:lnTo>
                    <a:pt x="4114" y="2780"/>
                  </a:lnTo>
                  <a:lnTo>
                    <a:pt x="4114" y="2784"/>
                  </a:lnTo>
                  <a:lnTo>
                    <a:pt x="4109" y="2794"/>
                  </a:lnTo>
                  <a:lnTo>
                    <a:pt x="4109" y="2802"/>
                  </a:lnTo>
                  <a:lnTo>
                    <a:pt x="4112" y="2805"/>
                  </a:lnTo>
                  <a:lnTo>
                    <a:pt x="4119" y="2810"/>
                  </a:lnTo>
                  <a:lnTo>
                    <a:pt x="4119" y="2817"/>
                  </a:lnTo>
                  <a:lnTo>
                    <a:pt x="4112" y="2829"/>
                  </a:lnTo>
                  <a:lnTo>
                    <a:pt x="4111" y="2837"/>
                  </a:lnTo>
                  <a:lnTo>
                    <a:pt x="4108" y="2843"/>
                  </a:lnTo>
                  <a:lnTo>
                    <a:pt x="4106" y="2851"/>
                  </a:lnTo>
                  <a:lnTo>
                    <a:pt x="4104" y="2857"/>
                  </a:lnTo>
                  <a:lnTo>
                    <a:pt x="4104" y="2861"/>
                  </a:lnTo>
                  <a:lnTo>
                    <a:pt x="4106" y="2864"/>
                  </a:lnTo>
                  <a:lnTo>
                    <a:pt x="4109" y="2869"/>
                  </a:lnTo>
                  <a:lnTo>
                    <a:pt x="4106" y="2873"/>
                  </a:lnTo>
                  <a:lnTo>
                    <a:pt x="4098" y="2886"/>
                  </a:lnTo>
                  <a:lnTo>
                    <a:pt x="4098" y="2892"/>
                  </a:lnTo>
                  <a:lnTo>
                    <a:pt x="4101" y="2896"/>
                  </a:lnTo>
                  <a:lnTo>
                    <a:pt x="4105" y="2899"/>
                  </a:lnTo>
                  <a:lnTo>
                    <a:pt x="4105" y="2902"/>
                  </a:lnTo>
                  <a:lnTo>
                    <a:pt x="4104" y="2906"/>
                  </a:lnTo>
                  <a:lnTo>
                    <a:pt x="4098" y="2910"/>
                  </a:lnTo>
                  <a:lnTo>
                    <a:pt x="4098" y="2914"/>
                  </a:lnTo>
                  <a:lnTo>
                    <a:pt x="4105" y="2931"/>
                  </a:lnTo>
                  <a:lnTo>
                    <a:pt x="4108" y="2940"/>
                  </a:lnTo>
                  <a:lnTo>
                    <a:pt x="4112" y="2947"/>
                  </a:lnTo>
                  <a:lnTo>
                    <a:pt x="4114" y="2956"/>
                  </a:lnTo>
                  <a:lnTo>
                    <a:pt x="4112" y="2959"/>
                  </a:lnTo>
                  <a:lnTo>
                    <a:pt x="4108" y="2963"/>
                  </a:lnTo>
                  <a:lnTo>
                    <a:pt x="4104" y="2963"/>
                  </a:lnTo>
                  <a:lnTo>
                    <a:pt x="4097" y="2961"/>
                  </a:lnTo>
                  <a:lnTo>
                    <a:pt x="4094" y="2963"/>
                  </a:lnTo>
                  <a:lnTo>
                    <a:pt x="4094" y="2969"/>
                  </a:lnTo>
                  <a:lnTo>
                    <a:pt x="4097" y="2971"/>
                  </a:lnTo>
                  <a:lnTo>
                    <a:pt x="4101" y="2973"/>
                  </a:lnTo>
                  <a:lnTo>
                    <a:pt x="4095" y="2977"/>
                  </a:lnTo>
                  <a:lnTo>
                    <a:pt x="4078" y="2975"/>
                  </a:lnTo>
                  <a:lnTo>
                    <a:pt x="4070" y="2973"/>
                  </a:lnTo>
                  <a:lnTo>
                    <a:pt x="4059" y="2965"/>
                  </a:lnTo>
                  <a:lnTo>
                    <a:pt x="4054" y="2963"/>
                  </a:lnTo>
                  <a:lnTo>
                    <a:pt x="4048" y="2961"/>
                  </a:lnTo>
                  <a:lnTo>
                    <a:pt x="4041" y="2963"/>
                  </a:lnTo>
                  <a:lnTo>
                    <a:pt x="4036" y="2969"/>
                  </a:lnTo>
                  <a:lnTo>
                    <a:pt x="4031" y="2969"/>
                  </a:lnTo>
                  <a:lnTo>
                    <a:pt x="4019" y="2963"/>
                  </a:lnTo>
                  <a:lnTo>
                    <a:pt x="4009" y="2959"/>
                  </a:lnTo>
                  <a:lnTo>
                    <a:pt x="3986" y="2940"/>
                  </a:lnTo>
                  <a:lnTo>
                    <a:pt x="3984" y="2930"/>
                  </a:lnTo>
                  <a:lnTo>
                    <a:pt x="3990" y="2918"/>
                  </a:lnTo>
                  <a:lnTo>
                    <a:pt x="3990" y="2914"/>
                  </a:lnTo>
                  <a:lnTo>
                    <a:pt x="3989" y="2909"/>
                  </a:lnTo>
                  <a:lnTo>
                    <a:pt x="3981" y="2904"/>
                  </a:lnTo>
                  <a:lnTo>
                    <a:pt x="3975" y="2899"/>
                  </a:lnTo>
                  <a:lnTo>
                    <a:pt x="3970" y="2896"/>
                  </a:lnTo>
                  <a:lnTo>
                    <a:pt x="3968" y="2890"/>
                  </a:lnTo>
                  <a:lnTo>
                    <a:pt x="3962" y="2872"/>
                  </a:lnTo>
                  <a:lnTo>
                    <a:pt x="3961" y="2869"/>
                  </a:lnTo>
                  <a:lnTo>
                    <a:pt x="3958" y="2865"/>
                  </a:lnTo>
                  <a:lnTo>
                    <a:pt x="3939" y="2860"/>
                  </a:lnTo>
                  <a:lnTo>
                    <a:pt x="3934" y="2857"/>
                  </a:lnTo>
                  <a:lnTo>
                    <a:pt x="3925" y="2843"/>
                  </a:lnTo>
                  <a:lnTo>
                    <a:pt x="3922" y="2835"/>
                  </a:lnTo>
                  <a:lnTo>
                    <a:pt x="3925" y="2829"/>
                  </a:lnTo>
                  <a:lnTo>
                    <a:pt x="3926" y="2823"/>
                  </a:lnTo>
                  <a:lnTo>
                    <a:pt x="3922" y="2814"/>
                  </a:lnTo>
                  <a:lnTo>
                    <a:pt x="3918" y="2806"/>
                  </a:lnTo>
                  <a:lnTo>
                    <a:pt x="3901" y="2792"/>
                  </a:lnTo>
                  <a:lnTo>
                    <a:pt x="3898" y="2787"/>
                  </a:lnTo>
                  <a:lnTo>
                    <a:pt x="3893" y="2780"/>
                  </a:lnTo>
                  <a:lnTo>
                    <a:pt x="3891" y="2756"/>
                  </a:lnTo>
                  <a:lnTo>
                    <a:pt x="3890" y="2752"/>
                  </a:lnTo>
                  <a:lnTo>
                    <a:pt x="3884" y="2743"/>
                  </a:lnTo>
                  <a:lnTo>
                    <a:pt x="3877" y="2727"/>
                  </a:lnTo>
                  <a:lnTo>
                    <a:pt x="3872" y="2722"/>
                  </a:lnTo>
                  <a:lnTo>
                    <a:pt x="3856" y="2720"/>
                  </a:lnTo>
                  <a:lnTo>
                    <a:pt x="3852" y="2719"/>
                  </a:lnTo>
                  <a:lnTo>
                    <a:pt x="3846" y="2712"/>
                  </a:lnTo>
                  <a:lnTo>
                    <a:pt x="3844" y="2705"/>
                  </a:lnTo>
                  <a:lnTo>
                    <a:pt x="3841" y="2698"/>
                  </a:lnTo>
                  <a:lnTo>
                    <a:pt x="3833" y="2685"/>
                  </a:lnTo>
                  <a:lnTo>
                    <a:pt x="3830" y="2674"/>
                  </a:lnTo>
                  <a:lnTo>
                    <a:pt x="3826" y="2650"/>
                  </a:lnTo>
                  <a:lnTo>
                    <a:pt x="3826" y="2637"/>
                  </a:lnTo>
                  <a:lnTo>
                    <a:pt x="3824" y="2633"/>
                  </a:lnTo>
                  <a:lnTo>
                    <a:pt x="3813" y="2623"/>
                  </a:lnTo>
                  <a:lnTo>
                    <a:pt x="3808" y="2607"/>
                  </a:lnTo>
                  <a:lnTo>
                    <a:pt x="3787" y="2583"/>
                  </a:lnTo>
                  <a:lnTo>
                    <a:pt x="3787" y="2576"/>
                  </a:lnTo>
                  <a:lnTo>
                    <a:pt x="3790" y="2561"/>
                  </a:lnTo>
                  <a:lnTo>
                    <a:pt x="3790" y="2556"/>
                  </a:lnTo>
                  <a:lnTo>
                    <a:pt x="3787" y="2551"/>
                  </a:lnTo>
                  <a:lnTo>
                    <a:pt x="3779" y="2544"/>
                  </a:lnTo>
                  <a:lnTo>
                    <a:pt x="3774" y="2538"/>
                  </a:lnTo>
                  <a:lnTo>
                    <a:pt x="3773" y="2532"/>
                  </a:lnTo>
                  <a:lnTo>
                    <a:pt x="3776" y="2517"/>
                  </a:lnTo>
                  <a:lnTo>
                    <a:pt x="3773" y="2513"/>
                  </a:lnTo>
                  <a:lnTo>
                    <a:pt x="3766" y="2509"/>
                  </a:lnTo>
                  <a:lnTo>
                    <a:pt x="3763" y="2503"/>
                  </a:lnTo>
                  <a:lnTo>
                    <a:pt x="3758" y="2499"/>
                  </a:lnTo>
                  <a:lnTo>
                    <a:pt x="3756" y="2495"/>
                  </a:lnTo>
                  <a:lnTo>
                    <a:pt x="3756" y="2490"/>
                  </a:lnTo>
                  <a:lnTo>
                    <a:pt x="3762" y="2476"/>
                  </a:lnTo>
                  <a:lnTo>
                    <a:pt x="3760" y="2462"/>
                  </a:lnTo>
                  <a:lnTo>
                    <a:pt x="3759" y="2458"/>
                  </a:lnTo>
                  <a:lnTo>
                    <a:pt x="3754" y="2453"/>
                  </a:lnTo>
                  <a:lnTo>
                    <a:pt x="3737" y="2442"/>
                  </a:lnTo>
                  <a:lnTo>
                    <a:pt x="3726" y="2441"/>
                  </a:lnTo>
                  <a:lnTo>
                    <a:pt x="3724" y="2438"/>
                  </a:lnTo>
                  <a:lnTo>
                    <a:pt x="3726" y="2432"/>
                  </a:lnTo>
                  <a:lnTo>
                    <a:pt x="3724" y="2426"/>
                  </a:lnTo>
                  <a:lnTo>
                    <a:pt x="3717" y="2422"/>
                  </a:lnTo>
                  <a:lnTo>
                    <a:pt x="3710" y="2409"/>
                  </a:lnTo>
                  <a:lnTo>
                    <a:pt x="3704" y="2404"/>
                  </a:lnTo>
                  <a:lnTo>
                    <a:pt x="3701" y="2401"/>
                  </a:lnTo>
                  <a:lnTo>
                    <a:pt x="3694" y="2397"/>
                  </a:lnTo>
                  <a:lnTo>
                    <a:pt x="3691" y="2394"/>
                  </a:lnTo>
                  <a:lnTo>
                    <a:pt x="3690" y="2379"/>
                  </a:lnTo>
                  <a:lnTo>
                    <a:pt x="3688" y="2375"/>
                  </a:lnTo>
                  <a:lnTo>
                    <a:pt x="3690" y="2370"/>
                  </a:lnTo>
                  <a:lnTo>
                    <a:pt x="3688" y="2365"/>
                  </a:lnTo>
                  <a:lnTo>
                    <a:pt x="3679" y="2363"/>
                  </a:lnTo>
                  <a:lnTo>
                    <a:pt x="3673" y="2357"/>
                  </a:lnTo>
                  <a:lnTo>
                    <a:pt x="3665" y="2353"/>
                  </a:lnTo>
                  <a:lnTo>
                    <a:pt x="3656" y="2345"/>
                  </a:lnTo>
                  <a:lnTo>
                    <a:pt x="3634" y="2342"/>
                  </a:lnTo>
                  <a:lnTo>
                    <a:pt x="3621" y="2334"/>
                  </a:lnTo>
                  <a:lnTo>
                    <a:pt x="3612" y="2333"/>
                  </a:lnTo>
                  <a:lnTo>
                    <a:pt x="3594" y="2329"/>
                  </a:lnTo>
                  <a:lnTo>
                    <a:pt x="3580" y="2329"/>
                  </a:lnTo>
                  <a:lnTo>
                    <a:pt x="3552" y="2316"/>
                  </a:lnTo>
                  <a:lnTo>
                    <a:pt x="3541" y="2308"/>
                  </a:lnTo>
                  <a:lnTo>
                    <a:pt x="3534" y="2293"/>
                  </a:lnTo>
                  <a:lnTo>
                    <a:pt x="3525" y="2290"/>
                  </a:lnTo>
                  <a:lnTo>
                    <a:pt x="3521" y="2284"/>
                  </a:lnTo>
                  <a:lnTo>
                    <a:pt x="3520" y="2278"/>
                  </a:lnTo>
                  <a:lnTo>
                    <a:pt x="3516" y="2271"/>
                  </a:lnTo>
                  <a:lnTo>
                    <a:pt x="3494" y="2258"/>
                  </a:lnTo>
                  <a:lnTo>
                    <a:pt x="3480" y="2259"/>
                  </a:lnTo>
                  <a:lnTo>
                    <a:pt x="3475" y="2255"/>
                  </a:lnTo>
                  <a:lnTo>
                    <a:pt x="3474" y="2251"/>
                  </a:lnTo>
                  <a:lnTo>
                    <a:pt x="3471" y="2248"/>
                  </a:lnTo>
                  <a:lnTo>
                    <a:pt x="3456" y="2235"/>
                  </a:lnTo>
                  <a:lnTo>
                    <a:pt x="3447" y="2235"/>
                  </a:lnTo>
                  <a:lnTo>
                    <a:pt x="3439" y="2237"/>
                  </a:lnTo>
                  <a:lnTo>
                    <a:pt x="3435" y="2235"/>
                  </a:lnTo>
                  <a:lnTo>
                    <a:pt x="3432" y="2229"/>
                  </a:lnTo>
                  <a:lnTo>
                    <a:pt x="3434" y="2221"/>
                  </a:lnTo>
                  <a:lnTo>
                    <a:pt x="3432" y="2210"/>
                  </a:lnTo>
                  <a:lnTo>
                    <a:pt x="3424" y="2206"/>
                  </a:lnTo>
                  <a:lnTo>
                    <a:pt x="3416" y="2198"/>
                  </a:lnTo>
                  <a:lnTo>
                    <a:pt x="3409" y="2192"/>
                  </a:lnTo>
                  <a:lnTo>
                    <a:pt x="3403" y="2192"/>
                  </a:lnTo>
                  <a:lnTo>
                    <a:pt x="3397" y="2192"/>
                  </a:lnTo>
                  <a:lnTo>
                    <a:pt x="3343" y="2203"/>
                  </a:lnTo>
                  <a:lnTo>
                    <a:pt x="3328" y="2203"/>
                  </a:lnTo>
                  <a:lnTo>
                    <a:pt x="3320" y="2200"/>
                  </a:lnTo>
                  <a:lnTo>
                    <a:pt x="3299" y="2183"/>
                  </a:lnTo>
                  <a:lnTo>
                    <a:pt x="3278" y="2180"/>
                  </a:lnTo>
                  <a:lnTo>
                    <a:pt x="3270" y="2173"/>
                  </a:lnTo>
                  <a:lnTo>
                    <a:pt x="3264" y="2172"/>
                  </a:lnTo>
                  <a:lnTo>
                    <a:pt x="3249" y="2176"/>
                  </a:lnTo>
                  <a:lnTo>
                    <a:pt x="3246" y="2183"/>
                  </a:lnTo>
                  <a:lnTo>
                    <a:pt x="3242" y="2184"/>
                  </a:lnTo>
                  <a:lnTo>
                    <a:pt x="3209" y="2184"/>
                  </a:lnTo>
                  <a:lnTo>
                    <a:pt x="3203" y="2180"/>
                  </a:lnTo>
                  <a:lnTo>
                    <a:pt x="3189" y="2173"/>
                  </a:lnTo>
                  <a:lnTo>
                    <a:pt x="3178" y="2161"/>
                  </a:lnTo>
                  <a:lnTo>
                    <a:pt x="3162" y="2138"/>
                  </a:lnTo>
                  <a:lnTo>
                    <a:pt x="3150" y="2124"/>
                  </a:lnTo>
                  <a:lnTo>
                    <a:pt x="3143" y="2113"/>
                  </a:lnTo>
                  <a:lnTo>
                    <a:pt x="3132" y="2109"/>
                  </a:lnTo>
                  <a:lnTo>
                    <a:pt x="3111" y="2109"/>
                  </a:lnTo>
                  <a:lnTo>
                    <a:pt x="3107" y="2106"/>
                  </a:lnTo>
                  <a:lnTo>
                    <a:pt x="3094" y="2097"/>
                  </a:lnTo>
                  <a:lnTo>
                    <a:pt x="3090" y="2098"/>
                  </a:lnTo>
                  <a:lnTo>
                    <a:pt x="3078" y="2106"/>
                  </a:lnTo>
                  <a:lnTo>
                    <a:pt x="3054" y="2106"/>
                  </a:lnTo>
                  <a:lnTo>
                    <a:pt x="3047" y="2105"/>
                  </a:lnTo>
                  <a:lnTo>
                    <a:pt x="3041" y="2101"/>
                  </a:lnTo>
                  <a:lnTo>
                    <a:pt x="3036" y="2094"/>
                  </a:lnTo>
                  <a:lnTo>
                    <a:pt x="3036" y="2091"/>
                  </a:lnTo>
                  <a:lnTo>
                    <a:pt x="3039" y="2076"/>
                  </a:lnTo>
                  <a:lnTo>
                    <a:pt x="3037" y="2072"/>
                  </a:lnTo>
                  <a:lnTo>
                    <a:pt x="3029" y="2071"/>
                  </a:lnTo>
                  <a:lnTo>
                    <a:pt x="3011" y="2072"/>
                  </a:lnTo>
                  <a:lnTo>
                    <a:pt x="3004" y="2072"/>
                  </a:lnTo>
                  <a:lnTo>
                    <a:pt x="2997" y="2067"/>
                  </a:lnTo>
                  <a:lnTo>
                    <a:pt x="2989" y="2056"/>
                  </a:lnTo>
                  <a:lnTo>
                    <a:pt x="2972" y="2044"/>
                  </a:lnTo>
                  <a:lnTo>
                    <a:pt x="2968" y="2040"/>
                  </a:lnTo>
                  <a:lnTo>
                    <a:pt x="2966" y="2035"/>
                  </a:lnTo>
                  <a:lnTo>
                    <a:pt x="2960" y="2030"/>
                  </a:lnTo>
                  <a:lnTo>
                    <a:pt x="2955" y="2019"/>
                  </a:lnTo>
                  <a:lnTo>
                    <a:pt x="2946" y="2007"/>
                  </a:lnTo>
                  <a:lnTo>
                    <a:pt x="2936" y="1999"/>
                  </a:lnTo>
                  <a:lnTo>
                    <a:pt x="2923" y="1992"/>
                  </a:lnTo>
                  <a:lnTo>
                    <a:pt x="2916" y="1982"/>
                  </a:lnTo>
                  <a:lnTo>
                    <a:pt x="2910" y="1968"/>
                  </a:lnTo>
                  <a:lnTo>
                    <a:pt x="2890" y="1936"/>
                  </a:lnTo>
                  <a:lnTo>
                    <a:pt x="2882" y="1930"/>
                  </a:lnTo>
                  <a:lnTo>
                    <a:pt x="2872" y="1922"/>
                  </a:lnTo>
                  <a:lnTo>
                    <a:pt x="2861" y="1928"/>
                  </a:lnTo>
                  <a:lnTo>
                    <a:pt x="2855" y="1928"/>
                  </a:lnTo>
                  <a:lnTo>
                    <a:pt x="2851" y="1928"/>
                  </a:lnTo>
                  <a:lnTo>
                    <a:pt x="2838" y="1932"/>
                  </a:lnTo>
                  <a:lnTo>
                    <a:pt x="2835" y="1930"/>
                  </a:lnTo>
                  <a:lnTo>
                    <a:pt x="2829" y="1932"/>
                  </a:lnTo>
                  <a:lnTo>
                    <a:pt x="2819" y="1937"/>
                  </a:lnTo>
                  <a:lnTo>
                    <a:pt x="2818" y="1948"/>
                  </a:lnTo>
                  <a:lnTo>
                    <a:pt x="2815" y="1951"/>
                  </a:lnTo>
                  <a:lnTo>
                    <a:pt x="2813" y="1955"/>
                  </a:lnTo>
                  <a:lnTo>
                    <a:pt x="2809" y="1959"/>
                  </a:lnTo>
                  <a:lnTo>
                    <a:pt x="2804" y="1956"/>
                  </a:lnTo>
                  <a:lnTo>
                    <a:pt x="2800" y="1951"/>
                  </a:lnTo>
                  <a:lnTo>
                    <a:pt x="2795" y="1948"/>
                  </a:lnTo>
                  <a:lnTo>
                    <a:pt x="2787" y="1952"/>
                  </a:lnTo>
                  <a:lnTo>
                    <a:pt x="2779" y="1948"/>
                  </a:lnTo>
                  <a:lnTo>
                    <a:pt x="2766" y="1951"/>
                  </a:lnTo>
                  <a:lnTo>
                    <a:pt x="2756" y="1952"/>
                  </a:lnTo>
                  <a:lnTo>
                    <a:pt x="2753" y="1956"/>
                  </a:lnTo>
                  <a:lnTo>
                    <a:pt x="2747" y="1956"/>
                  </a:lnTo>
                  <a:lnTo>
                    <a:pt x="2744" y="1956"/>
                  </a:lnTo>
                  <a:lnTo>
                    <a:pt x="2738" y="1959"/>
                  </a:lnTo>
                  <a:lnTo>
                    <a:pt x="2730" y="1956"/>
                  </a:lnTo>
                  <a:lnTo>
                    <a:pt x="2720" y="1956"/>
                  </a:lnTo>
                  <a:lnTo>
                    <a:pt x="2717" y="1955"/>
                  </a:lnTo>
                  <a:lnTo>
                    <a:pt x="2708" y="1951"/>
                  </a:lnTo>
                  <a:lnTo>
                    <a:pt x="2700" y="1952"/>
                  </a:lnTo>
                  <a:lnTo>
                    <a:pt x="2694" y="1956"/>
                  </a:lnTo>
                  <a:lnTo>
                    <a:pt x="2687" y="1952"/>
                  </a:lnTo>
                  <a:lnTo>
                    <a:pt x="2683" y="1952"/>
                  </a:lnTo>
                  <a:lnTo>
                    <a:pt x="2678" y="1956"/>
                  </a:lnTo>
                  <a:lnTo>
                    <a:pt x="2670" y="1964"/>
                  </a:lnTo>
                  <a:lnTo>
                    <a:pt x="2656" y="1968"/>
                  </a:lnTo>
                  <a:lnTo>
                    <a:pt x="2651" y="1970"/>
                  </a:lnTo>
                  <a:lnTo>
                    <a:pt x="2645" y="1978"/>
                  </a:lnTo>
                  <a:lnTo>
                    <a:pt x="2638" y="1993"/>
                  </a:lnTo>
                  <a:lnTo>
                    <a:pt x="2627" y="1997"/>
                  </a:lnTo>
                  <a:lnTo>
                    <a:pt x="2619" y="1995"/>
                  </a:lnTo>
                  <a:lnTo>
                    <a:pt x="2613" y="1999"/>
                  </a:lnTo>
                  <a:lnTo>
                    <a:pt x="2612" y="2001"/>
                  </a:lnTo>
                  <a:lnTo>
                    <a:pt x="2611" y="2012"/>
                  </a:lnTo>
                  <a:lnTo>
                    <a:pt x="2603" y="2023"/>
                  </a:lnTo>
                  <a:lnTo>
                    <a:pt x="2602" y="2027"/>
                  </a:lnTo>
                  <a:lnTo>
                    <a:pt x="2594" y="2034"/>
                  </a:lnTo>
                  <a:lnTo>
                    <a:pt x="2586" y="2034"/>
                  </a:lnTo>
                  <a:lnTo>
                    <a:pt x="2584" y="2035"/>
                  </a:lnTo>
                  <a:lnTo>
                    <a:pt x="2584" y="2042"/>
                  </a:lnTo>
                  <a:lnTo>
                    <a:pt x="2588" y="2048"/>
                  </a:lnTo>
                  <a:lnTo>
                    <a:pt x="2590" y="2054"/>
                  </a:lnTo>
                  <a:lnTo>
                    <a:pt x="2587" y="2068"/>
                  </a:lnTo>
                  <a:lnTo>
                    <a:pt x="2592" y="2074"/>
                  </a:lnTo>
                  <a:lnTo>
                    <a:pt x="2595" y="2079"/>
                  </a:lnTo>
                  <a:lnTo>
                    <a:pt x="2594" y="2082"/>
                  </a:lnTo>
                  <a:lnTo>
                    <a:pt x="2586" y="2084"/>
                  </a:lnTo>
                  <a:lnTo>
                    <a:pt x="2583" y="2093"/>
                  </a:lnTo>
                  <a:lnTo>
                    <a:pt x="2581" y="2094"/>
                  </a:lnTo>
                  <a:lnTo>
                    <a:pt x="2577" y="2097"/>
                  </a:lnTo>
                  <a:lnTo>
                    <a:pt x="2574" y="2106"/>
                  </a:lnTo>
                  <a:lnTo>
                    <a:pt x="2565" y="2111"/>
                  </a:lnTo>
                  <a:lnTo>
                    <a:pt x="2559" y="2117"/>
                  </a:lnTo>
                  <a:lnTo>
                    <a:pt x="2551" y="2123"/>
                  </a:lnTo>
                  <a:lnTo>
                    <a:pt x="2551" y="2129"/>
                  </a:lnTo>
                  <a:lnTo>
                    <a:pt x="2553" y="2134"/>
                  </a:lnTo>
                  <a:lnTo>
                    <a:pt x="2553" y="2139"/>
                  </a:lnTo>
                  <a:lnTo>
                    <a:pt x="2552" y="2143"/>
                  </a:lnTo>
                  <a:lnTo>
                    <a:pt x="2544" y="2146"/>
                  </a:lnTo>
                  <a:lnTo>
                    <a:pt x="2538" y="2150"/>
                  </a:lnTo>
                  <a:lnTo>
                    <a:pt x="2535" y="2164"/>
                  </a:lnTo>
                  <a:lnTo>
                    <a:pt x="2527" y="2169"/>
                  </a:lnTo>
                  <a:lnTo>
                    <a:pt x="2521" y="2169"/>
                  </a:lnTo>
                  <a:lnTo>
                    <a:pt x="2519" y="2169"/>
                  </a:lnTo>
                  <a:lnTo>
                    <a:pt x="2512" y="2169"/>
                  </a:lnTo>
                  <a:lnTo>
                    <a:pt x="2507" y="2169"/>
                  </a:lnTo>
                  <a:lnTo>
                    <a:pt x="2506" y="2172"/>
                  </a:lnTo>
                  <a:lnTo>
                    <a:pt x="2506" y="2176"/>
                  </a:lnTo>
                  <a:lnTo>
                    <a:pt x="2506" y="2173"/>
                  </a:lnTo>
                  <a:lnTo>
                    <a:pt x="2498" y="2180"/>
                  </a:lnTo>
                  <a:lnTo>
                    <a:pt x="2493" y="2188"/>
                  </a:lnTo>
                  <a:lnTo>
                    <a:pt x="2495" y="2192"/>
                  </a:lnTo>
                  <a:lnTo>
                    <a:pt x="2495" y="2196"/>
                  </a:lnTo>
                  <a:lnTo>
                    <a:pt x="2493" y="2196"/>
                  </a:lnTo>
                  <a:lnTo>
                    <a:pt x="2489" y="2198"/>
                  </a:lnTo>
                  <a:lnTo>
                    <a:pt x="2485" y="2205"/>
                  </a:lnTo>
                  <a:lnTo>
                    <a:pt x="2487" y="2210"/>
                  </a:lnTo>
                  <a:lnTo>
                    <a:pt x="2478" y="2217"/>
                  </a:lnTo>
                  <a:lnTo>
                    <a:pt x="2478" y="2225"/>
                  </a:lnTo>
                  <a:lnTo>
                    <a:pt x="2474" y="2229"/>
                  </a:lnTo>
                  <a:lnTo>
                    <a:pt x="2473" y="2237"/>
                  </a:lnTo>
                  <a:lnTo>
                    <a:pt x="2473" y="2243"/>
                  </a:lnTo>
                  <a:lnTo>
                    <a:pt x="2468" y="2254"/>
                  </a:lnTo>
                  <a:lnTo>
                    <a:pt x="2467" y="2255"/>
                  </a:lnTo>
                  <a:lnTo>
                    <a:pt x="2468" y="2263"/>
                  </a:lnTo>
                  <a:lnTo>
                    <a:pt x="2467" y="2270"/>
                  </a:lnTo>
                  <a:lnTo>
                    <a:pt x="2463" y="2278"/>
                  </a:lnTo>
                  <a:lnTo>
                    <a:pt x="2467" y="2284"/>
                  </a:lnTo>
                  <a:lnTo>
                    <a:pt x="2464" y="2297"/>
                  </a:lnTo>
                  <a:lnTo>
                    <a:pt x="2462" y="2300"/>
                  </a:lnTo>
                  <a:lnTo>
                    <a:pt x="2457" y="2304"/>
                  </a:lnTo>
                  <a:lnTo>
                    <a:pt x="2453" y="2310"/>
                  </a:lnTo>
                  <a:lnTo>
                    <a:pt x="2443" y="2315"/>
                  </a:lnTo>
                  <a:lnTo>
                    <a:pt x="2438" y="2321"/>
                  </a:lnTo>
                  <a:lnTo>
                    <a:pt x="2432" y="2330"/>
                  </a:lnTo>
                  <a:lnTo>
                    <a:pt x="2430" y="2334"/>
                  </a:lnTo>
                  <a:lnTo>
                    <a:pt x="2426" y="2345"/>
                  </a:lnTo>
                  <a:lnTo>
                    <a:pt x="2426" y="2349"/>
                  </a:lnTo>
                  <a:lnTo>
                    <a:pt x="2418" y="2360"/>
                  </a:lnTo>
                  <a:lnTo>
                    <a:pt x="2417" y="2371"/>
                  </a:lnTo>
                  <a:lnTo>
                    <a:pt x="2409" y="2383"/>
                  </a:lnTo>
                  <a:lnTo>
                    <a:pt x="2407" y="2387"/>
                  </a:lnTo>
                  <a:lnTo>
                    <a:pt x="2412" y="2394"/>
                  </a:lnTo>
                  <a:lnTo>
                    <a:pt x="2413" y="2397"/>
                  </a:lnTo>
                  <a:lnTo>
                    <a:pt x="2410" y="2401"/>
                  </a:lnTo>
                  <a:lnTo>
                    <a:pt x="2406" y="2405"/>
                  </a:lnTo>
                  <a:lnTo>
                    <a:pt x="2405" y="2405"/>
                  </a:lnTo>
                  <a:lnTo>
                    <a:pt x="2399" y="2408"/>
                  </a:lnTo>
                  <a:lnTo>
                    <a:pt x="2401" y="2409"/>
                  </a:lnTo>
                  <a:lnTo>
                    <a:pt x="2398" y="2409"/>
                  </a:lnTo>
                  <a:lnTo>
                    <a:pt x="2392" y="2415"/>
                  </a:lnTo>
                  <a:lnTo>
                    <a:pt x="2388" y="2419"/>
                  </a:lnTo>
                  <a:lnTo>
                    <a:pt x="2373" y="2428"/>
                  </a:lnTo>
                  <a:lnTo>
                    <a:pt x="2371" y="2432"/>
                  </a:lnTo>
                  <a:lnTo>
                    <a:pt x="2364" y="2432"/>
                  </a:lnTo>
                  <a:lnTo>
                    <a:pt x="2363" y="2436"/>
                  </a:lnTo>
                  <a:lnTo>
                    <a:pt x="2359" y="2436"/>
                  </a:lnTo>
                  <a:lnTo>
                    <a:pt x="2359" y="2438"/>
                  </a:lnTo>
                  <a:lnTo>
                    <a:pt x="2352" y="2442"/>
                  </a:lnTo>
                  <a:lnTo>
                    <a:pt x="2351" y="2446"/>
                  </a:lnTo>
                  <a:lnTo>
                    <a:pt x="2352" y="2454"/>
                  </a:lnTo>
                  <a:lnTo>
                    <a:pt x="2351" y="2462"/>
                  </a:lnTo>
                  <a:lnTo>
                    <a:pt x="2352" y="2465"/>
                  </a:lnTo>
                  <a:lnTo>
                    <a:pt x="2351" y="2471"/>
                  </a:lnTo>
                  <a:lnTo>
                    <a:pt x="2341" y="2472"/>
                  </a:lnTo>
                  <a:lnTo>
                    <a:pt x="2339" y="2476"/>
                  </a:lnTo>
                  <a:lnTo>
                    <a:pt x="2339" y="2486"/>
                  </a:lnTo>
                  <a:lnTo>
                    <a:pt x="2332" y="2487"/>
                  </a:lnTo>
                  <a:lnTo>
                    <a:pt x="2331" y="2494"/>
                  </a:lnTo>
                  <a:lnTo>
                    <a:pt x="2320" y="2498"/>
                  </a:lnTo>
                  <a:lnTo>
                    <a:pt x="2318" y="2499"/>
                  </a:lnTo>
                  <a:lnTo>
                    <a:pt x="2320" y="2503"/>
                  </a:lnTo>
                  <a:lnTo>
                    <a:pt x="2326" y="2507"/>
                  </a:lnTo>
                  <a:lnTo>
                    <a:pt x="2327" y="2517"/>
                  </a:lnTo>
                  <a:lnTo>
                    <a:pt x="2328" y="2517"/>
                  </a:lnTo>
                  <a:lnTo>
                    <a:pt x="2337" y="2520"/>
                  </a:lnTo>
                  <a:lnTo>
                    <a:pt x="2338" y="2521"/>
                  </a:lnTo>
                  <a:lnTo>
                    <a:pt x="2338" y="2524"/>
                  </a:lnTo>
                  <a:lnTo>
                    <a:pt x="2323" y="2536"/>
                  </a:lnTo>
                  <a:lnTo>
                    <a:pt x="2321" y="2540"/>
                  </a:lnTo>
                  <a:lnTo>
                    <a:pt x="2321" y="2546"/>
                  </a:lnTo>
                  <a:lnTo>
                    <a:pt x="2320" y="2548"/>
                  </a:lnTo>
                  <a:lnTo>
                    <a:pt x="2312" y="2556"/>
                  </a:lnTo>
                  <a:lnTo>
                    <a:pt x="2309" y="2558"/>
                  </a:lnTo>
                  <a:lnTo>
                    <a:pt x="2309" y="2562"/>
                  </a:lnTo>
                  <a:lnTo>
                    <a:pt x="2307" y="2566"/>
                  </a:lnTo>
                  <a:lnTo>
                    <a:pt x="2309" y="2570"/>
                  </a:lnTo>
                  <a:lnTo>
                    <a:pt x="2307" y="2574"/>
                  </a:lnTo>
                  <a:lnTo>
                    <a:pt x="2310" y="2578"/>
                  </a:lnTo>
                  <a:lnTo>
                    <a:pt x="2310" y="2583"/>
                  </a:lnTo>
                  <a:lnTo>
                    <a:pt x="2309" y="2591"/>
                  </a:lnTo>
                  <a:lnTo>
                    <a:pt x="2309" y="2606"/>
                  </a:lnTo>
                  <a:lnTo>
                    <a:pt x="2307" y="2606"/>
                  </a:lnTo>
                  <a:lnTo>
                    <a:pt x="2299" y="2610"/>
                  </a:lnTo>
                  <a:lnTo>
                    <a:pt x="2295" y="2613"/>
                  </a:lnTo>
                  <a:lnTo>
                    <a:pt x="2295" y="2618"/>
                  </a:lnTo>
                  <a:lnTo>
                    <a:pt x="2292" y="2621"/>
                  </a:lnTo>
                  <a:lnTo>
                    <a:pt x="2291" y="2629"/>
                  </a:lnTo>
                  <a:lnTo>
                    <a:pt x="2288" y="2633"/>
                  </a:lnTo>
                  <a:lnTo>
                    <a:pt x="2288" y="2641"/>
                  </a:lnTo>
                  <a:lnTo>
                    <a:pt x="2281" y="2648"/>
                  </a:lnTo>
                  <a:lnTo>
                    <a:pt x="2275" y="2656"/>
                  </a:lnTo>
                  <a:lnTo>
                    <a:pt x="2274" y="2660"/>
                  </a:lnTo>
                  <a:lnTo>
                    <a:pt x="2275" y="2663"/>
                  </a:lnTo>
                  <a:lnTo>
                    <a:pt x="2277" y="2672"/>
                  </a:lnTo>
                  <a:lnTo>
                    <a:pt x="2279" y="2674"/>
                  </a:lnTo>
                  <a:lnTo>
                    <a:pt x="2278" y="2678"/>
                  </a:lnTo>
                  <a:lnTo>
                    <a:pt x="2275" y="2685"/>
                  </a:lnTo>
                  <a:lnTo>
                    <a:pt x="2271" y="2693"/>
                  </a:lnTo>
                  <a:lnTo>
                    <a:pt x="2262" y="2685"/>
                  </a:lnTo>
                  <a:lnTo>
                    <a:pt x="2242" y="2668"/>
                  </a:lnTo>
                  <a:lnTo>
                    <a:pt x="2235" y="2666"/>
                  </a:lnTo>
                  <a:lnTo>
                    <a:pt x="2232" y="2652"/>
                  </a:lnTo>
                  <a:lnTo>
                    <a:pt x="2232" y="2628"/>
                  </a:lnTo>
                  <a:lnTo>
                    <a:pt x="2229" y="2610"/>
                  </a:lnTo>
                  <a:lnTo>
                    <a:pt x="2224" y="2558"/>
                  </a:lnTo>
                  <a:lnTo>
                    <a:pt x="2208" y="2520"/>
                  </a:lnTo>
                  <a:lnTo>
                    <a:pt x="2185" y="2469"/>
                  </a:lnTo>
                  <a:lnTo>
                    <a:pt x="2136" y="2401"/>
                  </a:lnTo>
                  <a:lnTo>
                    <a:pt x="2133" y="2397"/>
                  </a:lnTo>
                  <a:lnTo>
                    <a:pt x="2124" y="2383"/>
                  </a:lnTo>
                  <a:lnTo>
                    <a:pt x="2117" y="2375"/>
                  </a:lnTo>
                  <a:lnTo>
                    <a:pt x="2106" y="2359"/>
                  </a:lnTo>
                  <a:lnTo>
                    <a:pt x="2103" y="2349"/>
                  </a:lnTo>
                  <a:lnTo>
                    <a:pt x="2150" y="2337"/>
                  </a:lnTo>
                  <a:lnTo>
                    <a:pt x="2166" y="2329"/>
                  </a:lnTo>
                  <a:lnTo>
                    <a:pt x="2181" y="2292"/>
                  </a:lnTo>
                  <a:lnTo>
                    <a:pt x="2199" y="2255"/>
                  </a:lnTo>
                  <a:lnTo>
                    <a:pt x="2213" y="2218"/>
                  </a:lnTo>
                  <a:lnTo>
                    <a:pt x="2218" y="2178"/>
                  </a:lnTo>
                  <a:lnTo>
                    <a:pt x="2211" y="2178"/>
                  </a:lnTo>
                  <a:lnTo>
                    <a:pt x="2196" y="2176"/>
                  </a:lnTo>
                  <a:lnTo>
                    <a:pt x="2171" y="2173"/>
                  </a:lnTo>
                  <a:lnTo>
                    <a:pt x="2156" y="2186"/>
                  </a:lnTo>
                  <a:lnTo>
                    <a:pt x="2144" y="2188"/>
                  </a:lnTo>
                  <a:lnTo>
                    <a:pt x="2132" y="2180"/>
                  </a:lnTo>
                  <a:lnTo>
                    <a:pt x="2117" y="2180"/>
                  </a:lnTo>
                  <a:lnTo>
                    <a:pt x="2108" y="2172"/>
                  </a:lnTo>
                  <a:lnTo>
                    <a:pt x="2100" y="2173"/>
                  </a:lnTo>
                  <a:lnTo>
                    <a:pt x="2094" y="2180"/>
                  </a:lnTo>
                  <a:lnTo>
                    <a:pt x="2082" y="2178"/>
                  </a:lnTo>
                  <a:lnTo>
                    <a:pt x="2049" y="2180"/>
                  </a:lnTo>
                  <a:lnTo>
                    <a:pt x="2041" y="2176"/>
                  </a:lnTo>
                  <a:lnTo>
                    <a:pt x="2035" y="2173"/>
                  </a:lnTo>
                  <a:lnTo>
                    <a:pt x="2002" y="2161"/>
                  </a:lnTo>
                  <a:lnTo>
                    <a:pt x="1996" y="2151"/>
                  </a:lnTo>
                  <a:lnTo>
                    <a:pt x="1999" y="2138"/>
                  </a:lnTo>
                  <a:lnTo>
                    <a:pt x="2003" y="2101"/>
                  </a:lnTo>
                  <a:lnTo>
                    <a:pt x="2004" y="2094"/>
                  </a:lnTo>
                  <a:lnTo>
                    <a:pt x="1994" y="2091"/>
                  </a:lnTo>
                  <a:lnTo>
                    <a:pt x="1909" y="2049"/>
                  </a:lnTo>
                  <a:lnTo>
                    <a:pt x="1897" y="2042"/>
                  </a:lnTo>
                  <a:lnTo>
                    <a:pt x="1807" y="2005"/>
                  </a:lnTo>
                  <a:lnTo>
                    <a:pt x="1790" y="1997"/>
                  </a:lnTo>
                  <a:lnTo>
                    <a:pt x="1762" y="1986"/>
                  </a:lnTo>
                  <a:lnTo>
                    <a:pt x="1687" y="1968"/>
                  </a:lnTo>
                  <a:lnTo>
                    <a:pt x="1663" y="1960"/>
                  </a:lnTo>
                  <a:lnTo>
                    <a:pt x="1659" y="1960"/>
                  </a:lnTo>
                  <a:lnTo>
                    <a:pt x="1623" y="1960"/>
                  </a:lnTo>
                  <a:lnTo>
                    <a:pt x="1495" y="1964"/>
                  </a:lnTo>
                  <a:lnTo>
                    <a:pt x="1482" y="1964"/>
                  </a:lnTo>
                  <a:lnTo>
                    <a:pt x="1462" y="1967"/>
                  </a:lnTo>
                  <a:lnTo>
                    <a:pt x="1459" y="1964"/>
                  </a:lnTo>
                  <a:lnTo>
                    <a:pt x="1449" y="1962"/>
                  </a:lnTo>
                  <a:lnTo>
                    <a:pt x="1447" y="1962"/>
                  </a:lnTo>
                  <a:lnTo>
                    <a:pt x="1437" y="1960"/>
                  </a:lnTo>
                  <a:lnTo>
                    <a:pt x="1435" y="1960"/>
                  </a:lnTo>
                  <a:lnTo>
                    <a:pt x="1422" y="1956"/>
                  </a:lnTo>
                  <a:lnTo>
                    <a:pt x="1397" y="1951"/>
                  </a:lnTo>
                  <a:lnTo>
                    <a:pt x="1362" y="1942"/>
                  </a:lnTo>
                  <a:lnTo>
                    <a:pt x="1358" y="1930"/>
                  </a:lnTo>
                  <a:lnTo>
                    <a:pt x="1360" y="1910"/>
                  </a:lnTo>
                  <a:lnTo>
                    <a:pt x="1356" y="1906"/>
                  </a:lnTo>
                  <a:lnTo>
                    <a:pt x="1353" y="1889"/>
                  </a:lnTo>
                  <a:lnTo>
                    <a:pt x="1347" y="1881"/>
                  </a:lnTo>
                  <a:lnTo>
                    <a:pt x="1313" y="1866"/>
                  </a:lnTo>
                  <a:lnTo>
                    <a:pt x="1310" y="1858"/>
                  </a:lnTo>
                  <a:lnTo>
                    <a:pt x="1303" y="1857"/>
                  </a:lnTo>
                  <a:lnTo>
                    <a:pt x="1299" y="1861"/>
                  </a:lnTo>
                  <a:lnTo>
                    <a:pt x="1291" y="1847"/>
                  </a:lnTo>
                  <a:lnTo>
                    <a:pt x="1283" y="1848"/>
                  </a:lnTo>
                  <a:lnTo>
                    <a:pt x="1284" y="1835"/>
                  </a:lnTo>
                  <a:lnTo>
                    <a:pt x="1278" y="1828"/>
                  </a:lnTo>
                  <a:lnTo>
                    <a:pt x="1273" y="1828"/>
                  </a:lnTo>
                  <a:lnTo>
                    <a:pt x="1269" y="1818"/>
                  </a:lnTo>
                  <a:lnTo>
                    <a:pt x="1259" y="1816"/>
                  </a:lnTo>
                  <a:lnTo>
                    <a:pt x="1248" y="1799"/>
                  </a:lnTo>
                  <a:lnTo>
                    <a:pt x="1237" y="1799"/>
                  </a:lnTo>
                  <a:lnTo>
                    <a:pt x="1217" y="1794"/>
                  </a:lnTo>
                  <a:lnTo>
                    <a:pt x="1192" y="1777"/>
                  </a:lnTo>
                  <a:lnTo>
                    <a:pt x="1178" y="1771"/>
                  </a:lnTo>
                  <a:lnTo>
                    <a:pt x="1138" y="1769"/>
                  </a:lnTo>
                  <a:lnTo>
                    <a:pt x="1125" y="1764"/>
                  </a:lnTo>
                  <a:lnTo>
                    <a:pt x="1100" y="1764"/>
                  </a:lnTo>
                  <a:lnTo>
                    <a:pt x="1065" y="1757"/>
                  </a:lnTo>
                  <a:lnTo>
                    <a:pt x="1029" y="1746"/>
                  </a:lnTo>
                  <a:lnTo>
                    <a:pt x="1015" y="1737"/>
                  </a:lnTo>
                  <a:lnTo>
                    <a:pt x="1003" y="1739"/>
                  </a:lnTo>
                  <a:lnTo>
                    <a:pt x="986" y="1733"/>
                  </a:lnTo>
                  <a:lnTo>
                    <a:pt x="981" y="1734"/>
                  </a:lnTo>
                  <a:lnTo>
                    <a:pt x="974" y="1734"/>
                  </a:lnTo>
                  <a:lnTo>
                    <a:pt x="973" y="1732"/>
                  </a:lnTo>
                  <a:lnTo>
                    <a:pt x="974" y="1724"/>
                  </a:lnTo>
                  <a:lnTo>
                    <a:pt x="971" y="1719"/>
                  </a:lnTo>
                  <a:lnTo>
                    <a:pt x="965" y="1716"/>
                  </a:lnTo>
                  <a:lnTo>
                    <a:pt x="953" y="1720"/>
                  </a:lnTo>
                  <a:lnTo>
                    <a:pt x="921" y="1683"/>
                  </a:lnTo>
                  <a:lnTo>
                    <a:pt x="909" y="1675"/>
                  </a:lnTo>
                  <a:lnTo>
                    <a:pt x="903" y="1666"/>
                  </a:lnTo>
                  <a:lnTo>
                    <a:pt x="900" y="1653"/>
                  </a:lnTo>
                  <a:lnTo>
                    <a:pt x="872" y="1631"/>
                  </a:lnTo>
                  <a:lnTo>
                    <a:pt x="864" y="1629"/>
                  </a:lnTo>
                  <a:lnTo>
                    <a:pt x="843" y="1619"/>
                  </a:lnTo>
                  <a:lnTo>
                    <a:pt x="826" y="1617"/>
                  </a:lnTo>
                  <a:lnTo>
                    <a:pt x="826" y="1612"/>
                  </a:lnTo>
                  <a:lnTo>
                    <a:pt x="822" y="1611"/>
                  </a:lnTo>
                  <a:lnTo>
                    <a:pt x="807" y="1615"/>
                  </a:lnTo>
                  <a:lnTo>
                    <a:pt x="780" y="1612"/>
                  </a:lnTo>
                  <a:lnTo>
                    <a:pt x="776" y="1611"/>
                  </a:lnTo>
                  <a:lnTo>
                    <a:pt x="771" y="1603"/>
                  </a:lnTo>
                  <a:lnTo>
                    <a:pt x="750" y="1602"/>
                  </a:lnTo>
                  <a:lnTo>
                    <a:pt x="741" y="1596"/>
                  </a:lnTo>
                  <a:lnTo>
                    <a:pt x="710" y="1607"/>
                  </a:lnTo>
                  <a:lnTo>
                    <a:pt x="711" y="1611"/>
                  </a:lnTo>
                  <a:lnTo>
                    <a:pt x="686" y="1622"/>
                  </a:lnTo>
                  <a:lnTo>
                    <a:pt x="680" y="1611"/>
                  </a:lnTo>
                  <a:lnTo>
                    <a:pt x="671" y="1621"/>
                  </a:lnTo>
                  <a:lnTo>
                    <a:pt x="652" y="1625"/>
                  </a:lnTo>
                  <a:lnTo>
                    <a:pt x="643" y="1647"/>
                  </a:lnTo>
                  <a:lnTo>
                    <a:pt x="629" y="1656"/>
                  </a:lnTo>
                  <a:lnTo>
                    <a:pt x="614" y="1657"/>
                  </a:lnTo>
                  <a:lnTo>
                    <a:pt x="602" y="1652"/>
                  </a:lnTo>
                  <a:lnTo>
                    <a:pt x="594" y="1641"/>
                  </a:lnTo>
                  <a:lnTo>
                    <a:pt x="587" y="1622"/>
                  </a:lnTo>
                  <a:lnTo>
                    <a:pt x="566" y="1611"/>
                  </a:lnTo>
                  <a:lnTo>
                    <a:pt x="237" y="1611"/>
                  </a:lnTo>
                  <a:lnTo>
                    <a:pt x="166" y="1611"/>
                  </a:lnTo>
                  <a:lnTo>
                    <a:pt x="166" y="1331"/>
                  </a:lnTo>
                  <a:lnTo>
                    <a:pt x="166" y="1312"/>
                  </a:lnTo>
                  <a:lnTo>
                    <a:pt x="160" y="1304"/>
                  </a:lnTo>
                  <a:lnTo>
                    <a:pt x="156" y="1308"/>
                  </a:lnTo>
                  <a:lnTo>
                    <a:pt x="160" y="1302"/>
                  </a:lnTo>
                  <a:lnTo>
                    <a:pt x="157" y="1300"/>
                  </a:lnTo>
                  <a:lnTo>
                    <a:pt x="156" y="1298"/>
                  </a:lnTo>
                  <a:lnTo>
                    <a:pt x="155" y="1296"/>
                  </a:lnTo>
                  <a:lnTo>
                    <a:pt x="153" y="1296"/>
                  </a:lnTo>
                  <a:lnTo>
                    <a:pt x="152" y="1292"/>
                  </a:lnTo>
                  <a:lnTo>
                    <a:pt x="151" y="1289"/>
                  </a:lnTo>
                  <a:lnTo>
                    <a:pt x="149" y="1287"/>
                  </a:lnTo>
                  <a:lnTo>
                    <a:pt x="149" y="1285"/>
                  </a:lnTo>
                  <a:lnTo>
                    <a:pt x="148" y="1283"/>
                  </a:lnTo>
                  <a:lnTo>
                    <a:pt x="146" y="1283"/>
                  </a:lnTo>
                  <a:lnTo>
                    <a:pt x="146" y="1281"/>
                  </a:lnTo>
                  <a:lnTo>
                    <a:pt x="145" y="1280"/>
                  </a:lnTo>
                  <a:lnTo>
                    <a:pt x="144" y="1277"/>
                  </a:lnTo>
                  <a:lnTo>
                    <a:pt x="142" y="1276"/>
                  </a:lnTo>
                  <a:lnTo>
                    <a:pt x="141" y="1273"/>
                  </a:lnTo>
                  <a:lnTo>
                    <a:pt x="140" y="1269"/>
                  </a:lnTo>
                  <a:lnTo>
                    <a:pt x="138" y="1269"/>
                  </a:lnTo>
                  <a:lnTo>
                    <a:pt x="135" y="1267"/>
                  </a:lnTo>
                  <a:lnTo>
                    <a:pt x="132" y="1264"/>
                  </a:lnTo>
                  <a:lnTo>
                    <a:pt x="131" y="1263"/>
                  </a:lnTo>
                  <a:lnTo>
                    <a:pt x="130" y="1260"/>
                  </a:lnTo>
                  <a:lnTo>
                    <a:pt x="128" y="1260"/>
                  </a:lnTo>
                  <a:lnTo>
                    <a:pt x="127" y="1259"/>
                  </a:lnTo>
                  <a:lnTo>
                    <a:pt x="124" y="1256"/>
                  </a:lnTo>
                  <a:lnTo>
                    <a:pt x="123" y="1256"/>
                  </a:lnTo>
                  <a:lnTo>
                    <a:pt x="121" y="1255"/>
                  </a:lnTo>
                  <a:lnTo>
                    <a:pt x="120" y="1252"/>
                  </a:lnTo>
                  <a:lnTo>
                    <a:pt x="119" y="1250"/>
                  </a:lnTo>
                  <a:lnTo>
                    <a:pt x="119" y="1247"/>
                  </a:lnTo>
                  <a:lnTo>
                    <a:pt x="119" y="1244"/>
                  </a:lnTo>
                  <a:lnTo>
                    <a:pt x="120" y="1242"/>
                  </a:lnTo>
                  <a:lnTo>
                    <a:pt x="120" y="1240"/>
                  </a:lnTo>
                  <a:lnTo>
                    <a:pt x="121" y="1238"/>
                  </a:lnTo>
                  <a:lnTo>
                    <a:pt x="121" y="1237"/>
                  </a:lnTo>
                  <a:lnTo>
                    <a:pt x="123" y="1234"/>
                  </a:lnTo>
                  <a:lnTo>
                    <a:pt x="124" y="1232"/>
                  </a:lnTo>
                  <a:lnTo>
                    <a:pt x="124" y="1230"/>
                  </a:lnTo>
                  <a:lnTo>
                    <a:pt x="126" y="1227"/>
                  </a:lnTo>
                  <a:lnTo>
                    <a:pt x="127" y="1227"/>
                  </a:lnTo>
                  <a:lnTo>
                    <a:pt x="128" y="1225"/>
                  </a:lnTo>
                  <a:lnTo>
                    <a:pt x="128" y="1223"/>
                  </a:lnTo>
                  <a:lnTo>
                    <a:pt x="130" y="1221"/>
                  </a:lnTo>
                  <a:lnTo>
                    <a:pt x="131" y="1219"/>
                  </a:lnTo>
                  <a:lnTo>
                    <a:pt x="132" y="1215"/>
                  </a:lnTo>
                  <a:lnTo>
                    <a:pt x="134" y="1214"/>
                  </a:lnTo>
                  <a:lnTo>
                    <a:pt x="134" y="1212"/>
                  </a:lnTo>
                  <a:lnTo>
                    <a:pt x="135" y="1210"/>
                  </a:lnTo>
                  <a:lnTo>
                    <a:pt x="137" y="1207"/>
                  </a:lnTo>
                  <a:lnTo>
                    <a:pt x="138" y="1205"/>
                  </a:lnTo>
                  <a:lnTo>
                    <a:pt x="140" y="1202"/>
                  </a:lnTo>
                  <a:lnTo>
                    <a:pt x="141" y="1201"/>
                  </a:lnTo>
                  <a:lnTo>
                    <a:pt x="142" y="1198"/>
                  </a:lnTo>
                  <a:lnTo>
                    <a:pt x="144" y="1197"/>
                  </a:lnTo>
                  <a:lnTo>
                    <a:pt x="145" y="1194"/>
                  </a:lnTo>
                  <a:lnTo>
                    <a:pt x="146" y="1193"/>
                  </a:lnTo>
                  <a:lnTo>
                    <a:pt x="146" y="1192"/>
                  </a:lnTo>
                  <a:lnTo>
                    <a:pt x="146" y="1189"/>
                  </a:lnTo>
                  <a:lnTo>
                    <a:pt x="148" y="1187"/>
                  </a:lnTo>
                  <a:lnTo>
                    <a:pt x="146" y="1185"/>
                  </a:lnTo>
                  <a:lnTo>
                    <a:pt x="145" y="1182"/>
                  </a:lnTo>
                  <a:lnTo>
                    <a:pt x="145" y="1180"/>
                  </a:lnTo>
                  <a:lnTo>
                    <a:pt x="144" y="1179"/>
                  </a:lnTo>
                  <a:lnTo>
                    <a:pt x="142" y="1176"/>
                  </a:lnTo>
                  <a:lnTo>
                    <a:pt x="142" y="1175"/>
                  </a:lnTo>
                  <a:lnTo>
                    <a:pt x="141" y="1172"/>
                  </a:lnTo>
                  <a:lnTo>
                    <a:pt x="140" y="1170"/>
                  </a:lnTo>
                  <a:lnTo>
                    <a:pt x="140" y="1169"/>
                  </a:lnTo>
                  <a:lnTo>
                    <a:pt x="138" y="1167"/>
                  </a:lnTo>
                  <a:lnTo>
                    <a:pt x="138" y="1165"/>
                  </a:lnTo>
                  <a:lnTo>
                    <a:pt x="137" y="1163"/>
                  </a:lnTo>
                  <a:lnTo>
                    <a:pt x="137" y="1162"/>
                  </a:lnTo>
                  <a:lnTo>
                    <a:pt x="135" y="1159"/>
                  </a:lnTo>
                  <a:lnTo>
                    <a:pt x="135" y="1156"/>
                  </a:lnTo>
                  <a:lnTo>
                    <a:pt x="134" y="1154"/>
                  </a:lnTo>
                  <a:lnTo>
                    <a:pt x="132" y="1151"/>
                  </a:lnTo>
                  <a:lnTo>
                    <a:pt x="132" y="1150"/>
                  </a:lnTo>
                  <a:lnTo>
                    <a:pt x="132" y="1147"/>
                  </a:lnTo>
                  <a:lnTo>
                    <a:pt x="131" y="1144"/>
                  </a:lnTo>
                  <a:lnTo>
                    <a:pt x="131" y="1143"/>
                  </a:lnTo>
                  <a:lnTo>
                    <a:pt x="132" y="1140"/>
                  </a:lnTo>
                  <a:lnTo>
                    <a:pt x="132" y="1138"/>
                  </a:lnTo>
                  <a:lnTo>
                    <a:pt x="132" y="1135"/>
                  </a:lnTo>
                  <a:lnTo>
                    <a:pt x="132" y="1134"/>
                  </a:lnTo>
                  <a:lnTo>
                    <a:pt x="132" y="1131"/>
                  </a:lnTo>
                  <a:lnTo>
                    <a:pt x="132" y="1130"/>
                  </a:lnTo>
                  <a:lnTo>
                    <a:pt x="132" y="1127"/>
                  </a:lnTo>
                  <a:lnTo>
                    <a:pt x="134" y="1126"/>
                  </a:lnTo>
                  <a:lnTo>
                    <a:pt x="134" y="1123"/>
                  </a:lnTo>
                  <a:lnTo>
                    <a:pt x="134" y="1122"/>
                  </a:lnTo>
                  <a:lnTo>
                    <a:pt x="134" y="1118"/>
                  </a:lnTo>
                  <a:lnTo>
                    <a:pt x="134" y="1117"/>
                  </a:lnTo>
                  <a:lnTo>
                    <a:pt x="134" y="1115"/>
                  </a:lnTo>
                  <a:lnTo>
                    <a:pt x="134" y="1113"/>
                  </a:lnTo>
                  <a:lnTo>
                    <a:pt x="134" y="1111"/>
                  </a:lnTo>
                  <a:lnTo>
                    <a:pt x="132" y="1109"/>
                  </a:lnTo>
                  <a:lnTo>
                    <a:pt x="132" y="1107"/>
                  </a:lnTo>
                  <a:lnTo>
                    <a:pt x="131" y="1105"/>
                  </a:lnTo>
                  <a:lnTo>
                    <a:pt x="131" y="1103"/>
                  </a:lnTo>
                  <a:lnTo>
                    <a:pt x="130" y="1102"/>
                  </a:lnTo>
                  <a:lnTo>
                    <a:pt x="130" y="1100"/>
                  </a:lnTo>
                  <a:lnTo>
                    <a:pt x="128" y="1095"/>
                  </a:lnTo>
                  <a:lnTo>
                    <a:pt x="128" y="1092"/>
                  </a:lnTo>
                  <a:lnTo>
                    <a:pt x="127" y="1089"/>
                  </a:lnTo>
                  <a:lnTo>
                    <a:pt x="127" y="1086"/>
                  </a:lnTo>
                  <a:lnTo>
                    <a:pt x="127" y="1082"/>
                  </a:lnTo>
                  <a:lnTo>
                    <a:pt x="126" y="1080"/>
                  </a:lnTo>
                  <a:lnTo>
                    <a:pt x="124" y="1078"/>
                  </a:lnTo>
                  <a:lnTo>
                    <a:pt x="124" y="1077"/>
                  </a:lnTo>
                  <a:lnTo>
                    <a:pt x="123" y="1073"/>
                  </a:lnTo>
                  <a:lnTo>
                    <a:pt x="121" y="1073"/>
                  </a:lnTo>
                  <a:lnTo>
                    <a:pt x="120" y="1072"/>
                  </a:lnTo>
                  <a:lnTo>
                    <a:pt x="119" y="1069"/>
                  </a:lnTo>
                  <a:lnTo>
                    <a:pt x="117" y="1069"/>
                  </a:lnTo>
                  <a:lnTo>
                    <a:pt x="116" y="1067"/>
                  </a:lnTo>
                  <a:lnTo>
                    <a:pt x="115" y="1065"/>
                  </a:lnTo>
                  <a:lnTo>
                    <a:pt x="113" y="1063"/>
                  </a:lnTo>
                  <a:lnTo>
                    <a:pt x="112" y="1060"/>
                  </a:lnTo>
                  <a:lnTo>
                    <a:pt x="109" y="1060"/>
                  </a:lnTo>
                  <a:lnTo>
                    <a:pt x="107" y="1058"/>
                  </a:lnTo>
                  <a:lnTo>
                    <a:pt x="106" y="1056"/>
                  </a:lnTo>
                  <a:lnTo>
                    <a:pt x="103" y="1056"/>
                  </a:lnTo>
                  <a:lnTo>
                    <a:pt x="102" y="1055"/>
                  </a:lnTo>
                  <a:lnTo>
                    <a:pt x="101" y="1053"/>
                  </a:lnTo>
                  <a:lnTo>
                    <a:pt x="98" y="1051"/>
                  </a:lnTo>
                  <a:lnTo>
                    <a:pt x="96" y="1051"/>
                  </a:lnTo>
                  <a:lnTo>
                    <a:pt x="95" y="1050"/>
                  </a:lnTo>
                  <a:lnTo>
                    <a:pt x="94" y="1047"/>
                  </a:lnTo>
                  <a:lnTo>
                    <a:pt x="92" y="1047"/>
                  </a:lnTo>
                  <a:lnTo>
                    <a:pt x="91" y="1044"/>
                  </a:lnTo>
                  <a:lnTo>
                    <a:pt x="90" y="1044"/>
                  </a:lnTo>
                  <a:lnTo>
                    <a:pt x="88" y="1043"/>
                  </a:lnTo>
                  <a:lnTo>
                    <a:pt x="87" y="1040"/>
                  </a:lnTo>
                  <a:lnTo>
                    <a:pt x="85" y="1038"/>
                  </a:lnTo>
                  <a:lnTo>
                    <a:pt x="84" y="1036"/>
                  </a:lnTo>
                  <a:lnTo>
                    <a:pt x="84" y="1033"/>
                  </a:lnTo>
                  <a:lnTo>
                    <a:pt x="82" y="1033"/>
                  </a:lnTo>
                  <a:lnTo>
                    <a:pt x="81" y="1032"/>
                  </a:lnTo>
                  <a:lnTo>
                    <a:pt x="80" y="1031"/>
                  </a:lnTo>
                  <a:lnTo>
                    <a:pt x="78" y="1030"/>
                  </a:lnTo>
                  <a:lnTo>
                    <a:pt x="77" y="1028"/>
                  </a:lnTo>
                  <a:lnTo>
                    <a:pt x="74" y="1027"/>
                  </a:lnTo>
                  <a:lnTo>
                    <a:pt x="74" y="1024"/>
                  </a:lnTo>
                  <a:lnTo>
                    <a:pt x="73" y="1024"/>
                  </a:lnTo>
                  <a:lnTo>
                    <a:pt x="71" y="1024"/>
                  </a:lnTo>
                  <a:lnTo>
                    <a:pt x="70" y="1022"/>
                  </a:lnTo>
                  <a:lnTo>
                    <a:pt x="68" y="1022"/>
                  </a:lnTo>
                  <a:lnTo>
                    <a:pt x="66" y="1020"/>
                  </a:lnTo>
                  <a:lnTo>
                    <a:pt x="64" y="1019"/>
                  </a:lnTo>
                  <a:lnTo>
                    <a:pt x="63" y="1018"/>
                  </a:lnTo>
                  <a:lnTo>
                    <a:pt x="62" y="1018"/>
                  </a:lnTo>
                  <a:lnTo>
                    <a:pt x="59" y="1015"/>
                  </a:lnTo>
                  <a:lnTo>
                    <a:pt x="57" y="1015"/>
                  </a:lnTo>
                  <a:lnTo>
                    <a:pt x="56" y="1014"/>
                  </a:lnTo>
                  <a:lnTo>
                    <a:pt x="55" y="1011"/>
                  </a:lnTo>
                  <a:lnTo>
                    <a:pt x="53" y="1011"/>
                  </a:lnTo>
                  <a:lnTo>
                    <a:pt x="52" y="1010"/>
                  </a:lnTo>
                  <a:lnTo>
                    <a:pt x="49" y="1008"/>
                  </a:lnTo>
                  <a:lnTo>
                    <a:pt x="49" y="1007"/>
                  </a:lnTo>
                  <a:lnTo>
                    <a:pt x="48" y="1005"/>
                  </a:lnTo>
                  <a:lnTo>
                    <a:pt x="46" y="1002"/>
                  </a:lnTo>
                  <a:lnTo>
                    <a:pt x="45" y="1002"/>
                  </a:lnTo>
                  <a:lnTo>
                    <a:pt x="45" y="998"/>
                  </a:lnTo>
                  <a:lnTo>
                    <a:pt x="43" y="996"/>
                  </a:lnTo>
                  <a:lnTo>
                    <a:pt x="42" y="995"/>
                  </a:lnTo>
                  <a:lnTo>
                    <a:pt x="41" y="993"/>
                  </a:lnTo>
                  <a:lnTo>
                    <a:pt x="41" y="991"/>
                  </a:lnTo>
                  <a:lnTo>
                    <a:pt x="39" y="989"/>
                  </a:lnTo>
                  <a:lnTo>
                    <a:pt x="38" y="988"/>
                  </a:lnTo>
                  <a:lnTo>
                    <a:pt x="37" y="986"/>
                  </a:lnTo>
                  <a:lnTo>
                    <a:pt x="37" y="985"/>
                  </a:lnTo>
                  <a:lnTo>
                    <a:pt x="35" y="983"/>
                  </a:lnTo>
                  <a:lnTo>
                    <a:pt x="34" y="982"/>
                  </a:lnTo>
                  <a:lnTo>
                    <a:pt x="32" y="980"/>
                  </a:lnTo>
                  <a:lnTo>
                    <a:pt x="31" y="980"/>
                  </a:lnTo>
                  <a:lnTo>
                    <a:pt x="30" y="980"/>
                  </a:lnTo>
                  <a:lnTo>
                    <a:pt x="31" y="976"/>
                  </a:lnTo>
                  <a:lnTo>
                    <a:pt x="31" y="973"/>
                  </a:lnTo>
                  <a:lnTo>
                    <a:pt x="31" y="971"/>
                  </a:lnTo>
                  <a:lnTo>
                    <a:pt x="31" y="970"/>
                  </a:lnTo>
                  <a:lnTo>
                    <a:pt x="32" y="966"/>
                  </a:lnTo>
                  <a:lnTo>
                    <a:pt x="32" y="965"/>
                  </a:lnTo>
                  <a:lnTo>
                    <a:pt x="34" y="963"/>
                  </a:lnTo>
                  <a:lnTo>
                    <a:pt x="32" y="961"/>
                  </a:lnTo>
                  <a:lnTo>
                    <a:pt x="32" y="957"/>
                  </a:lnTo>
                  <a:lnTo>
                    <a:pt x="32" y="956"/>
                  </a:lnTo>
                  <a:lnTo>
                    <a:pt x="32" y="953"/>
                  </a:lnTo>
                  <a:lnTo>
                    <a:pt x="31" y="952"/>
                  </a:lnTo>
                  <a:lnTo>
                    <a:pt x="30" y="951"/>
                  </a:lnTo>
                  <a:lnTo>
                    <a:pt x="30" y="948"/>
                  </a:lnTo>
                  <a:lnTo>
                    <a:pt x="28" y="946"/>
                  </a:lnTo>
                  <a:lnTo>
                    <a:pt x="27" y="944"/>
                  </a:lnTo>
                  <a:lnTo>
                    <a:pt x="25" y="944"/>
                  </a:lnTo>
                  <a:lnTo>
                    <a:pt x="25" y="943"/>
                  </a:lnTo>
                  <a:lnTo>
                    <a:pt x="24" y="940"/>
                  </a:lnTo>
                  <a:lnTo>
                    <a:pt x="24" y="939"/>
                  </a:lnTo>
                  <a:lnTo>
                    <a:pt x="23" y="937"/>
                  </a:lnTo>
                  <a:lnTo>
                    <a:pt x="23" y="936"/>
                  </a:lnTo>
                  <a:lnTo>
                    <a:pt x="23" y="933"/>
                  </a:lnTo>
                  <a:lnTo>
                    <a:pt x="21" y="931"/>
                  </a:lnTo>
                  <a:lnTo>
                    <a:pt x="20" y="929"/>
                  </a:lnTo>
                  <a:lnTo>
                    <a:pt x="20" y="927"/>
                  </a:lnTo>
                  <a:lnTo>
                    <a:pt x="18" y="927"/>
                  </a:lnTo>
                  <a:lnTo>
                    <a:pt x="16" y="924"/>
                  </a:lnTo>
                  <a:lnTo>
                    <a:pt x="14" y="921"/>
                  </a:lnTo>
                  <a:lnTo>
                    <a:pt x="13" y="921"/>
                  </a:lnTo>
                  <a:lnTo>
                    <a:pt x="10" y="920"/>
                  </a:lnTo>
                  <a:lnTo>
                    <a:pt x="10" y="918"/>
                  </a:lnTo>
                  <a:lnTo>
                    <a:pt x="9" y="918"/>
                  </a:lnTo>
                  <a:lnTo>
                    <a:pt x="9" y="915"/>
                  </a:lnTo>
                  <a:lnTo>
                    <a:pt x="10" y="912"/>
                  </a:lnTo>
                  <a:lnTo>
                    <a:pt x="10" y="911"/>
                  </a:lnTo>
                  <a:lnTo>
                    <a:pt x="10" y="908"/>
                  </a:lnTo>
                  <a:lnTo>
                    <a:pt x="11" y="904"/>
                  </a:lnTo>
                  <a:lnTo>
                    <a:pt x="11" y="903"/>
                  </a:lnTo>
                  <a:lnTo>
                    <a:pt x="11" y="901"/>
                  </a:lnTo>
                  <a:lnTo>
                    <a:pt x="11" y="899"/>
                  </a:lnTo>
                  <a:lnTo>
                    <a:pt x="11" y="895"/>
                  </a:lnTo>
                  <a:lnTo>
                    <a:pt x="10" y="895"/>
                  </a:lnTo>
                  <a:lnTo>
                    <a:pt x="9" y="894"/>
                  </a:lnTo>
                  <a:lnTo>
                    <a:pt x="7" y="891"/>
                  </a:lnTo>
                  <a:lnTo>
                    <a:pt x="6" y="889"/>
                  </a:lnTo>
                  <a:lnTo>
                    <a:pt x="5" y="886"/>
                  </a:lnTo>
                  <a:lnTo>
                    <a:pt x="3" y="882"/>
                  </a:lnTo>
                  <a:lnTo>
                    <a:pt x="2" y="882"/>
                  </a:lnTo>
                  <a:lnTo>
                    <a:pt x="2" y="881"/>
                  </a:lnTo>
                  <a:lnTo>
                    <a:pt x="2" y="878"/>
                  </a:lnTo>
                  <a:lnTo>
                    <a:pt x="3" y="876"/>
                  </a:lnTo>
                  <a:lnTo>
                    <a:pt x="3" y="873"/>
                  </a:lnTo>
                  <a:lnTo>
                    <a:pt x="3" y="871"/>
                  </a:lnTo>
                  <a:lnTo>
                    <a:pt x="5" y="869"/>
                  </a:lnTo>
                  <a:lnTo>
                    <a:pt x="5" y="867"/>
                  </a:lnTo>
                  <a:lnTo>
                    <a:pt x="5" y="866"/>
                  </a:lnTo>
                  <a:lnTo>
                    <a:pt x="5" y="864"/>
                  </a:lnTo>
                  <a:lnTo>
                    <a:pt x="3" y="859"/>
                  </a:lnTo>
                  <a:lnTo>
                    <a:pt x="2" y="858"/>
                  </a:lnTo>
                  <a:lnTo>
                    <a:pt x="2" y="856"/>
                  </a:lnTo>
                  <a:lnTo>
                    <a:pt x="3" y="854"/>
                  </a:lnTo>
                  <a:lnTo>
                    <a:pt x="3" y="853"/>
                  </a:lnTo>
                  <a:lnTo>
                    <a:pt x="5" y="850"/>
                  </a:lnTo>
                  <a:lnTo>
                    <a:pt x="5" y="849"/>
                  </a:lnTo>
                  <a:lnTo>
                    <a:pt x="6" y="846"/>
                  </a:lnTo>
                  <a:lnTo>
                    <a:pt x="7" y="845"/>
                  </a:lnTo>
                  <a:lnTo>
                    <a:pt x="10" y="844"/>
                  </a:lnTo>
                  <a:lnTo>
                    <a:pt x="11" y="842"/>
                  </a:lnTo>
                  <a:lnTo>
                    <a:pt x="11" y="841"/>
                  </a:lnTo>
                  <a:lnTo>
                    <a:pt x="13" y="837"/>
                  </a:lnTo>
                  <a:lnTo>
                    <a:pt x="13" y="836"/>
                  </a:lnTo>
                  <a:lnTo>
                    <a:pt x="11" y="833"/>
                  </a:lnTo>
                  <a:lnTo>
                    <a:pt x="10" y="831"/>
                  </a:lnTo>
                  <a:lnTo>
                    <a:pt x="10" y="828"/>
                  </a:lnTo>
                  <a:lnTo>
                    <a:pt x="9" y="827"/>
                  </a:lnTo>
                  <a:lnTo>
                    <a:pt x="9" y="824"/>
                  </a:lnTo>
                  <a:lnTo>
                    <a:pt x="7" y="821"/>
                  </a:lnTo>
                  <a:lnTo>
                    <a:pt x="6" y="820"/>
                  </a:lnTo>
                  <a:lnTo>
                    <a:pt x="5" y="817"/>
                  </a:lnTo>
                  <a:lnTo>
                    <a:pt x="3" y="815"/>
                  </a:lnTo>
                  <a:lnTo>
                    <a:pt x="2" y="814"/>
                  </a:lnTo>
                  <a:lnTo>
                    <a:pt x="2" y="811"/>
                  </a:lnTo>
                  <a:lnTo>
                    <a:pt x="0" y="808"/>
                  </a:lnTo>
                  <a:lnTo>
                    <a:pt x="0" y="807"/>
                  </a:lnTo>
                  <a:lnTo>
                    <a:pt x="0" y="804"/>
                  </a:lnTo>
                  <a:lnTo>
                    <a:pt x="2" y="804"/>
                  </a:lnTo>
                  <a:lnTo>
                    <a:pt x="5" y="802"/>
                  </a:lnTo>
                  <a:lnTo>
                    <a:pt x="6" y="802"/>
                  </a:lnTo>
                  <a:lnTo>
                    <a:pt x="7" y="802"/>
                  </a:lnTo>
                  <a:lnTo>
                    <a:pt x="9" y="802"/>
                  </a:lnTo>
                  <a:lnTo>
                    <a:pt x="11" y="800"/>
                  </a:lnTo>
                  <a:lnTo>
                    <a:pt x="13" y="800"/>
                  </a:lnTo>
                  <a:lnTo>
                    <a:pt x="14" y="798"/>
                  </a:lnTo>
                  <a:lnTo>
                    <a:pt x="16" y="798"/>
                  </a:lnTo>
                  <a:lnTo>
                    <a:pt x="18" y="798"/>
                  </a:lnTo>
                  <a:lnTo>
                    <a:pt x="20" y="798"/>
                  </a:lnTo>
                  <a:lnTo>
                    <a:pt x="21" y="798"/>
                  </a:lnTo>
                  <a:lnTo>
                    <a:pt x="24" y="798"/>
                  </a:lnTo>
                  <a:lnTo>
                    <a:pt x="25" y="796"/>
                  </a:lnTo>
                  <a:lnTo>
                    <a:pt x="27" y="796"/>
                  </a:lnTo>
                  <a:lnTo>
                    <a:pt x="30" y="796"/>
                  </a:lnTo>
                  <a:lnTo>
                    <a:pt x="31" y="795"/>
                  </a:lnTo>
                  <a:lnTo>
                    <a:pt x="32" y="795"/>
                  </a:lnTo>
                  <a:lnTo>
                    <a:pt x="35" y="795"/>
                  </a:lnTo>
                  <a:lnTo>
                    <a:pt x="37" y="792"/>
                  </a:lnTo>
                  <a:lnTo>
                    <a:pt x="39" y="792"/>
                  </a:lnTo>
                  <a:lnTo>
                    <a:pt x="41" y="792"/>
                  </a:lnTo>
                  <a:lnTo>
                    <a:pt x="42" y="792"/>
                  </a:lnTo>
                  <a:lnTo>
                    <a:pt x="45" y="792"/>
                  </a:lnTo>
                  <a:lnTo>
                    <a:pt x="46" y="791"/>
                  </a:lnTo>
                  <a:lnTo>
                    <a:pt x="48" y="791"/>
                  </a:lnTo>
                  <a:lnTo>
                    <a:pt x="51" y="791"/>
                  </a:lnTo>
                  <a:lnTo>
                    <a:pt x="52" y="789"/>
                  </a:lnTo>
                  <a:lnTo>
                    <a:pt x="53" y="789"/>
                  </a:lnTo>
                  <a:lnTo>
                    <a:pt x="55" y="789"/>
                  </a:lnTo>
                  <a:lnTo>
                    <a:pt x="57" y="789"/>
                  </a:lnTo>
                  <a:lnTo>
                    <a:pt x="59" y="789"/>
                  </a:lnTo>
                  <a:lnTo>
                    <a:pt x="60" y="789"/>
                  </a:lnTo>
                  <a:lnTo>
                    <a:pt x="63" y="787"/>
                  </a:lnTo>
                  <a:lnTo>
                    <a:pt x="66" y="787"/>
                  </a:lnTo>
                  <a:lnTo>
                    <a:pt x="67" y="786"/>
                  </a:lnTo>
                  <a:lnTo>
                    <a:pt x="68" y="786"/>
                  </a:lnTo>
                  <a:lnTo>
                    <a:pt x="71" y="784"/>
                  </a:lnTo>
                  <a:lnTo>
                    <a:pt x="73" y="784"/>
                  </a:lnTo>
                  <a:lnTo>
                    <a:pt x="76" y="784"/>
                  </a:lnTo>
                  <a:lnTo>
                    <a:pt x="77" y="784"/>
                  </a:lnTo>
                  <a:lnTo>
                    <a:pt x="80" y="783"/>
                  </a:lnTo>
                  <a:lnTo>
                    <a:pt x="81" y="783"/>
                  </a:lnTo>
                  <a:lnTo>
                    <a:pt x="84" y="783"/>
                  </a:lnTo>
                  <a:lnTo>
                    <a:pt x="85" y="782"/>
                  </a:lnTo>
                  <a:lnTo>
                    <a:pt x="87" y="782"/>
                  </a:lnTo>
                  <a:lnTo>
                    <a:pt x="90" y="779"/>
                  </a:lnTo>
                  <a:lnTo>
                    <a:pt x="92" y="779"/>
                  </a:lnTo>
                  <a:lnTo>
                    <a:pt x="94" y="779"/>
                  </a:lnTo>
                  <a:lnTo>
                    <a:pt x="96" y="778"/>
                  </a:lnTo>
                  <a:lnTo>
                    <a:pt x="98" y="778"/>
                  </a:lnTo>
                  <a:lnTo>
                    <a:pt x="99" y="778"/>
                  </a:lnTo>
                  <a:lnTo>
                    <a:pt x="102" y="778"/>
                  </a:lnTo>
                  <a:lnTo>
                    <a:pt x="105" y="778"/>
                  </a:lnTo>
                  <a:lnTo>
                    <a:pt x="106" y="778"/>
                  </a:lnTo>
                  <a:lnTo>
                    <a:pt x="107" y="775"/>
                  </a:lnTo>
                  <a:lnTo>
                    <a:pt x="110" y="775"/>
                  </a:lnTo>
                  <a:lnTo>
                    <a:pt x="112" y="775"/>
                  </a:lnTo>
                  <a:lnTo>
                    <a:pt x="113" y="775"/>
                  </a:lnTo>
                  <a:lnTo>
                    <a:pt x="116" y="775"/>
                  </a:lnTo>
                  <a:lnTo>
                    <a:pt x="119" y="774"/>
                  </a:lnTo>
                  <a:lnTo>
                    <a:pt x="120" y="774"/>
                  </a:lnTo>
                  <a:lnTo>
                    <a:pt x="123" y="773"/>
                  </a:lnTo>
                  <a:lnTo>
                    <a:pt x="124" y="771"/>
                  </a:lnTo>
                  <a:lnTo>
                    <a:pt x="127" y="771"/>
                  </a:lnTo>
                  <a:lnTo>
                    <a:pt x="130" y="770"/>
                  </a:lnTo>
                  <a:lnTo>
                    <a:pt x="131" y="769"/>
                  </a:lnTo>
                  <a:lnTo>
                    <a:pt x="134" y="766"/>
                  </a:lnTo>
                  <a:lnTo>
                    <a:pt x="135" y="766"/>
                  </a:lnTo>
                  <a:lnTo>
                    <a:pt x="138" y="766"/>
                  </a:lnTo>
                  <a:lnTo>
                    <a:pt x="140" y="766"/>
                  </a:lnTo>
                  <a:lnTo>
                    <a:pt x="142" y="765"/>
                  </a:lnTo>
                  <a:lnTo>
                    <a:pt x="144" y="762"/>
                  </a:lnTo>
                  <a:lnTo>
                    <a:pt x="146" y="762"/>
                  </a:lnTo>
                  <a:lnTo>
                    <a:pt x="148" y="762"/>
                  </a:lnTo>
                  <a:lnTo>
                    <a:pt x="149" y="761"/>
                  </a:lnTo>
                  <a:lnTo>
                    <a:pt x="152" y="759"/>
                  </a:lnTo>
                  <a:lnTo>
                    <a:pt x="155" y="759"/>
                  </a:lnTo>
                  <a:lnTo>
                    <a:pt x="156" y="757"/>
                  </a:lnTo>
                  <a:lnTo>
                    <a:pt x="157" y="757"/>
                  </a:lnTo>
                  <a:lnTo>
                    <a:pt x="160" y="755"/>
                  </a:lnTo>
                  <a:lnTo>
                    <a:pt x="162" y="755"/>
                  </a:lnTo>
                  <a:lnTo>
                    <a:pt x="163" y="753"/>
                  </a:lnTo>
                  <a:lnTo>
                    <a:pt x="166" y="753"/>
                  </a:lnTo>
                  <a:lnTo>
                    <a:pt x="167" y="753"/>
                  </a:lnTo>
                  <a:lnTo>
                    <a:pt x="170" y="752"/>
                  </a:lnTo>
                  <a:lnTo>
                    <a:pt x="171" y="750"/>
                  </a:lnTo>
                  <a:lnTo>
                    <a:pt x="173" y="750"/>
                  </a:lnTo>
                  <a:lnTo>
                    <a:pt x="176" y="749"/>
                  </a:lnTo>
                  <a:lnTo>
                    <a:pt x="177" y="748"/>
                  </a:lnTo>
                  <a:lnTo>
                    <a:pt x="179" y="748"/>
                  </a:lnTo>
                  <a:lnTo>
                    <a:pt x="181" y="746"/>
                  </a:lnTo>
                  <a:lnTo>
                    <a:pt x="182" y="746"/>
                  </a:lnTo>
                  <a:lnTo>
                    <a:pt x="184" y="744"/>
                  </a:lnTo>
                  <a:lnTo>
                    <a:pt x="185" y="744"/>
                  </a:lnTo>
                  <a:lnTo>
                    <a:pt x="187" y="744"/>
                  </a:lnTo>
                  <a:lnTo>
                    <a:pt x="188" y="742"/>
                  </a:lnTo>
                  <a:lnTo>
                    <a:pt x="191" y="740"/>
                  </a:lnTo>
                  <a:lnTo>
                    <a:pt x="192" y="740"/>
                  </a:lnTo>
                  <a:lnTo>
                    <a:pt x="194" y="738"/>
                  </a:lnTo>
                  <a:lnTo>
                    <a:pt x="195" y="738"/>
                  </a:lnTo>
                  <a:lnTo>
                    <a:pt x="198" y="737"/>
                  </a:lnTo>
                  <a:lnTo>
                    <a:pt x="199" y="734"/>
                  </a:lnTo>
                  <a:lnTo>
                    <a:pt x="202" y="734"/>
                  </a:lnTo>
                  <a:lnTo>
                    <a:pt x="204" y="734"/>
                  </a:lnTo>
                  <a:lnTo>
                    <a:pt x="205" y="734"/>
                  </a:lnTo>
                  <a:lnTo>
                    <a:pt x="206" y="733"/>
                  </a:lnTo>
                  <a:lnTo>
                    <a:pt x="209" y="730"/>
                  </a:lnTo>
                  <a:lnTo>
                    <a:pt x="210" y="730"/>
                  </a:lnTo>
                  <a:lnTo>
                    <a:pt x="212" y="730"/>
                  </a:lnTo>
                  <a:lnTo>
                    <a:pt x="213" y="730"/>
                  </a:lnTo>
                  <a:lnTo>
                    <a:pt x="215" y="729"/>
                  </a:lnTo>
                  <a:lnTo>
                    <a:pt x="217" y="729"/>
                  </a:lnTo>
                  <a:lnTo>
                    <a:pt x="219" y="727"/>
                  </a:lnTo>
                  <a:lnTo>
                    <a:pt x="220" y="727"/>
                  </a:lnTo>
                  <a:lnTo>
                    <a:pt x="223" y="727"/>
                  </a:lnTo>
                  <a:lnTo>
                    <a:pt x="224" y="725"/>
                  </a:lnTo>
                  <a:lnTo>
                    <a:pt x="226" y="725"/>
                  </a:lnTo>
                  <a:lnTo>
                    <a:pt x="227" y="721"/>
                  </a:lnTo>
                  <a:lnTo>
                    <a:pt x="229" y="721"/>
                  </a:lnTo>
                  <a:lnTo>
                    <a:pt x="231" y="721"/>
                  </a:lnTo>
                  <a:lnTo>
                    <a:pt x="232" y="721"/>
                  </a:lnTo>
                  <a:lnTo>
                    <a:pt x="235" y="720"/>
                  </a:lnTo>
                  <a:lnTo>
                    <a:pt x="237" y="717"/>
                  </a:lnTo>
                  <a:lnTo>
                    <a:pt x="238" y="717"/>
                  </a:lnTo>
                  <a:lnTo>
                    <a:pt x="241" y="717"/>
                  </a:lnTo>
                  <a:lnTo>
                    <a:pt x="242" y="716"/>
                  </a:lnTo>
                  <a:lnTo>
                    <a:pt x="245" y="716"/>
                  </a:lnTo>
                  <a:lnTo>
                    <a:pt x="246" y="715"/>
                  </a:lnTo>
                  <a:lnTo>
                    <a:pt x="248" y="715"/>
                  </a:lnTo>
                  <a:lnTo>
                    <a:pt x="251" y="713"/>
                  </a:lnTo>
                  <a:lnTo>
                    <a:pt x="254" y="713"/>
                  </a:lnTo>
                  <a:lnTo>
                    <a:pt x="255" y="713"/>
                  </a:lnTo>
                  <a:lnTo>
                    <a:pt x="256" y="712"/>
                  </a:lnTo>
                  <a:lnTo>
                    <a:pt x="259" y="712"/>
                  </a:lnTo>
                  <a:lnTo>
                    <a:pt x="260" y="711"/>
                  </a:lnTo>
                  <a:lnTo>
                    <a:pt x="263" y="711"/>
                  </a:lnTo>
                  <a:lnTo>
                    <a:pt x="266" y="708"/>
                  </a:lnTo>
                  <a:lnTo>
                    <a:pt x="267" y="708"/>
                  </a:lnTo>
                  <a:lnTo>
                    <a:pt x="269" y="708"/>
                  </a:lnTo>
                  <a:lnTo>
                    <a:pt x="271" y="708"/>
                  </a:lnTo>
                  <a:lnTo>
                    <a:pt x="273" y="707"/>
                  </a:lnTo>
                  <a:lnTo>
                    <a:pt x="276" y="704"/>
                  </a:lnTo>
                  <a:lnTo>
                    <a:pt x="279" y="704"/>
                  </a:lnTo>
                  <a:lnTo>
                    <a:pt x="280" y="704"/>
                  </a:lnTo>
                  <a:lnTo>
                    <a:pt x="283" y="703"/>
                  </a:lnTo>
                  <a:lnTo>
                    <a:pt x="285" y="703"/>
                  </a:lnTo>
                  <a:lnTo>
                    <a:pt x="287" y="699"/>
                  </a:lnTo>
                  <a:lnTo>
                    <a:pt x="288" y="699"/>
                  </a:lnTo>
                  <a:lnTo>
                    <a:pt x="290" y="699"/>
                  </a:lnTo>
                  <a:lnTo>
                    <a:pt x="292" y="699"/>
                  </a:lnTo>
                  <a:lnTo>
                    <a:pt x="294" y="699"/>
                  </a:lnTo>
                  <a:lnTo>
                    <a:pt x="296" y="698"/>
                  </a:lnTo>
                  <a:lnTo>
                    <a:pt x="298" y="695"/>
                  </a:lnTo>
                  <a:lnTo>
                    <a:pt x="301" y="695"/>
                  </a:lnTo>
                  <a:lnTo>
                    <a:pt x="302" y="695"/>
                  </a:lnTo>
                  <a:lnTo>
                    <a:pt x="304" y="693"/>
                  </a:lnTo>
                  <a:lnTo>
                    <a:pt x="305" y="693"/>
                  </a:lnTo>
                  <a:lnTo>
                    <a:pt x="306" y="693"/>
                  </a:lnTo>
                  <a:lnTo>
                    <a:pt x="309" y="692"/>
                  </a:lnTo>
                  <a:lnTo>
                    <a:pt x="310" y="692"/>
                  </a:lnTo>
                  <a:lnTo>
                    <a:pt x="313" y="691"/>
                  </a:lnTo>
                  <a:lnTo>
                    <a:pt x="316" y="691"/>
                  </a:lnTo>
                  <a:lnTo>
                    <a:pt x="317" y="690"/>
                  </a:lnTo>
                  <a:lnTo>
                    <a:pt x="319" y="688"/>
                  </a:lnTo>
                  <a:lnTo>
                    <a:pt x="322" y="688"/>
                  </a:lnTo>
                  <a:lnTo>
                    <a:pt x="323" y="686"/>
                  </a:lnTo>
                  <a:lnTo>
                    <a:pt x="324" y="686"/>
                  </a:lnTo>
                  <a:lnTo>
                    <a:pt x="327" y="686"/>
                  </a:lnTo>
                  <a:lnTo>
                    <a:pt x="330" y="684"/>
                  </a:lnTo>
                  <a:lnTo>
                    <a:pt x="331" y="682"/>
                  </a:lnTo>
                  <a:lnTo>
                    <a:pt x="333" y="682"/>
                  </a:lnTo>
                  <a:lnTo>
                    <a:pt x="336" y="682"/>
                  </a:lnTo>
                  <a:lnTo>
                    <a:pt x="338" y="682"/>
                  </a:lnTo>
                  <a:lnTo>
                    <a:pt x="340" y="682"/>
                  </a:lnTo>
                  <a:lnTo>
                    <a:pt x="341" y="680"/>
                  </a:lnTo>
                  <a:lnTo>
                    <a:pt x="344" y="680"/>
                  </a:lnTo>
                  <a:lnTo>
                    <a:pt x="345" y="678"/>
                  </a:lnTo>
                  <a:lnTo>
                    <a:pt x="348" y="678"/>
                  </a:lnTo>
                  <a:lnTo>
                    <a:pt x="350" y="678"/>
                  </a:lnTo>
                  <a:lnTo>
                    <a:pt x="352" y="678"/>
                  </a:lnTo>
                  <a:lnTo>
                    <a:pt x="354" y="676"/>
                  </a:lnTo>
                  <a:lnTo>
                    <a:pt x="356" y="676"/>
                  </a:lnTo>
                  <a:lnTo>
                    <a:pt x="358" y="675"/>
                  </a:lnTo>
                  <a:lnTo>
                    <a:pt x="361" y="675"/>
                  </a:lnTo>
                  <a:lnTo>
                    <a:pt x="361" y="673"/>
                  </a:lnTo>
                  <a:lnTo>
                    <a:pt x="364" y="673"/>
                  </a:lnTo>
                  <a:lnTo>
                    <a:pt x="365" y="671"/>
                  </a:lnTo>
                  <a:lnTo>
                    <a:pt x="367" y="671"/>
                  </a:lnTo>
                  <a:lnTo>
                    <a:pt x="369" y="668"/>
                  </a:lnTo>
                  <a:lnTo>
                    <a:pt x="372" y="668"/>
                  </a:lnTo>
                  <a:lnTo>
                    <a:pt x="373" y="668"/>
                  </a:lnTo>
                  <a:lnTo>
                    <a:pt x="376" y="667"/>
                  </a:lnTo>
                  <a:lnTo>
                    <a:pt x="377" y="667"/>
                  </a:lnTo>
                  <a:lnTo>
                    <a:pt x="379" y="666"/>
                  </a:lnTo>
                  <a:lnTo>
                    <a:pt x="381" y="666"/>
                  </a:lnTo>
                  <a:lnTo>
                    <a:pt x="384" y="663"/>
                  </a:lnTo>
                  <a:lnTo>
                    <a:pt x="386" y="663"/>
                  </a:lnTo>
                  <a:lnTo>
                    <a:pt x="387" y="663"/>
                  </a:lnTo>
                  <a:lnTo>
                    <a:pt x="390" y="663"/>
                  </a:lnTo>
                  <a:lnTo>
                    <a:pt x="391" y="662"/>
                  </a:lnTo>
                  <a:lnTo>
                    <a:pt x="394" y="662"/>
                  </a:lnTo>
                  <a:lnTo>
                    <a:pt x="395" y="659"/>
                  </a:lnTo>
                  <a:lnTo>
                    <a:pt x="397" y="659"/>
                  </a:lnTo>
                  <a:lnTo>
                    <a:pt x="400" y="659"/>
                  </a:lnTo>
                  <a:lnTo>
                    <a:pt x="402" y="658"/>
                  </a:lnTo>
                  <a:lnTo>
                    <a:pt x="404" y="658"/>
                  </a:lnTo>
                  <a:lnTo>
                    <a:pt x="405" y="657"/>
                  </a:lnTo>
                  <a:lnTo>
                    <a:pt x="408" y="657"/>
                  </a:lnTo>
                  <a:lnTo>
                    <a:pt x="409" y="655"/>
                  </a:lnTo>
                  <a:lnTo>
                    <a:pt x="411" y="655"/>
                  </a:lnTo>
                  <a:lnTo>
                    <a:pt x="412" y="654"/>
                  </a:lnTo>
                  <a:lnTo>
                    <a:pt x="415" y="654"/>
                  </a:lnTo>
                  <a:lnTo>
                    <a:pt x="416" y="653"/>
                  </a:lnTo>
                  <a:lnTo>
                    <a:pt x="419" y="653"/>
                  </a:lnTo>
                  <a:lnTo>
                    <a:pt x="420" y="650"/>
                  </a:lnTo>
                  <a:lnTo>
                    <a:pt x="422" y="650"/>
                  </a:lnTo>
                  <a:lnTo>
                    <a:pt x="423" y="650"/>
                  </a:lnTo>
                  <a:lnTo>
                    <a:pt x="426" y="649"/>
                  </a:lnTo>
                  <a:lnTo>
                    <a:pt x="427" y="649"/>
                  </a:lnTo>
                  <a:lnTo>
                    <a:pt x="430" y="646"/>
                  </a:lnTo>
                  <a:lnTo>
                    <a:pt x="431" y="646"/>
                  </a:lnTo>
                  <a:lnTo>
                    <a:pt x="433" y="646"/>
                  </a:lnTo>
                  <a:lnTo>
                    <a:pt x="434" y="646"/>
                  </a:lnTo>
                  <a:lnTo>
                    <a:pt x="436" y="645"/>
                  </a:lnTo>
                  <a:lnTo>
                    <a:pt x="439" y="645"/>
                  </a:lnTo>
                  <a:lnTo>
                    <a:pt x="440" y="643"/>
                  </a:lnTo>
                  <a:lnTo>
                    <a:pt x="442" y="642"/>
                  </a:lnTo>
                  <a:lnTo>
                    <a:pt x="444" y="642"/>
                  </a:lnTo>
                  <a:lnTo>
                    <a:pt x="445" y="641"/>
                  </a:lnTo>
                  <a:lnTo>
                    <a:pt x="447" y="641"/>
                  </a:lnTo>
                  <a:lnTo>
                    <a:pt x="450" y="640"/>
                  </a:lnTo>
                  <a:lnTo>
                    <a:pt x="451" y="640"/>
                  </a:lnTo>
                  <a:lnTo>
                    <a:pt x="454" y="637"/>
                  </a:lnTo>
                  <a:lnTo>
                    <a:pt x="455" y="637"/>
                  </a:lnTo>
                  <a:lnTo>
                    <a:pt x="456" y="637"/>
                  </a:lnTo>
                  <a:lnTo>
                    <a:pt x="458" y="636"/>
                  </a:lnTo>
                  <a:lnTo>
                    <a:pt x="461" y="636"/>
                  </a:lnTo>
                  <a:lnTo>
                    <a:pt x="462" y="633"/>
                  </a:lnTo>
                  <a:lnTo>
                    <a:pt x="465" y="633"/>
                  </a:lnTo>
                  <a:lnTo>
                    <a:pt x="466" y="633"/>
                  </a:lnTo>
                  <a:lnTo>
                    <a:pt x="469" y="633"/>
                  </a:lnTo>
                  <a:lnTo>
                    <a:pt x="472" y="632"/>
                  </a:lnTo>
                  <a:lnTo>
                    <a:pt x="473" y="632"/>
                  </a:lnTo>
                  <a:lnTo>
                    <a:pt x="476" y="630"/>
                  </a:lnTo>
                  <a:lnTo>
                    <a:pt x="477" y="630"/>
                  </a:lnTo>
                  <a:lnTo>
                    <a:pt x="479" y="630"/>
                  </a:lnTo>
                  <a:lnTo>
                    <a:pt x="481" y="628"/>
                  </a:lnTo>
                  <a:lnTo>
                    <a:pt x="484" y="628"/>
                  </a:lnTo>
                  <a:lnTo>
                    <a:pt x="486" y="628"/>
                  </a:lnTo>
                  <a:lnTo>
                    <a:pt x="489" y="628"/>
                  </a:lnTo>
                  <a:lnTo>
                    <a:pt x="490" y="628"/>
                  </a:lnTo>
                  <a:lnTo>
                    <a:pt x="491" y="628"/>
                  </a:lnTo>
                  <a:lnTo>
                    <a:pt x="494" y="626"/>
                  </a:lnTo>
                  <a:lnTo>
                    <a:pt x="497" y="626"/>
                  </a:lnTo>
                  <a:lnTo>
                    <a:pt x="498" y="624"/>
                  </a:lnTo>
                  <a:lnTo>
                    <a:pt x="501" y="624"/>
                  </a:lnTo>
                  <a:lnTo>
                    <a:pt x="502" y="624"/>
                  </a:lnTo>
                  <a:lnTo>
                    <a:pt x="505" y="624"/>
                  </a:lnTo>
                  <a:lnTo>
                    <a:pt x="506" y="624"/>
                  </a:lnTo>
                  <a:lnTo>
                    <a:pt x="509" y="623"/>
                  </a:lnTo>
                  <a:lnTo>
                    <a:pt x="511" y="623"/>
                  </a:lnTo>
                  <a:lnTo>
                    <a:pt x="514" y="623"/>
                  </a:lnTo>
                  <a:lnTo>
                    <a:pt x="515" y="621"/>
                  </a:lnTo>
                  <a:lnTo>
                    <a:pt x="517" y="621"/>
                  </a:lnTo>
                  <a:lnTo>
                    <a:pt x="520" y="620"/>
                  </a:lnTo>
                  <a:lnTo>
                    <a:pt x="522" y="620"/>
                  </a:lnTo>
                  <a:lnTo>
                    <a:pt x="525" y="620"/>
                  </a:lnTo>
                  <a:lnTo>
                    <a:pt x="527" y="618"/>
                  </a:lnTo>
                  <a:lnTo>
                    <a:pt x="529" y="618"/>
                  </a:lnTo>
                  <a:lnTo>
                    <a:pt x="531" y="617"/>
                  </a:lnTo>
                  <a:lnTo>
                    <a:pt x="534" y="617"/>
                  </a:lnTo>
                  <a:lnTo>
                    <a:pt x="536" y="617"/>
                  </a:lnTo>
                  <a:lnTo>
                    <a:pt x="539" y="615"/>
                  </a:lnTo>
                  <a:lnTo>
                    <a:pt x="541" y="615"/>
                  </a:lnTo>
                  <a:lnTo>
                    <a:pt x="544" y="615"/>
                  </a:lnTo>
                  <a:lnTo>
                    <a:pt x="545" y="615"/>
                  </a:lnTo>
                  <a:lnTo>
                    <a:pt x="548" y="613"/>
                  </a:lnTo>
                  <a:lnTo>
                    <a:pt x="551" y="613"/>
                  </a:lnTo>
                  <a:lnTo>
                    <a:pt x="552" y="613"/>
                  </a:lnTo>
                  <a:lnTo>
                    <a:pt x="555" y="611"/>
                  </a:lnTo>
                  <a:lnTo>
                    <a:pt x="556" y="611"/>
                  </a:lnTo>
                  <a:lnTo>
                    <a:pt x="559" y="611"/>
                  </a:lnTo>
                  <a:lnTo>
                    <a:pt x="561" y="611"/>
                  </a:lnTo>
                  <a:lnTo>
                    <a:pt x="564" y="611"/>
                  </a:lnTo>
                  <a:lnTo>
                    <a:pt x="566" y="609"/>
                  </a:lnTo>
                  <a:lnTo>
                    <a:pt x="569" y="609"/>
                  </a:lnTo>
                  <a:lnTo>
                    <a:pt x="570" y="608"/>
                  </a:lnTo>
                  <a:lnTo>
                    <a:pt x="573" y="608"/>
                  </a:lnTo>
                  <a:lnTo>
                    <a:pt x="576" y="608"/>
                  </a:lnTo>
                  <a:lnTo>
                    <a:pt x="576" y="605"/>
                  </a:lnTo>
                  <a:lnTo>
                    <a:pt x="577" y="605"/>
                  </a:lnTo>
                  <a:lnTo>
                    <a:pt x="580" y="605"/>
                  </a:lnTo>
                  <a:lnTo>
                    <a:pt x="583" y="605"/>
                  </a:lnTo>
                  <a:lnTo>
                    <a:pt x="584" y="605"/>
                  </a:lnTo>
                  <a:lnTo>
                    <a:pt x="586" y="605"/>
                  </a:lnTo>
                  <a:lnTo>
                    <a:pt x="589" y="604"/>
                  </a:lnTo>
                  <a:lnTo>
                    <a:pt x="591" y="604"/>
                  </a:lnTo>
                  <a:lnTo>
                    <a:pt x="593" y="601"/>
                  </a:lnTo>
                  <a:lnTo>
                    <a:pt x="596" y="601"/>
                  </a:lnTo>
                  <a:lnTo>
                    <a:pt x="597" y="601"/>
                  </a:lnTo>
                  <a:lnTo>
                    <a:pt x="600" y="601"/>
                  </a:lnTo>
                  <a:lnTo>
                    <a:pt x="602" y="600"/>
                  </a:lnTo>
                  <a:lnTo>
                    <a:pt x="604" y="600"/>
                  </a:lnTo>
                  <a:lnTo>
                    <a:pt x="605" y="600"/>
                  </a:lnTo>
                  <a:lnTo>
                    <a:pt x="608" y="598"/>
                  </a:lnTo>
                  <a:lnTo>
                    <a:pt x="611" y="598"/>
                  </a:lnTo>
                  <a:lnTo>
                    <a:pt x="612" y="598"/>
                  </a:lnTo>
                  <a:lnTo>
                    <a:pt x="615" y="598"/>
                  </a:lnTo>
                  <a:lnTo>
                    <a:pt x="616" y="596"/>
                  </a:lnTo>
                  <a:lnTo>
                    <a:pt x="619" y="596"/>
                  </a:lnTo>
                  <a:lnTo>
                    <a:pt x="622" y="596"/>
                  </a:lnTo>
                  <a:lnTo>
                    <a:pt x="624" y="595"/>
                  </a:lnTo>
                  <a:lnTo>
                    <a:pt x="626" y="595"/>
                  </a:lnTo>
                  <a:lnTo>
                    <a:pt x="629" y="592"/>
                  </a:lnTo>
                  <a:lnTo>
                    <a:pt x="630" y="592"/>
                  </a:lnTo>
                  <a:lnTo>
                    <a:pt x="632" y="592"/>
                  </a:lnTo>
                  <a:lnTo>
                    <a:pt x="635" y="592"/>
                  </a:lnTo>
                  <a:lnTo>
                    <a:pt x="637" y="591"/>
                  </a:lnTo>
                  <a:lnTo>
                    <a:pt x="639" y="591"/>
                  </a:lnTo>
                  <a:lnTo>
                    <a:pt x="641" y="588"/>
                  </a:lnTo>
                  <a:lnTo>
                    <a:pt x="644" y="588"/>
                  </a:lnTo>
                  <a:lnTo>
                    <a:pt x="646" y="588"/>
                  </a:lnTo>
                  <a:lnTo>
                    <a:pt x="649" y="588"/>
                  </a:lnTo>
                  <a:lnTo>
                    <a:pt x="650" y="588"/>
                  </a:lnTo>
                  <a:lnTo>
                    <a:pt x="651" y="588"/>
                  </a:lnTo>
                  <a:lnTo>
                    <a:pt x="654" y="588"/>
                  </a:lnTo>
                  <a:lnTo>
                    <a:pt x="655" y="588"/>
                  </a:lnTo>
                  <a:lnTo>
                    <a:pt x="657" y="588"/>
                  </a:lnTo>
                  <a:lnTo>
                    <a:pt x="660" y="587"/>
                  </a:lnTo>
                  <a:lnTo>
                    <a:pt x="662" y="587"/>
                  </a:lnTo>
                  <a:lnTo>
                    <a:pt x="664" y="586"/>
                  </a:lnTo>
                  <a:lnTo>
                    <a:pt x="665" y="586"/>
                  </a:lnTo>
                  <a:lnTo>
                    <a:pt x="666" y="584"/>
                  </a:lnTo>
                  <a:lnTo>
                    <a:pt x="669" y="584"/>
                  </a:lnTo>
                  <a:lnTo>
                    <a:pt x="672" y="584"/>
                  </a:lnTo>
                  <a:lnTo>
                    <a:pt x="674" y="584"/>
                  </a:lnTo>
                  <a:lnTo>
                    <a:pt x="676" y="583"/>
                  </a:lnTo>
                  <a:lnTo>
                    <a:pt x="678" y="583"/>
                  </a:lnTo>
                  <a:lnTo>
                    <a:pt x="679" y="581"/>
                  </a:lnTo>
                  <a:lnTo>
                    <a:pt x="680" y="581"/>
                  </a:lnTo>
                  <a:lnTo>
                    <a:pt x="682" y="579"/>
                  </a:lnTo>
                  <a:lnTo>
                    <a:pt x="683" y="579"/>
                  </a:lnTo>
                  <a:lnTo>
                    <a:pt x="685" y="579"/>
                  </a:lnTo>
                  <a:lnTo>
                    <a:pt x="687" y="579"/>
                  </a:lnTo>
                  <a:lnTo>
                    <a:pt x="689" y="579"/>
                  </a:lnTo>
                  <a:lnTo>
                    <a:pt x="691" y="579"/>
                  </a:lnTo>
                  <a:lnTo>
                    <a:pt x="694" y="579"/>
                  </a:lnTo>
                  <a:lnTo>
                    <a:pt x="696" y="579"/>
                  </a:lnTo>
                  <a:lnTo>
                    <a:pt x="697" y="578"/>
                  </a:lnTo>
                  <a:lnTo>
                    <a:pt x="700" y="578"/>
                  </a:lnTo>
                  <a:lnTo>
                    <a:pt x="701" y="575"/>
                  </a:lnTo>
                  <a:lnTo>
                    <a:pt x="703" y="575"/>
                  </a:lnTo>
                  <a:lnTo>
                    <a:pt x="704" y="575"/>
                  </a:lnTo>
                  <a:lnTo>
                    <a:pt x="707" y="575"/>
                  </a:lnTo>
                  <a:lnTo>
                    <a:pt x="710" y="574"/>
                  </a:lnTo>
                  <a:lnTo>
                    <a:pt x="711" y="574"/>
                  </a:lnTo>
                  <a:lnTo>
                    <a:pt x="714" y="573"/>
                  </a:lnTo>
                  <a:lnTo>
                    <a:pt x="715" y="573"/>
                  </a:lnTo>
                  <a:lnTo>
                    <a:pt x="718" y="570"/>
                  </a:lnTo>
                  <a:lnTo>
                    <a:pt x="719" y="570"/>
                  </a:lnTo>
                  <a:lnTo>
                    <a:pt x="722" y="570"/>
                  </a:lnTo>
                  <a:lnTo>
                    <a:pt x="724" y="568"/>
                  </a:lnTo>
                  <a:lnTo>
                    <a:pt x="726" y="568"/>
                  </a:lnTo>
                  <a:lnTo>
                    <a:pt x="728" y="566"/>
                  </a:lnTo>
                  <a:lnTo>
                    <a:pt x="729" y="566"/>
                  </a:lnTo>
                  <a:lnTo>
                    <a:pt x="732" y="566"/>
                  </a:lnTo>
                  <a:lnTo>
                    <a:pt x="733" y="566"/>
                  </a:lnTo>
                  <a:lnTo>
                    <a:pt x="735" y="566"/>
                  </a:lnTo>
                  <a:lnTo>
                    <a:pt x="737" y="564"/>
                  </a:lnTo>
                  <a:lnTo>
                    <a:pt x="740" y="562"/>
                  </a:lnTo>
                  <a:lnTo>
                    <a:pt x="741" y="562"/>
                  </a:lnTo>
                  <a:lnTo>
                    <a:pt x="743" y="562"/>
                  </a:lnTo>
                  <a:lnTo>
                    <a:pt x="746" y="562"/>
                  </a:lnTo>
                  <a:lnTo>
                    <a:pt x="749" y="561"/>
                  </a:lnTo>
                  <a:lnTo>
                    <a:pt x="750" y="561"/>
                  </a:lnTo>
                  <a:lnTo>
                    <a:pt x="751" y="559"/>
                  </a:lnTo>
                  <a:lnTo>
                    <a:pt x="755" y="556"/>
                  </a:lnTo>
                  <a:lnTo>
                    <a:pt x="757" y="556"/>
                  </a:lnTo>
                  <a:lnTo>
                    <a:pt x="760" y="556"/>
                  </a:lnTo>
                  <a:lnTo>
                    <a:pt x="761" y="556"/>
                  </a:lnTo>
                  <a:lnTo>
                    <a:pt x="764" y="555"/>
                  </a:lnTo>
                  <a:lnTo>
                    <a:pt x="765" y="555"/>
                  </a:lnTo>
                  <a:lnTo>
                    <a:pt x="768" y="555"/>
                  </a:lnTo>
                  <a:lnTo>
                    <a:pt x="771" y="553"/>
                  </a:lnTo>
                  <a:lnTo>
                    <a:pt x="772" y="553"/>
                  </a:lnTo>
                  <a:lnTo>
                    <a:pt x="775" y="553"/>
                  </a:lnTo>
                  <a:lnTo>
                    <a:pt x="776" y="551"/>
                  </a:lnTo>
                  <a:lnTo>
                    <a:pt x="779" y="550"/>
                  </a:lnTo>
                  <a:lnTo>
                    <a:pt x="780" y="550"/>
                  </a:lnTo>
                  <a:lnTo>
                    <a:pt x="783" y="549"/>
                  </a:lnTo>
                  <a:lnTo>
                    <a:pt x="786" y="549"/>
                  </a:lnTo>
                  <a:lnTo>
                    <a:pt x="788" y="547"/>
                  </a:lnTo>
                  <a:lnTo>
                    <a:pt x="789" y="547"/>
                  </a:lnTo>
                  <a:lnTo>
                    <a:pt x="791" y="546"/>
                  </a:lnTo>
                  <a:lnTo>
                    <a:pt x="794" y="546"/>
                  </a:lnTo>
                  <a:lnTo>
                    <a:pt x="796" y="543"/>
                  </a:lnTo>
                  <a:lnTo>
                    <a:pt x="799" y="543"/>
                  </a:lnTo>
                  <a:lnTo>
                    <a:pt x="801" y="543"/>
                  </a:lnTo>
                  <a:lnTo>
                    <a:pt x="803" y="543"/>
                  </a:lnTo>
                  <a:lnTo>
                    <a:pt x="805" y="542"/>
                  </a:lnTo>
                  <a:lnTo>
                    <a:pt x="808" y="542"/>
                  </a:lnTo>
                  <a:lnTo>
                    <a:pt x="810" y="539"/>
                  </a:lnTo>
                  <a:lnTo>
                    <a:pt x="813" y="539"/>
                  </a:lnTo>
                  <a:lnTo>
                    <a:pt x="814" y="539"/>
                  </a:lnTo>
                  <a:lnTo>
                    <a:pt x="816" y="539"/>
                  </a:lnTo>
                  <a:lnTo>
                    <a:pt x="819" y="539"/>
                  </a:lnTo>
                  <a:lnTo>
                    <a:pt x="821" y="538"/>
                  </a:lnTo>
                  <a:lnTo>
                    <a:pt x="824" y="538"/>
                  </a:lnTo>
                  <a:lnTo>
                    <a:pt x="826" y="537"/>
                  </a:lnTo>
                  <a:lnTo>
                    <a:pt x="828" y="537"/>
                  </a:lnTo>
                  <a:lnTo>
                    <a:pt x="830" y="534"/>
                  </a:lnTo>
                  <a:lnTo>
                    <a:pt x="833" y="534"/>
                  </a:lnTo>
                  <a:lnTo>
                    <a:pt x="835" y="534"/>
                  </a:lnTo>
                  <a:lnTo>
                    <a:pt x="836" y="534"/>
                  </a:lnTo>
                  <a:lnTo>
                    <a:pt x="839" y="534"/>
                  </a:lnTo>
                  <a:lnTo>
                    <a:pt x="842" y="533"/>
                  </a:lnTo>
                  <a:lnTo>
                    <a:pt x="843" y="533"/>
                  </a:lnTo>
                  <a:lnTo>
                    <a:pt x="846" y="533"/>
                  </a:lnTo>
                  <a:lnTo>
                    <a:pt x="847" y="530"/>
                  </a:lnTo>
                  <a:lnTo>
                    <a:pt x="849" y="530"/>
                  </a:lnTo>
                  <a:lnTo>
                    <a:pt x="851" y="530"/>
                  </a:lnTo>
                  <a:lnTo>
                    <a:pt x="854" y="530"/>
                  </a:lnTo>
                  <a:lnTo>
                    <a:pt x="856" y="530"/>
                  </a:lnTo>
                  <a:lnTo>
                    <a:pt x="858" y="530"/>
                  </a:lnTo>
                  <a:lnTo>
                    <a:pt x="860" y="530"/>
                  </a:lnTo>
                  <a:lnTo>
                    <a:pt x="863" y="530"/>
                  </a:lnTo>
                  <a:lnTo>
                    <a:pt x="864" y="529"/>
                  </a:lnTo>
                  <a:lnTo>
                    <a:pt x="865" y="529"/>
                  </a:lnTo>
                  <a:lnTo>
                    <a:pt x="868" y="529"/>
                  </a:lnTo>
                  <a:lnTo>
                    <a:pt x="870" y="529"/>
                  </a:lnTo>
                  <a:lnTo>
                    <a:pt x="872" y="528"/>
                  </a:lnTo>
                  <a:lnTo>
                    <a:pt x="875" y="528"/>
                  </a:lnTo>
                  <a:lnTo>
                    <a:pt x="876" y="528"/>
                  </a:lnTo>
                  <a:lnTo>
                    <a:pt x="879" y="528"/>
                  </a:lnTo>
                  <a:lnTo>
                    <a:pt x="881" y="526"/>
                  </a:lnTo>
                  <a:lnTo>
                    <a:pt x="882" y="526"/>
                  </a:lnTo>
                  <a:lnTo>
                    <a:pt x="885" y="526"/>
                  </a:lnTo>
                  <a:lnTo>
                    <a:pt x="886" y="526"/>
                  </a:lnTo>
                  <a:lnTo>
                    <a:pt x="888" y="526"/>
                  </a:lnTo>
                  <a:lnTo>
                    <a:pt x="890" y="525"/>
                  </a:lnTo>
                  <a:lnTo>
                    <a:pt x="892" y="525"/>
                  </a:lnTo>
                  <a:lnTo>
                    <a:pt x="893" y="525"/>
                  </a:lnTo>
                  <a:lnTo>
                    <a:pt x="896" y="524"/>
                  </a:lnTo>
                  <a:lnTo>
                    <a:pt x="897" y="524"/>
                  </a:lnTo>
                  <a:lnTo>
                    <a:pt x="899" y="524"/>
                  </a:lnTo>
                  <a:lnTo>
                    <a:pt x="901" y="524"/>
                  </a:lnTo>
                  <a:lnTo>
                    <a:pt x="903" y="521"/>
                  </a:lnTo>
                  <a:lnTo>
                    <a:pt x="904" y="521"/>
                  </a:lnTo>
                  <a:lnTo>
                    <a:pt x="906" y="521"/>
                  </a:lnTo>
                  <a:lnTo>
                    <a:pt x="909" y="521"/>
                  </a:lnTo>
                  <a:lnTo>
                    <a:pt x="910" y="521"/>
                  </a:lnTo>
                  <a:lnTo>
                    <a:pt x="911" y="521"/>
                  </a:lnTo>
                  <a:lnTo>
                    <a:pt x="913" y="521"/>
                  </a:lnTo>
                  <a:lnTo>
                    <a:pt x="915" y="519"/>
                  </a:lnTo>
                  <a:lnTo>
                    <a:pt x="917" y="519"/>
                  </a:lnTo>
                  <a:lnTo>
                    <a:pt x="918" y="519"/>
                  </a:lnTo>
                  <a:lnTo>
                    <a:pt x="921" y="517"/>
                  </a:lnTo>
                  <a:lnTo>
                    <a:pt x="923" y="517"/>
                  </a:lnTo>
                  <a:lnTo>
                    <a:pt x="924" y="517"/>
                  </a:lnTo>
                  <a:lnTo>
                    <a:pt x="925" y="517"/>
                  </a:lnTo>
                  <a:lnTo>
                    <a:pt x="926" y="517"/>
                  </a:lnTo>
                  <a:lnTo>
                    <a:pt x="928" y="517"/>
                  </a:lnTo>
                  <a:lnTo>
                    <a:pt x="929" y="517"/>
                  </a:lnTo>
                  <a:lnTo>
                    <a:pt x="931" y="517"/>
                  </a:lnTo>
                  <a:lnTo>
                    <a:pt x="932" y="516"/>
                  </a:lnTo>
                  <a:lnTo>
                    <a:pt x="935" y="516"/>
                  </a:lnTo>
                  <a:lnTo>
                    <a:pt x="936" y="516"/>
                  </a:lnTo>
                  <a:lnTo>
                    <a:pt x="938" y="514"/>
                  </a:lnTo>
                  <a:lnTo>
                    <a:pt x="940" y="514"/>
                  </a:lnTo>
                  <a:lnTo>
                    <a:pt x="942" y="514"/>
                  </a:lnTo>
                  <a:lnTo>
                    <a:pt x="943" y="513"/>
                  </a:lnTo>
                  <a:lnTo>
                    <a:pt x="945" y="513"/>
                  </a:lnTo>
                  <a:lnTo>
                    <a:pt x="948" y="513"/>
                  </a:lnTo>
                  <a:lnTo>
                    <a:pt x="949" y="513"/>
                  </a:lnTo>
                  <a:lnTo>
                    <a:pt x="950" y="512"/>
                  </a:lnTo>
                  <a:lnTo>
                    <a:pt x="951" y="512"/>
                  </a:lnTo>
                  <a:lnTo>
                    <a:pt x="954" y="512"/>
                  </a:lnTo>
                  <a:lnTo>
                    <a:pt x="956" y="511"/>
                  </a:lnTo>
                  <a:lnTo>
                    <a:pt x="957" y="511"/>
                  </a:lnTo>
                  <a:lnTo>
                    <a:pt x="960" y="511"/>
                  </a:lnTo>
                  <a:lnTo>
                    <a:pt x="961" y="508"/>
                  </a:lnTo>
                  <a:lnTo>
                    <a:pt x="963" y="508"/>
                  </a:lnTo>
                  <a:lnTo>
                    <a:pt x="964" y="508"/>
                  </a:lnTo>
                  <a:lnTo>
                    <a:pt x="967" y="508"/>
                  </a:lnTo>
                  <a:lnTo>
                    <a:pt x="968" y="508"/>
                  </a:lnTo>
                  <a:lnTo>
                    <a:pt x="970" y="508"/>
                  </a:lnTo>
                  <a:lnTo>
                    <a:pt x="971" y="508"/>
                  </a:lnTo>
                  <a:lnTo>
                    <a:pt x="973" y="506"/>
                  </a:lnTo>
                  <a:lnTo>
                    <a:pt x="975" y="506"/>
                  </a:lnTo>
                  <a:lnTo>
                    <a:pt x="976" y="506"/>
                  </a:lnTo>
                  <a:lnTo>
                    <a:pt x="978" y="506"/>
                  </a:lnTo>
                  <a:lnTo>
                    <a:pt x="981" y="504"/>
                  </a:lnTo>
                  <a:lnTo>
                    <a:pt x="982" y="504"/>
                  </a:lnTo>
                  <a:lnTo>
                    <a:pt x="984" y="504"/>
                  </a:lnTo>
                  <a:lnTo>
                    <a:pt x="985" y="504"/>
                  </a:lnTo>
                  <a:lnTo>
                    <a:pt x="986" y="504"/>
                  </a:lnTo>
                  <a:lnTo>
                    <a:pt x="988" y="504"/>
                  </a:lnTo>
                  <a:lnTo>
                    <a:pt x="989" y="504"/>
                  </a:lnTo>
                  <a:lnTo>
                    <a:pt x="990" y="504"/>
                  </a:lnTo>
                  <a:lnTo>
                    <a:pt x="993" y="504"/>
                  </a:lnTo>
                  <a:lnTo>
                    <a:pt x="995" y="503"/>
                  </a:lnTo>
                  <a:lnTo>
                    <a:pt x="996" y="503"/>
                  </a:lnTo>
                  <a:lnTo>
                    <a:pt x="999" y="503"/>
                  </a:lnTo>
                  <a:lnTo>
                    <a:pt x="1000" y="503"/>
                  </a:lnTo>
                  <a:lnTo>
                    <a:pt x="1001" y="501"/>
                  </a:lnTo>
                  <a:lnTo>
                    <a:pt x="1004" y="501"/>
                  </a:lnTo>
                  <a:lnTo>
                    <a:pt x="1006" y="501"/>
                  </a:lnTo>
                  <a:lnTo>
                    <a:pt x="1007" y="501"/>
                  </a:lnTo>
                  <a:lnTo>
                    <a:pt x="1010" y="501"/>
                  </a:lnTo>
                  <a:lnTo>
                    <a:pt x="1011" y="499"/>
                  </a:lnTo>
                  <a:lnTo>
                    <a:pt x="1014" y="499"/>
                  </a:lnTo>
                  <a:lnTo>
                    <a:pt x="1015" y="497"/>
                  </a:lnTo>
                  <a:lnTo>
                    <a:pt x="1018" y="497"/>
                  </a:lnTo>
                  <a:lnTo>
                    <a:pt x="1020" y="494"/>
                  </a:lnTo>
                  <a:lnTo>
                    <a:pt x="1023" y="494"/>
                  </a:lnTo>
                  <a:lnTo>
                    <a:pt x="1024" y="493"/>
                  </a:lnTo>
                  <a:lnTo>
                    <a:pt x="1026" y="492"/>
                  </a:lnTo>
                  <a:lnTo>
                    <a:pt x="1029" y="492"/>
                  </a:lnTo>
                  <a:lnTo>
                    <a:pt x="1031" y="491"/>
                  </a:lnTo>
                  <a:lnTo>
                    <a:pt x="1032" y="489"/>
                  </a:lnTo>
                  <a:lnTo>
                    <a:pt x="1034" y="488"/>
                  </a:lnTo>
                  <a:lnTo>
                    <a:pt x="1036" y="488"/>
                  </a:lnTo>
                  <a:lnTo>
                    <a:pt x="1038" y="486"/>
                  </a:lnTo>
                  <a:lnTo>
                    <a:pt x="1039" y="486"/>
                  </a:lnTo>
                  <a:lnTo>
                    <a:pt x="1040" y="486"/>
                  </a:lnTo>
                  <a:lnTo>
                    <a:pt x="1042" y="484"/>
                  </a:lnTo>
                  <a:lnTo>
                    <a:pt x="1043" y="481"/>
                  </a:lnTo>
                  <a:lnTo>
                    <a:pt x="1045" y="481"/>
                  </a:lnTo>
                  <a:lnTo>
                    <a:pt x="1048" y="481"/>
                  </a:lnTo>
                  <a:lnTo>
                    <a:pt x="1049" y="480"/>
                  </a:lnTo>
                  <a:lnTo>
                    <a:pt x="1050" y="479"/>
                  </a:lnTo>
                  <a:lnTo>
                    <a:pt x="1051" y="479"/>
                  </a:lnTo>
                  <a:lnTo>
                    <a:pt x="1054" y="476"/>
                  </a:lnTo>
                  <a:lnTo>
                    <a:pt x="1056" y="476"/>
                  </a:lnTo>
                  <a:lnTo>
                    <a:pt x="1059" y="476"/>
                  </a:lnTo>
                  <a:lnTo>
                    <a:pt x="1060" y="475"/>
                  </a:lnTo>
                  <a:lnTo>
                    <a:pt x="1061" y="472"/>
                  </a:lnTo>
                  <a:lnTo>
                    <a:pt x="1064" y="472"/>
                  </a:lnTo>
                  <a:lnTo>
                    <a:pt x="1065" y="471"/>
                  </a:lnTo>
                  <a:lnTo>
                    <a:pt x="1067" y="471"/>
                  </a:lnTo>
                  <a:lnTo>
                    <a:pt x="1068" y="469"/>
                  </a:lnTo>
                  <a:lnTo>
                    <a:pt x="1071" y="468"/>
                  </a:lnTo>
                  <a:lnTo>
                    <a:pt x="1073" y="467"/>
                  </a:lnTo>
                  <a:lnTo>
                    <a:pt x="1075" y="466"/>
                  </a:lnTo>
                  <a:lnTo>
                    <a:pt x="1076" y="463"/>
                  </a:lnTo>
                  <a:lnTo>
                    <a:pt x="1079" y="463"/>
                  </a:lnTo>
                  <a:lnTo>
                    <a:pt x="1081" y="463"/>
                  </a:lnTo>
                  <a:lnTo>
                    <a:pt x="1084" y="462"/>
                  </a:lnTo>
                  <a:lnTo>
                    <a:pt x="1085" y="459"/>
                  </a:lnTo>
                  <a:lnTo>
                    <a:pt x="1088" y="459"/>
                  </a:lnTo>
                  <a:lnTo>
                    <a:pt x="1089" y="458"/>
                  </a:lnTo>
                  <a:lnTo>
                    <a:pt x="1092" y="456"/>
                  </a:lnTo>
                  <a:lnTo>
                    <a:pt x="1093" y="455"/>
                  </a:lnTo>
                  <a:lnTo>
                    <a:pt x="1096" y="454"/>
                  </a:lnTo>
                  <a:lnTo>
                    <a:pt x="1098" y="454"/>
                  </a:lnTo>
                  <a:lnTo>
                    <a:pt x="1100" y="452"/>
                  </a:lnTo>
                  <a:lnTo>
                    <a:pt x="1103" y="450"/>
                  </a:lnTo>
                  <a:lnTo>
                    <a:pt x="1104" y="450"/>
                  </a:lnTo>
                  <a:lnTo>
                    <a:pt x="1107" y="449"/>
                  </a:lnTo>
                  <a:lnTo>
                    <a:pt x="1109" y="447"/>
                  </a:lnTo>
                  <a:lnTo>
                    <a:pt x="1110" y="447"/>
                  </a:lnTo>
                  <a:lnTo>
                    <a:pt x="1111" y="446"/>
                  </a:lnTo>
                  <a:lnTo>
                    <a:pt x="1113" y="446"/>
                  </a:lnTo>
                  <a:lnTo>
                    <a:pt x="1115" y="444"/>
                  </a:lnTo>
                  <a:lnTo>
                    <a:pt x="1117" y="443"/>
                  </a:lnTo>
                  <a:lnTo>
                    <a:pt x="1120" y="441"/>
                  </a:lnTo>
                  <a:lnTo>
                    <a:pt x="1121" y="441"/>
                  </a:lnTo>
                  <a:lnTo>
                    <a:pt x="1124" y="439"/>
                  </a:lnTo>
                  <a:lnTo>
                    <a:pt x="1125" y="437"/>
                  </a:lnTo>
                  <a:lnTo>
                    <a:pt x="1128" y="437"/>
                  </a:lnTo>
                  <a:lnTo>
                    <a:pt x="1129" y="435"/>
                  </a:lnTo>
                  <a:lnTo>
                    <a:pt x="1132" y="432"/>
                  </a:lnTo>
                  <a:lnTo>
                    <a:pt x="1134" y="432"/>
                  </a:lnTo>
                  <a:lnTo>
                    <a:pt x="1136" y="431"/>
                  </a:lnTo>
                  <a:lnTo>
                    <a:pt x="1138" y="430"/>
                  </a:lnTo>
                  <a:lnTo>
                    <a:pt x="1139" y="427"/>
                  </a:lnTo>
                  <a:lnTo>
                    <a:pt x="1142" y="427"/>
                  </a:lnTo>
                  <a:lnTo>
                    <a:pt x="1145" y="427"/>
                  </a:lnTo>
                  <a:lnTo>
                    <a:pt x="1146" y="426"/>
                  </a:lnTo>
                  <a:lnTo>
                    <a:pt x="1149" y="425"/>
                  </a:lnTo>
                  <a:lnTo>
                    <a:pt x="1150" y="424"/>
                  </a:lnTo>
                  <a:lnTo>
                    <a:pt x="1153" y="422"/>
                  </a:lnTo>
                  <a:lnTo>
                    <a:pt x="1155" y="422"/>
                  </a:lnTo>
                  <a:lnTo>
                    <a:pt x="1156" y="421"/>
                  </a:lnTo>
                  <a:lnTo>
                    <a:pt x="1159" y="419"/>
                  </a:lnTo>
                  <a:lnTo>
                    <a:pt x="1160" y="418"/>
                  </a:lnTo>
                  <a:lnTo>
                    <a:pt x="1163" y="417"/>
                  </a:lnTo>
                  <a:lnTo>
                    <a:pt x="1164" y="417"/>
                  </a:lnTo>
                  <a:lnTo>
                    <a:pt x="1167" y="414"/>
                  </a:lnTo>
                  <a:lnTo>
                    <a:pt x="1170" y="414"/>
                  </a:lnTo>
                  <a:lnTo>
                    <a:pt x="1171" y="413"/>
                  </a:lnTo>
                  <a:lnTo>
                    <a:pt x="1174" y="410"/>
                  </a:lnTo>
                  <a:lnTo>
                    <a:pt x="1175" y="410"/>
                  </a:lnTo>
                  <a:lnTo>
                    <a:pt x="1177" y="410"/>
                  </a:lnTo>
                  <a:lnTo>
                    <a:pt x="1180" y="410"/>
                  </a:lnTo>
                  <a:lnTo>
                    <a:pt x="1183" y="409"/>
                  </a:lnTo>
                  <a:lnTo>
                    <a:pt x="1184" y="409"/>
                  </a:lnTo>
                  <a:lnTo>
                    <a:pt x="1186" y="407"/>
                  </a:lnTo>
                  <a:lnTo>
                    <a:pt x="1189" y="407"/>
                  </a:lnTo>
                  <a:lnTo>
                    <a:pt x="1191" y="405"/>
                  </a:lnTo>
                  <a:lnTo>
                    <a:pt x="1194" y="405"/>
                  </a:lnTo>
                  <a:lnTo>
                    <a:pt x="1196" y="405"/>
                  </a:lnTo>
                  <a:lnTo>
                    <a:pt x="1198" y="405"/>
                  </a:lnTo>
                  <a:lnTo>
                    <a:pt x="1200" y="405"/>
                  </a:lnTo>
                  <a:lnTo>
                    <a:pt x="1203" y="404"/>
                  </a:lnTo>
                  <a:lnTo>
                    <a:pt x="1205" y="404"/>
                  </a:lnTo>
                  <a:lnTo>
                    <a:pt x="1208" y="404"/>
                  </a:lnTo>
                  <a:lnTo>
                    <a:pt x="1210" y="401"/>
                  </a:lnTo>
                  <a:lnTo>
                    <a:pt x="1213" y="401"/>
                  </a:lnTo>
                  <a:lnTo>
                    <a:pt x="1214" y="401"/>
                  </a:lnTo>
                  <a:lnTo>
                    <a:pt x="1216" y="401"/>
                  </a:lnTo>
                  <a:lnTo>
                    <a:pt x="1219" y="401"/>
                  </a:lnTo>
                  <a:lnTo>
                    <a:pt x="1221" y="400"/>
                  </a:lnTo>
                  <a:lnTo>
                    <a:pt x="1223" y="401"/>
                  </a:lnTo>
                  <a:lnTo>
                    <a:pt x="1225" y="401"/>
                  </a:lnTo>
                  <a:lnTo>
                    <a:pt x="1227" y="401"/>
                  </a:lnTo>
                  <a:lnTo>
                    <a:pt x="1230" y="401"/>
                  </a:lnTo>
                  <a:lnTo>
                    <a:pt x="1231" y="400"/>
                  </a:lnTo>
                  <a:lnTo>
                    <a:pt x="1233" y="397"/>
                  </a:lnTo>
                  <a:lnTo>
                    <a:pt x="1234" y="397"/>
                  </a:lnTo>
                  <a:lnTo>
                    <a:pt x="1237" y="397"/>
                  </a:lnTo>
                  <a:lnTo>
                    <a:pt x="1238" y="397"/>
                  </a:lnTo>
                  <a:lnTo>
                    <a:pt x="1241" y="396"/>
                  </a:lnTo>
                  <a:lnTo>
                    <a:pt x="1242" y="396"/>
                  </a:lnTo>
                  <a:lnTo>
                    <a:pt x="1245" y="396"/>
                  </a:lnTo>
                  <a:lnTo>
                    <a:pt x="1246" y="394"/>
                  </a:lnTo>
                  <a:lnTo>
                    <a:pt x="1249" y="394"/>
                  </a:lnTo>
                  <a:lnTo>
                    <a:pt x="1250" y="394"/>
                  </a:lnTo>
                  <a:lnTo>
                    <a:pt x="1252" y="392"/>
                  </a:lnTo>
                  <a:lnTo>
                    <a:pt x="1255" y="392"/>
                  </a:lnTo>
                  <a:lnTo>
                    <a:pt x="1256" y="392"/>
                  </a:lnTo>
                  <a:lnTo>
                    <a:pt x="1259" y="392"/>
                  </a:lnTo>
                  <a:lnTo>
                    <a:pt x="1260" y="392"/>
                  </a:lnTo>
                  <a:lnTo>
                    <a:pt x="1263" y="392"/>
                  </a:lnTo>
                  <a:lnTo>
                    <a:pt x="1264" y="390"/>
                  </a:lnTo>
                  <a:lnTo>
                    <a:pt x="1267" y="390"/>
                  </a:lnTo>
                  <a:lnTo>
                    <a:pt x="1269" y="390"/>
                  </a:lnTo>
                  <a:lnTo>
                    <a:pt x="1270" y="388"/>
                  </a:lnTo>
                  <a:lnTo>
                    <a:pt x="1271" y="388"/>
                  </a:lnTo>
                  <a:lnTo>
                    <a:pt x="1274" y="388"/>
                  </a:lnTo>
                  <a:lnTo>
                    <a:pt x="1275" y="388"/>
                  </a:lnTo>
                  <a:lnTo>
                    <a:pt x="1278" y="388"/>
                  </a:lnTo>
                  <a:lnTo>
                    <a:pt x="1281" y="388"/>
                  </a:lnTo>
                  <a:lnTo>
                    <a:pt x="1283" y="387"/>
                  </a:lnTo>
                  <a:lnTo>
                    <a:pt x="1284" y="387"/>
                  </a:lnTo>
                  <a:lnTo>
                    <a:pt x="1285" y="385"/>
                  </a:lnTo>
                  <a:lnTo>
                    <a:pt x="1288" y="384"/>
                  </a:lnTo>
                  <a:lnTo>
                    <a:pt x="1291" y="384"/>
                  </a:lnTo>
                  <a:lnTo>
                    <a:pt x="1292" y="382"/>
                  </a:lnTo>
                  <a:lnTo>
                    <a:pt x="1294" y="382"/>
                  </a:lnTo>
                  <a:lnTo>
                    <a:pt x="1295" y="381"/>
                  </a:lnTo>
                  <a:lnTo>
                    <a:pt x="1298" y="379"/>
                  </a:lnTo>
                  <a:lnTo>
                    <a:pt x="1299" y="379"/>
                  </a:lnTo>
                  <a:lnTo>
                    <a:pt x="1302" y="379"/>
                  </a:lnTo>
                  <a:lnTo>
                    <a:pt x="1303" y="377"/>
                  </a:lnTo>
                  <a:lnTo>
                    <a:pt x="1305" y="375"/>
                  </a:lnTo>
                  <a:lnTo>
                    <a:pt x="1308" y="375"/>
                  </a:lnTo>
                  <a:lnTo>
                    <a:pt x="1309" y="375"/>
                  </a:lnTo>
                  <a:lnTo>
                    <a:pt x="1310" y="373"/>
                  </a:lnTo>
                  <a:lnTo>
                    <a:pt x="1313" y="372"/>
                  </a:lnTo>
                  <a:lnTo>
                    <a:pt x="1314" y="372"/>
                  </a:lnTo>
                  <a:lnTo>
                    <a:pt x="1316" y="369"/>
                  </a:lnTo>
                  <a:lnTo>
                    <a:pt x="1319" y="369"/>
                  </a:lnTo>
                  <a:lnTo>
                    <a:pt x="1320" y="369"/>
                  </a:lnTo>
                  <a:lnTo>
                    <a:pt x="1321" y="368"/>
                  </a:lnTo>
                  <a:lnTo>
                    <a:pt x="1324" y="365"/>
                  </a:lnTo>
                  <a:lnTo>
                    <a:pt x="1325" y="365"/>
                  </a:lnTo>
                  <a:lnTo>
                    <a:pt x="1328" y="365"/>
                  </a:lnTo>
                  <a:lnTo>
                    <a:pt x="1330" y="364"/>
                  </a:lnTo>
                  <a:lnTo>
                    <a:pt x="1331" y="363"/>
                  </a:lnTo>
                  <a:lnTo>
                    <a:pt x="1335" y="362"/>
                  </a:lnTo>
                  <a:lnTo>
                    <a:pt x="1337" y="360"/>
                  </a:lnTo>
                  <a:lnTo>
                    <a:pt x="1339" y="359"/>
                  </a:lnTo>
                  <a:lnTo>
                    <a:pt x="1341" y="356"/>
                  </a:lnTo>
                  <a:lnTo>
                    <a:pt x="1342" y="356"/>
                  </a:lnTo>
                  <a:lnTo>
                    <a:pt x="1345" y="356"/>
                  </a:lnTo>
                  <a:lnTo>
                    <a:pt x="1347" y="355"/>
                  </a:lnTo>
                  <a:lnTo>
                    <a:pt x="1348" y="355"/>
                  </a:lnTo>
                  <a:lnTo>
                    <a:pt x="1350" y="352"/>
                  </a:lnTo>
                  <a:lnTo>
                    <a:pt x="1353" y="352"/>
                  </a:lnTo>
                  <a:lnTo>
                    <a:pt x="1355" y="351"/>
                  </a:lnTo>
                  <a:lnTo>
                    <a:pt x="1356" y="350"/>
                  </a:lnTo>
                  <a:lnTo>
                    <a:pt x="1359" y="350"/>
                  </a:lnTo>
                  <a:lnTo>
                    <a:pt x="1360" y="347"/>
                  </a:lnTo>
                  <a:lnTo>
                    <a:pt x="1362" y="347"/>
                  </a:lnTo>
                  <a:lnTo>
                    <a:pt x="1363" y="347"/>
                  </a:lnTo>
                  <a:lnTo>
                    <a:pt x="1366" y="345"/>
                  </a:lnTo>
                  <a:lnTo>
                    <a:pt x="1367" y="343"/>
                  </a:lnTo>
                  <a:lnTo>
                    <a:pt x="1369" y="343"/>
                  </a:lnTo>
                  <a:lnTo>
                    <a:pt x="1372" y="343"/>
                  </a:lnTo>
                  <a:lnTo>
                    <a:pt x="1373" y="342"/>
                  </a:lnTo>
                  <a:lnTo>
                    <a:pt x="1374" y="339"/>
                  </a:lnTo>
                  <a:lnTo>
                    <a:pt x="1377" y="339"/>
                  </a:lnTo>
                  <a:lnTo>
                    <a:pt x="1378" y="339"/>
                  </a:lnTo>
                  <a:lnTo>
                    <a:pt x="1381" y="338"/>
                  </a:lnTo>
                  <a:lnTo>
                    <a:pt x="1383" y="338"/>
                  </a:lnTo>
                  <a:lnTo>
                    <a:pt x="1384" y="337"/>
                  </a:lnTo>
                  <a:lnTo>
                    <a:pt x="1387" y="337"/>
                  </a:lnTo>
                  <a:lnTo>
                    <a:pt x="1388" y="334"/>
                  </a:lnTo>
                  <a:lnTo>
                    <a:pt x="1391" y="334"/>
                  </a:lnTo>
                  <a:lnTo>
                    <a:pt x="1392" y="334"/>
                  </a:lnTo>
                  <a:lnTo>
                    <a:pt x="1395" y="334"/>
                  </a:lnTo>
                  <a:lnTo>
                    <a:pt x="1397" y="332"/>
                  </a:lnTo>
                  <a:lnTo>
                    <a:pt x="1398" y="332"/>
                  </a:lnTo>
                  <a:lnTo>
                    <a:pt x="1399" y="332"/>
                  </a:lnTo>
                  <a:lnTo>
                    <a:pt x="1401" y="330"/>
                  </a:lnTo>
                  <a:lnTo>
                    <a:pt x="1403" y="330"/>
                  </a:lnTo>
                  <a:lnTo>
                    <a:pt x="1405" y="330"/>
                  </a:lnTo>
                  <a:lnTo>
                    <a:pt x="1406" y="330"/>
                  </a:lnTo>
                  <a:lnTo>
                    <a:pt x="1408" y="330"/>
                  </a:lnTo>
                  <a:lnTo>
                    <a:pt x="1409" y="329"/>
                  </a:lnTo>
                  <a:lnTo>
                    <a:pt x="1410" y="329"/>
                  </a:lnTo>
                  <a:lnTo>
                    <a:pt x="1413" y="329"/>
                  </a:lnTo>
                  <a:lnTo>
                    <a:pt x="1416" y="327"/>
                  </a:lnTo>
                  <a:lnTo>
                    <a:pt x="1417" y="327"/>
                  </a:lnTo>
                  <a:lnTo>
                    <a:pt x="1420" y="326"/>
                  </a:lnTo>
                  <a:lnTo>
                    <a:pt x="1423" y="326"/>
                  </a:lnTo>
                  <a:lnTo>
                    <a:pt x="1424" y="326"/>
                  </a:lnTo>
                  <a:lnTo>
                    <a:pt x="1426" y="325"/>
                  </a:lnTo>
                  <a:lnTo>
                    <a:pt x="1429" y="325"/>
                  </a:lnTo>
                  <a:lnTo>
                    <a:pt x="1431" y="325"/>
                  </a:lnTo>
                  <a:lnTo>
                    <a:pt x="1433" y="323"/>
                  </a:lnTo>
                  <a:lnTo>
                    <a:pt x="1434" y="323"/>
                  </a:lnTo>
                  <a:lnTo>
                    <a:pt x="1437" y="323"/>
                  </a:lnTo>
                  <a:lnTo>
                    <a:pt x="1438" y="320"/>
                  </a:lnTo>
                  <a:lnTo>
                    <a:pt x="1441" y="320"/>
                  </a:lnTo>
                  <a:lnTo>
                    <a:pt x="1444" y="320"/>
                  </a:lnTo>
                  <a:lnTo>
                    <a:pt x="1447" y="320"/>
                  </a:lnTo>
                  <a:lnTo>
                    <a:pt x="1448" y="320"/>
                  </a:lnTo>
                  <a:lnTo>
                    <a:pt x="1451" y="319"/>
                  </a:lnTo>
                  <a:lnTo>
                    <a:pt x="1454" y="319"/>
                  </a:lnTo>
                  <a:lnTo>
                    <a:pt x="1455" y="319"/>
                  </a:lnTo>
                  <a:lnTo>
                    <a:pt x="1456" y="319"/>
                  </a:lnTo>
                  <a:lnTo>
                    <a:pt x="1459" y="317"/>
                  </a:lnTo>
                  <a:lnTo>
                    <a:pt x="1460" y="317"/>
                  </a:lnTo>
                  <a:lnTo>
                    <a:pt x="1463" y="317"/>
                  </a:lnTo>
                  <a:lnTo>
                    <a:pt x="1466" y="317"/>
                  </a:lnTo>
                  <a:lnTo>
                    <a:pt x="1468" y="317"/>
                  </a:lnTo>
                  <a:lnTo>
                    <a:pt x="1470" y="317"/>
                  </a:lnTo>
                  <a:lnTo>
                    <a:pt x="1473" y="317"/>
                  </a:lnTo>
                  <a:lnTo>
                    <a:pt x="1474" y="315"/>
                  </a:lnTo>
                  <a:lnTo>
                    <a:pt x="1477" y="315"/>
                  </a:lnTo>
                  <a:lnTo>
                    <a:pt x="1479" y="314"/>
                  </a:lnTo>
                  <a:lnTo>
                    <a:pt x="1480" y="314"/>
                  </a:lnTo>
                  <a:lnTo>
                    <a:pt x="1482" y="312"/>
                  </a:lnTo>
                  <a:lnTo>
                    <a:pt x="1484" y="312"/>
                  </a:lnTo>
                  <a:lnTo>
                    <a:pt x="1485" y="312"/>
                  </a:lnTo>
                  <a:lnTo>
                    <a:pt x="1487" y="312"/>
                  </a:lnTo>
                  <a:lnTo>
                    <a:pt x="1488" y="310"/>
                  </a:lnTo>
                  <a:lnTo>
                    <a:pt x="1490" y="310"/>
                  </a:lnTo>
                  <a:lnTo>
                    <a:pt x="1491" y="309"/>
                  </a:lnTo>
                  <a:lnTo>
                    <a:pt x="1493" y="309"/>
                  </a:lnTo>
                  <a:lnTo>
                    <a:pt x="1494" y="307"/>
                  </a:lnTo>
                  <a:lnTo>
                    <a:pt x="1495" y="307"/>
                  </a:lnTo>
                  <a:lnTo>
                    <a:pt x="1498" y="306"/>
                  </a:lnTo>
                  <a:lnTo>
                    <a:pt x="1499" y="306"/>
                  </a:lnTo>
                  <a:lnTo>
                    <a:pt x="1501" y="303"/>
                  </a:lnTo>
                  <a:lnTo>
                    <a:pt x="1502" y="303"/>
                  </a:lnTo>
                  <a:lnTo>
                    <a:pt x="1504" y="303"/>
                  </a:lnTo>
                  <a:lnTo>
                    <a:pt x="1505" y="302"/>
                  </a:lnTo>
                  <a:lnTo>
                    <a:pt x="1507" y="302"/>
                  </a:lnTo>
                  <a:lnTo>
                    <a:pt x="1508" y="301"/>
                  </a:lnTo>
                  <a:lnTo>
                    <a:pt x="1510" y="301"/>
                  </a:lnTo>
                  <a:lnTo>
                    <a:pt x="1512" y="298"/>
                  </a:lnTo>
                  <a:lnTo>
                    <a:pt x="1515" y="298"/>
                  </a:lnTo>
                  <a:lnTo>
                    <a:pt x="1516" y="298"/>
                  </a:lnTo>
                  <a:lnTo>
                    <a:pt x="1519" y="298"/>
                  </a:lnTo>
                  <a:lnTo>
                    <a:pt x="1522" y="297"/>
                  </a:lnTo>
                  <a:lnTo>
                    <a:pt x="1523" y="294"/>
                  </a:lnTo>
                  <a:lnTo>
                    <a:pt x="1526" y="294"/>
                  </a:lnTo>
                  <a:lnTo>
                    <a:pt x="1529" y="294"/>
                  </a:lnTo>
                  <a:lnTo>
                    <a:pt x="1530" y="294"/>
                  </a:lnTo>
                  <a:lnTo>
                    <a:pt x="1532" y="293"/>
                  </a:lnTo>
                  <a:lnTo>
                    <a:pt x="1533" y="293"/>
                  </a:lnTo>
                  <a:lnTo>
                    <a:pt x="1535" y="292"/>
                  </a:lnTo>
                  <a:lnTo>
                    <a:pt x="1538" y="292"/>
                  </a:lnTo>
                  <a:lnTo>
                    <a:pt x="1540" y="290"/>
                  </a:lnTo>
                  <a:lnTo>
                    <a:pt x="1543" y="290"/>
                  </a:lnTo>
                  <a:lnTo>
                    <a:pt x="1545" y="289"/>
                  </a:lnTo>
                  <a:lnTo>
                    <a:pt x="1547" y="288"/>
                  </a:lnTo>
                  <a:lnTo>
                    <a:pt x="1548" y="288"/>
                  </a:lnTo>
                  <a:lnTo>
                    <a:pt x="1551" y="286"/>
                  </a:lnTo>
                  <a:lnTo>
                    <a:pt x="1554" y="286"/>
                  </a:lnTo>
                  <a:lnTo>
                    <a:pt x="1555" y="285"/>
                  </a:lnTo>
                  <a:lnTo>
                    <a:pt x="1558" y="285"/>
                  </a:lnTo>
                  <a:lnTo>
                    <a:pt x="1559" y="284"/>
                  </a:lnTo>
                  <a:lnTo>
                    <a:pt x="1560" y="284"/>
                  </a:lnTo>
                  <a:lnTo>
                    <a:pt x="1562" y="284"/>
                  </a:lnTo>
                  <a:lnTo>
                    <a:pt x="1563" y="284"/>
                  </a:lnTo>
                  <a:lnTo>
                    <a:pt x="1566" y="284"/>
                  </a:lnTo>
                  <a:lnTo>
                    <a:pt x="1568" y="281"/>
                  </a:lnTo>
                  <a:lnTo>
                    <a:pt x="1570" y="281"/>
                  </a:lnTo>
                  <a:lnTo>
                    <a:pt x="1572" y="281"/>
                  </a:lnTo>
                  <a:lnTo>
                    <a:pt x="1574" y="280"/>
                  </a:lnTo>
                  <a:lnTo>
                    <a:pt x="1576" y="278"/>
                  </a:lnTo>
                  <a:lnTo>
                    <a:pt x="1579" y="276"/>
                  </a:lnTo>
                  <a:lnTo>
                    <a:pt x="1582" y="276"/>
                  </a:lnTo>
                  <a:lnTo>
                    <a:pt x="1583" y="276"/>
                  </a:lnTo>
                  <a:lnTo>
                    <a:pt x="1585" y="276"/>
                  </a:lnTo>
                  <a:lnTo>
                    <a:pt x="1588" y="276"/>
                  </a:lnTo>
                  <a:lnTo>
                    <a:pt x="1590" y="275"/>
                  </a:lnTo>
                  <a:lnTo>
                    <a:pt x="1593" y="275"/>
                  </a:lnTo>
                  <a:lnTo>
                    <a:pt x="1595" y="272"/>
                  </a:lnTo>
                  <a:lnTo>
                    <a:pt x="1597" y="272"/>
                  </a:lnTo>
                  <a:lnTo>
                    <a:pt x="1599" y="272"/>
                  </a:lnTo>
                  <a:lnTo>
                    <a:pt x="1602" y="272"/>
                  </a:lnTo>
                  <a:lnTo>
                    <a:pt x="1604" y="270"/>
                  </a:lnTo>
                  <a:lnTo>
                    <a:pt x="1605" y="270"/>
                  </a:lnTo>
                  <a:lnTo>
                    <a:pt x="1608" y="268"/>
                  </a:lnTo>
                  <a:lnTo>
                    <a:pt x="1609" y="268"/>
                  </a:lnTo>
                  <a:lnTo>
                    <a:pt x="1610" y="268"/>
                  </a:lnTo>
                  <a:lnTo>
                    <a:pt x="1613" y="267"/>
                  </a:lnTo>
                  <a:lnTo>
                    <a:pt x="1616" y="267"/>
                  </a:lnTo>
                  <a:lnTo>
                    <a:pt x="1618" y="265"/>
                  </a:lnTo>
                  <a:lnTo>
                    <a:pt x="1619" y="265"/>
                  </a:lnTo>
                  <a:lnTo>
                    <a:pt x="1620" y="264"/>
                  </a:lnTo>
                  <a:lnTo>
                    <a:pt x="1622" y="264"/>
                  </a:lnTo>
                  <a:lnTo>
                    <a:pt x="1624" y="264"/>
                  </a:lnTo>
                  <a:lnTo>
                    <a:pt x="1626" y="263"/>
                  </a:lnTo>
                  <a:lnTo>
                    <a:pt x="1627" y="263"/>
                  </a:lnTo>
                  <a:lnTo>
                    <a:pt x="1630" y="261"/>
                  </a:lnTo>
                  <a:lnTo>
                    <a:pt x="1633" y="261"/>
                  </a:lnTo>
                  <a:lnTo>
                    <a:pt x="1634" y="261"/>
                  </a:lnTo>
                  <a:lnTo>
                    <a:pt x="1637" y="259"/>
                  </a:lnTo>
                  <a:lnTo>
                    <a:pt x="1638" y="259"/>
                  </a:lnTo>
                  <a:lnTo>
                    <a:pt x="1641" y="259"/>
                  </a:lnTo>
                  <a:lnTo>
                    <a:pt x="1644" y="259"/>
                  </a:lnTo>
                  <a:lnTo>
                    <a:pt x="1647" y="259"/>
                  </a:lnTo>
                  <a:lnTo>
                    <a:pt x="1648" y="259"/>
                  </a:lnTo>
                  <a:lnTo>
                    <a:pt x="1649" y="257"/>
                  </a:lnTo>
                  <a:lnTo>
                    <a:pt x="1649" y="259"/>
                  </a:lnTo>
                  <a:lnTo>
                    <a:pt x="1654" y="259"/>
                  </a:lnTo>
                  <a:lnTo>
                    <a:pt x="1793" y="232"/>
                  </a:lnTo>
                  <a:lnTo>
                    <a:pt x="1947" y="165"/>
                  </a:lnTo>
                  <a:lnTo>
                    <a:pt x="1961" y="161"/>
                  </a:lnTo>
                  <a:lnTo>
                    <a:pt x="2235" y="66"/>
                  </a:lnTo>
                  <a:lnTo>
                    <a:pt x="2407" y="9"/>
                  </a:lnTo>
                  <a:lnTo>
                    <a:pt x="2432" y="0"/>
                  </a:lnTo>
                  <a:lnTo>
                    <a:pt x="2441" y="9"/>
                  </a:lnTo>
                  <a:lnTo>
                    <a:pt x="2446" y="22"/>
                  </a:lnTo>
                  <a:lnTo>
                    <a:pt x="2463" y="22"/>
                  </a:lnTo>
                  <a:lnTo>
                    <a:pt x="2468" y="27"/>
                  </a:lnTo>
                  <a:lnTo>
                    <a:pt x="2476" y="29"/>
                  </a:lnTo>
                  <a:lnTo>
                    <a:pt x="2480" y="40"/>
                  </a:lnTo>
                  <a:lnTo>
                    <a:pt x="2478" y="45"/>
                  </a:lnTo>
                  <a:lnTo>
                    <a:pt x="2491" y="65"/>
                  </a:lnTo>
                  <a:lnTo>
                    <a:pt x="2491" y="72"/>
                  </a:lnTo>
                  <a:lnTo>
                    <a:pt x="2481" y="89"/>
                  </a:lnTo>
                  <a:lnTo>
                    <a:pt x="2485" y="98"/>
                  </a:lnTo>
                  <a:lnTo>
                    <a:pt x="2476" y="110"/>
                  </a:lnTo>
                  <a:lnTo>
                    <a:pt x="2473" y="114"/>
                  </a:lnTo>
                  <a:lnTo>
                    <a:pt x="2477" y="120"/>
                  </a:lnTo>
                  <a:lnTo>
                    <a:pt x="2484" y="126"/>
                  </a:lnTo>
                  <a:lnTo>
                    <a:pt x="2484" y="132"/>
                  </a:lnTo>
                  <a:lnTo>
                    <a:pt x="2491" y="134"/>
                  </a:lnTo>
                  <a:lnTo>
                    <a:pt x="2503" y="147"/>
                  </a:lnTo>
                  <a:lnTo>
                    <a:pt x="2509" y="174"/>
                  </a:lnTo>
                  <a:lnTo>
                    <a:pt x="2521" y="178"/>
                  </a:lnTo>
                  <a:lnTo>
                    <a:pt x="2533" y="169"/>
                  </a:lnTo>
                  <a:lnTo>
                    <a:pt x="2542" y="174"/>
                  </a:lnTo>
                  <a:lnTo>
                    <a:pt x="2545" y="194"/>
                  </a:lnTo>
                  <a:lnTo>
                    <a:pt x="2556" y="205"/>
                  </a:lnTo>
                  <a:lnTo>
                    <a:pt x="2562" y="222"/>
                  </a:lnTo>
                  <a:lnTo>
                    <a:pt x="2573" y="235"/>
                  </a:lnTo>
                  <a:lnTo>
                    <a:pt x="2581" y="255"/>
                  </a:lnTo>
                  <a:lnTo>
                    <a:pt x="2592" y="265"/>
                  </a:lnTo>
                  <a:lnTo>
                    <a:pt x="2598" y="281"/>
                  </a:lnTo>
                  <a:lnTo>
                    <a:pt x="2595" y="293"/>
                  </a:lnTo>
                  <a:lnTo>
                    <a:pt x="2613" y="312"/>
                  </a:lnTo>
                  <a:lnTo>
                    <a:pt x="2617" y="326"/>
                  </a:lnTo>
                  <a:lnTo>
                    <a:pt x="2633" y="330"/>
                  </a:lnTo>
                  <a:lnTo>
                    <a:pt x="2644" y="342"/>
                  </a:lnTo>
                  <a:lnTo>
                    <a:pt x="2659" y="339"/>
                  </a:lnTo>
                  <a:lnTo>
                    <a:pt x="2667" y="347"/>
                  </a:lnTo>
                  <a:lnTo>
                    <a:pt x="2686" y="375"/>
                  </a:lnTo>
                  <a:lnTo>
                    <a:pt x="2688" y="388"/>
                  </a:lnTo>
                  <a:lnTo>
                    <a:pt x="2702" y="388"/>
                  </a:lnTo>
                  <a:lnTo>
                    <a:pt x="2716" y="392"/>
                  </a:lnTo>
                  <a:lnTo>
                    <a:pt x="2740" y="427"/>
                  </a:lnTo>
                  <a:lnTo>
                    <a:pt x="2734" y="446"/>
                  </a:lnTo>
                  <a:lnTo>
                    <a:pt x="2750" y="481"/>
                  </a:lnTo>
                  <a:lnTo>
                    <a:pt x="2759" y="481"/>
                  </a:lnTo>
                  <a:lnTo>
                    <a:pt x="2761" y="486"/>
                  </a:lnTo>
                  <a:lnTo>
                    <a:pt x="2767" y="486"/>
                  </a:lnTo>
                  <a:lnTo>
                    <a:pt x="2773" y="497"/>
                  </a:lnTo>
                  <a:lnTo>
                    <a:pt x="2786" y="494"/>
                  </a:lnTo>
                  <a:lnTo>
                    <a:pt x="2790" y="486"/>
                  </a:lnTo>
                  <a:lnTo>
                    <a:pt x="2791" y="479"/>
                  </a:lnTo>
                  <a:lnTo>
                    <a:pt x="2812" y="463"/>
                  </a:lnTo>
                  <a:lnTo>
                    <a:pt x="2800" y="435"/>
                  </a:lnTo>
                  <a:lnTo>
                    <a:pt x="2807" y="422"/>
                  </a:lnTo>
                  <a:lnTo>
                    <a:pt x="2807" y="410"/>
                  </a:lnTo>
                  <a:lnTo>
                    <a:pt x="2811" y="405"/>
                  </a:lnTo>
                  <a:lnTo>
                    <a:pt x="2815" y="404"/>
                  </a:lnTo>
                  <a:lnTo>
                    <a:pt x="2826" y="404"/>
                  </a:lnTo>
                  <a:lnTo>
                    <a:pt x="2829" y="404"/>
                  </a:lnTo>
                  <a:lnTo>
                    <a:pt x="2843" y="419"/>
                  </a:lnTo>
                  <a:lnTo>
                    <a:pt x="2848" y="419"/>
                  </a:lnTo>
                  <a:lnTo>
                    <a:pt x="2855" y="430"/>
                  </a:lnTo>
                  <a:lnTo>
                    <a:pt x="2862" y="427"/>
                  </a:lnTo>
                  <a:lnTo>
                    <a:pt x="2873" y="435"/>
                  </a:lnTo>
                  <a:lnTo>
                    <a:pt x="2877" y="446"/>
                  </a:lnTo>
                  <a:lnTo>
                    <a:pt x="2898" y="439"/>
                  </a:lnTo>
                  <a:lnTo>
                    <a:pt x="2911" y="424"/>
                  </a:lnTo>
                  <a:lnTo>
                    <a:pt x="2925" y="413"/>
                  </a:lnTo>
                  <a:lnTo>
                    <a:pt x="2932" y="414"/>
                  </a:lnTo>
                  <a:lnTo>
                    <a:pt x="2938" y="421"/>
                  </a:lnTo>
                  <a:lnTo>
                    <a:pt x="2946" y="417"/>
                  </a:lnTo>
                  <a:lnTo>
                    <a:pt x="2944" y="404"/>
                  </a:lnTo>
                  <a:lnTo>
                    <a:pt x="2960" y="392"/>
                  </a:lnTo>
                  <a:lnTo>
                    <a:pt x="2963" y="392"/>
                  </a:lnTo>
                  <a:lnTo>
                    <a:pt x="2969" y="382"/>
                  </a:lnTo>
                  <a:lnTo>
                    <a:pt x="2976" y="388"/>
                  </a:lnTo>
                  <a:lnTo>
                    <a:pt x="2987" y="379"/>
                  </a:lnTo>
                  <a:lnTo>
                    <a:pt x="2991" y="388"/>
                  </a:lnTo>
                  <a:lnTo>
                    <a:pt x="3108" y="396"/>
                  </a:lnTo>
                  <a:lnTo>
                    <a:pt x="3107" y="369"/>
                  </a:lnTo>
                  <a:lnTo>
                    <a:pt x="3189" y="352"/>
                  </a:lnTo>
                  <a:lnTo>
                    <a:pt x="3210" y="356"/>
                  </a:lnTo>
                  <a:lnTo>
                    <a:pt x="3217" y="352"/>
                  </a:lnTo>
                  <a:lnTo>
                    <a:pt x="3218" y="347"/>
                  </a:lnTo>
                  <a:lnTo>
                    <a:pt x="3222" y="347"/>
                  </a:lnTo>
                  <a:lnTo>
                    <a:pt x="3226" y="343"/>
                  </a:lnTo>
                  <a:lnTo>
                    <a:pt x="3250" y="347"/>
                  </a:lnTo>
                  <a:lnTo>
                    <a:pt x="3257" y="343"/>
                  </a:lnTo>
                  <a:lnTo>
                    <a:pt x="3262" y="332"/>
                  </a:lnTo>
                  <a:lnTo>
                    <a:pt x="3279" y="320"/>
                  </a:lnTo>
                  <a:lnTo>
                    <a:pt x="3290" y="327"/>
                  </a:lnTo>
                  <a:lnTo>
                    <a:pt x="3300" y="320"/>
                  </a:lnTo>
                  <a:lnTo>
                    <a:pt x="3311" y="320"/>
                  </a:lnTo>
                  <a:lnTo>
                    <a:pt x="3317" y="320"/>
                  </a:lnTo>
                  <a:lnTo>
                    <a:pt x="3321" y="317"/>
                  </a:lnTo>
                  <a:lnTo>
                    <a:pt x="3324" y="312"/>
                  </a:lnTo>
                  <a:lnTo>
                    <a:pt x="3334" y="312"/>
                  </a:lnTo>
                  <a:lnTo>
                    <a:pt x="3342" y="320"/>
                  </a:lnTo>
                  <a:lnTo>
                    <a:pt x="3354" y="319"/>
                  </a:lnTo>
                  <a:lnTo>
                    <a:pt x="3354" y="327"/>
                  </a:lnTo>
                  <a:lnTo>
                    <a:pt x="3361" y="338"/>
                  </a:lnTo>
                  <a:lnTo>
                    <a:pt x="3377" y="347"/>
                  </a:lnTo>
                  <a:lnTo>
                    <a:pt x="3375" y="356"/>
                  </a:lnTo>
                  <a:lnTo>
                    <a:pt x="3384" y="372"/>
                  </a:lnTo>
                  <a:lnTo>
                    <a:pt x="3397" y="385"/>
                  </a:lnTo>
                  <a:lnTo>
                    <a:pt x="3402" y="404"/>
                  </a:lnTo>
                  <a:lnTo>
                    <a:pt x="3411" y="418"/>
                  </a:lnTo>
                  <a:lnTo>
                    <a:pt x="3421" y="431"/>
                  </a:lnTo>
                  <a:lnTo>
                    <a:pt x="3435" y="435"/>
                  </a:lnTo>
                  <a:lnTo>
                    <a:pt x="3438" y="446"/>
                  </a:lnTo>
                  <a:lnTo>
                    <a:pt x="3453" y="447"/>
                  </a:lnTo>
                  <a:lnTo>
                    <a:pt x="3460" y="458"/>
                  </a:lnTo>
                  <a:lnTo>
                    <a:pt x="3464" y="471"/>
                  </a:lnTo>
                  <a:lnTo>
                    <a:pt x="3471" y="476"/>
                  </a:lnTo>
                  <a:lnTo>
                    <a:pt x="3475" y="486"/>
                  </a:lnTo>
                  <a:lnTo>
                    <a:pt x="3474" y="511"/>
                  </a:lnTo>
                  <a:lnTo>
                    <a:pt x="3481" y="519"/>
                  </a:lnTo>
                  <a:lnTo>
                    <a:pt x="3472" y="530"/>
                  </a:lnTo>
                  <a:lnTo>
                    <a:pt x="3471" y="542"/>
                  </a:lnTo>
                  <a:lnTo>
                    <a:pt x="3463" y="547"/>
                  </a:lnTo>
                  <a:lnTo>
                    <a:pt x="3456" y="553"/>
                  </a:lnTo>
                  <a:lnTo>
                    <a:pt x="3464" y="566"/>
                  </a:lnTo>
                  <a:lnTo>
                    <a:pt x="3464" y="573"/>
                  </a:lnTo>
                  <a:lnTo>
                    <a:pt x="3475" y="588"/>
                  </a:lnTo>
                  <a:lnTo>
                    <a:pt x="3478" y="605"/>
                  </a:lnTo>
                  <a:lnTo>
                    <a:pt x="3495" y="624"/>
                  </a:lnTo>
                  <a:lnTo>
                    <a:pt x="3494" y="630"/>
                  </a:lnTo>
                  <a:lnTo>
                    <a:pt x="3500" y="637"/>
                  </a:lnTo>
                  <a:lnTo>
                    <a:pt x="3509" y="653"/>
                  </a:lnTo>
                  <a:lnTo>
                    <a:pt x="3507" y="657"/>
                  </a:lnTo>
                  <a:lnTo>
                    <a:pt x="3499" y="663"/>
                  </a:lnTo>
                  <a:lnTo>
                    <a:pt x="3502" y="707"/>
                  </a:lnTo>
                  <a:lnTo>
                    <a:pt x="3495" y="715"/>
                  </a:lnTo>
                  <a:lnTo>
                    <a:pt x="3494" y="725"/>
                  </a:lnTo>
                  <a:lnTo>
                    <a:pt x="3503" y="733"/>
                  </a:lnTo>
                  <a:lnTo>
                    <a:pt x="3513" y="755"/>
                  </a:lnTo>
                  <a:lnTo>
                    <a:pt x="3514" y="774"/>
                  </a:lnTo>
                  <a:lnTo>
                    <a:pt x="3520" y="778"/>
                  </a:lnTo>
                  <a:lnTo>
                    <a:pt x="3520" y="784"/>
                  </a:lnTo>
                  <a:lnTo>
                    <a:pt x="3534" y="789"/>
                  </a:lnTo>
                  <a:lnTo>
                    <a:pt x="3531" y="798"/>
                  </a:lnTo>
                  <a:lnTo>
                    <a:pt x="3539" y="808"/>
                  </a:lnTo>
                  <a:lnTo>
                    <a:pt x="3536" y="815"/>
                  </a:lnTo>
                  <a:lnTo>
                    <a:pt x="3525" y="824"/>
                  </a:lnTo>
                  <a:lnTo>
                    <a:pt x="3524" y="837"/>
                  </a:lnTo>
                  <a:lnTo>
                    <a:pt x="3514" y="844"/>
                  </a:lnTo>
                  <a:lnTo>
                    <a:pt x="3500" y="859"/>
                  </a:lnTo>
                  <a:lnTo>
                    <a:pt x="3499" y="871"/>
                  </a:lnTo>
                  <a:lnTo>
                    <a:pt x="3500" y="876"/>
                  </a:lnTo>
                  <a:lnTo>
                    <a:pt x="3509" y="877"/>
                  </a:lnTo>
                  <a:lnTo>
                    <a:pt x="3511" y="879"/>
                  </a:lnTo>
                  <a:lnTo>
                    <a:pt x="3513" y="882"/>
                  </a:lnTo>
                  <a:lnTo>
                    <a:pt x="3509" y="895"/>
                  </a:lnTo>
                  <a:lnTo>
                    <a:pt x="3497" y="901"/>
                  </a:lnTo>
                  <a:lnTo>
                    <a:pt x="3496" y="911"/>
                  </a:lnTo>
                  <a:lnTo>
                    <a:pt x="3507" y="937"/>
                  </a:lnTo>
                  <a:lnTo>
                    <a:pt x="3503" y="940"/>
                  </a:lnTo>
                  <a:lnTo>
                    <a:pt x="3505" y="944"/>
                  </a:lnTo>
                  <a:lnTo>
                    <a:pt x="3509" y="952"/>
                  </a:lnTo>
                  <a:lnTo>
                    <a:pt x="3505" y="966"/>
                  </a:lnTo>
                  <a:lnTo>
                    <a:pt x="3507" y="976"/>
                  </a:lnTo>
                  <a:lnTo>
                    <a:pt x="3514" y="976"/>
                  </a:lnTo>
                  <a:lnTo>
                    <a:pt x="3514" y="986"/>
                  </a:lnTo>
                  <a:lnTo>
                    <a:pt x="3524" y="998"/>
                  </a:lnTo>
                  <a:lnTo>
                    <a:pt x="3520" y="1010"/>
                  </a:lnTo>
                  <a:lnTo>
                    <a:pt x="3522" y="1028"/>
                  </a:lnTo>
                  <a:lnTo>
                    <a:pt x="3519" y="1038"/>
                  </a:lnTo>
                  <a:lnTo>
                    <a:pt x="3500" y="1056"/>
                  </a:lnTo>
                  <a:lnTo>
                    <a:pt x="3502" y="1067"/>
                  </a:lnTo>
                  <a:lnTo>
                    <a:pt x="3492" y="1072"/>
                  </a:lnTo>
                  <a:lnTo>
                    <a:pt x="3486" y="1080"/>
                  </a:lnTo>
                  <a:lnTo>
                    <a:pt x="3482" y="1080"/>
                  </a:lnTo>
                  <a:lnTo>
                    <a:pt x="3477" y="1073"/>
                  </a:lnTo>
                  <a:lnTo>
                    <a:pt x="3471" y="1073"/>
                  </a:lnTo>
                  <a:lnTo>
                    <a:pt x="3467" y="1082"/>
                  </a:lnTo>
                  <a:lnTo>
                    <a:pt x="3459" y="1090"/>
                  </a:lnTo>
                  <a:lnTo>
                    <a:pt x="3455" y="1107"/>
                  </a:lnTo>
                  <a:lnTo>
                    <a:pt x="3457" y="1117"/>
                  </a:lnTo>
                  <a:lnTo>
                    <a:pt x="3455" y="1137"/>
                  </a:lnTo>
                  <a:lnTo>
                    <a:pt x="3436" y="1139"/>
                  </a:lnTo>
                  <a:lnTo>
                    <a:pt x="3416" y="1154"/>
                  </a:lnTo>
                  <a:lnTo>
                    <a:pt x="3402" y="1151"/>
                  </a:lnTo>
                  <a:lnTo>
                    <a:pt x="3394" y="1148"/>
                  </a:lnTo>
                  <a:lnTo>
                    <a:pt x="3396" y="1172"/>
                  </a:lnTo>
                  <a:lnTo>
                    <a:pt x="3394" y="1176"/>
                  </a:lnTo>
                  <a:lnTo>
                    <a:pt x="3382" y="1192"/>
                  </a:lnTo>
                  <a:lnTo>
                    <a:pt x="3382" y="1207"/>
                  </a:lnTo>
                  <a:lnTo>
                    <a:pt x="3391" y="1223"/>
                  </a:lnTo>
                  <a:lnTo>
                    <a:pt x="3395" y="1240"/>
                  </a:lnTo>
                  <a:lnTo>
                    <a:pt x="3394" y="1256"/>
                  </a:lnTo>
                  <a:lnTo>
                    <a:pt x="3397" y="1266"/>
                  </a:lnTo>
                  <a:lnTo>
                    <a:pt x="3394" y="1273"/>
                  </a:lnTo>
                  <a:lnTo>
                    <a:pt x="3409" y="1298"/>
                  </a:lnTo>
                  <a:lnTo>
                    <a:pt x="3391" y="1301"/>
                  </a:lnTo>
                  <a:lnTo>
                    <a:pt x="3384" y="1337"/>
                  </a:lnTo>
                  <a:lnTo>
                    <a:pt x="3378" y="1344"/>
                  </a:lnTo>
                  <a:lnTo>
                    <a:pt x="3366" y="1351"/>
                  </a:lnTo>
                  <a:lnTo>
                    <a:pt x="3363" y="1358"/>
                  </a:lnTo>
                  <a:lnTo>
                    <a:pt x="3353" y="1362"/>
                  </a:lnTo>
                  <a:lnTo>
                    <a:pt x="3350" y="1379"/>
                  </a:lnTo>
                  <a:lnTo>
                    <a:pt x="3332" y="1403"/>
                  </a:lnTo>
                  <a:lnTo>
                    <a:pt x="3324" y="1408"/>
                  </a:lnTo>
                  <a:lnTo>
                    <a:pt x="3314" y="1403"/>
                  </a:lnTo>
                  <a:lnTo>
                    <a:pt x="3301" y="1405"/>
                  </a:lnTo>
                  <a:lnTo>
                    <a:pt x="3289" y="1414"/>
                  </a:lnTo>
                  <a:lnTo>
                    <a:pt x="3281" y="1417"/>
                  </a:lnTo>
                  <a:lnTo>
                    <a:pt x="3278" y="1425"/>
                  </a:lnTo>
                  <a:lnTo>
                    <a:pt x="3270" y="1438"/>
                  </a:lnTo>
                  <a:lnTo>
                    <a:pt x="3264" y="1438"/>
                  </a:lnTo>
                  <a:lnTo>
                    <a:pt x="3257" y="1446"/>
                  </a:lnTo>
                  <a:lnTo>
                    <a:pt x="3257" y="1460"/>
                  </a:lnTo>
                  <a:lnTo>
                    <a:pt x="3246" y="1467"/>
                  </a:lnTo>
                  <a:lnTo>
                    <a:pt x="3243" y="1472"/>
                  </a:lnTo>
                  <a:lnTo>
                    <a:pt x="3242" y="1483"/>
                  </a:lnTo>
                  <a:lnTo>
                    <a:pt x="3240" y="1491"/>
                  </a:lnTo>
                  <a:lnTo>
                    <a:pt x="3245" y="1500"/>
                  </a:lnTo>
                  <a:lnTo>
                    <a:pt x="3239" y="1513"/>
                  </a:lnTo>
                  <a:lnTo>
                    <a:pt x="3247" y="1518"/>
                  </a:lnTo>
                  <a:lnTo>
                    <a:pt x="3240" y="1527"/>
                  </a:lnTo>
                  <a:lnTo>
                    <a:pt x="3245" y="1544"/>
                  </a:lnTo>
                  <a:lnTo>
                    <a:pt x="3265" y="1554"/>
                  </a:lnTo>
                  <a:lnTo>
                    <a:pt x="3281" y="1554"/>
                  </a:lnTo>
                  <a:lnTo>
                    <a:pt x="3287" y="1554"/>
                  </a:lnTo>
                  <a:lnTo>
                    <a:pt x="3300" y="1574"/>
                  </a:lnTo>
                  <a:lnTo>
                    <a:pt x="3320" y="1584"/>
                  </a:lnTo>
                  <a:lnTo>
                    <a:pt x="3320" y="1596"/>
                  </a:lnTo>
                  <a:lnTo>
                    <a:pt x="3339" y="1609"/>
                  </a:lnTo>
                  <a:lnTo>
                    <a:pt x="3343" y="1621"/>
                  </a:lnTo>
                  <a:lnTo>
                    <a:pt x="3349" y="1627"/>
                  </a:lnTo>
                  <a:lnTo>
                    <a:pt x="3349" y="1634"/>
                  </a:lnTo>
                  <a:lnTo>
                    <a:pt x="3367" y="1634"/>
                  </a:lnTo>
                  <a:lnTo>
                    <a:pt x="3380" y="1644"/>
                  </a:lnTo>
                  <a:lnTo>
                    <a:pt x="3388" y="1664"/>
                  </a:lnTo>
                  <a:lnTo>
                    <a:pt x="3380" y="1671"/>
                  </a:lnTo>
                  <a:lnTo>
                    <a:pt x="3367" y="1704"/>
                  </a:lnTo>
                  <a:lnTo>
                    <a:pt x="3361" y="1712"/>
                  </a:lnTo>
                  <a:lnTo>
                    <a:pt x="3360" y="1724"/>
                  </a:lnTo>
                  <a:lnTo>
                    <a:pt x="3363" y="1741"/>
                  </a:lnTo>
                  <a:lnTo>
                    <a:pt x="3359" y="1764"/>
                  </a:lnTo>
                  <a:lnTo>
                    <a:pt x="3361" y="1773"/>
                  </a:lnTo>
                  <a:lnTo>
                    <a:pt x="3366" y="1777"/>
                  </a:lnTo>
                  <a:lnTo>
                    <a:pt x="3371" y="1779"/>
                  </a:lnTo>
                  <a:lnTo>
                    <a:pt x="3374" y="1802"/>
                  </a:lnTo>
                  <a:lnTo>
                    <a:pt x="3381" y="1818"/>
                  </a:lnTo>
                  <a:lnTo>
                    <a:pt x="3389" y="1826"/>
                  </a:lnTo>
                  <a:lnTo>
                    <a:pt x="3407" y="1832"/>
                  </a:lnTo>
                  <a:lnTo>
                    <a:pt x="3425" y="1836"/>
                  </a:lnTo>
                  <a:lnTo>
                    <a:pt x="3431" y="1847"/>
                  </a:lnTo>
                  <a:lnTo>
                    <a:pt x="3441" y="1844"/>
                  </a:lnTo>
                  <a:lnTo>
                    <a:pt x="3460" y="1835"/>
                  </a:lnTo>
                  <a:lnTo>
                    <a:pt x="3474" y="1848"/>
                  </a:lnTo>
                  <a:lnTo>
                    <a:pt x="3477" y="1855"/>
                  </a:lnTo>
                  <a:lnTo>
                    <a:pt x="3496" y="1862"/>
                  </a:lnTo>
                  <a:lnTo>
                    <a:pt x="3500" y="1870"/>
                  </a:lnTo>
                  <a:lnTo>
                    <a:pt x="3497" y="1885"/>
                  </a:lnTo>
                  <a:lnTo>
                    <a:pt x="3511" y="1903"/>
                  </a:lnTo>
                  <a:lnTo>
                    <a:pt x="3509" y="1924"/>
                  </a:lnTo>
                  <a:lnTo>
                    <a:pt x="3514" y="1942"/>
                  </a:lnTo>
                  <a:lnTo>
                    <a:pt x="3522" y="1948"/>
                  </a:lnTo>
                  <a:lnTo>
                    <a:pt x="3539" y="1951"/>
                  </a:lnTo>
                  <a:lnTo>
                    <a:pt x="3559" y="1970"/>
                  </a:lnTo>
                  <a:lnTo>
                    <a:pt x="3566" y="1970"/>
                  </a:lnTo>
                  <a:lnTo>
                    <a:pt x="3577" y="1962"/>
                  </a:lnTo>
                  <a:lnTo>
                    <a:pt x="3581" y="1964"/>
                  </a:lnTo>
                  <a:lnTo>
                    <a:pt x="3586" y="1977"/>
                  </a:lnTo>
                  <a:lnTo>
                    <a:pt x="3585" y="1997"/>
                  </a:lnTo>
                  <a:lnTo>
                    <a:pt x="3589" y="2012"/>
                  </a:lnTo>
                  <a:lnTo>
                    <a:pt x="3599" y="2015"/>
                  </a:lnTo>
                  <a:lnTo>
                    <a:pt x="3613" y="2007"/>
                  </a:lnTo>
                  <a:lnTo>
                    <a:pt x="3644" y="2026"/>
                  </a:lnTo>
                  <a:lnTo>
                    <a:pt x="3665" y="2057"/>
                  </a:lnTo>
                  <a:lnTo>
                    <a:pt x="3660" y="2072"/>
                  </a:lnTo>
                  <a:lnTo>
                    <a:pt x="3663" y="2080"/>
                  </a:lnTo>
                  <a:lnTo>
                    <a:pt x="3670" y="2084"/>
                  </a:lnTo>
                  <a:lnTo>
                    <a:pt x="3685" y="2086"/>
                  </a:lnTo>
                  <a:lnTo>
                    <a:pt x="3695" y="2094"/>
                  </a:lnTo>
                  <a:lnTo>
                    <a:pt x="3713" y="2097"/>
                  </a:lnTo>
                  <a:lnTo>
                    <a:pt x="3720" y="2106"/>
                  </a:lnTo>
                  <a:lnTo>
                    <a:pt x="3729" y="2151"/>
                  </a:lnTo>
                  <a:lnTo>
                    <a:pt x="3742" y="2161"/>
                  </a:lnTo>
                  <a:lnTo>
                    <a:pt x="3770" y="2168"/>
                  </a:lnTo>
                  <a:lnTo>
                    <a:pt x="3773" y="2200"/>
                  </a:lnTo>
                  <a:lnTo>
                    <a:pt x="3777" y="2210"/>
                  </a:lnTo>
                  <a:lnTo>
                    <a:pt x="3788" y="2210"/>
                  </a:lnTo>
                  <a:lnTo>
                    <a:pt x="3816" y="2203"/>
                  </a:lnTo>
                  <a:lnTo>
                    <a:pt x="3819" y="2210"/>
                  </a:lnTo>
                  <a:lnTo>
                    <a:pt x="3826" y="2213"/>
                  </a:lnTo>
                  <a:lnTo>
                    <a:pt x="3829" y="2217"/>
                  </a:lnTo>
                  <a:lnTo>
                    <a:pt x="3831" y="2218"/>
                  </a:lnTo>
                  <a:lnTo>
                    <a:pt x="3835" y="2245"/>
                  </a:lnTo>
                  <a:lnTo>
                    <a:pt x="3840" y="2254"/>
                  </a:lnTo>
                  <a:lnTo>
                    <a:pt x="3862" y="2259"/>
                  </a:lnTo>
                  <a:lnTo>
                    <a:pt x="3870" y="2271"/>
                  </a:lnTo>
                  <a:lnTo>
                    <a:pt x="3877" y="2276"/>
                  </a:lnTo>
                  <a:lnTo>
                    <a:pt x="3897" y="2280"/>
                  </a:lnTo>
                  <a:lnTo>
                    <a:pt x="3902" y="2267"/>
                  </a:lnTo>
                  <a:lnTo>
                    <a:pt x="3919" y="2271"/>
                  </a:lnTo>
                  <a:lnTo>
                    <a:pt x="3948" y="2267"/>
                  </a:lnTo>
                  <a:lnTo>
                    <a:pt x="3966" y="2282"/>
                  </a:lnTo>
                  <a:lnTo>
                    <a:pt x="3972" y="2300"/>
                  </a:lnTo>
                  <a:lnTo>
                    <a:pt x="3962" y="2308"/>
                  </a:lnTo>
                  <a:lnTo>
                    <a:pt x="3961" y="2315"/>
                  </a:lnTo>
                  <a:lnTo>
                    <a:pt x="3976" y="2349"/>
                  </a:lnTo>
                  <a:lnTo>
                    <a:pt x="3976" y="2365"/>
                  </a:lnTo>
                  <a:lnTo>
                    <a:pt x="3973" y="2365"/>
                  </a:lnTo>
                  <a:lnTo>
                    <a:pt x="3966" y="2363"/>
                  </a:lnTo>
                  <a:lnTo>
                    <a:pt x="3962" y="2365"/>
                  </a:lnTo>
                  <a:lnTo>
                    <a:pt x="3954" y="2378"/>
                  </a:lnTo>
                  <a:lnTo>
                    <a:pt x="3955" y="2383"/>
                  </a:lnTo>
                  <a:lnTo>
                    <a:pt x="3953" y="2390"/>
                  </a:lnTo>
                  <a:lnTo>
                    <a:pt x="3933" y="2394"/>
                  </a:lnTo>
                  <a:lnTo>
                    <a:pt x="3915" y="2401"/>
                  </a:lnTo>
                  <a:lnTo>
                    <a:pt x="3908" y="2401"/>
                  </a:lnTo>
                  <a:lnTo>
                    <a:pt x="3891" y="2409"/>
                  </a:lnTo>
                  <a:lnTo>
                    <a:pt x="3885" y="2420"/>
                  </a:lnTo>
                  <a:lnTo>
                    <a:pt x="3890" y="2424"/>
                  </a:lnTo>
                  <a:lnTo>
                    <a:pt x="3888" y="2428"/>
                  </a:lnTo>
                  <a:lnTo>
                    <a:pt x="3894" y="2432"/>
                  </a:lnTo>
                  <a:lnTo>
                    <a:pt x="3887" y="2450"/>
                  </a:lnTo>
                  <a:lnTo>
                    <a:pt x="3902" y="2465"/>
                  </a:lnTo>
                  <a:lnTo>
                    <a:pt x="3905" y="2465"/>
                  </a:lnTo>
                  <a:lnTo>
                    <a:pt x="3909" y="2471"/>
                  </a:lnTo>
                  <a:lnTo>
                    <a:pt x="3929" y="2481"/>
                  </a:lnTo>
                  <a:lnTo>
                    <a:pt x="3926" y="2484"/>
                  </a:lnTo>
                  <a:lnTo>
                    <a:pt x="3915" y="2487"/>
                  </a:lnTo>
                  <a:lnTo>
                    <a:pt x="3906" y="2499"/>
                  </a:lnTo>
                  <a:lnTo>
                    <a:pt x="3908" y="2503"/>
                  </a:lnTo>
                  <a:lnTo>
                    <a:pt x="3913" y="2506"/>
                  </a:lnTo>
                  <a:lnTo>
                    <a:pt x="3916" y="2516"/>
                  </a:lnTo>
                  <a:lnTo>
                    <a:pt x="3922" y="2517"/>
                  </a:lnTo>
                  <a:lnTo>
                    <a:pt x="4073" y="2517"/>
                  </a:lnTo>
                  <a:lnTo>
                    <a:pt x="4080" y="2517"/>
                  </a:lnTo>
                  <a:lnTo>
                    <a:pt x="4080" y="2520"/>
                  </a:lnTo>
                  <a:lnTo>
                    <a:pt x="4075" y="2525"/>
                  </a:lnTo>
                  <a:lnTo>
                    <a:pt x="4078" y="2528"/>
                  </a:lnTo>
                  <a:lnTo>
                    <a:pt x="4080" y="2528"/>
                  </a:lnTo>
                  <a:lnTo>
                    <a:pt x="4086" y="2525"/>
                  </a:lnTo>
                  <a:lnTo>
                    <a:pt x="4087" y="2525"/>
                  </a:lnTo>
                  <a:lnTo>
                    <a:pt x="4089" y="2529"/>
                  </a:lnTo>
                  <a:lnTo>
                    <a:pt x="4084" y="2536"/>
                  </a:lnTo>
                  <a:lnTo>
                    <a:pt x="4087" y="2544"/>
                  </a:lnTo>
                  <a:lnTo>
                    <a:pt x="4084" y="2548"/>
                  </a:lnTo>
                  <a:lnTo>
                    <a:pt x="4076" y="2550"/>
                  </a:lnTo>
                  <a:lnTo>
                    <a:pt x="4076" y="2551"/>
                  </a:lnTo>
                  <a:lnTo>
                    <a:pt x="4078" y="2554"/>
                  </a:lnTo>
                  <a:lnTo>
                    <a:pt x="4081" y="2554"/>
                  </a:lnTo>
                  <a:lnTo>
                    <a:pt x="4083" y="2556"/>
                  </a:lnTo>
                  <a:lnTo>
                    <a:pt x="4084" y="2566"/>
                  </a:lnTo>
                  <a:lnTo>
                    <a:pt x="4091" y="2570"/>
                  </a:lnTo>
                  <a:lnTo>
                    <a:pt x="4091" y="2573"/>
                  </a:lnTo>
                  <a:lnTo>
                    <a:pt x="4087" y="2576"/>
                  </a:lnTo>
                  <a:lnTo>
                    <a:pt x="4087" y="2578"/>
                  </a:lnTo>
                  <a:lnTo>
                    <a:pt x="4089" y="2579"/>
                  </a:lnTo>
                  <a:lnTo>
                    <a:pt x="4093" y="2579"/>
                  </a:lnTo>
                  <a:lnTo>
                    <a:pt x="4094" y="2581"/>
                  </a:lnTo>
                  <a:lnTo>
                    <a:pt x="4093" y="2583"/>
                  </a:lnTo>
                  <a:lnTo>
                    <a:pt x="4087" y="2587"/>
                  </a:lnTo>
                  <a:lnTo>
                    <a:pt x="4087" y="2593"/>
                  </a:lnTo>
                  <a:lnTo>
                    <a:pt x="4083" y="2595"/>
                  </a:lnTo>
                  <a:lnTo>
                    <a:pt x="4084" y="2599"/>
                  </a:lnTo>
                  <a:lnTo>
                    <a:pt x="4079" y="2600"/>
                  </a:lnTo>
                  <a:lnTo>
                    <a:pt x="4080" y="2603"/>
                  </a:lnTo>
                  <a:lnTo>
                    <a:pt x="4086" y="2603"/>
                  </a:lnTo>
                  <a:lnTo>
                    <a:pt x="4087" y="2606"/>
                  </a:lnTo>
                  <a:lnTo>
                    <a:pt x="4087" y="2607"/>
                  </a:lnTo>
                  <a:lnTo>
                    <a:pt x="4080" y="2607"/>
                  </a:lnTo>
                  <a:lnTo>
                    <a:pt x="4084" y="2615"/>
                  </a:lnTo>
                  <a:lnTo>
                    <a:pt x="4078" y="2618"/>
                  </a:lnTo>
                  <a:lnTo>
                    <a:pt x="4081" y="2623"/>
                  </a:lnTo>
                  <a:lnTo>
                    <a:pt x="4079" y="2632"/>
                  </a:lnTo>
                  <a:lnTo>
                    <a:pt x="4079" y="2633"/>
                  </a:lnTo>
                  <a:lnTo>
                    <a:pt x="4086" y="2632"/>
                  </a:lnTo>
                  <a:lnTo>
                    <a:pt x="4095" y="2637"/>
                  </a:lnTo>
                  <a:lnTo>
                    <a:pt x="4095" y="2648"/>
                  </a:lnTo>
                  <a:lnTo>
                    <a:pt x="4101" y="2655"/>
                  </a:lnTo>
                  <a:lnTo>
                    <a:pt x="4101" y="2660"/>
                  </a:lnTo>
                  <a:lnTo>
                    <a:pt x="4105" y="2663"/>
                  </a:lnTo>
                  <a:lnTo>
                    <a:pt x="4104" y="2670"/>
                  </a:lnTo>
                  <a:lnTo>
                    <a:pt x="4104" y="2673"/>
                  </a:lnTo>
                  <a:lnTo>
                    <a:pt x="4108" y="2678"/>
                  </a:lnTo>
                  <a:lnTo>
                    <a:pt x="4112" y="2678"/>
                  </a:lnTo>
                  <a:lnTo>
                    <a:pt x="4114" y="2682"/>
                  </a:lnTo>
                  <a:lnTo>
                    <a:pt x="4115" y="2686"/>
                  </a:lnTo>
                  <a:lnTo>
                    <a:pt x="4116" y="2690"/>
                  </a:lnTo>
                  <a:lnTo>
                    <a:pt x="4119" y="2700"/>
                  </a:lnTo>
                  <a:lnTo>
                    <a:pt x="4119" y="2705"/>
                  </a:lnTo>
                  <a:lnTo>
                    <a:pt x="4115" y="2711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48" name="Freeform 147"/>
            <p:cNvSpPr>
              <a:spLocks/>
            </p:cNvSpPr>
            <p:nvPr/>
          </p:nvSpPr>
          <p:spPr bwMode="auto">
            <a:xfrm>
              <a:off x="1267173" y="1794306"/>
              <a:ext cx="661491" cy="914614"/>
            </a:xfrm>
            <a:custGeom>
              <a:avLst/>
              <a:gdLst>
                <a:gd name="T0" fmla="*/ 3256 w 3320"/>
                <a:gd name="T1" fmla="*/ 378 h 3392"/>
                <a:gd name="T2" fmla="*/ 3215 w 3320"/>
                <a:gd name="T3" fmla="*/ 686 h 3392"/>
                <a:gd name="T4" fmla="*/ 3094 w 3320"/>
                <a:gd name="T5" fmla="*/ 846 h 3392"/>
                <a:gd name="T6" fmla="*/ 2989 w 3320"/>
                <a:gd name="T7" fmla="*/ 966 h 3392"/>
                <a:gd name="T8" fmla="*/ 2957 w 3320"/>
                <a:gd name="T9" fmla="*/ 1091 h 3392"/>
                <a:gd name="T10" fmla="*/ 2970 w 3320"/>
                <a:gd name="T11" fmla="*/ 1212 h 3392"/>
                <a:gd name="T12" fmla="*/ 2930 w 3320"/>
                <a:gd name="T13" fmla="*/ 1364 h 3392"/>
                <a:gd name="T14" fmla="*/ 2995 w 3320"/>
                <a:gd name="T15" fmla="*/ 1501 h 3392"/>
                <a:gd name="T16" fmla="*/ 3107 w 3320"/>
                <a:gd name="T17" fmla="*/ 1535 h 3392"/>
                <a:gd name="T18" fmla="*/ 3076 w 3320"/>
                <a:gd name="T19" fmla="*/ 1608 h 3392"/>
                <a:gd name="T20" fmla="*/ 3006 w 3320"/>
                <a:gd name="T21" fmla="*/ 1692 h 3392"/>
                <a:gd name="T22" fmla="*/ 3057 w 3320"/>
                <a:gd name="T23" fmla="*/ 1933 h 3392"/>
                <a:gd name="T24" fmla="*/ 3099 w 3320"/>
                <a:gd name="T25" fmla="*/ 2068 h 3392"/>
                <a:gd name="T26" fmla="*/ 3163 w 3320"/>
                <a:gd name="T27" fmla="*/ 2181 h 3392"/>
                <a:gd name="T28" fmla="*/ 3240 w 3320"/>
                <a:gd name="T29" fmla="*/ 2289 h 3392"/>
                <a:gd name="T30" fmla="*/ 3096 w 3320"/>
                <a:gd name="T31" fmla="*/ 2374 h 3392"/>
                <a:gd name="T32" fmla="*/ 2878 w 3320"/>
                <a:gd name="T33" fmla="*/ 2459 h 3392"/>
                <a:gd name="T34" fmla="*/ 2686 w 3320"/>
                <a:gd name="T35" fmla="*/ 2423 h 3392"/>
                <a:gd name="T36" fmla="*/ 2575 w 3320"/>
                <a:gd name="T37" fmla="*/ 2526 h 3392"/>
                <a:gd name="T38" fmla="*/ 2423 w 3320"/>
                <a:gd name="T39" fmla="*/ 2619 h 3392"/>
                <a:gd name="T40" fmla="*/ 2254 w 3320"/>
                <a:gd name="T41" fmla="*/ 2679 h 3392"/>
                <a:gd name="T42" fmla="*/ 2066 w 3320"/>
                <a:gd name="T43" fmla="*/ 2805 h 3392"/>
                <a:gd name="T44" fmla="*/ 1969 w 3320"/>
                <a:gd name="T45" fmla="*/ 2912 h 3392"/>
                <a:gd name="T46" fmla="*/ 1888 w 3320"/>
                <a:gd name="T47" fmla="*/ 3041 h 3392"/>
                <a:gd name="T48" fmla="*/ 1821 w 3320"/>
                <a:gd name="T49" fmla="*/ 3133 h 3392"/>
                <a:gd name="T50" fmla="*/ 1710 w 3320"/>
                <a:gd name="T51" fmla="*/ 3207 h 3392"/>
                <a:gd name="T52" fmla="*/ 1652 w 3320"/>
                <a:gd name="T53" fmla="*/ 3230 h 3392"/>
                <a:gd name="T54" fmla="*/ 1616 w 3320"/>
                <a:gd name="T55" fmla="*/ 3238 h 3392"/>
                <a:gd name="T56" fmla="*/ 1606 w 3320"/>
                <a:gd name="T57" fmla="*/ 3256 h 3392"/>
                <a:gd name="T58" fmla="*/ 1588 w 3320"/>
                <a:gd name="T59" fmla="*/ 3277 h 3392"/>
                <a:gd name="T60" fmla="*/ 1577 w 3320"/>
                <a:gd name="T61" fmla="*/ 3295 h 3392"/>
                <a:gd name="T62" fmla="*/ 1558 w 3320"/>
                <a:gd name="T63" fmla="*/ 3314 h 3392"/>
                <a:gd name="T64" fmla="*/ 1540 w 3320"/>
                <a:gd name="T65" fmla="*/ 3339 h 3392"/>
                <a:gd name="T66" fmla="*/ 1557 w 3320"/>
                <a:gd name="T67" fmla="*/ 3370 h 3392"/>
                <a:gd name="T68" fmla="*/ 1458 w 3320"/>
                <a:gd name="T69" fmla="*/ 3367 h 3392"/>
                <a:gd name="T70" fmla="*/ 1429 w 3320"/>
                <a:gd name="T71" fmla="*/ 3356 h 3392"/>
                <a:gd name="T72" fmla="*/ 1141 w 3320"/>
                <a:gd name="T73" fmla="*/ 2647 h 3392"/>
                <a:gd name="T74" fmla="*/ 100 w 3320"/>
                <a:gd name="T75" fmla="*/ 1107 h 3392"/>
                <a:gd name="T76" fmla="*/ 859 w 3320"/>
                <a:gd name="T77" fmla="*/ 244 h 3392"/>
                <a:gd name="T78" fmla="*/ 926 w 3320"/>
                <a:gd name="T79" fmla="*/ 250 h 3392"/>
                <a:gd name="T80" fmla="*/ 984 w 3320"/>
                <a:gd name="T81" fmla="*/ 232 h 3392"/>
                <a:gd name="T82" fmla="*/ 1093 w 3320"/>
                <a:gd name="T83" fmla="*/ 174 h 3392"/>
                <a:gd name="T84" fmla="*/ 1168 w 3320"/>
                <a:gd name="T85" fmla="*/ 143 h 3392"/>
                <a:gd name="T86" fmla="*/ 1278 w 3320"/>
                <a:gd name="T87" fmla="*/ 133 h 3392"/>
                <a:gd name="T88" fmla="*/ 1359 w 3320"/>
                <a:gd name="T89" fmla="*/ 196 h 3392"/>
                <a:gd name="T90" fmla="*/ 1472 w 3320"/>
                <a:gd name="T91" fmla="*/ 230 h 3392"/>
                <a:gd name="T92" fmla="*/ 1489 w 3320"/>
                <a:gd name="T93" fmla="*/ 351 h 3392"/>
                <a:gd name="T94" fmla="*/ 1590 w 3320"/>
                <a:gd name="T95" fmla="*/ 360 h 3392"/>
                <a:gd name="T96" fmla="*/ 1729 w 3320"/>
                <a:gd name="T97" fmla="*/ 374 h 3392"/>
                <a:gd name="T98" fmla="*/ 1837 w 3320"/>
                <a:gd name="T99" fmla="*/ 378 h 3392"/>
                <a:gd name="T100" fmla="*/ 1985 w 3320"/>
                <a:gd name="T101" fmla="*/ 237 h 3392"/>
                <a:gd name="T102" fmla="*/ 2084 w 3320"/>
                <a:gd name="T103" fmla="*/ 267 h 3392"/>
                <a:gd name="T104" fmla="*/ 2215 w 3320"/>
                <a:gd name="T105" fmla="*/ 294 h 3392"/>
                <a:gd name="T106" fmla="*/ 2347 w 3320"/>
                <a:gd name="T107" fmla="*/ 301 h 3392"/>
                <a:gd name="T108" fmla="*/ 2465 w 3320"/>
                <a:gd name="T109" fmla="*/ 338 h 3392"/>
                <a:gd name="T110" fmla="*/ 2604 w 3320"/>
                <a:gd name="T111" fmla="*/ 289 h 3392"/>
                <a:gd name="T112" fmla="*/ 2754 w 3320"/>
                <a:gd name="T113" fmla="*/ 205 h 3392"/>
                <a:gd name="T114" fmla="*/ 2796 w 3320"/>
                <a:gd name="T115" fmla="*/ 41 h 3392"/>
                <a:gd name="T116" fmla="*/ 2909 w 3320"/>
                <a:gd name="T117" fmla="*/ 9 h 3392"/>
                <a:gd name="T118" fmla="*/ 3052 w 3320"/>
                <a:gd name="T119" fmla="*/ 22 h 3392"/>
                <a:gd name="T120" fmla="*/ 3152 w 3320"/>
                <a:gd name="T121" fmla="*/ 41 h 3392"/>
                <a:gd name="T122" fmla="*/ 3276 w 3320"/>
                <a:gd name="T123" fmla="*/ 112 h 339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20"/>
                <a:gd name="T187" fmla="*/ 0 h 3392"/>
                <a:gd name="T188" fmla="*/ 3320 w 3320"/>
                <a:gd name="T189" fmla="*/ 3392 h 339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20" h="3392">
                  <a:moveTo>
                    <a:pt x="3312" y="147"/>
                  </a:moveTo>
                  <a:lnTo>
                    <a:pt x="3309" y="150"/>
                  </a:lnTo>
                  <a:lnTo>
                    <a:pt x="3299" y="163"/>
                  </a:lnTo>
                  <a:lnTo>
                    <a:pt x="3291" y="182"/>
                  </a:lnTo>
                  <a:lnTo>
                    <a:pt x="3285" y="200"/>
                  </a:lnTo>
                  <a:lnTo>
                    <a:pt x="3280" y="217"/>
                  </a:lnTo>
                  <a:lnTo>
                    <a:pt x="3274" y="228"/>
                  </a:lnTo>
                  <a:lnTo>
                    <a:pt x="3276" y="228"/>
                  </a:lnTo>
                  <a:lnTo>
                    <a:pt x="3274" y="228"/>
                  </a:lnTo>
                  <a:lnTo>
                    <a:pt x="3274" y="230"/>
                  </a:lnTo>
                  <a:lnTo>
                    <a:pt x="3273" y="232"/>
                  </a:lnTo>
                  <a:lnTo>
                    <a:pt x="3271" y="232"/>
                  </a:lnTo>
                  <a:lnTo>
                    <a:pt x="3271" y="236"/>
                  </a:lnTo>
                  <a:lnTo>
                    <a:pt x="3271" y="237"/>
                  </a:lnTo>
                  <a:lnTo>
                    <a:pt x="3269" y="241"/>
                  </a:lnTo>
                  <a:lnTo>
                    <a:pt x="3269" y="245"/>
                  </a:lnTo>
                  <a:lnTo>
                    <a:pt x="3267" y="258"/>
                  </a:lnTo>
                  <a:lnTo>
                    <a:pt x="3265" y="273"/>
                  </a:lnTo>
                  <a:lnTo>
                    <a:pt x="3260" y="281"/>
                  </a:lnTo>
                  <a:lnTo>
                    <a:pt x="3260" y="289"/>
                  </a:lnTo>
                  <a:lnTo>
                    <a:pt x="3265" y="301"/>
                  </a:lnTo>
                  <a:lnTo>
                    <a:pt x="3265" y="308"/>
                  </a:lnTo>
                  <a:lnTo>
                    <a:pt x="3265" y="312"/>
                  </a:lnTo>
                  <a:lnTo>
                    <a:pt x="3260" y="324"/>
                  </a:lnTo>
                  <a:lnTo>
                    <a:pt x="3259" y="333"/>
                  </a:lnTo>
                  <a:lnTo>
                    <a:pt x="3260" y="346"/>
                  </a:lnTo>
                  <a:lnTo>
                    <a:pt x="3260" y="361"/>
                  </a:lnTo>
                  <a:lnTo>
                    <a:pt x="3259" y="366"/>
                  </a:lnTo>
                  <a:lnTo>
                    <a:pt x="3258" y="370"/>
                  </a:lnTo>
                  <a:lnTo>
                    <a:pt x="3256" y="374"/>
                  </a:lnTo>
                  <a:lnTo>
                    <a:pt x="3256" y="378"/>
                  </a:lnTo>
                  <a:lnTo>
                    <a:pt x="3256" y="382"/>
                  </a:lnTo>
                  <a:lnTo>
                    <a:pt x="3262" y="387"/>
                  </a:lnTo>
                  <a:lnTo>
                    <a:pt x="3263" y="395"/>
                  </a:lnTo>
                  <a:lnTo>
                    <a:pt x="3263" y="396"/>
                  </a:lnTo>
                  <a:lnTo>
                    <a:pt x="3265" y="396"/>
                  </a:lnTo>
                  <a:lnTo>
                    <a:pt x="3262" y="413"/>
                  </a:lnTo>
                  <a:lnTo>
                    <a:pt x="3263" y="421"/>
                  </a:lnTo>
                  <a:lnTo>
                    <a:pt x="3263" y="423"/>
                  </a:lnTo>
                  <a:lnTo>
                    <a:pt x="3265" y="428"/>
                  </a:lnTo>
                  <a:lnTo>
                    <a:pt x="3267" y="441"/>
                  </a:lnTo>
                  <a:lnTo>
                    <a:pt x="3273" y="453"/>
                  </a:lnTo>
                  <a:lnTo>
                    <a:pt x="3273" y="462"/>
                  </a:lnTo>
                  <a:lnTo>
                    <a:pt x="3266" y="477"/>
                  </a:lnTo>
                  <a:lnTo>
                    <a:pt x="3267" y="485"/>
                  </a:lnTo>
                  <a:lnTo>
                    <a:pt x="3273" y="507"/>
                  </a:lnTo>
                  <a:lnTo>
                    <a:pt x="3267" y="535"/>
                  </a:lnTo>
                  <a:lnTo>
                    <a:pt x="3260" y="552"/>
                  </a:lnTo>
                  <a:lnTo>
                    <a:pt x="3256" y="573"/>
                  </a:lnTo>
                  <a:lnTo>
                    <a:pt x="3254" y="587"/>
                  </a:lnTo>
                  <a:lnTo>
                    <a:pt x="3255" y="597"/>
                  </a:lnTo>
                  <a:lnTo>
                    <a:pt x="3249" y="610"/>
                  </a:lnTo>
                  <a:lnTo>
                    <a:pt x="3246" y="619"/>
                  </a:lnTo>
                  <a:lnTo>
                    <a:pt x="3248" y="632"/>
                  </a:lnTo>
                  <a:lnTo>
                    <a:pt x="3241" y="640"/>
                  </a:lnTo>
                  <a:lnTo>
                    <a:pt x="3235" y="651"/>
                  </a:lnTo>
                  <a:lnTo>
                    <a:pt x="3235" y="655"/>
                  </a:lnTo>
                  <a:lnTo>
                    <a:pt x="3238" y="659"/>
                  </a:lnTo>
                  <a:lnTo>
                    <a:pt x="3238" y="672"/>
                  </a:lnTo>
                  <a:lnTo>
                    <a:pt x="3229" y="681"/>
                  </a:lnTo>
                  <a:lnTo>
                    <a:pt x="3217" y="685"/>
                  </a:lnTo>
                  <a:lnTo>
                    <a:pt x="3215" y="686"/>
                  </a:lnTo>
                  <a:lnTo>
                    <a:pt x="3212" y="690"/>
                  </a:lnTo>
                  <a:lnTo>
                    <a:pt x="3205" y="690"/>
                  </a:lnTo>
                  <a:lnTo>
                    <a:pt x="3196" y="690"/>
                  </a:lnTo>
                  <a:lnTo>
                    <a:pt x="3180" y="702"/>
                  </a:lnTo>
                  <a:lnTo>
                    <a:pt x="3167" y="703"/>
                  </a:lnTo>
                  <a:lnTo>
                    <a:pt x="3159" y="713"/>
                  </a:lnTo>
                  <a:lnTo>
                    <a:pt x="3142" y="721"/>
                  </a:lnTo>
                  <a:lnTo>
                    <a:pt x="3119" y="740"/>
                  </a:lnTo>
                  <a:lnTo>
                    <a:pt x="3110" y="744"/>
                  </a:lnTo>
                  <a:lnTo>
                    <a:pt x="3113" y="751"/>
                  </a:lnTo>
                  <a:lnTo>
                    <a:pt x="3115" y="753"/>
                  </a:lnTo>
                  <a:lnTo>
                    <a:pt x="3115" y="756"/>
                  </a:lnTo>
                  <a:lnTo>
                    <a:pt x="3117" y="758"/>
                  </a:lnTo>
                  <a:lnTo>
                    <a:pt x="3116" y="763"/>
                  </a:lnTo>
                  <a:lnTo>
                    <a:pt x="3120" y="766"/>
                  </a:lnTo>
                  <a:lnTo>
                    <a:pt x="3120" y="771"/>
                  </a:lnTo>
                  <a:lnTo>
                    <a:pt x="3117" y="780"/>
                  </a:lnTo>
                  <a:lnTo>
                    <a:pt x="3110" y="789"/>
                  </a:lnTo>
                  <a:lnTo>
                    <a:pt x="3110" y="797"/>
                  </a:lnTo>
                  <a:lnTo>
                    <a:pt x="3113" y="797"/>
                  </a:lnTo>
                  <a:lnTo>
                    <a:pt x="3113" y="801"/>
                  </a:lnTo>
                  <a:lnTo>
                    <a:pt x="3109" y="802"/>
                  </a:lnTo>
                  <a:lnTo>
                    <a:pt x="3104" y="805"/>
                  </a:lnTo>
                  <a:lnTo>
                    <a:pt x="3102" y="814"/>
                  </a:lnTo>
                  <a:lnTo>
                    <a:pt x="3098" y="815"/>
                  </a:lnTo>
                  <a:lnTo>
                    <a:pt x="3095" y="823"/>
                  </a:lnTo>
                  <a:lnTo>
                    <a:pt x="3096" y="827"/>
                  </a:lnTo>
                  <a:lnTo>
                    <a:pt x="3094" y="831"/>
                  </a:lnTo>
                  <a:lnTo>
                    <a:pt x="3092" y="833"/>
                  </a:lnTo>
                  <a:lnTo>
                    <a:pt x="3094" y="838"/>
                  </a:lnTo>
                  <a:lnTo>
                    <a:pt x="3094" y="846"/>
                  </a:lnTo>
                  <a:lnTo>
                    <a:pt x="3095" y="847"/>
                  </a:lnTo>
                  <a:lnTo>
                    <a:pt x="3098" y="847"/>
                  </a:lnTo>
                  <a:lnTo>
                    <a:pt x="3098" y="850"/>
                  </a:lnTo>
                  <a:lnTo>
                    <a:pt x="3091" y="855"/>
                  </a:lnTo>
                  <a:lnTo>
                    <a:pt x="3088" y="864"/>
                  </a:lnTo>
                  <a:lnTo>
                    <a:pt x="3084" y="868"/>
                  </a:lnTo>
                  <a:lnTo>
                    <a:pt x="3076" y="873"/>
                  </a:lnTo>
                  <a:lnTo>
                    <a:pt x="3073" y="881"/>
                  </a:lnTo>
                  <a:lnTo>
                    <a:pt x="3070" y="883"/>
                  </a:lnTo>
                  <a:lnTo>
                    <a:pt x="3070" y="887"/>
                  </a:lnTo>
                  <a:lnTo>
                    <a:pt x="3064" y="890"/>
                  </a:lnTo>
                  <a:lnTo>
                    <a:pt x="3062" y="890"/>
                  </a:lnTo>
                  <a:lnTo>
                    <a:pt x="3057" y="898"/>
                  </a:lnTo>
                  <a:lnTo>
                    <a:pt x="3055" y="898"/>
                  </a:lnTo>
                  <a:lnTo>
                    <a:pt x="3049" y="902"/>
                  </a:lnTo>
                  <a:lnTo>
                    <a:pt x="3041" y="904"/>
                  </a:lnTo>
                  <a:lnTo>
                    <a:pt x="3038" y="912"/>
                  </a:lnTo>
                  <a:lnTo>
                    <a:pt x="3034" y="915"/>
                  </a:lnTo>
                  <a:lnTo>
                    <a:pt x="3031" y="918"/>
                  </a:lnTo>
                  <a:lnTo>
                    <a:pt x="3032" y="921"/>
                  </a:lnTo>
                  <a:lnTo>
                    <a:pt x="3024" y="926"/>
                  </a:lnTo>
                  <a:lnTo>
                    <a:pt x="3019" y="934"/>
                  </a:lnTo>
                  <a:lnTo>
                    <a:pt x="3011" y="935"/>
                  </a:lnTo>
                  <a:lnTo>
                    <a:pt x="3009" y="938"/>
                  </a:lnTo>
                  <a:lnTo>
                    <a:pt x="3000" y="939"/>
                  </a:lnTo>
                  <a:lnTo>
                    <a:pt x="2999" y="945"/>
                  </a:lnTo>
                  <a:lnTo>
                    <a:pt x="3000" y="949"/>
                  </a:lnTo>
                  <a:lnTo>
                    <a:pt x="2997" y="954"/>
                  </a:lnTo>
                  <a:lnTo>
                    <a:pt x="2997" y="957"/>
                  </a:lnTo>
                  <a:lnTo>
                    <a:pt x="2995" y="962"/>
                  </a:lnTo>
                  <a:lnTo>
                    <a:pt x="2989" y="966"/>
                  </a:lnTo>
                  <a:lnTo>
                    <a:pt x="2989" y="970"/>
                  </a:lnTo>
                  <a:lnTo>
                    <a:pt x="2992" y="970"/>
                  </a:lnTo>
                  <a:lnTo>
                    <a:pt x="2991" y="976"/>
                  </a:lnTo>
                  <a:lnTo>
                    <a:pt x="2994" y="976"/>
                  </a:lnTo>
                  <a:lnTo>
                    <a:pt x="2994" y="980"/>
                  </a:lnTo>
                  <a:lnTo>
                    <a:pt x="2996" y="979"/>
                  </a:lnTo>
                  <a:lnTo>
                    <a:pt x="2997" y="983"/>
                  </a:lnTo>
                  <a:lnTo>
                    <a:pt x="2997" y="992"/>
                  </a:lnTo>
                  <a:lnTo>
                    <a:pt x="2995" y="996"/>
                  </a:lnTo>
                  <a:lnTo>
                    <a:pt x="2996" y="997"/>
                  </a:lnTo>
                  <a:lnTo>
                    <a:pt x="2992" y="1001"/>
                  </a:lnTo>
                  <a:lnTo>
                    <a:pt x="2991" y="1011"/>
                  </a:lnTo>
                  <a:lnTo>
                    <a:pt x="2984" y="1016"/>
                  </a:lnTo>
                  <a:lnTo>
                    <a:pt x="2986" y="1020"/>
                  </a:lnTo>
                  <a:lnTo>
                    <a:pt x="2982" y="1025"/>
                  </a:lnTo>
                  <a:lnTo>
                    <a:pt x="2978" y="1032"/>
                  </a:lnTo>
                  <a:lnTo>
                    <a:pt x="2975" y="1033"/>
                  </a:lnTo>
                  <a:lnTo>
                    <a:pt x="2972" y="1033"/>
                  </a:lnTo>
                  <a:lnTo>
                    <a:pt x="2970" y="1037"/>
                  </a:lnTo>
                  <a:lnTo>
                    <a:pt x="2970" y="1045"/>
                  </a:lnTo>
                  <a:lnTo>
                    <a:pt x="2967" y="1051"/>
                  </a:lnTo>
                  <a:lnTo>
                    <a:pt x="2971" y="1059"/>
                  </a:lnTo>
                  <a:lnTo>
                    <a:pt x="2974" y="1061"/>
                  </a:lnTo>
                  <a:lnTo>
                    <a:pt x="2972" y="1064"/>
                  </a:lnTo>
                  <a:lnTo>
                    <a:pt x="2971" y="1067"/>
                  </a:lnTo>
                  <a:lnTo>
                    <a:pt x="2969" y="1069"/>
                  </a:lnTo>
                  <a:lnTo>
                    <a:pt x="2966" y="1074"/>
                  </a:lnTo>
                  <a:lnTo>
                    <a:pt x="2960" y="1078"/>
                  </a:lnTo>
                  <a:lnTo>
                    <a:pt x="2961" y="1083"/>
                  </a:lnTo>
                  <a:lnTo>
                    <a:pt x="2959" y="1084"/>
                  </a:lnTo>
                  <a:lnTo>
                    <a:pt x="2957" y="1091"/>
                  </a:lnTo>
                  <a:lnTo>
                    <a:pt x="2955" y="1096"/>
                  </a:lnTo>
                  <a:lnTo>
                    <a:pt x="2955" y="1099"/>
                  </a:lnTo>
                  <a:lnTo>
                    <a:pt x="2953" y="1100"/>
                  </a:lnTo>
                  <a:lnTo>
                    <a:pt x="2955" y="1103"/>
                  </a:lnTo>
                  <a:lnTo>
                    <a:pt x="2952" y="1113"/>
                  </a:lnTo>
                  <a:lnTo>
                    <a:pt x="2953" y="1117"/>
                  </a:lnTo>
                  <a:lnTo>
                    <a:pt x="2952" y="1119"/>
                  </a:lnTo>
                  <a:lnTo>
                    <a:pt x="2952" y="1121"/>
                  </a:lnTo>
                  <a:lnTo>
                    <a:pt x="2950" y="1125"/>
                  </a:lnTo>
                  <a:lnTo>
                    <a:pt x="2955" y="1126"/>
                  </a:lnTo>
                  <a:lnTo>
                    <a:pt x="2956" y="1125"/>
                  </a:lnTo>
                  <a:lnTo>
                    <a:pt x="2957" y="1126"/>
                  </a:lnTo>
                  <a:lnTo>
                    <a:pt x="2959" y="1129"/>
                  </a:lnTo>
                  <a:lnTo>
                    <a:pt x="2959" y="1132"/>
                  </a:lnTo>
                  <a:lnTo>
                    <a:pt x="2963" y="1136"/>
                  </a:lnTo>
                  <a:lnTo>
                    <a:pt x="2964" y="1145"/>
                  </a:lnTo>
                  <a:lnTo>
                    <a:pt x="2966" y="1148"/>
                  </a:lnTo>
                  <a:lnTo>
                    <a:pt x="2963" y="1154"/>
                  </a:lnTo>
                  <a:lnTo>
                    <a:pt x="2964" y="1158"/>
                  </a:lnTo>
                  <a:lnTo>
                    <a:pt x="2961" y="1162"/>
                  </a:lnTo>
                  <a:lnTo>
                    <a:pt x="2963" y="1166"/>
                  </a:lnTo>
                  <a:lnTo>
                    <a:pt x="2961" y="1167"/>
                  </a:lnTo>
                  <a:lnTo>
                    <a:pt x="2960" y="1171"/>
                  </a:lnTo>
                  <a:lnTo>
                    <a:pt x="2963" y="1181"/>
                  </a:lnTo>
                  <a:lnTo>
                    <a:pt x="2960" y="1184"/>
                  </a:lnTo>
                  <a:lnTo>
                    <a:pt x="2959" y="1184"/>
                  </a:lnTo>
                  <a:lnTo>
                    <a:pt x="2964" y="1194"/>
                  </a:lnTo>
                  <a:lnTo>
                    <a:pt x="2964" y="1198"/>
                  </a:lnTo>
                  <a:lnTo>
                    <a:pt x="2966" y="1203"/>
                  </a:lnTo>
                  <a:lnTo>
                    <a:pt x="2970" y="1207"/>
                  </a:lnTo>
                  <a:lnTo>
                    <a:pt x="2970" y="1212"/>
                  </a:lnTo>
                  <a:lnTo>
                    <a:pt x="2970" y="1216"/>
                  </a:lnTo>
                  <a:lnTo>
                    <a:pt x="2964" y="1225"/>
                  </a:lnTo>
                  <a:lnTo>
                    <a:pt x="2961" y="1232"/>
                  </a:lnTo>
                  <a:lnTo>
                    <a:pt x="2959" y="1235"/>
                  </a:lnTo>
                  <a:lnTo>
                    <a:pt x="2960" y="1242"/>
                  </a:lnTo>
                  <a:lnTo>
                    <a:pt x="2956" y="1246"/>
                  </a:lnTo>
                  <a:lnTo>
                    <a:pt x="2953" y="1250"/>
                  </a:lnTo>
                  <a:lnTo>
                    <a:pt x="2953" y="1252"/>
                  </a:lnTo>
                  <a:lnTo>
                    <a:pt x="2956" y="1261"/>
                  </a:lnTo>
                  <a:lnTo>
                    <a:pt x="2963" y="1260"/>
                  </a:lnTo>
                  <a:lnTo>
                    <a:pt x="2964" y="1265"/>
                  </a:lnTo>
                  <a:lnTo>
                    <a:pt x="2969" y="1267"/>
                  </a:lnTo>
                  <a:lnTo>
                    <a:pt x="2969" y="1273"/>
                  </a:lnTo>
                  <a:lnTo>
                    <a:pt x="2963" y="1278"/>
                  </a:lnTo>
                  <a:lnTo>
                    <a:pt x="2959" y="1287"/>
                  </a:lnTo>
                  <a:lnTo>
                    <a:pt x="2955" y="1291"/>
                  </a:lnTo>
                  <a:lnTo>
                    <a:pt x="2953" y="1297"/>
                  </a:lnTo>
                  <a:lnTo>
                    <a:pt x="2949" y="1299"/>
                  </a:lnTo>
                  <a:lnTo>
                    <a:pt x="2949" y="1304"/>
                  </a:lnTo>
                  <a:lnTo>
                    <a:pt x="2953" y="1306"/>
                  </a:lnTo>
                  <a:lnTo>
                    <a:pt x="2955" y="1310"/>
                  </a:lnTo>
                  <a:lnTo>
                    <a:pt x="2955" y="1314"/>
                  </a:lnTo>
                  <a:lnTo>
                    <a:pt x="2942" y="1327"/>
                  </a:lnTo>
                  <a:lnTo>
                    <a:pt x="2941" y="1335"/>
                  </a:lnTo>
                  <a:lnTo>
                    <a:pt x="2938" y="1336"/>
                  </a:lnTo>
                  <a:lnTo>
                    <a:pt x="2936" y="1341"/>
                  </a:lnTo>
                  <a:lnTo>
                    <a:pt x="2934" y="1345"/>
                  </a:lnTo>
                  <a:lnTo>
                    <a:pt x="2932" y="1349"/>
                  </a:lnTo>
                  <a:lnTo>
                    <a:pt x="2928" y="1357"/>
                  </a:lnTo>
                  <a:lnTo>
                    <a:pt x="2930" y="1358"/>
                  </a:lnTo>
                  <a:lnTo>
                    <a:pt x="2930" y="1364"/>
                  </a:lnTo>
                  <a:lnTo>
                    <a:pt x="2931" y="1367"/>
                  </a:lnTo>
                  <a:lnTo>
                    <a:pt x="2930" y="1370"/>
                  </a:lnTo>
                  <a:lnTo>
                    <a:pt x="2931" y="1375"/>
                  </a:lnTo>
                  <a:lnTo>
                    <a:pt x="2931" y="1379"/>
                  </a:lnTo>
                  <a:lnTo>
                    <a:pt x="2927" y="1381"/>
                  </a:lnTo>
                  <a:lnTo>
                    <a:pt x="2922" y="1390"/>
                  </a:lnTo>
                  <a:lnTo>
                    <a:pt x="2919" y="1394"/>
                  </a:lnTo>
                  <a:lnTo>
                    <a:pt x="2910" y="1399"/>
                  </a:lnTo>
                  <a:lnTo>
                    <a:pt x="2905" y="1406"/>
                  </a:lnTo>
                  <a:lnTo>
                    <a:pt x="2899" y="1406"/>
                  </a:lnTo>
                  <a:lnTo>
                    <a:pt x="2888" y="1419"/>
                  </a:lnTo>
                  <a:lnTo>
                    <a:pt x="2885" y="1420"/>
                  </a:lnTo>
                  <a:lnTo>
                    <a:pt x="2882" y="1429"/>
                  </a:lnTo>
                  <a:lnTo>
                    <a:pt x="2884" y="1435"/>
                  </a:lnTo>
                  <a:lnTo>
                    <a:pt x="2896" y="1443"/>
                  </a:lnTo>
                  <a:lnTo>
                    <a:pt x="2919" y="1468"/>
                  </a:lnTo>
                  <a:lnTo>
                    <a:pt x="2927" y="1471"/>
                  </a:lnTo>
                  <a:lnTo>
                    <a:pt x="2932" y="1469"/>
                  </a:lnTo>
                  <a:lnTo>
                    <a:pt x="2935" y="1471"/>
                  </a:lnTo>
                  <a:lnTo>
                    <a:pt x="2945" y="1474"/>
                  </a:lnTo>
                  <a:lnTo>
                    <a:pt x="2947" y="1477"/>
                  </a:lnTo>
                  <a:lnTo>
                    <a:pt x="2953" y="1474"/>
                  </a:lnTo>
                  <a:lnTo>
                    <a:pt x="2960" y="1477"/>
                  </a:lnTo>
                  <a:lnTo>
                    <a:pt x="2963" y="1478"/>
                  </a:lnTo>
                  <a:lnTo>
                    <a:pt x="2967" y="1482"/>
                  </a:lnTo>
                  <a:lnTo>
                    <a:pt x="2981" y="1484"/>
                  </a:lnTo>
                  <a:lnTo>
                    <a:pt x="2985" y="1488"/>
                  </a:lnTo>
                  <a:lnTo>
                    <a:pt x="2985" y="1493"/>
                  </a:lnTo>
                  <a:lnTo>
                    <a:pt x="2991" y="1493"/>
                  </a:lnTo>
                  <a:lnTo>
                    <a:pt x="2992" y="1497"/>
                  </a:lnTo>
                  <a:lnTo>
                    <a:pt x="2995" y="1501"/>
                  </a:lnTo>
                  <a:lnTo>
                    <a:pt x="3002" y="1501"/>
                  </a:lnTo>
                  <a:lnTo>
                    <a:pt x="3003" y="1501"/>
                  </a:lnTo>
                  <a:lnTo>
                    <a:pt x="3009" y="1503"/>
                  </a:lnTo>
                  <a:lnTo>
                    <a:pt x="3024" y="1510"/>
                  </a:lnTo>
                  <a:lnTo>
                    <a:pt x="3030" y="1509"/>
                  </a:lnTo>
                  <a:lnTo>
                    <a:pt x="3031" y="1510"/>
                  </a:lnTo>
                  <a:lnTo>
                    <a:pt x="3041" y="1510"/>
                  </a:lnTo>
                  <a:lnTo>
                    <a:pt x="3052" y="1506"/>
                  </a:lnTo>
                  <a:lnTo>
                    <a:pt x="3057" y="1497"/>
                  </a:lnTo>
                  <a:lnTo>
                    <a:pt x="3064" y="1493"/>
                  </a:lnTo>
                  <a:lnTo>
                    <a:pt x="3071" y="1491"/>
                  </a:lnTo>
                  <a:lnTo>
                    <a:pt x="3077" y="1493"/>
                  </a:lnTo>
                  <a:lnTo>
                    <a:pt x="3080" y="1491"/>
                  </a:lnTo>
                  <a:lnTo>
                    <a:pt x="3082" y="1488"/>
                  </a:lnTo>
                  <a:lnTo>
                    <a:pt x="3084" y="1488"/>
                  </a:lnTo>
                  <a:lnTo>
                    <a:pt x="3091" y="1490"/>
                  </a:lnTo>
                  <a:lnTo>
                    <a:pt x="3102" y="1493"/>
                  </a:lnTo>
                  <a:lnTo>
                    <a:pt x="3102" y="1496"/>
                  </a:lnTo>
                  <a:lnTo>
                    <a:pt x="3104" y="1496"/>
                  </a:lnTo>
                  <a:lnTo>
                    <a:pt x="3104" y="1497"/>
                  </a:lnTo>
                  <a:lnTo>
                    <a:pt x="3106" y="1501"/>
                  </a:lnTo>
                  <a:lnTo>
                    <a:pt x="3106" y="1503"/>
                  </a:lnTo>
                  <a:lnTo>
                    <a:pt x="3104" y="1503"/>
                  </a:lnTo>
                  <a:lnTo>
                    <a:pt x="3104" y="1504"/>
                  </a:lnTo>
                  <a:lnTo>
                    <a:pt x="3106" y="1510"/>
                  </a:lnTo>
                  <a:lnTo>
                    <a:pt x="3106" y="1514"/>
                  </a:lnTo>
                  <a:lnTo>
                    <a:pt x="3107" y="1514"/>
                  </a:lnTo>
                  <a:lnTo>
                    <a:pt x="3109" y="1514"/>
                  </a:lnTo>
                  <a:lnTo>
                    <a:pt x="3107" y="1523"/>
                  </a:lnTo>
                  <a:lnTo>
                    <a:pt x="3110" y="1528"/>
                  </a:lnTo>
                  <a:lnTo>
                    <a:pt x="3107" y="1535"/>
                  </a:lnTo>
                  <a:lnTo>
                    <a:pt x="3107" y="1536"/>
                  </a:lnTo>
                  <a:lnTo>
                    <a:pt x="3105" y="1540"/>
                  </a:lnTo>
                  <a:lnTo>
                    <a:pt x="3104" y="1541"/>
                  </a:lnTo>
                  <a:lnTo>
                    <a:pt x="3099" y="1541"/>
                  </a:lnTo>
                  <a:lnTo>
                    <a:pt x="3101" y="1546"/>
                  </a:lnTo>
                  <a:lnTo>
                    <a:pt x="3101" y="1549"/>
                  </a:lnTo>
                  <a:lnTo>
                    <a:pt x="3099" y="1549"/>
                  </a:lnTo>
                  <a:lnTo>
                    <a:pt x="3099" y="1553"/>
                  </a:lnTo>
                  <a:lnTo>
                    <a:pt x="3096" y="1555"/>
                  </a:lnTo>
                  <a:lnTo>
                    <a:pt x="3096" y="1558"/>
                  </a:lnTo>
                  <a:lnTo>
                    <a:pt x="3094" y="1559"/>
                  </a:lnTo>
                  <a:lnTo>
                    <a:pt x="3095" y="1563"/>
                  </a:lnTo>
                  <a:lnTo>
                    <a:pt x="3092" y="1564"/>
                  </a:lnTo>
                  <a:lnTo>
                    <a:pt x="3092" y="1572"/>
                  </a:lnTo>
                  <a:lnTo>
                    <a:pt x="3094" y="1576"/>
                  </a:lnTo>
                  <a:lnTo>
                    <a:pt x="3094" y="1577"/>
                  </a:lnTo>
                  <a:lnTo>
                    <a:pt x="3091" y="1581"/>
                  </a:lnTo>
                  <a:lnTo>
                    <a:pt x="3090" y="1584"/>
                  </a:lnTo>
                  <a:lnTo>
                    <a:pt x="3090" y="1585"/>
                  </a:lnTo>
                  <a:lnTo>
                    <a:pt x="3090" y="1586"/>
                  </a:lnTo>
                  <a:lnTo>
                    <a:pt x="3087" y="1586"/>
                  </a:lnTo>
                  <a:lnTo>
                    <a:pt x="3087" y="1590"/>
                  </a:lnTo>
                  <a:lnTo>
                    <a:pt x="3084" y="1590"/>
                  </a:lnTo>
                  <a:lnTo>
                    <a:pt x="3085" y="1594"/>
                  </a:lnTo>
                  <a:lnTo>
                    <a:pt x="3084" y="1600"/>
                  </a:lnTo>
                  <a:lnTo>
                    <a:pt x="3082" y="1600"/>
                  </a:lnTo>
                  <a:lnTo>
                    <a:pt x="3078" y="1600"/>
                  </a:lnTo>
                  <a:lnTo>
                    <a:pt x="3078" y="1603"/>
                  </a:lnTo>
                  <a:lnTo>
                    <a:pt x="3077" y="1603"/>
                  </a:lnTo>
                  <a:lnTo>
                    <a:pt x="3078" y="1608"/>
                  </a:lnTo>
                  <a:lnTo>
                    <a:pt x="3076" y="1608"/>
                  </a:lnTo>
                  <a:lnTo>
                    <a:pt x="3074" y="1613"/>
                  </a:lnTo>
                  <a:lnTo>
                    <a:pt x="3074" y="1617"/>
                  </a:lnTo>
                  <a:lnTo>
                    <a:pt x="3071" y="1621"/>
                  </a:lnTo>
                  <a:lnTo>
                    <a:pt x="3073" y="1622"/>
                  </a:lnTo>
                  <a:lnTo>
                    <a:pt x="3077" y="1621"/>
                  </a:lnTo>
                  <a:lnTo>
                    <a:pt x="3078" y="1622"/>
                  </a:lnTo>
                  <a:lnTo>
                    <a:pt x="3074" y="1625"/>
                  </a:lnTo>
                  <a:lnTo>
                    <a:pt x="3076" y="1630"/>
                  </a:lnTo>
                  <a:lnTo>
                    <a:pt x="3073" y="1634"/>
                  </a:lnTo>
                  <a:lnTo>
                    <a:pt x="3074" y="1635"/>
                  </a:lnTo>
                  <a:lnTo>
                    <a:pt x="3078" y="1635"/>
                  </a:lnTo>
                  <a:lnTo>
                    <a:pt x="3078" y="1639"/>
                  </a:lnTo>
                  <a:lnTo>
                    <a:pt x="3081" y="1639"/>
                  </a:lnTo>
                  <a:lnTo>
                    <a:pt x="3078" y="1642"/>
                  </a:lnTo>
                  <a:lnTo>
                    <a:pt x="3077" y="1642"/>
                  </a:lnTo>
                  <a:lnTo>
                    <a:pt x="3076" y="1643"/>
                  </a:lnTo>
                  <a:lnTo>
                    <a:pt x="3071" y="1648"/>
                  </a:lnTo>
                  <a:lnTo>
                    <a:pt x="3069" y="1652"/>
                  </a:lnTo>
                  <a:lnTo>
                    <a:pt x="3064" y="1655"/>
                  </a:lnTo>
                  <a:lnTo>
                    <a:pt x="3063" y="1658"/>
                  </a:lnTo>
                  <a:lnTo>
                    <a:pt x="3060" y="1660"/>
                  </a:lnTo>
                  <a:lnTo>
                    <a:pt x="3052" y="1670"/>
                  </a:lnTo>
                  <a:lnTo>
                    <a:pt x="3050" y="1671"/>
                  </a:lnTo>
                  <a:lnTo>
                    <a:pt x="3052" y="1677"/>
                  </a:lnTo>
                  <a:lnTo>
                    <a:pt x="3049" y="1678"/>
                  </a:lnTo>
                  <a:lnTo>
                    <a:pt x="3042" y="1684"/>
                  </a:lnTo>
                  <a:lnTo>
                    <a:pt x="3031" y="1684"/>
                  </a:lnTo>
                  <a:lnTo>
                    <a:pt x="3019" y="1687"/>
                  </a:lnTo>
                  <a:lnTo>
                    <a:pt x="3013" y="1684"/>
                  </a:lnTo>
                  <a:lnTo>
                    <a:pt x="3009" y="1684"/>
                  </a:lnTo>
                  <a:lnTo>
                    <a:pt x="3006" y="1692"/>
                  </a:lnTo>
                  <a:lnTo>
                    <a:pt x="3006" y="1696"/>
                  </a:lnTo>
                  <a:lnTo>
                    <a:pt x="3002" y="1696"/>
                  </a:lnTo>
                  <a:lnTo>
                    <a:pt x="2997" y="1701"/>
                  </a:lnTo>
                  <a:lnTo>
                    <a:pt x="2981" y="1710"/>
                  </a:lnTo>
                  <a:lnTo>
                    <a:pt x="2972" y="1720"/>
                  </a:lnTo>
                  <a:lnTo>
                    <a:pt x="2967" y="1723"/>
                  </a:lnTo>
                  <a:lnTo>
                    <a:pt x="2966" y="1729"/>
                  </a:lnTo>
                  <a:lnTo>
                    <a:pt x="2961" y="1733"/>
                  </a:lnTo>
                  <a:lnTo>
                    <a:pt x="2982" y="1806"/>
                  </a:lnTo>
                  <a:lnTo>
                    <a:pt x="2995" y="1800"/>
                  </a:lnTo>
                  <a:lnTo>
                    <a:pt x="3016" y="1795"/>
                  </a:lnTo>
                  <a:lnTo>
                    <a:pt x="3017" y="1799"/>
                  </a:lnTo>
                  <a:lnTo>
                    <a:pt x="3020" y="1806"/>
                  </a:lnTo>
                  <a:lnTo>
                    <a:pt x="3021" y="1812"/>
                  </a:lnTo>
                  <a:lnTo>
                    <a:pt x="3024" y="1812"/>
                  </a:lnTo>
                  <a:lnTo>
                    <a:pt x="3035" y="1817"/>
                  </a:lnTo>
                  <a:lnTo>
                    <a:pt x="3039" y="1821"/>
                  </a:lnTo>
                  <a:lnTo>
                    <a:pt x="3041" y="1826"/>
                  </a:lnTo>
                  <a:lnTo>
                    <a:pt x="3041" y="1830"/>
                  </a:lnTo>
                  <a:lnTo>
                    <a:pt x="3048" y="1839"/>
                  </a:lnTo>
                  <a:lnTo>
                    <a:pt x="3046" y="1856"/>
                  </a:lnTo>
                  <a:lnTo>
                    <a:pt x="3049" y="1874"/>
                  </a:lnTo>
                  <a:lnTo>
                    <a:pt x="3052" y="1875"/>
                  </a:lnTo>
                  <a:lnTo>
                    <a:pt x="3053" y="1878"/>
                  </a:lnTo>
                  <a:lnTo>
                    <a:pt x="3049" y="1905"/>
                  </a:lnTo>
                  <a:lnTo>
                    <a:pt x="3050" y="1911"/>
                  </a:lnTo>
                  <a:lnTo>
                    <a:pt x="3049" y="1918"/>
                  </a:lnTo>
                  <a:lnTo>
                    <a:pt x="3053" y="1920"/>
                  </a:lnTo>
                  <a:lnTo>
                    <a:pt x="3055" y="1924"/>
                  </a:lnTo>
                  <a:lnTo>
                    <a:pt x="3057" y="1929"/>
                  </a:lnTo>
                  <a:lnTo>
                    <a:pt x="3057" y="1933"/>
                  </a:lnTo>
                  <a:lnTo>
                    <a:pt x="3059" y="1937"/>
                  </a:lnTo>
                  <a:lnTo>
                    <a:pt x="3063" y="1937"/>
                  </a:lnTo>
                  <a:lnTo>
                    <a:pt x="3070" y="1941"/>
                  </a:lnTo>
                  <a:lnTo>
                    <a:pt x="3071" y="1945"/>
                  </a:lnTo>
                  <a:lnTo>
                    <a:pt x="3069" y="1950"/>
                  </a:lnTo>
                  <a:lnTo>
                    <a:pt x="3067" y="1951"/>
                  </a:lnTo>
                  <a:lnTo>
                    <a:pt x="3069" y="1962"/>
                  </a:lnTo>
                  <a:lnTo>
                    <a:pt x="3066" y="1968"/>
                  </a:lnTo>
                  <a:lnTo>
                    <a:pt x="3066" y="1978"/>
                  </a:lnTo>
                  <a:lnTo>
                    <a:pt x="3063" y="1981"/>
                  </a:lnTo>
                  <a:lnTo>
                    <a:pt x="3063" y="1991"/>
                  </a:lnTo>
                  <a:lnTo>
                    <a:pt x="3062" y="1998"/>
                  </a:lnTo>
                  <a:lnTo>
                    <a:pt x="3062" y="2003"/>
                  </a:lnTo>
                  <a:lnTo>
                    <a:pt x="3067" y="2004"/>
                  </a:lnTo>
                  <a:lnTo>
                    <a:pt x="3069" y="2008"/>
                  </a:lnTo>
                  <a:lnTo>
                    <a:pt x="3067" y="2020"/>
                  </a:lnTo>
                  <a:lnTo>
                    <a:pt x="3071" y="2017"/>
                  </a:lnTo>
                  <a:lnTo>
                    <a:pt x="3078" y="2023"/>
                  </a:lnTo>
                  <a:lnTo>
                    <a:pt x="3078" y="2025"/>
                  </a:lnTo>
                  <a:lnTo>
                    <a:pt x="3078" y="2030"/>
                  </a:lnTo>
                  <a:lnTo>
                    <a:pt x="3085" y="2036"/>
                  </a:lnTo>
                  <a:lnTo>
                    <a:pt x="3085" y="2038"/>
                  </a:lnTo>
                  <a:lnTo>
                    <a:pt x="3088" y="2040"/>
                  </a:lnTo>
                  <a:lnTo>
                    <a:pt x="3090" y="2042"/>
                  </a:lnTo>
                  <a:lnTo>
                    <a:pt x="3095" y="2045"/>
                  </a:lnTo>
                  <a:lnTo>
                    <a:pt x="3094" y="2055"/>
                  </a:lnTo>
                  <a:lnTo>
                    <a:pt x="3094" y="2058"/>
                  </a:lnTo>
                  <a:lnTo>
                    <a:pt x="3092" y="2062"/>
                  </a:lnTo>
                  <a:lnTo>
                    <a:pt x="3094" y="2065"/>
                  </a:lnTo>
                  <a:lnTo>
                    <a:pt x="3098" y="2066"/>
                  </a:lnTo>
                  <a:lnTo>
                    <a:pt x="3099" y="2068"/>
                  </a:lnTo>
                  <a:lnTo>
                    <a:pt x="3105" y="2070"/>
                  </a:lnTo>
                  <a:lnTo>
                    <a:pt x="3104" y="2070"/>
                  </a:lnTo>
                  <a:lnTo>
                    <a:pt x="3102" y="2074"/>
                  </a:lnTo>
                  <a:lnTo>
                    <a:pt x="3102" y="2075"/>
                  </a:lnTo>
                  <a:lnTo>
                    <a:pt x="3105" y="2078"/>
                  </a:lnTo>
                  <a:lnTo>
                    <a:pt x="3104" y="2080"/>
                  </a:lnTo>
                  <a:lnTo>
                    <a:pt x="3107" y="2085"/>
                  </a:lnTo>
                  <a:lnTo>
                    <a:pt x="3115" y="2092"/>
                  </a:lnTo>
                  <a:lnTo>
                    <a:pt x="3117" y="2092"/>
                  </a:lnTo>
                  <a:lnTo>
                    <a:pt x="3119" y="2098"/>
                  </a:lnTo>
                  <a:lnTo>
                    <a:pt x="3126" y="2103"/>
                  </a:lnTo>
                  <a:lnTo>
                    <a:pt x="3127" y="2111"/>
                  </a:lnTo>
                  <a:lnTo>
                    <a:pt x="3134" y="2116"/>
                  </a:lnTo>
                  <a:lnTo>
                    <a:pt x="3134" y="2120"/>
                  </a:lnTo>
                  <a:lnTo>
                    <a:pt x="3135" y="2127"/>
                  </a:lnTo>
                  <a:lnTo>
                    <a:pt x="3140" y="2128"/>
                  </a:lnTo>
                  <a:lnTo>
                    <a:pt x="3141" y="2133"/>
                  </a:lnTo>
                  <a:lnTo>
                    <a:pt x="3142" y="2136"/>
                  </a:lnTo>
                  <a:lnTo>
                    <a:pt x="3141" y="2141"/>
                  </a:lnTo>
                  <a:lnTo>
                    <a:pt x="3140" y="2142"/>
                  </a:lnTo>
                  <a:lnTo>
                    <a:pt x="3141" y="2149"/>
                  </a:lnTo>
                  <a:lnTo>
                    <a:pt x="3141" y="2152"/>
                  </a:lnTo>
                  <a:lnTo>
                    <a:pt x="3146" y="2155"/>
                  </a:lnTo>
                  <a:lnTo>
                    <a:pt x="3149" y="2154"/>
                  </a:lnTo>
                  <a:lnTo>
                    <a:pt x="3156" y="2160"/>
                  </a:lnTo>
                  <a:lnTo>
                    <a:pt x="3157" y="2169"/>
                  </a:lnTo>
                  <a:lnTo>
                    <a:pt x="3155" y="2169"/>
                  </a:lnTo>
                  <a:lnTo>
                    <a:pt x="3155" y="2173"/>
                  </a:lnTo>
                  <a:lnTo>
                    <a:pt x="3159" y="2173"/>
                  </a:lnTo>
                  <a:lnTo>
                    <a:pt x="3162" y="2178"/>
                  </a:lnTo>
                  <a:lnTo>
                    <a:pt x="3163" y="2181"/>
                  </a:lnTo>
                  <a:lnTo>
                    <a:pt x="3163" y="2182"/>
                  </a:lnTo>
                  <a:lnTo>
                    <a:pt x="3166" y="2185"/>
                  </a:lnTo>
                  <a:lnTo>
                    <a:pt x="3163" y="2186"/>
                  </a:lnTo>
                  <a:lnTo>
                    <a:pt x="3157" y="2199"/>
                  </a:lnTo>
                  <a:lnTo>
                    <a:pt x="3157" y="2200"/>
                  </a:lnTo>
                  <a:lnTo>
                    <a:pt x="3162" y="2207"/>
                  </a:lnTo>
                  <a:lnTo>
                    <a:pt x="3167" y="2209"/>
                  </a:lnTo>
                  <a:lnTo>
                    <a:pt x="3169" y="2214"/>
                  </a:lnTo>
                  <a:lnTo>
                    <a:pt x="3179" y="2222"/>
                  </a:lnTo>
                  <a:lnTo>
                    <a:pt x="3179" y="2223"/>
                  </a:lnTo>
                  <a:lnTo>
                    <a:pt x="3180" y="2227"/>
                  </a:lnTo>
                  <a:lnTo>
                    <a:pt x="3185" y="2234"/>
                  </a:lnTo>
                  <a:lnTo>
                    <a:pt x="3190" y="2234"/>
                  </a:lnTo>
                  <a:lnTo>
                    <a:pt x="3190" y="2236"/>
                  </a:lnTo>
                  <a:lnTo>
                    <a:pt x="3192" y="2240"/>
                  </a:lnTo>
                  <a:lnTo>
                    <a:pt x="3195" y="2244"/>
                  </a:lnTo>
                  <a:lnTo>
                    <a:pt x="3199" y="2242"/>
                  </a:lnTo>
                  <a:lnTo>
                    <a:pt x="3201" y="2244"/>
                  </a:lnTo>
                  <a:lnTo>
                    <a:pt x="3198" y="2245"/>
                  </a:lnTo>
                  <a:lnTo>
                    <a:pt x="3202" y="2249"/>
                  </a:lnTo>
                  <a:lnTo>
                    <a:pt x="3202" y="2253"/>
                  </a:lnTo>
                  <a:lnTo>
                    <a:pt x="3205" y="2253"/>
                  </a:lnTo>
                  <a:lnTo>
                    <a:pt x="3210" y="2249"/>
                  </a:lnTo>
                  <a:lnTo>
                    <a:pt x="3212" y="2252"/>
                  </a:lnTo>
                  <a:lnTo>
                    <a:pt x="3210" y="2259"/>
                  </a:lnTo>
                  <a:lnTo>
                    <a:pt x="3223" y="2276"/>
                  </a:lnTo>
                  <a:lnTo>
                    <a:pt x="3223" y="2285"/>
                  </a:lnTo>
                  <a:lnTo>
                    <a:pt x="3224" y="2289"/>
                  </a:lnTo>
                  <a:lnTo>
                    <a:pt x="3230" y="2291"/>
                  </a:lnTo>
                  <a:lnTo>
                    <a:pt x="3238" y="2289"/>
                  </a:lnTo>
                  <a:lnTo>
                    <a:pt x="3240" y="2289"/>
                  </a:lnTo>
                  <a:lnTo>
                    <a:pt x="3245" y="2294"/>
                  </a:lnTo>
                  <a:lnTo>
                    <a:pt x="3248" y="2301"/>
                  </a:lnTo>
                  <a:lnTo>
                    <a:pt x="3249" y="2303"/>
                  </a:lnTo>
                  <a:lnTo>
                    <a:pt x="3252" y="2306"/>
                  </a:lnTo>
                  <a:lnTo>
                    <a:pt x="3256" y="2306"/>
                  </a:lnTo>
                  <a:lnTo>
                    <a:pt x="3240" y="2315"/>
                  </a:lnTo>
                  <a:lnTo>
                    <a:pt x="3231" y="2316"/>
                  </a:lnTo>
                  <a:lnTo>
                    <a:pt x="3226" y="2316"/>
                  </a:lnTo>
                  <a:lnTo>
                    <a:pt x="3223" y="2319"/>
                  </a:lnTo>
                  <a:lnTo>
                    <a:pt x="3217" y="2320"/>
                  </a:lnTo>
                  <a:lnTo>
                    <a:pt x="3213" y="2324"/>
                  </a:lnTo>
                  <a:lnTo>
                    <a:pt x="3212" y="2329"/>
                  </a:lnTo>
                  <a:lnTo>
                    <a:pt x="3207" y="2334"/>
                  </a:lnTo>
                  <a:lnTo>
                    <a:pt x="3202" y="2334"/>
                  </a:lnTo>
                  <a:lnTo>
                    <a:pt x="3184" y="2323"/>
                  </a:lnTo>
                  <a:lnTo>
                    <a:pt x="3180" y="2323"/>
                  </a:lnTo>
                  <a:lnTo>
                    <a:pt x="3171" y="2329"/>
                  </a:lnTo>
                  <a:lnTo>
                    <a:pt x="3162" y="2329"/>
                  </a:lnTo>
                  <a:lnTo>
                    <a:pt x="3159" y="2329"/>
                  </a:lnTo>
                  <a:lnTo>
                    <a:pt x="3156" y="2334"/>
                  </a:lnTo>
                  <a:lnTo>
                    <a:pt x="3152" y="2338"/>
                  </a:lnTo>
                  <a:lnTo>
                    <a:pt x="3146" y="2336"/>
                  </a:lnTo>
                  <a:lnTo>
                    <a:pt x="3144" y="2338"/>
                  </a:lnTo>
                  <a:lnTo>
                    <a:pt x="3135" y="2339"/>
                  </a:lnTo>
                  <a:lnTo>
                    <a:pt x="3129" y="2343"/>
                  </a:lnTo>
                  <a:lnTo>
                    <a:pt x="3120" y="2355"/>
                  </a:lnTo>
                  <a:lnTo>
                    <a:pt x="3115" y="2355"/>
                  </a:lnTo>
                  <a:lnTo>
                    <a:pt x="3113" y="2356"/>
                  </a:lnTo>
                  <a:lnTo>
                    <a:pt x="3107" y="2361"/>
                  </a:lnTo>
                  <a:lnTo>
                    <a:pt x="3106" y="2365"/>
                  </a:lnTo>
                  <a:lnTo>
                    <a:pt x="3096" y="2374"/>
                  </a:lnTo>
                  <a:lnTo>
                    <a:pt x="3090" y="2385"/>
                  </a:lnTo>
                  <a:lnTo>
                    <a:pt x="3084" y="2388"/>
                  </a:lnTo>
                  <a:lnTo>
                    <a:pt x="3080" y="2390"/>
                  </a:lnTo>
                  <a:lnTo>
                    <a:pt x="3060" y="2391"/>
                  </a:lnTo>
                  <a:lnTo>
                    <a:pt x="3052" y="2395"/>
                  </a:lnTo>
                  <a:lnTo>
                    <a:pt x="3041" y="2403"/>
                  </a:lnTo>
                  <a:lnTo>
                    <a:pt x="3032" y="2414"/>
                  </a:lnTo>
                  <a:lnTo>
                    <a:pt x="3024" y="2413"/>
                  </a:lnTo>
                  <a:lnTo>
                    <a:pt x="3020" y="2409"/>
                  </a:lnTo>
                  <a:lnTo>
                    <a:pt x="3013" y="2405"/>
                  </a:lnTo>
                  <a:lnTo>
                    <a:pt x="3011" y="2409"/>
                  </a:lnTo>
                  <a:lnTo>
                    <a:pt x="3003" y="2414"/>
                  </a:lnTo>
                  <a:lnTo>
                    <a:pt x="2995" y="2416"/>
                  </a:lnTo>
                  <a:lnTo>
                    <a:pt x="2988" y="2414"/>
                  </a:lnTo>
                  <a:lnTo>
                    <a:pt x="2984" y="2409"/>
                  </a:lnTo>
                  <a:lnTo>
                    <a:pt x="2974" y="2409"/>
                  </a:lnTo>
                  <a:lnTo>
                    <a:pt x="2966" y="2407"/>
                  </a:lnTo>
                  <a:lnTo>
                    <a:pt x="2961" y="2405"/>
                  </a:lnTo>
                  <a:lnTo>
                    <a:pt x="2959" y="2405"/>
                  </a:lnTo>
                  <a:lnTo>
                    <a:pt x="2950" y="2405"/>
                  </a:lnTo>
                  <a:lnTo>
                    <a:pt x="2947" y="2405"/>
                  </a:lnTo>
                  <a:lnTo>
                    <a:pt x="2939" y="2410"/>
                  </a:lnTo>
                  <a:lnTo>
                    <a:pt x="2927" y="2418"/>
                  </a:lnTo>
                  <a:lnTo>
                    <a:pt x="2910" y="2427"/>
                  </a:lnTo>
                  <a:lnTo>
                    <a:pt x="2906" y="2432"/>
                  </a:lnTo>
                  <a:lnTo>
                    <a:pt x="2906" y="2436"/>
                  </a:lnTo>
                  <a:lnTo>
                    <a:pt x="2899" y="2442"/>
                  </a:lnTo>
                  <a:lnTo>
                    <a:pt x="2894" y="2448"/>
                  </a:lnTo>
                  <a:lnTo>
                    <a:pt x="2888" y="2453"/>
                  </a:lnTo>
                  <a:lnTo>
                    <a:pt x="2881" y="2456"/>
                  </a:lnTo>
                  <a:lnTo>
                    <a:pt x="2878" y="2459"/>
                  </a:lnTo>
                  <a:lnTo>
                    <a:pt x="2874" y="2459"/>
                  </a:lnTo>
                  <a:lnTo>
                    <a:pt x="2866" y="2455"/>
                  </a:lnTo>
                  <a:lnTo>
                    <a:pt x="2853" y="2443"/>
                  </a:lnTo>
                  <a:lnTo>
                    <a:pt x="2846" y="2432"/>
                  </a:lnTo>
                  <a:lnTo>
                    <a:pt x="2834" y="2427"/>
                  </a:lnTo>
                  <a:lnTo>
                    <a:pt x="2835" y="2422"/>
                  </a:lnTo>
                  <a:lnTo>
                    <a:pt x="2831" y="2416"/>
                  </a:lnTo>
                  <a:lnTo>
                    <a:pt x="2817" y="2403"/>
                  </a:lnTo>
                  <a:lnTo>
                    <a:pt x="2810" y="2405"/>
                  </a:lnTo>
                  <a:lnTo>
                    <a:pt x="2800" y="2409"/>
                  </a:lnTo>
                  <a:lnTo>
                    <a:pt x="2788" y="2405"/>
                  </a:lnTo>
                  <a:lnTo>
                    <a:pt x="2781" y="2405"/>
                  </a:lnTo>
                  <a:lnTo>
                    <a:pt x="2774" y="2403"/>
                  </a:lnTo>
                  <a:lnTo>
                    <a:pt x="2771" y="2401"/>
                  </a:lnTo>
                  <a:lnTo>
                    <a:pt x="2764" y="2401"/>
                  </a:lnTo>
                  <a:lnTo>
                    <a:pt x="2760" y="2405"/>
                  </a:lnTo>
                  <a:lnTo>
                    <a:pt x="2758" y="2410"/>
                  </a:lnTo>
                  <a:lnTo>
                    <a:pt x="2754" y="2416"/>
                  </a:lnTo>
                  <a:lnTo>
                    <a:pt x="2754" y="2418"/>
                  </a:lnTo>
                  <a:lnTo>
                    <a:pt x="2749" y="2423"/>
                  </a:lnTo>
                  <a:lnTo>
                    <a:pt x="2742" y="2423"/>
                  </a:lnTo>
                  <a:lnTo>
                    <a:pt x="2737" y="2430"/>
                  </a:lnTo>
                  <a:lnTo>
                    <a:pt x="2731" y="2430"/>
                  </a:lnTo>
                  <a:lnTo>
                    <a:pt x="2726" y="2432"/>
                  </a:lnTo>
                  <a:lnTo>
                    <a:pt x="2725" y="2436"/>
                  </a:lnTo>
                  <a:lnTo>
                    <a:pt x="2717" y="2444"/>
                  </a:lnTo>
                  <a:lnTo>
                    <a:pt x="2708" y="2444"/>
                  </a:lnTo>
                  <a:lnTo>
                    <a:pt x="2703" y="2445"/>
                  </a:lnTo>
                  <a:lnTo>
                    <a:pt x="2701" y="2444"/>
                  </a:lnTo>
                  <a:lnTo>
                    <a:pt x="2690" y="2427"/>
                  </a:lnTo>
                  <a:lnTo>
                    <a:pt x="2686" y="2423"/>
                  </a:lnTo>
                  <a:lnTo>
                    <a:pt x="2683" y="2423"/>
                  </a:lnTo>
                  <a:lnTo>
                    <a:pt x="2671" y="2423"/>
                  </a:lnTo>
                  <a:lnTo>
                    <a:pt x="2661" y="2427"/>
                  </a:lnTo>
                  <a:lnTo>
                    <a:pt x="2658" y="2427"/>
                  </a:lnTo>
                  <a:lnTo>
                    <a:pt x="2654" y="2427"/>
                  </a:lnTo>
                  <a:lnTo>
                    <a:pt x="2653" y="2431"/>
                  </a:lnTo>
                  <a:lnTo>
                    <a:pt x="2645" y="2436"/>
                  </a:lnTo>
                  <a:lnTo>
                    <a:pt x="2639" y="2436"/>
                  </a:lnTo>
                  <a:lnTo>
                    <a:pt x="2633" y="2435"/>
                  </a:lnTo>
                  <a:lnTo>
                    <a:pt x="2625" y="2432"/>
                  </a:lnTo>
                  <a:lnTo>
                    <a:pt x="2617" y="2436"/>
                  </a:lnTo>
                  <a:lnTo>
                    <a:pt x="2614" y="2440"/>
                  </a:lnTo>
                  <a:lnTo>
                    <a:pt x="2615" y="2445"/>
                  </a:lnTo>
                  <a:lnTo>
                    <a:pt x="2614" y="2450"/>
                  </a:lnTo>
                  <a:lnTo>
                    <a:pt x="2615" y="2453"/>
                  </a:lnTo>
                  <a:lnTo>
                    <a:pt x="2620" y="2461"/>
                  </a:lnTo>
                  <a:lnTo>
                    <a:pt x="2620" y="2468"/>
                  </a:lnTo>
                  <a:lnTo>
                    <a:pt x="2625" y="2478"/>
                  </a:lnTo>
                  <a:lnTo>
                    <a:pt x="2625" y="2481"/>
                  </a:lnTo>
                  <a:lnTo>
                    <a:pt x="2623" y="2485"/>
                  </a:lnTo>
                  <a:lnTo>
                    <a:pt x="2617" y="2488"/>
                  </a:lnTo>
                  <a:lnTo>
                    <a:pt x="2606" y="2497"/>
                  </a:lnTo>
                  <a:lnTo>
                    <a:pt x="2598" y="2503"/>
                  </a:lnTo>
                  <a:lnTo>
                    <a:pt x="2595" y="2503"/>
                  </a:lnTo>
                  <a:lnTo>
                    <a:pt x="2592" y="2506"/>
                  </a:lnTo>
                  <a:lnTo>
                    <a:pt x="2592" y="2509"/>
                  </a:lnTo>
                  <a:lnTo>
                    <a:pt x="2585" y="2515"/>
                  </a:lnTo>
                  <a:lnTo>
                    <a:pt x="2585" y="2519"/>
                  </a:lnTo>
                  <a:lnTo>
                    <a:pt x="2585" y="2520"/>
                  </a:lnTo>
                  <a:lnTo>
                    <a:pt x="2579" y="2520"/>
                  </a:lnTo>
                  <a:lnTo>
                    <a:pt x="2575" y="2526"/>
                  </a:lnTo>
                  <a:lnTo>
                    <a:pt x="2571" y="2527"/>
                  </a:lnTo>
                  <a:lnTo>
                    <a:pt x="2562" y="2526"/>
                  </a:lnTo>
                  <a:lnTo>
                    <a:pt x="2558" y="2525"/>
                  </a:lnTo>
                  <a:lnTo>
                    <a:pt x="2554" y="2519"/>
                  </a:lnTo>
                  <a:lnTo>
                    <a:pt x="2548" y="2515"/>
                  </a:lnTo>
                  <a:lnTo>
                    <a:pt x="2539" y="2512"/>
                  </a:lnTo>
                  <a:lnTo>
                    <a:pt x="2529" y="2512"/>
                  </a:lnTo>
                  <a:lnTo>
                    <a:pt x="2525" y="2510"/>
                  </a:lnTo>
                  <a:lnTo>
                    <a:pt x="2519" y="2512"/>
                  </a:lnTo>
                  <a:lnTo>
                    <a:pt x="2517" y="2517"/>
                  </a:lnTo>
                  <a:lnTo>
                    <a:pt x="2512" y="2517"/>
                  </a:lnTo>
                  <a:lnTo>
                    <a:pt x="2511" y="2520"/>
                  </a:lnTo>
                  <a:lnTo>
                    <a:pt x="2510" y="2527"/>
                  </a:lnTo>
                  <a:lnTo>
                    <a:pt x="2507" y="2530"/>
                  </a:lnTo>
                  <a:lnTo>
                    <a:pt x="2507" y="2537"/>
                  </a:lnTo>
                  <a:lnTo>
                    <a:pt x="2497" y="2542"/>
                  </a:lnTo>
                  <a:lnTo>
                    <a:pt x="2485" y="2547"/>
                  </a:lnTo>
                  <a:lnTo>
                    <a:pt x="2477" y="2552"/>
                  </a:lnTo>
                  <a:lnTo>
                    <a:pt x="2466" y="2563"/>
                  </a:lnTo>
                  <a:lnTo>
                    <a:pt x="2466" y="2565"/>
                  </a:lnTo>
                  <a:lnTo>
                    <a:pt x="2468" y="2569"/>
                  </a:lnTo>
                  <a:lnTo>
                    <a:pt x="2465" y="2579"/>
                  </a:lnTo>
                  <a:lnTo>
                    <a:pt x="2465" y="2587"/>
                  </a:lnTo>
                  <a:lnTo>
                    <a:pt x="2461" y="2587"/>
                  </a:lnTo>
                  <a:lnTo>
                    <a:pt x="2454" y="2592"/>
                  </a:lnTo>
                  <a:lnTo>
                    <a:pt x="2447" y="2592"/>
                  </a:lnTo>
                  <a:lnTo>
                    <a:pt x="2446" y="2596"/>
                  </a:lnTo>
                  <a:lnTo>
                    <a:pt x="2440" y="2600"/>
                  </a:lnTo>
                  <a:lnTo>
                    <a:pt x="2436" y="2605"/>
                  </a:lnTo>
                  <a:lnTo>
                    <a:pt x="2427" y="2610"/>
                  </a:lnTo>
                  <a:lnTo>
                    <a:pt x="2423" y="2619"/>
                  </a:lnTo>
                  <a:lnTo>
                    <a:pt x="2421" y="2622"/>
                  </a:lnTo>
                  <a:lnTo>
                    <a:pt x="2412" y="2625"/>
                  </a:lnTo>
                  <a:lnTo>
                    <a:pt x="2407" y="2630"/>
                  </a:lnTo>
                  <a:lnTo>
                    <a:pt x="2401" y="2632"/>
                  </a:lnTo>
                  <a:lnTo>
                    <a:pt x="2400" y="2635"/>
                  </a:lnTo>
                  <a:lnTo>
                    <a:pt x="2402" y="2637"/>
                  </a:lnTo>
                  <a:lnTo>
                    <a:pt x="2404" y="2641"/>
                  </a:lnTo>
                  <a:lnTo>
                    <a:pt x="2400" y="2646"/>
                  </a:lnTo>
                  <a:lnTo>
                    <a:pt x="2387" y="2654"/>
                  </a:lnTo>
                  <a:lnTo>
                    <a:pt x="2382" y="2655"/>
                  </a:lnTo>
                  <a:lnTo>
                    <a:pt x="2377" y="2658"/>
                  </a:lnTo>
                  <a:lnTo>
                    <a:pt x="2363" y="2663"/>
                  </a:lnTo>
                  <a:lnTo>
                    <a:pt x="2352" y="2668"/>
                  </a:lnTo>
                  <a:lnTo>
                    <a:pt x="2344" y="2669"/>
                  </a:lnTo>
                  <a:lnTo>
                    <a:pt x="2336" y="2675"/>
                  </a:lnTo>
                  <a:lnTo>
                    <a:pt x="2332" y="2680"/>
                  </a:lnTo>
                  <a:lnTo>
                    <a:pt x="2329" y="2680"/>
                  </a:lnTo>
                  <a:lnTo>
                    <a:pt x="2326" y="2681"/>
                  </a:lnTo>
                  <a:lnTo>
                    <a:pt x="2319" y="2681"/>
                  </a:lnTo>
                  <a:lnTo>
                    <a:pt x="2318" y="2689"/>
                  </a:lnTo>
                  <a:lnTo>
                    <a:pt x="2315" y="2692"/>
                  </a:lnTo>
                  <a:lnTo>
                    <a:pt x="2307" y="2689"/>
                  </a:lnTo>
                  <a:lnTo>
                    <a:pt x="2304" y="2691"/>
                  </a:lnTo>
                  <a:lnTo>
                    <a:pt x="2300" y="2694"/>
                  </a:lnTo>
                  <a:lnTo>
                    <a:pt x="2297" y="2694"/>
                  </a:lnTo>
                  <a:lnTo>
                    <a:pt x="2294" y="2694"/>
                  </a:lnTo>
                  <a:lnTo>
                    <a:pt x="2285" y="2688"/>
                  </a:lnTo>
                  <a:lnTo>
                    <a:pt x="2276" y="2676"/>
                  </a:lnTo>
                  <a:lnTo>
                    <a:pt x="2266" y="2681"/>
                  </a:lnTo>
                  <a:lnTo>
                    <a:pt x="2259" y="2681"/>
                  </a:lnTo>
                  <a:lnTo>
                    <a:pt x="2254" y="2679"/>
                  </a:lnTo>
                  <a:lnTo>
                    <a:pt x="2251" y="2679"/>
                  </a:lnTo>
                  <a:lnTo>
                    <a:pt x="2247" y="2681"/>
                  </a:lnTo>
                  <a:lnTo>
                    <a:pt x="2240" y="2691"/>
                  </a:lnTo>
                  <a:lnTo>
                    <a:pt x="2226" y="2697"/>
                  </a:lnTo>
                  <a:lnTo>
                    <a:pt x="2219" y="2704"/>
                  </a:lnTo>
                  <a:lnTo>
                    <a:pt x="2215" y="2708"/>
                  </a:lnTo>
                  <a:lnTo>
                    <a:pt x="2203" y="2717"/>
                  </a:lnTo>
                  <a:lnTo>
                    <a:pt x="2201" y="2719"/>
                  </a:lnTo>
                  <a:lnTo>
                    <a:pt x="2198" y="2719"/>
                  </a:lnTo>
                  <a:lnTo>
                    <a:pt x="2195" y="2719"/>
                  </a:lnTo>
                  <a:lnTo>
                    <a:pt x="2190" y="2721"/>
                  </a:lnTo>
                  <a:lnTo>
                    <a:pt x="2184" y="2729"/>
                  </a:lnTo>
                  <a:lnTo>
                    <a:pt x="2174" y="2734"/>
                  </a:lnTo>
                  <a:lnTo>
                    <a:pt x="2166" y="2739"/>
                  </a:lnTo>
                  <a:lnTo>
                    <a:pt x="2159" y="2739"/>
                  </a:lnTo>
                  <a:lnTo>
                    <a:pt x="2155" y="2739"/>
                  </a:lnTo>
                  <a:lnTo>
                    <a:pt x="2140" y="2746"/>
                  </a:lnTo>
                  <a:lnTo>
                    <a:pt x="2131" y="2747"/>
                  </a:lnTo>
                  <a:lnTo>
                    <a:pt x="2117" y="2762"/>
                  </a:lnTo>
                  <a:lnTo>
                    <a:pt x="2108" y="2768"/>
                  </a:lnTo>
                  <a:lnTo>
                    <a:pt x="2101" y="2770"/>
                  </a:lnTo>
                  <a:lnTo>
                    <a:pt x="2098" y="2775"/>
                  </a:lnTo>
                  <a:lnTo>
                    <a:pt x="2094" y="2774"/>
                  </a:lnTo>
                  <a:lnTo>
                    <a:pt x="2087" y="2778"/>
                  </a:lnTo>
                  <a:lnTo>
                    <a:pt x="2083" y="2784"/>
                  </a:lnTo>
                  <a:lnTo>
                    <a:pt x="2084" y="2791"/>
                  </a:lnTo>
                  <a:lnTo>
                    <a:pt x="2083" y="2792"/>
                  </a:lnTo>
                  <a:lnTo>
                    <a:pt x="2080" y="2800"/>
                  </a:lnTo>
                  <a:lnTo>
                    <a:pt x="2076" y="2801"/>
                  </a:lnTo>
                  <a:lnTo>
                    <a:pt x="2072" y="2805"/>
                  </a:lnTo>
                  <a:lnTo>
                    <a:pt x="2066" y="2805"/>
                  </a:lnTo>
                  <a:lnTo>
                    <a:pt x="2058" y="2808"/>
                  </a:lnTo>
                  <a:lnTo>
                    <a:pt x="2051" y="2815"/>
                  </a:lnTo>
                  <a:lnTo>
                    <a:pt x="2036" y="2820"/>
                  </a:lnTo>
                  <a:lnTo>
                    <a:pt x="2034" y="2824"/>
                  </a:lnTo>
                  <a:lnTo>
                    <a:pt x="2036" y="2828"/>
                  </a:lnTo>
                  <a:lnTo>
                    <a:pt x="2033" y="2830"/>
                  </a:lnTo>
                  <a:lnTo>
                    <a:pt x="2026" y="2836"/>
                  </a:lnTo>
                  <a:lnTo>
                    <a:pt x="2020" y="2837"/>
                  </a:lnTo>
                  <a:lnTo>
                    <a:pt x="2014" y="2841"/>
                  </a:lnTo>
                  <a:lnTo>
                    <a:pt x="2011" y="2843"/>
                  </a:lnTo>
                  <a:lnTo>
                    <a:pt x="2008" y="2849"/>
                  </a:lnTo>
                  <a:lnTo>
                    <a:pt x="1999" y="2858"/>
                  </a:lnTo>
                  <a:lnTo>
                    <a:pt x="1997" y="2863"/>
                  </a:lnTo>
                  <a:lnTo>
                    <a:pt x="1997" y="2868"/>
                  </a:lnTo>
                  <a:lnTo>
                    <a:pt x="2001" y="2873"/>
                  </a:lnTo>
                  <a:lnTo>
                    <a:pt x="2003" y="2871"/>
                  </a:lnTo>
                  <a:lnTo>
                    <a:pt x="2005" y="2873"/>
                  </a:lnTo>
                  <a:lnTo>
                    <a:pt x="2003" y="2876"/>
                  </a:lnTo>
                  <a:lnTo>
                    <a:pt x="2001" y="2878"/>
                  </a:lnTo>
                  <a:lnTo>
                    <a:pt x="1998" y="2878"/>
                  </a:lnTo>
                  <a:lnTo>
                    <a:pt x="1995" y="2875"/>
                  </a:lnTo>
                  <a:lnTo>
                    <a:pt x="1992" y="2876"/>
                  </a:lnTo>
                  <a:lnTo>
                    <a:pt x="1991" y="2888"/>
                  </a:lnTo>
                  <a:lnTo>
                    <a:pt x="1991" y="2891"/>
                  </a:lnTo>
                  <a:lnTo>
                    <a:pt x="1997" y="2892"/>
                  </a:lnTo>
                  <a:lnTo>
                    <a:pt x="1997" y="2895"/>
                  </a:lnTo>
                  <a:lnTo>
                    <a:pt x="1989" y="2899"/>
                  </a:lnTo>
                  <a:lnTo>
                    <a:pt x="1984" y="2899"/>
                  </a:lnTo>
                  <a:lnTo>
                    <a:pt x="1978" y="2899"/>
                  </a:lnTo>
                  <a:lnTo>
                    <a:pt x="1976" y="2904"/>
                  </a:lnTo>
                  <a:lnTo>
                    <a:pt x="1969" y="2912"/>
                  </a:lnTo>
                  <a:lnTo>
                    <a:pt x="1967" y="2917"/>
                  </a:lnTo>
                  <a:lnTo>
                    <a:pt x="1960" y="2920"/>
                  </a:lnTo>
                  <a:lnTo>
                    <a:pt x="1960" y="2921"/>
                  </a:lnTo>
                  <a:lnTo>
                    <a:pt x="1955" y="2929"/>
                  </a:lnTo>
                  <a:lnTo>
                    <a:pt x="1953" y="2929"/>
                  </a:lnTo>
                  <a:lnTo>
                    <a:pt x="1944" y="2930"/>
                  </a:lnTo>
                  <a:lnTo>
                    <a:pt x="1939" y="2933"/>
                  </a:lnTo>
                  <a:lnTo>
                    <a:pt x="1941" y="2934"/>
                  </a:lnTo>
                  <a:lnTo>
                    <a:pt x="1944" y="2938"/>
                  </a:lnTo>
                  <a:lnTo>
                    <a:pt x="1939" y="2946"/>
                  </a:lnTo>
                  <a:lnTo>
                    <a:pt x="1941" y="2952"/>
                  </a:lnTo>
                  <a:lnTo>
                    <a:pt x="1934" y="2957"/>
                  </a:lnTo>
                  <a:lnTo>
                    <a:pt x="1926" y="2962"/>
                  </a:lnTo>
                  <a:lnTo>
                    <a:pt x="1921" y="2974"/>
                  </a:lnTo>
                  <a:lnTo>
                    <a:pt x="1918" y="2978"/>
                  </a:lnTo>
                  <a:lnTo>
                    <a:pt x="1913" y="2979"/>
                  </a:lnTo>
                  <a:lnTo>
                    <a:pt x="1906" y="2989"/>
                  </a:lnTo>
                  <a:lnTo>
                    <a:pt x="1903" y="2992"/>
                  </a:lnTo>
                  <a:lnTo>
                    <a:pt x="1896" y="2998"/>
                  </a:lnTo>
                  <a:lnTo>
                    <a:pt x="1893" y="3000"/>
                  </a:lnTo>
                  <a:lnTo>
                    <a:pt x="1892" y="3002"/>
                  </a:lnTo>
                  <a:lnTo>
                    <a:pt x="1887" y="3002"/>
                  </a:lnTo>
                  <a:lnTo>
                    <a:pt x="1884" y="3007"/>
                  </a:lnTo>
                  <a:lnTo>
                    <a:pt x="1887" y="3009"/>
                  </a:lnTo>
                  <a:lnTo>
                    <a:pt x="1889" y="3011"/>
                  </a:lnTo>
                  <a:lnTo>
                    <a:pt x="1891" y="3011"/>
                  </a:lnTo>
                  <a:lnTo>
                    <a:pt x="1891" y="3015"/>
                  </a:lnTo>
                  <a:lnTo>
                    <a:pt x="1887" y="3021"/>
                  </a:lnTo>
                  <a:lnTo>
                    <a:pt x="1889" y="3024"/>
                  </a:lnTo>
                  <a:lnTo>
                    <a:pt x="1885" y="3027"/>
                  </a:lnTo>
                  <a:lnTo>
                    <a:pt x="1888" y="3041"/>
                  </a:lnTo>
                  <a:lnTo>
                    <a:pt x="1887" y="3044"/>
                  </a:lnTo>
                  <a:lnTo>
                    <a:pt x="1879" y="3046"/>
                  </a:lnTo>
                  <a:lnTo>
                    <a:pt x="1878" y="3053"/>
                  </a:lnTo>
                  <a:lnTo>
                    <a:pt x="1879" y="3056"/>
                  </a:lnTo>
                  <a:lnTo>
                    <a:pt x="1871" y="3059"/>
                  </a:lnTo>
                  <a:lnTo>
                    <a:pt x="1871" y="3066"/>
                  </a:lnTo>
                  <a:lnTo>
                    <a:pt x="1866" y="3069"/>
                  </a:lnTo>
                  <a:lnTo>
                    <a:pt x="1864" y="3067"/>
                  </a:lnTo>
                  <a:lnTo>
                    <a:pt x="1860" y="3069"/>
                  </a:lnTo>
                  <a:lnTo>
                    <a:pt x="1859" y="3077"/>
                  </a:lnTo>
                  <a:lnTo>
                    <a:pt x="1860" y="3078"/>
                  </a:lnTo>
                  <a:lnTo>
                    <a:pt x="1860" y="3081"/>
                  </a:lnTo>
                  <a:lnTo>
                    <a:pt x="1859" y="3081"/>
                  </a:lnTo>
                  <a:lnTo>
                    <a:pt x="1860" y="3082"/>
                  </a:lnTo>
                  <a:lnTo>
                    <a:pt x="1857" y="3082"/>
                  </a:lnTo>
                  <a:lnTo>
                    <a:pt x="1856" y="3094"/>
                  </a:lnTo>
                  <a:lnTo>
                    <a:pt x="1851" y="3095"/>
                  </a:lnTo>
                  <a:lnTo>
                    <a:pt x="1845" y="3091"/>
                  </a:lnTo>
                  <a:lnTo>
                    <a:pt x="1841" y="3091"/>
                  </a:lnTo>
                  <a:lnTo>
                    <a:pt x="1839" y="3091"/>
                  </a:lnTo>
                  <a:lnTo>
                    <a:pt x="1838" y="3091"/>
                  </a:lnTo>
                  <a:lnTo>
                    <a:pt x="1832" y="3101"/>
                  </a:lnTo>
                  <a:lnTo>
                    <a:pt x="1829" y="3103"/>
                  </a:lnTo>
                  <a:lnTo>
                    <a:pt x="1827" y="3112"/>
                  </a:lnTo>
                  <a:lnTo>
                    <a:pt x="1827" y="3120"/>
                  </a:lnTo>
                  <a:lnTo>
                    <a:pt x="1826" y="3124"/>
                  </a:lnTo>
                  <a:lnTo>
                    <a:pt x="1823" y="3126"/>
                  </a:lnTo>
                  <a:lnTo>
                    <a:pt x="1824" y="3129"/>
                  </a:lnTo>
                  <a:lnTo>
                    <a:pt x="1821" y="3129"/>
                  </a:lnTo>
                  <a:lnTo>
                    <a:pt x="1820" y="3131"/>
                  </a:lnTo>
                  <a:lnTo>
                    <a:pt x="1821" y="3133"/>
                  </a:lnTo>
                  <a:lnTo>
                    <a:pt x="1818" y="3135"/>
                  </a:lnTo>
                  <a:lnTo>
                    <a:pt x="1812" y="3136"/>
                  </a:lnTo>
                  <a:lnTo>
                    <a:pt x="1807" y="3144"/>
                  </a:lnTo>
                  <a:lnTo>
                    <a:pt x="1806" y="3144"/>
                  </a:lnTo>
                  <a:lnTo>
                    <a:pt x="1802" y="3144"/>
                  </a:lnTo>
                  <a:lnTo>
                    <a:pt x="1795" y="3144"/>
                  </a:lnTo>
                  <a:lnTo>
                    <a:pt x="1796" y="3148"/>
                  </a:lnTo>
                  <a:lnTo>
                    <a:pt x="1791" y="3149"/>
                  </a:lnTo>
                  <a:lnTo>
                    <a:pt x="1787" y="3157"/>
                  </a:lnTo>
                  <a:lnTo>
                    <a:pt x="1784" y="3160"/>
                  </a:lnTo>
                  <a:lnTo>
                    <a:pt x="1782" y="3169"/>
                  </a:lnTo>
                  <a:lnTo>
                    <a:pt x="1774" y="3173"/>
                  </a:lnTo>
                  <a:lnTo>
                    <a:pt x="1771" y="3178"/>
                  </a:lnTo>
                  <a:lnTo>
                    <a:pt x="1767" y="3178"/>
                  </a:lnTo>
                  <a:lnTo>
                    <a:pt x="1766" y="3178"/>
                  </a:lnTo>
                  <a:lnTo>
                    <a:pt x="1763" y="3180"/>
                  </a:lnTo>
                  <a:lnTo>
                    <a:pt x="1763" y="3176"/>
                  </a:lnTo>
                  <a:lnTo>
                    <a:pt x="1759" y="3180"/>
                  </a:lnTo>
                  <a:lnTo>
                    <a:pt x="1759" y="3186"/>
                  </a:lnTo>
                  <a:lnTo>
                    <a:pt x="1756" y="3189"/>
                  </a:lnTo>
                  <a:lnTo>
                    <a:pt x="1751" y="3189"/>
                  </a:lnTo>
                  <a:lnTo>
                    <a:pt x="1746" y="3189"/>
                  </a:lnTo>
                  <a:lnTo>
                    <a:pt x="1739" y="3191"/>
                  </a:lnTo>
                  <a:lnTo>
                    <a:pt x="1739" y="3196"/>
                  </a:lnTo>
                  <a:lnTo>
                    <a:pt x="1735" y="3198"/>
                  </a:lnTo>
                  <a:lnTo>
                    <a:pt x="1737" y="3202"/>
                  </a:lnTo>
                  <a:lnTo>
                    <a:pt x="1735" y="3205"/>
                  </a:lnTo>
                  <a:lnTo>
                    <a:pt x="1727" y="3206"/>
                  </a:lnTo>
                  <a:lnTo>
                    <a:pt x="1725" y="3205"/>
                  </a:lnTo>
                  <a:lnTo>
                    <a:pt x="1717" y="3210"/>
                  </a:lnTo>
                  <a:lnTo>
                    <a:pt x="1710" y="3207"/>
                  </a:lnTo>
                  <a:lnTo>
                    <a:pt x="1704" y="3208"/>
                  </a:lnTo>
                  <a:lnTo>
                    <a:pt x="1702" y="3210"/>
                  </a:lnTo>
                  <a:lnTo>
                    <a:pt x="1700" y="3215"/>
                  </a:lnTo>
                  <a:lnTo>
                    <a:pt x="1699" y="3220"/>
                  </a:lnTo>
                  <a:lnTo>
                    <a:pt x="1693" y="3222"/>
                  </a:lnTo>
                  <a:lnTo>
                    <a:pt x="1688" y="3224"/>
                  </a:lnTo>
                  <a:lnTo>
                    <a:pt x="1681" y="3222"/>
                  </a:lnTo>
                  <a:lnTo>
                    <a:pt x="1675" y="3224"/>
                  </a:lnTo>
                  <a:lnTo>
                    <a:pt x="1674" y="3222"/>
                  </a:lnTo>
                  <a:lnTo>
                    <a:pt x="1674" y="3224"/>
                  </a:lnTo>
                  <a:lnTo>
                    <a:pt x="1672" y="3224"/>
                  </a:lnTo>
                  <a:lnTo>
                    <a:pt x="1674" y="3224"/>
                  </a:lnTo>
                  <a:lnTo>
                    <a:pt x="1672" y="3224"/>
                  </a:lnTo>
                  <a:lnTo>
                    <a:pt x="1671" y="3224"/>
                  </a:lnTo>
                  <a:lnTo>
                    <a:pt x="1670" y="3224"/>
                  </a:lnTo>
                  <a:lnTo>
                    <a:pt x="1670" y="3227"/>
                  </a:lnTo>
                  <a:lnTo>
                    <a:pt x="1668" y="3227"/>
                  </a:lnTo>
                  <a:lnTo>
                    <a:pt x="1667" y="3227"/>
                  </a:lnTo>
                  <a:lnTo>
                    <a:pt x="1666" y="3227"/>
                  </a:lnTo>
                  <a:lnTo>
                    <a:pt x="1666" y="3228"/>
                  </a:lnTo>
                  <a:lnTo>
                    <a:pt x="1664" y="3230"/>
                  </a:lnTo>
                  <a:lnTo>
                    <a:pt x="1663" y="3230"/>
                  </a:lnTo>
                  <a:lnTo>
                    <a:pt x="1661" y="3228"/>
                  </a:lnTo>
                  <a:lnTo>
                    <a:pt x="1660" y="3228"/>
                  </a:lnTo>
                  <a:lnTo>
                    <a:pt x="1658" y="3228"/>
                  </a:lnTo>
                  <a:lnTo>
                    <a:pt x="1657" y="3228"/>
                  </a:lnTo>
                  <a:lnTo>
                    <a:pt x="1657" y="3230"/>
                  </a:lnTo>
                  <a:lnTo>
                    <a:pt x="1656" y="3230"/>
                  </a:lnTo>
                  <a:lnTo>
                    <a:pt x="1654" y="3230"/>
                  </a:lnTo>
                  <a:lnTo>
                    <a:pt x="1653" y="3230"/>
                  </a:lnTo>
                  <a:lnTo>
                    <a:pt x="1652" y="3230"/>
                  </a:lnTo>
                  <a:lnTo>
                    <a:pt x="1650" y="3230"/>
                  </a:lnTo>
                  <a:lnTo>
                    <a:pt x="1649" y="3230"/>
                  </a:lnTo>
                  <a:lnTo>
                    <a:pt x="1649" y="3231"/>
                  </a:lnTo>
                  <a:lnTo>
                    <a:pt x="1649" y="3232"/>
                  </a:lnTo>
                  <a:lnTo>
                    <a:pt x="1647" y="3232"/>
                  </a:lnTo>
                  <a:lnTo>
                    <a:pt x="1647" y="3231"/>
                  </a:lnTo>
                  <a:lnTo>
                    <a:pt x="1644" y="3231"/>
                  </a:lnTo>
                  <a:lnTo>
                    <a:pt x="1643" y="3231"/>
                  </a:lnTo>
                  <a:lnTo>
                    <a:pt x="1642" y="3232"/>
                  </a:lnTo>
                  <a:lnTo>
                    <a:pt x="1641" y="3232"/>
                  </a:lnTo>
                  <a:lnTo>
                    <a:pt x="1639" y="3232"/>
                  </a:lnTo>
                  <a:lnTo>
                    <a:pt x="1638" y="3232"/>
                  </a:lnTo>
                  <a:lnTo>
                    <a:pt x="1638" y="3233"/>
                  </a:lnTo>
                  <a:lnTo>
                    <a:pt x="1636" y="3233"/>
                  </a:lnTo>
                  <a:lnTo>
                    <a:pt x="1635" y="3233"/>
                  </a:lnTo>
                  <a:lnTo>
                    <a:pt x="1633" y="3233"/>
                  </a:lnTo>
                  <a:lnTo>
                    <a:pt x="1632" y="3233"/>
                  </a:lnTo>
                  <a:lnTo>
                    <a:pt x="1631" y="3233"/>
                  </a:lnTo>
                  <a:lnTo>
                    <a:pt x="1631" y="3236"/>
                  </a:lnTo>
                  <a:lnTo>
                    <a:pt x="1629" y="3233"/>
                  </a:lnTo>
                  <a:lnTo>
                    <a:pt x="1629" y="3236"/>
                  </a:lnTo>
                  <a:lnTo>
                    <a:pt x="1628" y="3236"/>
                  </a:lnTo>
                  <a:lnTo>
                    <a:pt x="1627" y="3236"/>
                  </a:lnTo>
                  <a:lnTo>
                    <a:pt x="1625" y="3236"/>
                  </a:lnTo>
                  <a:lnTo>
                    <a:pt x="1624" y="3236"/>
                  </a:lnTo>
                  <a:lnTo>
                    <a:pt x="1624" y="3238"/>
                  </a:lnTo>
                  <a:lnTo>
                    <a:pt x="1622" y="3238"/>
                  </a:lnTo>
                  <a:lnTo>
                    <a:pt x="1621" y="3238"/>
                  </a:lnTo>
                  <a:lnTo>
                    <a:pt x="1619" y="3238"/>
                  </a:lnTo>
                  <a:lnTo>
                    <a:pt x="1617" y="3238"/>
                  </a:lnTo>
                  <a:lnTo>
                    <a:pt x="1616" y="3238"/>
                  </a:lnTo>
                  <a:lnTo>
                    <a:pt x="1614" y="3238"/>
                  </a:lnTo>
                  <a:lnTo>
                    <a:pt x="1613" y="3238"/>
                  </a:lnTo>
                  <a:lnTo>
                    <a:pt x="1611" y="3238"/>
                  </a:lnTo>
                  <a:lnTo>
                    <a:pt x="1611" y="3240"/>
                  </a:lnTo>
                  <a:lnTo>
                    <a:pt x="1613" y="3240"/>
                  </a:lnTo>
                  <a:lnTo>
                    <a:pt x="1613" y="3241"/>
                  </a:lnTo>
                  <a:lnTo>
                    <a:pt x="1611" y="3241"/>
                  </a:lnTo>
                  <a:lnTo>
                    <a:pt x="1613" y="3241"/>
                  </a:lnTo>
                  <a:lnTo>
                    <a:pt x="1613" y="3243"/>
                  </a:lnTo>
                  <a:lnTo>
                    <a:pt x="1611" y="3243"/>
                  </a:lnTo>
                  <a:lnTo>
                    <a:pt x="1611" y="3241"/>
                  </a:lnTo>
                  <a:lnTo>
                    <a:pt x="1610" y="3241"/>
                  </a:lnTo>
                  <a:lnTo>
                    <a:pt x="1610" y="3243"/>
                  </a:lnTo>
                  <a:lnTo>
                    <a:pt x="1610" y="3244"/>
                  </a:lnTo>
                  <a:lnTo>
                    <a:pt x="1608" y="3244"/>
                  </a:lnTo>
                  <a:lnTo>
                    <a:pt x="1608" y="3243"/>
                  </a:lnTo>
                  <a:lnTo>
                    <a:pt x="1608" y="3244"/>
                  </a:lnTo>
                  <a:lnTo>
                    <a:pt x="1607" y="3244"/>
                  </a:lnTo>
                  <a:lnTo>
                    <a:pt x="1608" y="3244"/>
                  </a:lnTo>
                  <a:lnTo>
                    <a:pt x="1610" y="3244"/>
                  </a:lnTo>
                  <a:lnTo>
                    <a:pt x="1608" y="3244"/>
                  </a:lnTo>
                  <a:lnTo>
                    <a:pt x="1607" y="3244"/>
                  </a:lnTo>
                  <a:lnTo>
                    <a:pt x="1607" y="3247"/>
                  </a:lnTo>
                  <a:lnTo>
                    <a:pt x="1607" y="3250"/>
                  </a:lnTo>
                  <a:lnTo>
                    <a:pt x="1607" y="3251"/>
                  </a:lnTo>
                  <a:lnTo>
                    <a:pt x="1607" y="3253"/>
                  </a:lnTo>
                  <a:lnTo>
                    <a:pt x="1606" y="3253"/>
                  </a:lnTo>
                  <a:lnTo>
                    <a:pt x="1607" y="3253"/>
                  </a:lnTo>
                  <a:lnTo>
                    <a:pt x="1607" y="3255"/>
                  </a:lnTo>
                  <a:lnTo>
                    <a:pt x="1607" y="3256"/>
                  </a:lnTo>
                  <a:lnTo>
                    <a:pt x="1606" y="3256"/>
                  </a:lnTo>
                  <a:lnTo>
                    <a:pt x="1604" y="3256"/>
                  </a:lnTo>
                  <a:lnTo>
                    <a:pt x="1604" y="3258"/>
                  </a:lnTo>
                  <a:lnTo>
                    <a:pt x="1604" y="3256"/>
                  </a:lnTo>
                  <a:lnTo>
                    <a:pt x="1603" y="3256"/>
                  </a:lnTo>
                  <a:lnTo>
                    <a:pt x="1603" y="3258"/>
                  </a:lnTo>
                  <a:lnTo>
                    <a:pt x="1603" y="3260"/>
                  </a:lnTo>
                  <a:lnTo>
                    <a:pt x="1602" y="3258"/>
                  </a:lnTo>
                  <a:lnTo>
                    <a:pt x="1600" y="3258"/>
                  </a:lnTo>
                  <a:lnTo>
                    <a:pt x="1600" y="3260"/>
                  </a:lnTo>
                  <a:lnTo>
                    <a:pt x="1602" y="3260"/>
                  </a:lnTo>
                  <a:lnTo>
                    <a:pt x="1599" y="3260"/>
                  </a:lnTo>
                  <a:lnTo>
                    <a:pt x="1599" y="3263"/>
                  </a:lnTo>
                  <a:lnTo>
                    <a:pt x="1597" y="3263"/>
                  </a:lnTo>
                  <a:lnTo>
                    <a:pt x="1597" y="3264"/>
                  </a:lnTo>
                  <a:lnTo>
                    <a:pt x="1596" y="3265"/>
                  </a:lnTo>
                  <a:lnTo>
                    <a:pt x="1594" y="3267"/>
                  </a:lnTo>
                  <a:lnTo>
                    <a:pt x="1593" y="3267"/>
                  </a:lnTo>
                  <a:lnTo>
                    <a:pt x="1594" y="3267"/>
                  </a:lnTo>
                  <a:lnTo>
                    <a:pt x="1594" y="3269"/>
                  </a:lnTo>
                  <a:lnTo>
                    <a:pt x="1593" y="3269"/>
                  </a:lnTo>
                  <a:lnTo>
                    <a:pt x="1592" y="3269"/>
                  </a:lnTo>
                  <a:lnTo>
                    <a:pt x="1592" y="3272"/>
                  </a:lnTo>
                  <a:lnTo>
                    <a:pt x="1593" y="3272"/>
                  </a:lnTo>
                  <a:lnTo>
                    <a:pt x="1592" y="3272"/>
                  </a:lnTo>
                  <a:lnTo>
                    <a:pt x="1592" y="3273"/>
                  </a:lnTo>
                  <a:lnTo>
                    <a:pt x="1590" y="3273"/>
                  </a:lnTo>
                  <a:lnTo>
                    <a:pt x="1590" y="3276"/>
                  </a:lnTo>
                  <a:lnTo>
                    <a:pt x="1589" y="3276"/>
                  </a:lnTo>
                  <a:lnTo>
                    <a:pt x="1588" y="3276"/>
                  </a:lnTo>
                  <a:lnTo>
                    <a:pt x="1589" y="3277"/>
                  </a:lnTo>
                  <a:lnTo>
                    <a:pt x="1588" y="3277"/>
                  </a:lnTo>
                  <a:lnTo>
                    <a:pt x="1588" y="3278"/>
                  </a:lnTo>
                  <a:lnTo>
                    <a:pt x="1589" y="3278"/>
                  </a:lnTo>
                  <a:lnTo>
                    <a:pt x="1588" y="3280"/>
                  </a:lnTo>
                  <a:lnTo>
                    <a:pt x="1588" y="3281"/>
                  </a:lnTo>
                  <a:lnTo>
                    <a:pt x="1589" y="3281"/>
                  </a:lnTo>
                  <a:lnTo>
                    <a:pt x="1588" y="3281"/>
                  </a:lnTo>
                  <a:lnTo>
                    <a:pt x="1588" y="3282"/>
                  </a:lnTo>
                  <a:lnTo>
                    <a:pt x="1586" y="3282"/>
                  </a:lnTo>
                  <a:lnTo>
                    <a:pt x="1585" y="3282"/>
                  </a:lnTo>
                  <a:lnTo>
                    <a:pt x="1583" y="3282"/>
                  </a:lnTo>
                  <a:lnTo>
                    <a:pt x="1582" y="3282"/>
                  </a:lnTo>
                  <a:lnTo>
                    <a:pt x="1581" y="3282"/>
                  </a:lnTo>
                  <a:lnTo>
                    <a:pt x="1581" y="3285"/>
                  </a:lnTo>
                  <a:lnTo>
                    <a:pt x="1579" y="3285"/>
                  </a:lnTo>
                  <a:lnTo>
                    <a:pt x="1581" y="3286"/>
                  </a:lnTo>
                  <a:lnTo>
                    <a:pt x="1582" y="3286"/>
                  </a:lnTo>
                  <a:lnTo>
                    <a:pt x="1581" y="3286"/>
                  </a:lnTo>
                  <a:lnTo>
                    <a:pt x="1579" y="3286"/>
                  </a:lnTo>
                  <a:lnTo>
                    <a:pt x="1579" y="3289"/>
                  </a:lnTo>
                  <a:lnTo>
                    <a:pt x="1581" y="3289"/>
                  </a:lnTo>
                  <a:lnTo>
                    <a:pt x="1581" y="3290"/>
                  </a:lnTo>
                  <a:lnTo>
                    <a:pt x="1579" y="3290"/>
                  </a:lnTo>
                  <a:lnTo>
                    <a:pt x="1579" y="3292"/>
                  </a:lnTo>
                  <a:lnTo>
                    <a:pt x="1578" y="3292"/>
                  </a:lnTo>
                  <a:lnTo>
                    <a:pt x="1577" y="3292"/>
                  </a:lnTo>
                  <a:lnTo>
                    <a:pt x="1577" y="3294"/>
                  </a:lnTo>
                  <a:lnTo>
                    <a:pt x="1575" y="3294"/>
                  </a:lnTo>
                  <a:lnTo>
                    <a:pt x="1577" y="3294"/>
                  </a:lnTo>
                  <a:lnTo>
                    <a:pt x="1577" y="3295"/>
                  </a:lnTo>
                  <a:lnTo>
                    <a:pt x="1575" y="3295"/>
                  </a:lnTo>
                  <a:lnTo>
                    <a:pt x="1574" y="3295"/>
                  </a:lnTo>
                  <a:lnTo>
                    <a:pt x="1575" y="3295"/>
                  </a:lnTo>
                  <a:lnTo>
                    <a:pt x="1575" y="3298"/>
                  </a:lnTo>
                  <a:lnTo>
                    <a:pt x="1574" y="3298"/>
                  </a:lnTo>
                  <a:lnTo>
                    <a:pt x="1574" y="3300"/>
                  </a:lnTo>
                  <a:lnTo>
                    <a:pt x="1572" y="3300"/>
                  </a:lnTo>
                  <a:lnTo>
                    <a:pt x="1571" y="3300"/>
                  </a:lnTo>
                  <a:lnTo>
                    <a:pt x="1569" y="3300"/>
                  </a:lnTo>
                  <a:lnTo>
                    <a:pt x="1568" y="3300"/>
                  </a:lnTo>
                  <a:lnTo>
                    <a:pt x="1568" y="3301"/>
                  </a:lnTo>
                  <a:lnTo>
                    <a:pt x="1568" y="3302"/>
                  </a:lnTo>
                  <a:lnTo>
                    <a:pt x="1567" y="3302"/>
                  </a:lnTo>
                  <a:lnTo>
                    <a:pt x="1567" y="3301"/>
                  </a:lnTo>
                  <a:lnTo>
                    <a:pt x="1567" y="3302"/>
                  </a:lnTo>
                  <a:lnTo>
                    <a:pt x="1568" y="3302"/>
                  </a:lnTo>
                  <a:lnTo>
                    <a:pt x="1568" y="3303"/>
                  </a:lnTo>
                  <a:lnTo>
                    <a:pt x="1567" y="3303"/>
                  </a:lnTo>
                  <a:lnTo>
                    <a:pt x="1567" y="3302"/>
                  </a:lnTo>
                  <a:lnTo>
                    <a:pt x="1567" y="3303"/>
                  </a:lnTo>
                  <a:lnTo>
                    <a:pt x="1567" y="3305"/>
                  </a:lnTo>
                  <a:lnTo>
                    <a:pt x="1565" y="3305"/>
                  </a:lnTo>
                  <a:lnTo>
                    <a:pt x="1564" y="3305"/>
                  </a:lnTo>
                  <a:lnTo>
                    <a:pt x="1564" y="3307"/>
                  </a:lnTo>
                  <a:lnTo>
                    <a:pt x="1564" y="3309"/>
                  </a:lnTo>
                  <a:lnTo>
                    <a:pt x="1563" y="3309"/>
                  </a:lnTo>
                  <a:lnTo>
                    <a:pt x="1561" y="3309"/>
                  </a:lnTo>
                  <a:lnTo>
                    <a:pt x="1560" y="3311"/>
                  </a:lnTo>
                  <a:lnTo>
                    <a:pt x="1558" y="3313"/>
                  </a:lnTo>
                  <a:lnTo>
                    <a:pt x="1558" y="3314"/>
                  </a:lnTo>
                  <a:lnTo>
                    <a:pt x="1557" y="3315"/>
                  </a:lnTo>
                  <a:lnTo>
                    <a:pt x="1557" y="3317"/>
                  </a:lnTo>
                  <a:lnTo>
                    <a:pt x="1556" y="3317"/>
                  </a:lnTo>
                  <a:lnTo>
                    <a:pt x="1556" y="3318"/>
                  </a:lnTo>
                  <a:lnTo>
                    <a:pt x="1556" y="3320"/>
                  </a:lnTo>
                  <a:lnTo>
                    <a:pt x="1554" y="3320"/>
                  </a:lnTo>
                  <a:lnTo>
                    <a:pt x="1554" y="3322"/>
                  </a:lnTo>
                  <a:lnTo>
                    <a:pt x="1553" y="3322"/>
                  </a:lnTo>
                  <a:lnTo>
                    <a:pt x="1552" y="3322"/>
                  </a:lnTo>
                  <a:lnTo>
                    <a:pt x="1550" y="3322"/>
                  </a:lnTo>
                  <a:lnTo>
                    <a:pt x="1549" y="3322"/>
                  </a:lnTo>
                  <a:lnTo>
                    <a:pt x="1549" y="3323"/>
                  </a:lnTo>
                  <a:lnTo>
                    <a:pt x="1547" y="3323"/>
                  </a:lnTo>
                  <a:lnTo>
                    <a:pt x="1546" y="3323"/>
                  </a:lnTo>
                  <a:lnTo>
                    <a:pt x="1546" y="3322"/>
                  </a:lnTo>
                  <a:lnTo>
                    <a:pt x="1544" y="3322"/>
                  </a:lnTo>
                  <a:lnTo>
                    <a:pt x="1543" y="3322"/>
                  </a:lnTo>
                  <a:lnTo>
                    <a:pt x="1542" y="3322"/>
                  </a:lnTo>
                  <a:lnTo>
                    <a:pt x="1542" y="3323"/>
                  </a:lnTo>
                  <a:lnTo>
                    <a:pt x="1540" y="3323"/>
                  </a:lnTo>
                  <a:lnTo>
                    <a:pt x="1540" y="3322"/>
                  </a:lnTo>
                  <a:lnTo>
                    <a:pt x="1540" y="3323"/>
                  </a:lnTo>
                  <a:lnTo>
                    <a:pt x="1540" y="3326"/>
                  </a:lnTo>
                  <a:lnTo>
                    <a:pt x="1540" y="3327"/>
                  </a:lnTo>
                  <a:lnTo>
                    <a:pt x="1540" y="3330"/>
                  </a:lnTo>
                  <a:lnTo>
                    <a:pt x="1540" y="3331"/>
                  </a:lnTo>
                  <a:lnTo>
                    <a:pt x="1540" y="3334"/>
                  </a:lnTo>
                  <a:lnTo>
                    <a:pt x="1540" y="3335"/>
                  </a:lnTo>
                  <a:lnTo>
                    <a:pt x="1540" y="3337"/>
                  </a:lnTo>
                  <a:lnTo>
                    <a:pt x="1540" y="3338"/>
                  </a:lnTo>
                  <a:lnTo>
                    <a:pt x="1540" y="3339"/>
                  </a:lnTo>
                  <a:lnTo>
                    <a:pt x="1542" y="3339"/>
                  </a:lnTo>
                  <a:lnTo>
                    <a:pt x="1542" y="3340"/>
                  </a:lnTo>
                  <a:lnTo>
                    <a:pt x="1540" y="3340"/>
                  </a:lnTo>
                  <a:lnTo>
                    <a:pt x="1540" y="3343"/>
                  </a:lnTo>
                  <a:lnTo>
                    <a:pt x="1540" y="3344"/>
                  </a:lnTo>
                  <a:lnTo>
                    <a:pt x="1542" y="3344"/>
                  </a:lnTo>
                  <a:lnTo>
                    <a:pt x="1542" y="3347"/>
                  </a:lnTo>
                  <a:lnTo>
                    <a:pt x="1543" y="3347"/>
                  </a:lnTo>
                  <a:lnTo>
                    <a:pt x="1543" y="3348"/>
                  </a:lnTo>
                  <a:lnTo>
                    <a:pt x="1543" y="3350"/>
                  </a:lnTo>
                  <a:lnTo>
                    <a:pt x="1542" y="3350"/>
                  </a:lnTo>
                  <a:lnTo>
                    <a:pt x="1542" y="3351"/>
                  </a:lnTo>
                  <a:lnTo>
                    <a:pt x="1542" y="3352"/>
                  </a:lnTo>
                  <a:lnTo>
                    <a:pt x="1540" y="3352"/>
                  </a:lnTo>
                  <a:lnTo>
                    <a:pt x="1542" y="3354"/>
                  </a:lnTo>
                  <a:lnTo>
                    <a:pt x="1543" y="3357"/>
                  </a:lnTo>
                  <a:lnTo>
                    <a:pt x="1544" y="3359"/>
                  </a:lnTo>
                  <a:lnTo>
                    <a:pt x="1546" y="3359"/>
                  </a:lnTo>
                  <a:lnTo>
                    <a:pt x="1547" y="3360"/>
                  </a:lnTo>
                  <a:lnTo>
                    <a:pt x="1549" y="3360"/>
                  </a:lnTo>
                  <a:lnTo>
                    <a:pt x="1549" y="3363"/>
                  </a:lnTo>
                  <a:lnTo>
                    <a:pt x="1550" y="3363"/>
                  </a:lnTo>
                  <a:lnTo>
                    <a:pt x="1552" y="3363"/>
                  </a:lnTo>
                  <a:lnTo>
                    <a:pt x="1552" y="3365"/>
                  </a:lnTo>
                  <a:lnTo>
                    <a:pt x="1553" y="3365"/>
                  </a:lnTo>
                  <a:lnTo>
                    <a:pt x="1553" y="3367"/>
                  </a:lnTo>
                  <a:lnTo>
                    <a:pt x="1554" y="3367"/>
                  </a:lnTo>
                  <a:lnTo>
                    <a:pt x="1556" y="3367"/>
                  </a:lnTo>
                  <a:lnTo>
                    <a:pt x="1557" y="3367"/>
                  </a:lnTo>
                  <a:lnTo>
                    <a:pt x="1558" y="3369"/>
                  </a:lnTo>
                  <a:lnTo>
                    <a:pt x="1557" y="3370"/>
                  </a:lnTo>
                  <a:lnTo>
                    <a:pt x="1557" y="3372"/>
                  </a:lnTo>
                  <a:lnTo>
                    <a:pt x="1558" y="3372"/>
                  </a:lnTo>
                  <a:lnTo>
                    <a:pt x="1558" y="3373"/>
                  </a:lnTo>
                  <a:lnTo>
                    <a:pt x="1557" y="3375"/>
                  </a:lnTo>
                  <a:lnTo>
                    <a:pt x="1557" y="3376"/>
                  </a:lnTo>
                  <a:lnTo>
                    <a:pt x="1556" y="3376"/>
                  </a:lnTo>
                  <a:lnTo>
                    <a:pt x="1554" y="3376"/>
                  </a:lnTo>
                  <a:lnTo>
                    <a:pt x="1554" y="3379"/>
                  </a:lnTo>
                  <a:lnTo>
                    <a:pt x="1554" y="3380"/>
                  </a:lnTo>
                  <a:lnTo>
                    <a:pt x="1550" y="3388"/>
                  </a:lnTo>
                  <a:lnTo>
                    <a:pt x="1547" y="3392"/>
                  </a:lnTo>
                  <a:lnTo>
                    <a:pt x="1525" y="3388"/>
                  </a:lnTo>
                  <a:lnTo>
                    <a:pt x="1477" y="3370"/>
                  </a:lnTo>
                  <a:lnTo>
                    <a:pt x="1475" y="3370"/>
                  </a:lnTo>
                  <a:lnTo>
                    <a:pt x="1474" y="3372"/>
                  </a:lnTo>
                  <a:lnTo>
                    <a:pt x="1472" y="3372"/>
                  </a:lnTo>
                  <a:lnTo>
                    <a:pt x="1471" y="3372"/>
                  </a:lnTo>
                  <a:lnTo>
                    <a:pt x="1471" y="3373"/>
                  </a:lnTo>
                  <a:lnTo>
                    <a:pt x="1469" y="3373"/>
                  </a:lnTo>
                  <a:lnTo>
                    <a:pt x="1468" y="3373"/>
                  </a:lnTo>
                  <a:lnTo>
                    <a:pt x="1468" y="3372"/>
                  </a:lnTo>
                  <a:lnTo>
                    <a:pt x="1467" y="3372"/>
                  </a:lnTo>
                  <a:lnTo>
                    <a:pt x="1465" y="3372"/>
                  </a:lnTo>
                  <a:lnTo>
                    <a:pt x="1464" y="3372"/>
                  </a:lnTo>
                  <a:lnTo>
                    <a:pt x="1464" y="3370"/>
                  </a:lnTo>
                  <a:lnTo>
                    <a:pt x="1463" y="3370"/>
                  </a:lnTo>
                  <a:lnTo>
                    <a:pt x="1463" y="3369"/>
                  </a:lnTo>
                  <a:lnTo>
                    <a:pt x="1461" y="3369"/>
                  </a:lnTo>
                  <a:lnTo>
                    <a:pt x="1461" y="3367"/>
                  </a:lnTo>
                  <a:lnTo>
                    <a:pt x="1460" y="3367"/>
                  </a:lnTo>
                  <a:lnTo>
                    <a:pt x="1458" y="3367"/>
                  </a:lnTo>
                  <a:lnTo>
                    <a:pt x="1457" y="3367"/>
                  </a:lnTo>
                  <a:lnTo>
                    <a:pt x="1458" y="3365"/>
                  </a:lnTo>
                  <a:lnTo>
                    <a:pt x="1457" y="3365"/>
                  </a:lnTo>
                  <a:lnTo>
                    <a:pt x="1455" y="3365"/>
                  </a:lnTo>
                  <a:lnTo>
                    <a:pt x="1455" y="3363"/>
                  </a:lnTo>
                  <a:lnTo>
                    <a:pt x="1454" y="3363"/>
                  </a:lnTo>
                  <a:lnTo>
                    <a:pt x="1453" y="3363"/>
                  </a:lnTo>
                  <a:lnTo>
                    <a:pt x="1453" y="3362"/>
                  </a:lnTo>
                  <a:lnTo>
                    <a:pt x="1452" y="3362"/>
                  </a:lnTo>
                  <a:lnTo>
                    <a:pt x="1450" y="3362"/>
                  </a:lnTo>
                  <a:lnTo>
                    <a:pt x="1449" y="3362"/>
                  </a:lnTo>
                  <a:lnTo>
                    <a:pt x="1447" y="3362"/>
                  </a:lnTo>
                  <a:lnTo>
                    <a:pt x="1446" y="3362"/>
                  </a:lnTo>
                  <a:lnTo>
                    <a:pt x="1444" y="3362"/>
                  </a:lnTo>
                  <a:lnTo>
                    <a:pt x="1443" y="3362"/>
                  </a:lnTo>
                  <a:lnTo>
                    <a:pt x="1442" y="3362"/>
                  </a:lnTo>
                  <a:lnTo>
                    <a:pt x="1440" y="3362"/>
                  </a:lnTo>
                  <a:lnTo>
                    <a:pt x="1440" y="3363"/>
                  </a:lnTo>
                  <a:lnTo>
                    <a:pt x="1439" y="3363"/>
                  </a:lnTo>
                  <a:lnTo>
                    <a:pt x="1438" y="3363"/>
                  </a:lnTo>
                  <a:lnTo>
                    <a:pt x="1438" y="3362"/>
                  </a:lnTo>
                  <a:lnTo>
                    <a:pt x="1436" y="3362"/>
                  </a:lnTo>
                  <a:lnTo>
                    <a:pt x="1436" y="3360"/>
                  </a:lnTo>
                  <a:lnTo>
                    <a:pt x="1435" y="3360"/>
                  </a:lnTo>
                  <a:lnTo>
                    <a:pt x="1435" y="3359"/>
                  </a:lnTo>
                  <a:lnTo>
                    <a:pt x="1433" y="3359"/>
                  </a:lnTo>
                  <a:lnTo>
                    <a:pt x="1432" y="3359"/>
                  </a:lnTo>
                  <a:lnTo>
                    <a:pt x="1430" y="3359"/>
                  </a:lnTo>
                  <a:lnTo>
                    <a:pt x="1430" y="3357"/>
                  </a:lnTo>
                  <a:lnTo>
                    <a:pt x="1430" y="3356"/>
                  </a:lnTo>
                  <a:lnTo>
                    <a:pt x="1429" y="3356"/>
                  </a:lnTo>
                  <a:lnTo>
                    <a:pt x="1428" y="3356"/>
                  </a:lnTo>
                  <a:lnTo>
                    <a:pt x="1428" y="3354"/>
                  </a:lnTo>
                  <a:lnTo>
                    <a:pt x="1426" y="3356"/>
                  </a:lnTo>
                  <a:lnTo>
                    <a:pt x="1425" y="3356"/>
                  </a:lnTo>
                  <a:lnTo>
                    <a:pt x="1425" y="3354"/>
                  </a:lnTo>
                  <a:lnTo>
                    <a:pt x="1426" y="3354"/>
                  </a:lnTo>
                  <a:lnTo>
                    <a:pt x="1425" y="3354"/>
                  </a:lnTo>
                  <a:lnTo>
                    <a:pt x="1425" y="3352"/>
                  </a:lnTo>
                  <a:lnTo>
                    <a:pt x="1424" y="3352"/>
                  </a:lnTo>
                  <a:lnTo>
                    <a:pt x="1422" y="3352"/>
                  </a:lnTo>
                  <a:lnTo>
                    <a:pt x="1421" y="3352"/>
                  </a:lnTo>
                  <a:lnTo>
                    <a:pt x="1419" y="3352"/>
                  </a:lnTo>
                  <a:lnTo>
                    <a:pt x="1418" y="3352"/>
                  </a:lnTo>
                  <a:lnTo>
                    <a:pt x="1417" y="3354"/>
                  </a:lnTo>
                  <a:lnTo>
                    <a:pt x="1415" y="3354"/>
                  </a:lnTo>
                  <a:lnTo>
                    <a:pt x="1414" y="3354"/>
                  </a:lnTo>
                  <a:lnTo>
                    <a:pt x="1412" y="3354"/>
                  </a:lnTo>
                  <a:lnTo>
                    <a:pt x="1396" y="3367"/>
                  </a:lnTo>
                  <a:lnTo>
                    <a:pt x="1365" y="3367"/>
                  </a:lnTo>
                  <a:lnTo>
                    <a:pt x="1351" y="3367"/>
                  </a:lnTo>
                  <a:lnTo>
                    <a:pt x="1325" y="3365"/>
                  </a:lnTo>
                  <a:lnTo>
                    <a:pt x="1207" y="3362"/>
                  </a:lnTo>
                  <a:lnTo>
                    <a:pt x="1207" y="3339"/>
                  </a:lnTo>
                  <a:lnTo>
                    <a:pt x="1157" y="3144"/>
                  </a:lnTo>
                  <a:lnTo>
                    <a:pt x="1158" y="3143"/>
                  </a:lnTo>
                  <a:lnTo>
                    <a:pt x="1259" y="2921"/>
                  </a:lnTo>
                  <a:lnTo>
                    <a:pt x="1223" y="2921"/>
                  </a:lnTo>
                  <a:lnTo>
                    <a:pt x="1223" y="2743"/>
                  </a:lnTo>
                  <a:lnTo>
                    <a:pt x="1222" y="2742"/>
                  </a:lnTo>
                  <a:lnTo>
                    <a:pt x="1219" y="2739"/>
                  </a:lnTo>
                  <a:lnTo>
                    <a:pt x="1141" y="2647"/>
                  </a:lnTo>
                  <a:lnTo>
                    <a:pt x="940" y="2410"/>
                  </a:lnTo>
                  <a:lnTo>
                    <a:pt x="912" y="2339"/>
                  </a:lnTo>
                  <a:lnTo>
                    <a:pt x="848" y="2268"/>
                  </a:lnTo>
                  <a:lnTo>
                    <a:pt x="833" y="2249"/>
                  </a:lnTo>
                  <a:lnTo>
                    <a:pt x="705" y="2107"/>
                  </a:lnTo>
                  <a:lnTo>
                    <a:pt x="652" y="2036"/>
                  </a:lnTo>
                  <a:lnTo>
                    <a:pt x="642" y="2023"/>
                  </a:lnTo>
                  <a:lnTo>
                    <a:pt x="598" y="1965"/>
                  </a:lnTo>
                  <a:lnTo>
                    <a:pt x="417" y="1791"/>
                  </a:lnTo>
                  <a:lnTo>
                    <a:pt x="414" y="1789"/>
                  </a:lnTo>
                  <a:lnTo>
                    <a:pt x="411" y="1789"/>
                  </a:lnTo>
                  <a:lnTo>
                    <a:pt x="204" y="1787"/>
                  </a:lnTo>
                  <a:lnTo>
                    <a:pt x="183" y="1729"/>
                  </a:lnTo>
                  <a:lnTo>
                    <a:pt x="143" y="1680"/>
                  </a:lnTo>
                  <a:lnTo>
                    <a:pt x="149" y="1642"/>
                  </a:lnTo>
                  <a:lnTo>
                    <a:pt x="154" y="1626"/>
                  </a:lnTo>
                  <a:lnTo>
                    <a:pt x="157" y="1589"/>
                  </a:lnTo>
                  <a:lnTo>
                    <a:pt x="155" y="1532"/>
                  </a:lnTo>
                  <a:lnTo>
                    <a:pt x="157" y="1514"/>
                  </a:lnTo>
                  <a:lnTo>
                    <a:pt x="161" y="1468"/>
                  </a:lnTo>
                  <a:lnTo>
                    <a:pt x="165" y="1452"/>
                  </a:lnTo>
                  <a:lnTo>
                    <a:pt x="161" y="1424"/>
                  </a:lnTo>
                  <a:lnTo>
                    <a:pt x="154" y="1399"/>
                  </a:lnTo>
                  <a:lnTo>
                    <a:pt x="146" y="1330"/>
                  </a:lnTo>
                  <a:lnTo>
                    <a:pt x="129" y="1291"/>
                  </a:lnTo>
                  <a:lnTo>
                    <a:pt x="125" y="1273"/>
                  </a:lnTo>
                  <a:lnTo>
                    <a:pt x="130" y="1245"/>
                  </a:lnTo>
                  <a:lnTo>
                    <a:pt x="136" y="1229"/>
                  </a:lnTo>
                  <a:lnTo>
                    <a:pt x="139" y="1198"/>
                  </a:lnTo>
                  <a:lnTo>
                    <a:pt x="129" y="1166"/>
                  </a:lnTo>
                  <a:lnTo>
                    <a:pt x="100" y="1107"/>
                  </a:lnTo>
                  <a:lnTo>
                    <a:pt x="100" y="1041"/>
                  </a:lnTo>
                  <a:lnTo>
                    <a:pt x="60" y="980"/>
                  </a:lnTo>
                  <a:lnTo>
                    <a:pt x="51" y="958"/>
                  </a:lnTo>
                  <a:lnTo>
                    <a:pt x="52" y="926"/>
                  </a:lnTo>
                  <a:lnTo>
                    <a:pt x="50" y="915"/>
                  </a:lnTo>
                  <a:lnTo>
                    <a:pt x="19" y="883"/>
                  </a:lnTo>
                  <a:lnTo>
                    <a:pt x="15" y="873"/>
                  </a:lnTo>
                  <a:lnTo>
                    <a:pt x="9" y="823"/>
                  </a:lnTo>
                  <a:lnTo>
                    <a:pt x="11" y="820"/>
                  </a:lnTo>
                  <a:lnTo>
                    <a:pt x="9" y="784"/>
                  </a:lnTo>
                  <a:lnTo>
                    <a:pt x="0" y="748"/>
                  </a:lnTo>
                  <a:lnTo>
                    <a:pt x="4" y="740"/>
                  </a:lnTo>
                  <a:lnTo>
                    <a:pt x="57" y="660"/>
                  </a:lnTo>
                  <a:lnTo>
                    <a:pt x="86" y="637"/>
                  </a:lnTo>
                  <a:lnTo>
                    <a:pt x="116" y="593"/>
                  </a:lnTo>
                  <a:lnTo>
                    <a:pt x="135" y="580"/>
                  </a:lnTo>
                  <a:lnTo>
                    <a:pt x="146" y="565"/>
                  </a:lnTo>
                  <a:lnTo>
                    <a:pt x="164" y="512"/>
                  </a:lnTo>
                  <a:lnTo>
                    <a:pt x="176" y="490"/>
                  </a:lnTo>
                  <a:lnTo>
                    <a:pt x="210" y="450"/>
                  </a:lnTo>
                  <a:lnTo>
                    <a:pt x="227" y="415"/>
                  </a:lnTo>
                  <a:lnTo>
                    <a:pt x="237" y="346"/>
                  </a:lnTo>
                  <a:lnTo>
                    <a:pt x="232" y="312"/>
                  </a:lnTo>
                  <a:lnTo>
                    <a:pt x="218" y="254"/>
                  </a:lnTo>
                  <a:lnTo>
                    <a:pt x="489" y="253"/>
                  </a:lnTo>
                  <a:lnTo>
                    <a:pt x="493" y="253"/>
                  </a:lnTo>
                  <a:lnTo>
                    <a:pt x="853" y="250"/>
                  </a:lnTo>
                  <a:lnTo>
                    <a:pt x="855" y="245"/>
                  </a:lnTo>
                  <a:lnTo>
                    <a:pt x="853" y="244"/>
                  </a:lnTo>
                  <a:lnTo>
                    <a:pt x="855" y="241"/>
                  </a:lnTo>
                  <a:lnTo>
                    <a:pt x="859" y="244"/>
                  </a:lnTo>
                  <a:lnTo>
                    <a:pt x="860" y="245"/>
                  </a:lnTo>
                  <a:lnTo>
                    <a:pt x="863" y="249"/>
                  </a:lnTo>
                  <a:lnTo>
                    <a:pt x="863" y="250"/>
                  </a:lnTo>
                  <a:lnTo>
                    <a:pt x="859" y="254"/>
                  </a:lnTo>
                  <a:lnTo>
                    <a:pt x="860" y="258"/>
                  </a:lnTo>
                  <a:lnTo>
                    <a:pt x="867" y="254"/>
                  </a:lnTo>
                  <a:lnTo>
                    <a:pt x="871" y="257"/>
                  </a:lnTo>
                  <a:lnTo>
                    <a:pt x="874" y="258"/>
                  </a:lnTo>
                  <a:lnTo>
                    <a:pt x="877" y="258"/>
                  </a:lnTo>
                  <a:lnTo>
                    <a:pt x="879" y="258"/>
                  </a:lnTo>
                  <a:lnTo>
                    <a:pt x="879" y="254"/>
                  </a:lnTo>
                  <a:lnTo>
                    <a:pt x="881" y="250"/>
                  </a:lnTo>
                  <a:lnTo>
                    <a:pt x="883" y="254"/>
                  </a:lnTo>
                  <a:lnTo>
                    <a:pt x="884" y="254"/>
                  </a:lnTo>
                  <a:lnTo>
                    <a:pt x="888" y="254"/>
                  </a:lnTo>
                  <a:lnTo>
                    <a:pt x="893" y="257"/>
                  </a:lnTo>
                  <a:lnTo>
                    <a:pt x="896" y="257"/>
                  </a:lnTo>
                  <a:lnTo>
                    <a:pt x="905" y="254"/>
                  </a:lnTo>
                  <a:lnTo>
                    <a:pt x="908" y="253"/>
                  </a:lnTo>
                  <a:lnTo>
                    <a:pt x="908" y="250"/>
                  </a:lnTo>
                  <a:lnTo>
                    <a:pt x="905" y="245"/>
                  </a:lnTo>
                  <a:lnTo>
                    <a:pt x="902" y="244"/>
                  </a:lnTo>
                  <a:lnTo>
                    <a:pt x="902" y="241"/>
                  </a:lnTo>
                  <a:lnTo>
                    <a:pt x="904" y="241"/>
                  </a:lnTo>
                  <a:lnTo>
                    <a:pt x="905" y="241"/>
                  </a:lnTo>
                  <a:lnTo>
                    <a:pt x="913" y="241"/>
                  </a:lnTo>
                  <a:lnTo>
                    <a:pt x="918" y="241"/>
                  </a:lnTo>
                  <a:lnTo>
                    <a:pt x="924" y="241"/>
                  </a:lnTo>
                  <a:lnTo>
                    <a:pt x="926" y="241"/>
                  </a:lnTo>
                  <a:lnTo>
                    <a:pt x="926" y="244"/>
                  </a:lnTo>
                  <a:lnTo>
                    <a:pt x="926" y="250"/>
                  </a:lnTo>
                  <a:lnTo>
                    <a:pt x="927" y="254"/>
                  </a:lnTo>
                  <a:lnTo>
                    <a:pt x="930" y="258"/>
                  </a:lnTo>
                  <a:lnTo>
                    <a:pt x="935" y="258"/>
                  </a:lnTo>
                  <a:lnTo>
                    <a:pt x="937" y="258"/>
                  </a:lnTo>
                  <a:lnTo>
                    <a:pt x="943" y="254"/>
                  </a:lnTo>
                  <a:lnTo>
                    <a:pt x="945" y="254"/>
                  </a:lnTo>
                  <a:lnTo>
                    <a:pt x="945" y="253"/>
                  </a:lnTo>
                  <a:lnTo>
                    <a:pt x="941" y="250"/>
                  </a:lnTo>
                  <a:lnTo>
                    <a:pt x="941" y="245"/>
                  </a:lnTo>
                  <a:lnTo>
                    <a:pt x="944" y="241"/>
                  </a:lnTo>
                  <a:lnTo>
                    <a:pt x="945" y="239"/>
                  </a:lnTo>
                  <a:lnTo>
                    <a:pt x="948" y="237"/>
                  </a:lnTo>
                  <a:lnTo>
                    <a:pt x="949" y="239"/>
                  </a:lnTo>
                  <a:lnTo>
                    <a:pt x="952" y="244"/>
                  </a:lnTo>
                  <a:lnTo>
                    <a:pt x="954" y="245"/>
                  </a:lnTo>
                  <a:lnTo>
                    <a:pt x="956" y="245"/>
                  </a:lnTo>
                  <a:lnTo>
                    <a:pt x="956" y="244"/>
                  </a:lnTo>
                  <a:lnTo>
                    <a:pt x="954" y="241"/>
                  </a:lnTo>
                  <a:lnTo>
                    <a:pt x="955" y="239"/>
                  </a:lnTo>
                  <a:lnTo>
                    <a:pt x="959" y="241"/>
                  </a:lnTo>
                  <a:lnTo>
                    <a:pt x="963" y="245"/>
                  </a:lnTo>
                  <a:lnTo>
                    <a:pt x="965" y="249"/>
                  </a:lnTo>
                  <a:lnTo>
                    <a:pt x="965" y="245"/>
                  </a:lnTo>
                  <a:lnTo>
                    <a:pt x="968" y="244"/>
                  </a:lnTo>
                  <a:lnTo>
                    <a:pt x="969" y="244"/>
                  </a:lnTo>
                  <a:lnTo>
                    <a:pt x="972" y="245"/>
                  </a:lnTo>
                  <a:lnTo>
                    <a:pt x="977" y="244"/>
                  </a:lnTo>
                  <a:lnTo>
                    <a:pt x="979" y="241"/>
                  </a:lnTo>
                  <a:lnTo>
                    <a:pt x="979" y="237"/>
                  </a:lnTo>
                  <a:lnTo>
                    <a:pt x="983" y="232"/>
                  </a:lnTo>
                  <a:lnTo>
                    <a:pt x="984" y="232"/>
                  </a:lnTo>
                  <a:lnTo>
                    <a:pt x="987" y="232"/>
                  </a:lnTo>
                  <a:lnTo>
                    <a:pt x="990" y="237"/>
                  </a:lnTo>
                  <a:lnTo>
                    <a:pt x="994" y="237"/>
                  </a:lnTo>
                  <a:lnTo>
                    <a:pt x="1001" y="241"/>
                  </a:lnTo>
                  <a:lnTo>
                    <a:pt x="1004" y="241"/>
                  </a:lnTo>
                  <a:lnTo>
                    <a:pt x="1013" y="237"/>
                  </a:lnTo>
                  <a:lnTo>
                    <a:pt x="1024" y="237"/>
                  </a:lnTo>
                  <a:lnTo>
                    <a:pt x="1030" y="236"/>
                  </a:lnTo>
                  <a:lnTo>
                    <a:pt x="1033" y="236"/>
                  </a:lnTo>
                  <a:lnTo>
                    <a:pt x="1038" y="241"/>
                  </a:lnTo>
                  <a:lnTo>
                    <a:pt x="1041" y="241"/>
                  </a:lnTo>
                  <a:lnTo>
                    <a:pt x="1043" y="239"/>
                  </a:lnTo>
                  <a:lnTo>
                    <a:pt x="1044" y="232"/>
                  </a:lnTo>
                  <a:lnTo>
                    <a:pt x="1051" y="228"/>
                  </a:lnTo>
                  <a:lnTo>
                    <a:pt x="1059" y="221"/>
                  </a:lnTo>
                  <a:lnTo>
                    <a:pt x="1063" y="219"/>
                  </a:lnTo>
                  <a:lnTo>
                    <a:pt x="1069" y="219"/>
                  </a:lnTo>
                  <a:lnTo>
                    <a:pt x="1077" y="213"/>
                  </a:lnTo>
                  <a:lnTo>
                    <a:pt x="1083" y="205"/>
                  </a:lnTo>
                  <a:lnTo>
                    <a:pt x="1082" y="200"/>
                  </a:lnTo>
                  <a:lnTo>
                    <a:pt x="1083" y="196"/>
                  </a:lnTo>
                  <a:lnTo>
                    <a:pt x="1090" y="196"/>
                  </a:lnTo>
                  <a:lnTo>
                    <a:pt x="1094" y="196"/>
                  </a:lnTo>
                  <a:lnTo>
                    <a:pt x="1095" y="195"/>
                  </a:lnTo>
                  <a:lnTo>
                    <a:pt x="1094" y="192"/>
                  </a:lnTo>
                  <a:lnTo>
                    <a:pt x="1088" y="191"/>
                  </a:lnTo>
                  <a:lnTo>
                    <a:pt x="1087" y="187"/>
                  </a:lnTo>
                  <a:lnTo>
                    <a:pt x="1090" y="186"/>
                  </a:lnTo>
                  <a:lnTo>
                    <a:pt x="1095" y="183"/>
                  </a:lnTo>
                  <a:lnTo>
                    <a:pt x="1097" y="183"/>
                  </a:lnTo>
                  <a:lnTo>
                    <a:pt x="1093" y="174"/>
                  </a:lnTo>
                  <a:lnTo>
                    <a:pt x="1101" y="172"/>
                  </a:lnTo>
                  <a:lnTo>
                    <a:pt x="1111" y="174"/>
                  </a:lnTo>
                  <a:lnTo>
                    <a:pt x="1112" y="174"/>
                  </a:lnTo>
                  <a:lnTo>
                    <a:pt x="1113" y="164"/>
                  </a:lnTo>
                  <a:lnTo>
                    <a:pt x="1122" y="172"/>
                  </a:lnTo>
                  <a:lnTo>
                    <a:pt x="1123" y="172"/>
                  </a:lnTo>
                  <a:lnTo>
                    <a:pt x="1126" y="170"/>
                  </a:lnTo>
                  <a:lnTo>
                    <a:pt x="1132" y="169"/>
                  </a:lnTo>
                  <a:lnTo>
                    <a:pt x="1137" y="169"/>
                  </a:lnTo>
                  <a:lnTo>
                    <a:pt x="1139" y="170"/>
                  </a:lnTo>
                  <a:lnTo>
                    <a:pt x="1140" y="169"/>
                  </a:lnTo>
                  <a:lnTo>
                    <a:pt x="1139" y="164"/>
                  </a:lnTo>
                  <a:lnTo>
                    <a:pt x="1137" y="160"/>
                  </a:lnTo>
                  <a:lnTo>
                    <a:pt x="1139" y="160"/>
                  </a:lnTo>
                  <a:lnTo>
                    <a:pt x="1143" y="160"/>
                  </a:lnTo>
                  <a:lnTo>
                    <a:pt x="1143" y="169"/>
                  </a:lnTo>
                  <a:lnTo>
                    <a:pt x="1144" y="169"/>
                  </a:lnTo>
                  <a:lnTo>
                    <a:pt x="1145" y="163"/>
                  </a:lnTo>
                  <a:lnTo>
                    <a:pt x="1150" y="160"/>
                  </a:lnTo>
                  <a:lnTo>
                    <a:pt x="1151" y="159"/>
                  </a:lnTo>
                  <a:lnTo>
                    <a:pt x="1152" y="157"/>
                  </a:lnTo>
                  <a:lnTo>
                    <a:pt x="1152" y="151"/>
                  </a:lnTo>
                  <a:lnTo>
                    <a:pt x="1154" y="151"/>
                  </a:lnTo>
                  <a:lnTo>
                    <a:pt x="1155" y="151"/>
                  </a:lnTo>
                  <a:lnTo>
                    <a:pt x="1158" y="151"/>
                  </a:lnTo>
                  <a:lnTo>
                    <a:pt x="1159" y="151"/>
                  </a:lnTo>
                  <a:lnTo>
                    <a:pt x="1158" y="146"/>
                  </a:lnTo>
                  <a:lnTo>
                    <a:pt x="1159" y="143"/>
                  </a:lnTo>
                  <a:lnTo>
                    <a:pt x="1162" y="146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66" y="138"/>
                  </a:lnTo>
                  <a:lnTo>
                    <a:pt x="1169" y="137"/>
                  </a:lnTo>
                  <a:lnTo>
                    <a:pt x="1172" y="137"/>
                  </a:lnTo>
                  <a:lnTo>
                    <a:pt x="1176" y="134"/>
                  </a:lnTo>
                  <a:lnTo>
                    <a:pt x="1175" y="134"/>
                  </a:lnTo>
                  <a:lnTo>
                    <a:pt x="1172" y="133"/>
                  </a:lnTo>
                  <a:lnTo>
                    <a:pt x="1172" y="129"/>
                  </a:lnTo>
                  <a:lnTo>
                    <a:pt x="1173" y="125"/>
                  </a:lnTo>
                  <a:lnTo>
                    <a:pt x="1183" y="125"/>
                  </a:lnTo>
                  <a:lnTo>
                    <a:pt x="1184" y="125"/>
                  </a:lnTo>
                  <a:lnTo>
                    <a:pt x="1184" y="124"/>
                  </a:lnTo>
                  <a:lnTo>
                    <a:pt x="1186" y="121"/>
                  </a:lnTo>
                  <a:lnTo>
                    <a:pt x="1192" y="121"/>
                  </a:lnTo>
                  <a:lnTo>
                    <a:pt x="1200" y="121"/>
                  </a:lnTo>
                  <a:lnTo>
                    <a:pt x="1204" y="124"/>
                  </a:lnTo>
                  <a:lnTo>
                    <a:pt x="1207" y="125"/>
                  </a:lnTo>
                  <a:lnTo>
                    <a:pt x="1205" y="129"/>
                  </a:lnTo>
                  <a:lnTo>
                    <a:pt x="1205" y="133"/>
                  </a:lnTo>
                  <a:lnTo>
                    <a:pt x="1214" y="137"/>
                  </a:lnTo>
                  <a:lnTo>
                    <a:pt x="1223" y="137"/>
                  </a:lnTo>
                  <a:lnTo>
                    <a:pt x="1230" y="133"/>
                  </a:lnTo>
                  <a:lnTo>
                    <a:pt x="1232" y="133"/>
                  </a:lnTo>
                  <a:lnTo>
                    <a:pt x="1236" y="137"/>
                  </a:lnTo>
                  <a:lnTo>
                    <a:pt x="1248" y="138"/>
                  </a:lnTo>
                  <a:lnTo>
                    <a:pt x="1253" y="143"/>
                  </a:lnTo>
                  <a:lnTo>
                    <a:pt x="1257" y="139"/>
                  </a:lnTo>
                  <a:lnTo>
                    <a:pt x="1262" y="138"/>
                  </a:lnTo>
                  <a:lnTo>
                    <a:pt x="1268" y="143"/>
                  </a:lnTo>
                  <a:lnTo>
                    <a:pt x="1272" y="138"/>
                  </a:lnTo>
                  <a:lnTo>
                    <a:pt x="1272" y="137"/>
                  </a:lnTo>
                  <a:lnTo>
                    <a:pt x="1278" y="133"/>
                  </a:lnTo>
                  <a:lnTo>
                    <a:pt x="1280" y="134"/>
                  </a:lnTo>
                  <a:lnTo>
                    <a:pt x="1283" y="138"/>
                  </a:lnTo>
                  <a:lnTo>
                    <a:pt x="1286" y="151"/>
                  </a:lnTo>
                  <a:lnTo>
                    <a:pt x="1289" y="155"/>
                  </a:lnTo>
                  <a:lnTo>
                    <a:pt x="1289" y="160"/>
                  </a:lnTo>
                  <a:lnTo>
                    <a:pt x="1292" y="163"/>
                  </a:lnTo>
                  <a:lnTo>
                    <a:pt x="1294" y="169"/>
                  </a:lnTo>
                  <a:lnTo>
                    <a:pt x="1298" y="164"/>
                  </a:lnTo>
                  <a:lnTo>
                    <a:pt x="1298" y="160"/>
                  </a:lnTo>
                  <a:lnTo>
                    <a:pt x="1297" y="160"/>
                  </a:lnTo>
                  <a:lnTo>
                    <a:pt x="1297" y="157"/>
                  </a:lnTo>
                  <a:lnTo>
                    <a:pt x="1298" y="157"/>
                  </a:lnTo>
                  <a:lnTo>
                    <a:pt x="1303" y="160"/>
                  </a:lnTo>
                  <a:lnTo>
                    <a:pt x="1304" y="160"/>
                  </a:lnTo>
                  <a:lnTo>
                    <a:pt x="1307" y="160"/>
                  </a:lnTo>
                  <a:lnTo>
                    <a:pt x="1311" y="160"/>
                  </a:lnTo>
                  <a:lnTo>
                    <a:pt x="1312" y="160"/>
                  </a:lnTo>
                  <a:lnTo>
                    <a:pt x="1314" y="162"/>
                  </a:lnTo>
                  <a:lnTo>
                    <a:pt x="1314" y="164"/>
                  </a:lnTo>
                  <a:lnTo>
                    <a:pt x="1312" y="164"/>
                  </a:lnTo>
                  <a:lnTo>
                    <a:pt x="1315" y="170"/>
                  </a:lnTo>
                  <a:lnTo>
                    <a:pt x="1315" y="172"/>
                  </a:lnTo>
                  <a:lnTo>
                    <a:pt x="1312" y="177"/>
                  </a:lnTo>
                  <a:lnTo>
                    <a:pt x="1312" y="179"/>
                  </a:lnTo>
                  <a:lnTo>
                    <a:pt x="1326" y="179"/>
                  </a:lnTo>
                  <a:lnTo>
                    <a:pt x="1330" y="183"/>
                  </a:lnTo>
                  <a:lnTo>
                    <a:pt x="1340" y="183"/>
                  </a:lnTo>
                  <a:lnTo>
                    <a:pt x="1351" y="186"/>
                  </a:lnTo>
                  <a:lnTo>
                    <a:pt x="1357" y="187"/>
                  </a:lnTo>
                  <a:lnTo>
                    <a:pt x="1358" y="192"/>
                  </a:lnTo>
                  <a:lnTo>
                    <a:pt x="1359" y="196"/>
                  </a:lnTo>
                  <a:lnTo>
                    <a:pt x="1365" y="200"/>
                  </a:lnTo>
                  <a:lnTo>
                    <a:pt x="1371" y="214"/>
                  </a:lnTo>
                  <a:lnTo>
                    <a:pt x="1373" y="214"/>
                  </a:lnTo>
                  <a:lnTo>
                    <a:pt x="1375" y="222"/>
                  </a:lnTo>
                  <a:lnTo>
                    <a:pt x="1378" y="222"/>
                  </a:lnTo>
                  <a:lnTo>
                    <a:pt x="1384" y="226"/>
                  </a:lnTo>
                  <a:lnTo>
                    <a:pt x="1390" y="222"/>
                  </a:lnTo>
                  <a:lnTo>
                    <a:pt x="1397" y="219"/>
                  </a:lnTo>
                  <a:lnTo>
                    <a:pt x="1405" y="219"/>
                  </a:lnTo>
                  <a:lnTo>
                    <a:pt x="1408" y="214"/>
                  </a:lnTo>
                  <a:lnTo>
                    <a:pt x="1411" y="214"/>
                  </a:lnTo>
                  <a:lnTo>
                    <a:pt x="1414" y="213"/>
                  </a:lnTo>
                  <a:lnTo>
                    <a:pt x="1414" y="205"/>
                  </a:lnTo>
                  <a:lnTo>
                    <a:pt x="1417" y="204"/>
                  </a:lnTo>
                  <a:lnTo>
                    <a:pt x="1421" y="200"/>
                  </a:lnTo>
                  <a:lnTo>
                    <a:pt x="1425" y="205"/>
                  </a:lnTo>
                  <a:lnTo>
                    <a:pt x="1426" y="209"/>
                  </a:lnTo>
                  <a:lnTo>
                    <a:pt x="1428" y="217"/>
                  </a:lnTo>
                  <a:lnTo>
                    <a:pt x="1428" y="221"/>
                  </a:lnTo>
                  <a:lnTo>
                    <a:pt x="1425" y="222"/>
                  </a:lnTo>
                  <a:lnTo>
                    <a:pt x="1426" y="230"/>
                  </a:lnTo>
                  <a:lnTo>
                    <a:pt x="1432" y="237"/>
                  </a:lnTo>
                  <a:lnTo>
                    <a:pt x="1436" y="241"/>
                  </a:lnTo>
                  <a:lnTo>
                    <a:pt x="1443" y="245"/>
                  </a:lnTo>
                  <a:lnTo>
                    <a:pt x="1452" y="250"/>
                  </a:lnTo>
                  <a:lnTo>
                    <a:pt x="1454" y="250"/>
                  </a:lnTo>
                  <a:lnTo>
                    <a:pt x="1457" y="250"/>
                  </a:lnTo>
                  <a:lnTo>
                    <a:pt x="1463" y="244"/>
                  </a:lnTo>
                  <a:lnTo>
                    <a:pt x="1468" y="230"/>
                  </a:lnTo>
                  <a:lnTo>
                    <a:pt x="1471" y="228"/>
                  </a:lnTo>
                  <a:lnTo>
                    <a:pt x="1472" y="230"/>
                  </a:lnTo>
                  <a:lnTo>
                    <a:pt x="1474" y="232"/>
                  </a:lnTo>
                  <a:lnTo>
                    <a:pt x="1474" y="236"/>
                  </a:lnTo>
                  <a:lnTo>
                    <a:pt x="1474" y="241"/>
                  </a:lnTo>
                  <a:lnTo>
                    <a:pt x="1472" y="244"/>
                  </a:lnTo>
                  <a:lnTo>
                    <a:pt x="1468" y="244"/>
                  </a:lnTo>
                  <a:lnTo>
                    <a:pt x="1467" y="245"/>
                  </a:lnTo>
                  <a:lnTo>
                    <a:pt x="1472" y="249"/>
                  </a:lnTo>
                  <a:lnTo>
                    <a:pt x="1475" y="253"/>
                  </a:lnTo>
                  <a:lnTo>
                    <a:pt x="1479" y="253"/>
                  </a:lnTo>
                  <a:lnTo>
                    <a:pt x="1482" y="254"/>
                  </a:lnTo>
                  <a:lnTo>
                    <a:pt x="1483" y="254"/>
                  </a:lnTo>
                  <a:lnTo>
                    <a:pt x="1485" y="258"/>
                  </a:lnTo>
                  <a:lnTo>
                    <a:pt x="1483" y="263"/>
                  </a:lnTo>
                  <a:lnTo>
                    <a:pt x="1479" y="266"/>
                  </a:lnTo>
                  <a:lnTo>
                    <a:pt x="1479" y="267"/>
                  </a:lnTo>
                  <a:lnTo>
                    <a:pt x="1475" y="273"/>
                  </a:lnTo>
                  <a:lnTo>
                    <a:pt x="1475" y="279"/>
                  </a:lnTo>
                  <a:lnTo>
                    <a:pt x="1477" y="286"/>
                  </a:lnTo>
                  <a:lnTo>
                    <a:pt x="1471" y="299"/>
                  </a:lnTo>
                  <a:lnTo>
                    <a:pt x="1472" y="316"/>
                  </a:lnTo>
                  <a:lnTo>
                    <a:pt x="1471" y="320"/>
                  </a:lnTo>
                  <a:lnTo>
                    <a:pt x="1468" y="320"/>
                  </a:lnTo>
                  <a:lnTo>
                    <a:pt x="1468" y="321"/>
                  </a:lnTo>
                  <a:lnTo>
                    <a:pt x="1471" y="321"/>
                  </a:lnTo>
                  <a:lnTo>
                    <a:pt x="1472" y="324"/>
                  </a:lnTo>
                  <a:lnTo>
                    <a:pt x="1474" y="325"/>
                  </a:lnTo>
                  <a:lnTo>
                    <a:pt x="1477" y="334"/>
                  </a:lnTo>
                  <a:lnTo>
                    <a:pt x="1482" y="343"/>
                  </a:lnTo>
                  <a:lnTo>
                    <a:pt x="1485" y="344"/>
                  </a:lnTo>
                  <a:lnTo>
                    <a:pt x="1486" y="346"/>
                  </a:lnTo>
                  <a:lnTo>
                    <a:pt x="1489" y="351"/>
                  </a:lnTo>
                  <a:lnTo>
                    <a:pt x="1493" y="351"/>
                  </a:lnTo>
                  <a:lnTo>
                    <a:pt x="1494" y="357"/>
                  </a:lnTo>
                  <a:lnTo>
                    <a:pt x="1497" y="360"/>
                  </a:lnTo>
                  <a:lnTo>
                    <a:pt x="1502" y="361"/>
                  </a:lnTo>
                  <a:lnTo>
                    <a:pt x="1503" y="360"/>
                  </a:lnTo>
                  <a:lnTo>
                    <a:pt x="1510" y="357"/>
                  </a:lnTo>
                  <a:lnTo>
                    <a:pt x="1515" y="350"/>
                  </a:lnTo>
                  <a:lnTo>
                    <a:pt x="1518" y="350"/>
                  </a:lnTo>
                  <a:lnTo>
                    <a:pt x="1524" y="351"/>
                  </a:lnTo>
                  <a:lnTo>
                    <a:pt x="1528" y="350"/>
                  </a:lnTo>
                  <a:lnTo>
                    <a:pt x="1532" y="346"/>
                  </a:lnTo>
                  <a:lnTo>
                    <a:pt x="1542" y="346"/>
                  </a:lnTo>
                  <a:lnTo>
                    <a:pt x="1544" y="346"/>
                  </a:lnTo>
                  <a:lnTo>
                    <a:pt x="1546" y="346"/>
                  </a:lnTo>
                  <a:lnTo>
                    <a:pt x="1547" y="346"/>
                  </a:lnTo>
                  <a:lnTo>
                    <a:pt x="1549" y="351"/>
                  </a:lnTo>
                  <a:lnTo>
                    <a:pt x="1550" y="361"/>
                  </a:lnTo>
                  <a:lnTo>
                    <a:pt x="1553" y="366"/>
                  </a:lnTo>
                  <a:lnTo>
                    <a:pt x="1556" y="369"/>
                  </a:lnTo>
                  <a:lnTo>
                    <a:pt x="1549" y="370"/>
                  </a:lnTo>
                  <a:lnTo>
                    <a:pt x="1546" y="370"/>
                  </a:lnTo>
                  <a:lnTo>
                    <a:pt x="1544" y="373"/>
                  </a:lnTo>
                  <a:lnTo>
                    <a:pt x="1549" y="370"/>
                  </a:lnTo>
                  <a:lnTo>
                    <a:pt x="1554" y="370"/>
                  </a:lnTo>
                  <a:lnTo>
                    <a:pt x="1563" y="369"/>
                  </a:lnTo>
                  <a:lnTo>
                    <a:pt x="1572" y="370"/>
                  </a:lnTo>
                  <a:lnTo>
                    <a:pt x="1582" y="366"/>
                  </a:lnTo>
                  <a:lnTo>
                    <a:pt x="1583" y="365"/>
                  </a:lnTo>
                  <a:lnTo>
                    <a:pt x="1586" y="361"/>
                  </a:lnTo>
                  <a:lnTo>
                    <a:pt x="1588" y="360"/>
                  </a:lnTo>
                  <a:lnTo>
                    <a:pt x="1590" y="360"/>
                  </a:lnTo>
                  <a:lnTo>
                    <a:pt x="1599" y="361"/>
                  </a:lnTo>
                  <a:lnTo>
                    <a:pt x="1604" y="366"/>
                  </a:lnTo>
                  <a:lnTo>
                    <a:pt x="1617" y="360"/>
                  </a:lnTo>
                  <a:lnTo>
                    <a:pt x="1625" y="344"/>
                  </a:lnTo>
                  <a:lnTo>
                    <a:pt x="1629" y="343"/>
                  </a:lnTo>
                  <a:lnTo>
                    <a:pt x="1631" y="337"/>
                  </a:lnTo>
                  <a:lnTo>
                    <a:pt x="1633" y="334"/>
                  </a:lnTo>
                  <a:lnTo>
                    <a:pt x="1638" y="334"/>
                  </a:lnTo>
                  <a:lnTo>
                    <a:pt x="1641" y="338"/>
                  </a:lnTo>
                  <a:lnTo>
                    <a:pt x="1647" y="344"/>
                  </a:lnTo>
                  <a:lnTo>
                    <a:pt x="1657" y="338"/>
                  </a:lnTo>
                  <a:lnTo>
                    <a:pt x="1664" y="337"/>
                  </a:lnTo>
                  <a:lnTo>
                    <a:pt x="1666" y="337"/>
                  </a:lnTo>
                  <a:lnTo>
                    <a:pt x="1668" y="338"/>
                  </a:lnTo>
                  <a:lnTo>
                    <a:pt x="1675" y="338"/>
                  </a:lnTo>
                  <a:lnTo>
                    <a:pt x="1682" y="338"/>
                  </a:lnTo>
                  <a:lnTo>
                    <a:pt x="1700" y="337"/>
                  </a:lnTo>
                  <a:lnTo>
                    <a:pt x="1704" y="338"/>
                  </a:lnTo>
                  <a:lnTo>
                    <a:pt x="1712" y="337"/>
                  </a:lnTo>
                  <a:lnTo>
                    <a:pt x="1716" y="338"/>
                  </a:lnTo>
                  <a:lnTo>
                    <a:pt x="1725" y="338"/>
                  </a:lnTo>
                  <a:lnTo>
                    <a:pt x="1729" y="344"/>
                  </a:lnTo>
                  <a:lnTo>
                    <a:pt x="1737" y="346"/>
                  </a:lnTo>
                  <a:lnTo>
                    <a:pt x="1737" y="350"/>
                  </a:lnTo>
                  <a:lnTo>
                    <a:pt x="1739" y="351"/>
                  </a:lnTo>
                  <a:lnTo>
                    <a:pt x="1738" y="351"/>
                  </a:lnTo>
                  <a:lnTo>
                    <a:pt x="1734" y="361"/>
                  </a:lnTo>
                  <a:lnTo>
                    <a:pt x="1735" y="365"/>
                  </a:lnTo>
                  <a:lnTo>
                    <a:pt x="1735" y="369"/>
                  </a:lnTo>
                  <a:lnTo>
                    <a:pt x="1734" y="370"/>
                  </a:lnTo>
                  <a:lnTo>
                    <a:pt x="1729" y="374"/>
                  </a:lnTo>
                  <a:lnTo>
                    <a:pt x="1729" y="382"/>
                  </a:lnTo>
                  <a:lnTo>
                    <a:pt x="1729" y="383"/>
                  </a:lnTo>
                  <a:lnTo>
                    <a:pt x="1728" y="387"/>
                  </a:lnTo>
                  <a:lnTo>
                    <a:pt x="1729" y="387"/>
                  </a:lnTo>
                  <a:lnTo>
                    <a:pt x="1731" y="391"/>
                  </a:lnTo>
                  <a:lnTo>
                    <a:pt x="1731" y="396"/>
                  </a:lnTo>
                  <a:lnTo>
                    <a:pt x="1734" y="396"/>
                  </a:lnTo>
                  <a:lnTo>
                    <a:pt x="1737" y="400"/>
                  </a:lnTo>
                  <a:lnTo>
                    <a:pt x="1739" y="402"/>
                  </a:lnTo>
                  <a:lnTo>
                    <a:pt x="1743" y="402"/>
                  </a:lnTo>
                  <a:lnTo>
                    <a:pt x="1746" y="400"/>
                  </a:lnTo>
                  <a:lnTo>
                    <a:pt x="1756" y="387"/>
                  </a:lnTo>
                  <a:lnTo>
                    <a:pt x="1756" y="386"/>
                  </a:lnTo>
                  <a:lnTo>
                    <a:pt x="1759" y="383"/>
                  </a:lnTo>
                  <a:lnTo>
                    <a:pt x="1773" y="374"/>
                  </a:lnTo>
                  <a:lnTo>
                    <a:pt x="1777" y="366"/>
                  </a:lnTo>
                  <a:lnTo>
                    <a:pt x="1781" y="357"/>
                  </a:lnTo>
                  <a:lnTo>
                    <a:pt x="1784" y="351"/>
                  </a:lnTo>
                  <a:lnTo>
                    <a:pt x="1785" y="351"/>
                  </a:lnTo>
                  <a:lnTo>
                    <a:pt x="1791" y="351"/>
                  </a:lnTo>
                  <a:lnTo>
                    <a:pt x="1799" y="351"/>
                  </a:lnTo>
                  <a:lnTo>
                    <a:pt x="1802" y="360"/>
                  </a:lnTo>
                  <a:lnTo>
                    <a:pt x="1803" y="361"/>
                  </a:lnTo>
                  <a:lnTo>
                    <a:pt x="1807" y="361"/>
                  </a:lnTo>
                  <a:lnTo>
                    <a:pt x="1812" y="366"/>
                  </a:lnTo>
                  <a:lnTo>
                    <a:pt x="1813" y="370"/>
                  </a:lnTo>
                  <a:lnTo>
                    <a:pt x="1814" y="370"/>
                  </a:lnTo>
                  <a:lnTo>
                    <a:pt x="1816" y="370"/>
                  </a:lnTo>
                  <a:lnTo>
                    <a:pt x="1818" y="374"/>
                  </a:lnTo>
                  <a:lnTo>
                    <a:pt x="1829" y="379"/>
                  </a:lnTo>
                  <a:lnTo>
                    <a:pt x="1837" y="378"/>
                  </a:lnTo>
                  <a:lnTo>
                    <a:pt x="1846" y="373"/>
                  </a:lnTo>
                  <a:lnTo>
                    <a:pt x="1856" y="370"/>
                  </a:lnTo>
                  <a:lnTo>
                    <a:pt x="1859" y="366"/>
                  </a:lnTo>
                  <a:lnTo>
                    <a:pt x="1867" y="361"/>
                  </a:lnTo>
                  <a:lnTo>
                    <a:pt x="1878" y="356"/>
                  </a:lnTo>
                  <a:lnTo>
                    <a:pt x="1885" y="351"/>
                  </a:lnTo>
                  <a:lnTo>
                    <a:pt x="1895" y="337"/>
                  </a:lnTo>
                  <a:lnTo>
                    <a:pt x="1899" y="333"/>
                  </a:lnTo>
                  <a:lnTo>
                    <a:pt x="1907" y="329"/>
                  </a:lnTo>
                  <a:lnTo>
                    <a:pt x="1917" y="324"/>
                  </a:lnTo>
                  <a:lnTo>
                    <a:pt x="1927" y="320"/>
                  </a:lnTo>
                  <a:lnTo>
                    <a:pt x="1932" y="315"/>
                  </a:lnTo>
                  <a:lnTo>
                    <a:pt x="1935" y="312"/>
                  </a:lnTo>
                  <a:lnTo>
                    <a:pt x="1938" y="312"/>
                  </a:lnTo>
                  <a:lnTo>
                    <a:pt x="1942" y="311"/>
                  </a:lnTo>
                  <a:lnTo>
                    <a:pt x="1944" y="308"/>
                  </a:lnTo>
                  <a:lnTo>
                    <a:pt x="1951" y="298"/>
                  </a:lnTo>
                  <a:lnTo>
                    <a:pt x="1952" y="289"/>
                  </a:lnTo>
                  <a:lnTo>
                    <a:pt x="1953" y="289"/>
                  </a:lnTo>
                  <a:lnTo>
                    <a:pt x="1956" y="289"/>
                  </a:lnTo>
                  <a:lnTo>
                    <a:pt x="1964" y="276"/>
                  </a:lnTo>
                  <a:lnTo>
                    <a:pt x="1966" y="267"/>
                  </a:lnTo>
                  <a:lnTo>
                    <a:pt x="1969" y="257"/>
                  </a:lnTo>
                  <a:lnTo>
                    <a:pt x="1971" y="250"/>
                  </a:lnTo>
                  <a:lnTo>
                    <a:pt x="1969" y="245"/>
                  </a:lnTo>
                  <a:lnTo>
                    <a:pt x="1971" y="244"/>
                  </a:lnTo>
                  <a:lnTo>
                    <a:pt x="1973" y="236"/>
                  </a:lnTo>
                  <a:lnTo>
                    <a:pt x="1978" y="232"/>
                  </a:lnTo>
                  <a:lnTo>
                    <a:pt x="1980" y="232"/>
                  </a:lnTo>
                  <a:lnTo>
                    <a:pt x="1981" y="236"/>
                  </a:lnTo>
                  <a:lnTo>
                    <a:pt x="1985" y="237"/>
                  </a:lnTo>
                  <a:lnTo>
                    <a:pt x="1987" y="237"/>
                  </a:lnTo>
                  <a:lnTo>
                    <a:pt x="1985" y="241"/>
                  </a:lnTo>
                  <a:lnTo>
                    <a:pt x="1988" y="250"/>
                  </a:lnTo>
                  <a:lnTo>
                    <a:pt x="1991" y="250"/>
                  </a:lnTo>
                  <a:lnTo>
                    <a:pt x="1994" y="257"/>
                  </a:lnTo>
                  <a:lnTo>
                    <a:pt x="1998" y="258"/>
                  </a:lnTo>
                  <a:lnTo>
                    <a:pt x="2002" y="258"/>
                  </a:lnTo>
                  <a:lnTo>
                    <a:pt x="2006" y="258"/>
                  </a:lnTo>
                  <a:lnTo>
                    <a:pt x="2013" y="263"/>
                  </a:lnTo>
                  <a:lnTo>
                    <a:pt x="2017" y="262"/>
                  </a:lnTo>
                  <a:lnTo>
                    <a:pt x="2019" y="263"/>
                  </a:lnTo>
                  <a:lnTo>
                    <a:pt x="2022" y="267"/>
                  </a:lnTo>
                  <a:lnTo>
                    <a:pt x="2023" y="267"/>
                  </a:lnTo>
                  <a:lnTo>
                    <a:pt x="2026" y="266"/>
                  </a:lnTo>
                  <a:lnTo>
                    <a:pt x="2027" y="266"/>
                  </a:lnTo>
                  <a:lnTo>
                    <a:pt x="2030" y="267"/>
                  </a:lnTo>
                  <a:lnTo>
                    <a:pt x="2033" y="267"/>
                  </a:lnTo>
                  <a:lnTo>
                    <a:pt x="2034" y="267"/>
                  </a:lnTo>
                  <a:lnTo>
                    <a:pt x="2036" y="263"/>
                  </a:lnTo>
                  <a:lnTo>
                    <a:pt x="2045" y="266"/>
                  </a:lnTo>
                  <a:lnTo>
                    <a:pt x="2047" y="267"/>
                  </a:lnTo>
                  <a:lnTo>
                    <a:pt x="2048" y="273"/>
                  </a:lnTo>
                  <a:lnTo>
                    <a:pt x="2051" y="273"/>
                  </a:lnTo>
                  <a:lnTo>
                    <a:pt x="2056" y="276"/>
                  </a:lnTo>
                  <a:lnTo>
                    <a:pt x="2058" y="276"/>
                  </a:lnTo>
                  <a:lnTo>
                    <a:pt x="2064" y="276"/>
                  </a:lnTo>
                  <a:lnTo>
                    <a:pt x="2067" y="276"/>
                  </a:lnTo>
                  <a:lnTo>
                    <a:pt x="2069" y="276"/>
                  </a:lnTo>
                  <a:lnTo>
                    <a:pt x="2074" y="271"/>
                  </a:lnTo>
                  <a:lnTo>
                    <a:pt x="2078" y="267"/>
                  </a:lnTo>
                  <a:lnTo>
                    <a:pt x="2084" y="267"/>
                  </a:lnTo>
                  <a:lnTo>
                    <a:pt x="2087" y="271"/>
                  </a:lnTo>
                  <a:lnTo>
                    <a:pt x="2088" y="271"/>
                  </a:lnTo>
                  <a:lnTo>
                    <a:pt x="2095" y="267"/>
                  </a:lnTo>
                  <a:lnTo>
                    <a:pt x="2101" y="267"/>
                  </a:lnTo>
                  <a:lnTo>
                    <a:pt x="2103" y="263"/>
                  </a:lnTo>
                  <a:lnTo>
                    <a:pt x="2112" y="258"/>
                  </a:lnTo>
                  <a:lnTo>
                    <a:pt x="2117" y="257"/>
                  </a:lnTo>
                  <a:lnTo>
                    <a:pt x="2119" y="257"/>
                  </a:lnTo>
                  <a:lnTo>
                    <a:pt x="2119" y="258"/>
                  </a:lnTo>
                  <a:lnTo>
                    <a:pt x="2123" y="258"/>
                  </a:lnTo>
                  <a:lnTo>
                    <a:pt x="2124" y="262"/>
                  </a:lnTo>
                  <a:lnTo>
                    <a:pt x="2126" y="262"/>
                  </a:lnTo>
                  <a:lnTo>
                    <a:pt x="2134" y="263"/>
                  </a:lnTo>
                  <a:lnTo>
                    <a:pt x="2145" y="258"/>
                  </a:lnTo>
                  <a:lnTo>
                    <a:pt x="2148" y="263"/>
                  </a:lnTo>
                  <a:lnTo>
                    <a:pt x="2151" y="263"/>
                  </a:lnTo>
                  <a:lnTo>
                    <a:pt x="2155" y="266"/>
                  </a:lnTo>
                  <a:lnTo>
                    <a:pt x="2158" y="266"/>
                  </a:lnTo>
                  <a:lnTo>
                    <a:pt x="2161" y="267"/>
                  </a:lnTo>
                  <a:lnTo>
                    <a:pt x="2167" y="267"/>
                  </a:lnTo>
                  <a:lnTo>
                    <a:pt x="2177" y="276"/>
                  </a:lnTo>
                  <a:lnTo>
                    <a:pt x="2180" y="281"/>
                  </a:lnTo>
                  <a:lnTo>
                    <a:pt x="2181" y="281"/>
                  </a:lnTo>
                  <a:lnTo>
                    <a:pt x="2181" y="284"/>
                  </a:lnTo>
                  <a:lnTo>
                    <a:pt x="2183" y="286"/>
                  </a:lnTo>
                  <a:lnTo>
                    <a:pt x="2197" y="294"/>
                  </a:lnTo>
                  <a:lnTo>
                    <a:pt x="2201" y="294"/>
                  </a:lnTo>
                  <a:lnTo>
                    <a:pt x="2203" y="298"/>
                  </a:lnTo>
                  <a:lnTo>
                    <a:pt x="2205" y="298"/>
                  </a:lnTo>
                  <a:lnTo>
                    <a:pt x="2209" y="294"/>
                  </a:lnTo>
                  <a:lnTo>
                    <a:pt x="2215" y="294"/>
                  </a:lnTo>
                  <a:lnTo>
                    <a:pt x="2220" y="294"/>
                  </a:lnTo>
                  <a:lnTo>
                    <a:pt x="2227" y="294"/>
                  </a:lnTo>
                  <a:lnTo>
                    <a:pt x="2230" y="298"/>
                  </a:lnTo>
                  <a:lnTo>
                    <a:pt x="2231" y="299"/>
                  </a:lnTo>
                  <a:lnTo>
                    <a:pt x="2237" y="301"/>
                  </a:lnTo>
                  <a:lnTo>
                    <a:pt x="2238" y="299"/>
                  </a:lnTo>
                  <a:lnTo>
                    <a:pt x="2245" y="299"/>
                  </a:lnTo>
                  <a:lnTo>
                    <a:pt x="2250" y="298"/>
                  </a:lnTo>
                  <a:lnTo>
                    <a:pt x="2252" y="299"/>
                  </a:lnTo>
                  <a:lnTo>
                    <a:pt x="2257" y="299"/>
                  </a:lnTo>
                  <a:lnTo>
                    <a:pt x="2261" y="301"/>
                  </a:lnTo>
                  <a:lnTo>
                    <a:pt x="2273" y="301"/>
                  </a:lnTo>
                  <a:lnTo>
                    <a:pt x="2282" y="308"/>
                  </a:lnTo>
                  <a:lnTo>
                    <a:pt x="2287" y="308"/>
                  </a:lnTo>
                  <a:lnTo>
                    <a:pt x="2290" y="312"/>
                  </a:lnTo>
                  <a:lnTo>
                    <a:pt x="2296" y="312"/>
                  </a:lnTo>
                  <a:lnTo>
                    <a:pt x="2298" y="312"/>
                  </a:lnTo>
                  <a:lnTo>
                    <a:pt x="2301" y="316"/>
                  </a:lnTo>
                  <a:lnTo>
                    <a:pt x="2308" y="316"/>
                  </a:lnTo>
                  <a:lnTo>
                    <a:pt x="2311" y="316"/>
                  </a:lnTo>
                  <a:lnTo>
                    <a:pt x="2315" y="312"/>
                  </a:lnTo>
                  <a:lnTo>
                    <a:pt x="2321" y="312"/>
                  </a:lnTo>
                  <a:lnTo>
                    <a:pt x="2323" y="311"/>
                  </a:lnTo>
                  <a:lnTo>
                    <a:pt x="2326" y="311"/>
                  </a:lnTo>
                  <a:lnTo>
                    <a:pt x="2327" y="308"/>
                  </a:lnTo>
                  <a:lnTo>
                    <a:pt x="2329" y="308"/>
                  </a:lnTo>
                  <a:lnTo>
                    <a:pt x="2332" y="307"/>
                  </a:lnTo>
                  <a:lnTo>
                    <a:pt x="2337" y="303"/>
                  </a:lnTo>
                  <a:lnTo>
                    <a:pt x="2338" y="301"/>
                  </a:lnTo>
                  <a:lnTo>
                    <a:pt x="2346" y="299"/>
                  </a:lnTo>
                  <a:lnTo>
                    <a:pt x="2347" y="301"/>
                  </a:lnTo>
                  <a:lnTo>
                    <a:pt x="2351" y="299"/>
                  </a:lnTo>
                  <a:lnTo>
                    <a:pt x="2358" y="301"/>
                  </a:lnTo>
                  <a:lnTo>
                    <a:pt x="2362" y="301"/>
                  </a:lnTo>
                  <a:lnTo>
                    <a:pt x="2365" y="301"/>
                  </a:lnTo>
                  <a:lnTo>
                    <a:pt x="2371" y="303"/>
                  </a:lnTo>
                  <a:lnTo>
                    <a:pt x="2373" y="308"/>
                  </a:lnTo>
                  <a:lnTo>
                    <a:pt x="2375" y="315"/>
                  </a:lnTo>
                  <a:lnTo>
                    <a:pt x="2379" y="315"/>
                  </a:lnTo>
                  <a:lnTo>
                    <a:pt x="2380" y="316"/>
                  </a:lnTo>
                  <a:lnTo>
                    <a:pt x="2383" y="320"/>
                  </a:lnTo>
                  <a:lnTo>
                    <a:pt x="2383" y="324"/>
                  </a:lnTo>
                  <a:lnTo>
                    <a:pt x="2385" y="324"/>
                  </a:lnTo>
                  <a:lnTo>
                    <a:pt x="2387" y="325"/>
                  </a:lnTo>
                  <a:lnTo>
                    <a:pt x="2393" y="325"/>
                  </a:lnTo>
                  <a:lnTo>
                    <a:pt x="2396" y="333"/>
                  </a:lnTo>
                  <a:lnTo>
                    <a:pt x="2401" y="337"/>
                  </a:lnTo>
                  <a:lnTo>
                    <a:pt x="2404" y="337"/>
                  </a:lnTo>
                  <a:lnTo>
                    <a:pt x="2405" y="334"/>
                  </a:lnTo>
                  <a:lnTo>
                    <a:pt x="2410" y="334"/>
                  </a:lnTo>
                  <a:lnTo>
                    <a:pt x="2411" y="334"/>
                  </a:lnTo>
                  <a:lnTo>
                    <a:pt x="2415" y="337"/>
                  </a:lnTo>
                  <a:lnTo>
                    <a:pt x="2419" y="337"/>
                  </a:lnTo>
                  <a:lnTo>
                    <a:pt x="2426" y="338"/>
                  </a:lnTo>
                  <a:lnTo>
                    <a:pt x="2429" y="343"/>
                  </a:lnTo>
                  <a:lnTo>
                    <a:pt x="2437" y="346"/>
                  </a:lnTo>
                  <a:lnTo>
                    <a:pt x="2440" y="346"/>
                  </a:lnTo>
                  <a:lnTo>
                    <a:pt x="2446" y="344"/>
                  </a:lnTo>
                  <a:lnTo>
                    <a:pt x="2450" y="344"/>
                  </a:lnTo>
                  <a:lnTo>
                    <a:pt x="2457" y="343"/>
                  </a:lnTo>
                  <a:lnTo>
                    <a:pt x="2462" y="343"/>
                  </a:lnTo>
                  <a:lnTo>
                    <a:pt x="2465" y="338"/>
                  </a:lnTo>
                  <a:lnTo>
                    <a:pt x="2473" y="324"/>
                  </a:lnTo>
                  <a:lnTo>
                    <a:pt x="2475" y="316"/>
                  </a:lnTo>
                  <a:lnTo>
                    <a:pt x="2485" y="308"/>
                  </a:lnTo>
                  <a:lnTo>
                    <a:pt x="2493" y="301"/>
                  </a:lnTo>
                  <a:lnTo>
                    <a:pt x="2503" y="299"/>
                  </a:lnTo>
                  <a:lnTo>
                    <a:pt x="2507" y="299"/>
                  </a:lnTo>
                  <a:lnTo>
                    <a:pt x="2512" y="294"/>
                  </a:lnTo>
                  <a:lnTo>
                    <a:pt x="2517" y="294"/>
                  </a:lnTo>
                  <a:lnTo>
                    <a:pt x="2523" y="294"/>
                  </a:lnTo>
                  <a:lnTo>
                    <a:pt x="2528" y="289"/>
                  </a:lnTo>
                  <a:lnTo>
                    <a:pt x="2531" y="286"/>
                  </a:lnTo>
                  <a:lnTo>
                    <a:pt x="2533" y="286"/>
                  </a:lnTo>
                  <a:lnTo>
                    <a:pt x="2535" y="286"/>
                  </a:lnTo>
                  <a:lnTo>
                    <a:pt x="2536" y="284"/>
                  </a:lnTo>
                  <a:lnTo>
                    <a:pt x="2540" y="286"/>
                  </a:lnTo>
                  <a:lnTo>
                    <a:pt x="2547" y="288"/>
                  </a:lnTo>
                  <a:lnTo>
                    <a:pt x="2550" y="288"/>
                  </a:lnTo>
                  <a:lnTo>
                    <a:pt x="2554" y="281"/>
                  </a:lnTo>
                  <a:lnTo>
                    <a:pt x="2557" y="286"/>
                  </a:lnTo>
                  <a:lnTo>
                    <a:pt x="2561" y="288"/>
                  </a:lnTo>
                  <a:lnTo>
                    <a:pt x="2570" y="288"/>
                  </a:lnTo>
                  <a:lnTo>
                    <a:pt x="2572" y="289"/>
                  </a:lnTo>
                  <a:lnTo>
                    <a:pt x="2578" y="289"/>
                  </a:lnTo>
                  <a:lnTo>
                    <a:pt x="2581" y="294"/>
                  </a:lnTo>
                  <a:lnTo>
                    <a:pt x="2583" y="289"/>
                  </a:lnTo>
                  <a:lnTo>
                    <a:pt x="2586" y="289"/>
                  </a:lnTo>
                  <a:lnTo>
                    <a:pt x="2595" y="294"/>
                  </a:lnTo>
                  <a:lnTo>
                    <a:pt x="2598" y="294"/>
                  </a:lnTo>
                  <a:lnTo>
                    <a:pt x="2600" y="294"/>
                  </a:lnTo>
                  <a:lnTo>
                    <a:pt x="2603" y="294"/>
                  </a:lnTo>
                  <a:lnTo>
                    <a:pt x="2604" y="289"/>
                  </a:lnTo>
                  <a:lnTo>
                    <a:pt x="2610" y="289"/>
                  </a:lnTo>
                  <a:lnTo>
                    <a:pt x="2615" y="286"/>
                  </a:lnTo>
                  <a:lnTo>
                    <a:pt x="2617" y="286"/>
                  </a:lnTo>
                  <a:lnTo>
                    <a:pt x="2621" y="281"/>
                  </a:lnTo>
                  <a:lnTo>
                    <a:pt x="2628" y="281"/>
                  </a:lnTo>
                  <a:lnTo>
                    <a:pt x="2633" y="276"/>
                  </a:lnTo>
                  <a:lnTo>
                    <a:pt x="2639" y="273"/>
                  </a:lnTo>
                  <a:lnTo>
                    <a:pt x="2640" y="267"/>
                  </a:lnTo>
                  <a:lnTo>
                    <a:pt x="2645" y="266"/>
                  </a:lnTo>
                  <a:lnTo>
                    <a:pt x="2647" y="263"/>
                  </a:lnTo>
                  <a:lnTo>
                    <a:pt x="2651" y="258"/>
                  </a:lnTo>
                  <a:lnTo>
                    <a:pt x="2654" y="257"/>
                  </a:lnTo>
                  <a:lnTo>
                    <a:pt x="2657" y="254"/>
                  </a:lnTo>
                  <a:lnTo>
                    <a:pt x="2662" y="254"/>
                  </a:lnTo>
                  <a:lnTo>
                    <a:pt x="2664" y="253"/>
                  </a:lnTo>
                  <a:lnTo>
                    <a:pt x="2671" y="254"/>
                  </a:lnTo>
                  <a:lnTo>
                    <a:pt x="2675" y="250"/>
                  </a:lnTo>
                  <a:lnTo>
                    <a:pt x="2679" y="249"/>
                  </a:lnTo>
                  <a:lnTo>
                    <a:pt x="2683" y="245"/>
                  </a:lnTo>
                  <a:lnTo>
                    <a:pt x="2693" y="245"/>
                  </a:lnTo>
                  <a:lnTo>
                    <a:pt x="2699" y="241"/>
                  </a:lnTo>
                  <a:lnTo>
                    <a:pt x="2703" y="241"/>
                  </a:lnTo>
                  <a:lnTo>
                    <a:pt x="2715" y="237"/>
                  </a:lnTo>
                  <a:lnTo>
                    <a:pt x="2718" y="237"/>
                  </a:lnTo>
                  <a:lnTo>
                    <a:pt x="2725" y="236"/>
                  </a:lnTo>
                  <a:lnTo>
                    <a:pt x="2732" y="232"/>
                  </a:lnTo>
                  <a:lnTo>
                    <a:pt x="2733" y="232"/>
                  </a:lnTo>
                  <a:lnTo>
                    <a:pt x="2737" y="222"/>
                  </a:lnTo>
                  <a:lnTo>
                    <a:pt x="2742" y="221"/>
                  </a:lnTo>
                  <a:lnTo>
                    <a:pt x="2750" y="209"/>
                  </a:lnTo>
                  <a:lnTo>
                    <a:pt x="2754" y="205"/>
                  </a:lnTo>
                  <a:lnTo>
                    <a:pt x="2760" y="200"/>
                  </a:lnTo>
                  <a:lnTo>
                    <a:pt x="2760" y="192"/>
                  </a:lnTo>
                  <a:lnTo>
                    <a:pt x="2763" y="183"/>
                  </a:lnTo>
                  <a:lnTo>
                    <a:pt x="2764" y="174"/>
                  </a:lnTo>
                  <a:lnTo>
                    <a:pt x="2760" y="172"/>
                  </a:lnTo>
                  <a:lnTo>
                    <a:pt x="2756" y="170"/>
                  </a:lnTo>
                  <a:lnTo>
                    <a:pt x="2756" y="164"/>
                  </a:lnTo>
                  <a:lnTo>
                    <a:pt x="2753" y="159"/>
                  </a:lnTo>
                  <a:lnTo>
                    <a:pt x="2757" y="151"/>
                  </a:lnTo>
                  <a:lnTo>
                    <a:pt x="2757" y="143"/>
                  </a:lnTo>
                  <a:lnTo>
                    <a:pt x="2761" y="138"/>
                  </a:lnTo>
                  <a:lnTo>
                    <a:pt x="2761" y="134"/>
                  </a:lnTo>
                  <a:lnTo>
                    <a:pt x="2761" y="133"/>
                  </a:lnTo>
                  <a:lnTo>
                    <a:pt x="2767" y="125"/>
                  </a:lnTo>
                  <a:lnTo>
                    <a:pt x="2768" y="125"/>
                  </a:lnTo>
                  <a:lnTo>
                    <a:pt x="2772" y="125"/>
                  </a:lnTo>
                  <a:lnTo>
                    <a:pt x="2776" y="121"/>
                  </a:lnTo>
                  <a:lnTo>
                    <a:pt x="2778" y="116"/>
                  </a:lnTo>
                  <a:lnTo>
                    <a:pt x="2781" y="112"/>
                  </a:lnTo>
                  <a:lnTo>
                    <a:pt x="2784" y="108"/>
                  </a:lnTo>
                  <a:lnTo>
                    <a:pt x="2785" y="93"/>
                  </a:lnTo>
                  <a:lnTo>
                    <a:pt x="2792" y="89"/>
                  </a:lnTo>
                  <a:lnTo>
                    <a:pt x="2793" y="89"/>
                  </a:lnTo>
                  <a:lnTo>
                    <a:pt x="2795" y="85"/>
                  </a:lnTo>
                  <a:lnTo>
                    <a:pt x="2793" y="79"/>
                  </a:lnTo>
                  <a:lnTo>
                    <a:pt x="2793" y="71"/>
                  </a:lnTo>
                  <a:lnTo>
                    <a:pt x="2795" y="67"/>
                  </a:lnTo>
                  <a:lnTo>
                    <a:pt x="2795" y="62"/>
                  </a:lnTo>
                  <a:lnTo>
                    <a:pt x="2796" y="56"/>
                  </a:lnTo>
                  <a:lnTo>
                    <a:pt x="2796" y="45"/>
                  </a:lnTo>
                  <a:lnTo>
                    <a:pt x="2796" y="41"/>
                  </a:lnTo>
                  <a:lnTo>
                    <a:pt x="2797" y="35"/>
                  </a:lnTo>
                  <a:lnTo>
                    <a:pt x="2803" y="39"/>
                  </a:lnTo>
                  <a:lnTo>
                    <a:pt x="2807" y="35"/>
                  </a:lnTo>
                  <a:lnTo>
                    <a:pt x="2810" y="35"/>
                  </a:lnTo>
                  <a:lnTo>
                    <a:pt x="2818" y="35"/>
                  </a:lnTo>
                  <a:lnTo>
                    <a:pt x="2820" y="35"/>
                  </a:lnTo>
                  <a:lnTo>
                    <a:pt x="2820" y="31"/>
                  </a:lnTo>
                  <a:lnTo>
                    <a:pt x="2822" y="30"/>
                  </a:lnTo>
                  <a:lnTo>
                    <a:pt x="2825" y="30"/>
                  </a:lnTo>
                  <a:lnTo>
                    <a:pt x="2828" y="23"/>
                  </a:lnTo>
                  <a:lnTo>
                    <a:pt x="2828" y="21"/>
                  </a:lnTo>
                  <a:lnTo>
                    <a:pt x="2834" y="18"/>
                  </a:lnTo>
                  <a:lnTo>
                    <a:pt x="2841" y="14"/>
                  </a:lnTo>
                  <a:lnTo>
                    <a:pt x="2849" y="17"/>
                  </a:lnTo>
                  <a:lnTo>
                    <a:pt x="2852" y="14"/>
                  </a:lnTo>
                  <a:lnTo>
                    <a:pt x="2855" y="9"/>
                  </a:lnTo>
                  <a:lnTo>
                    <a:pt x="2859" y="8"/>
                  </a:lnTo>
                  <a:lnTo>
                    <a:pt x="2861" y="5"/>
                  </a:lnTo>
                  <a:lnTo>
                    <a:pt x="2864" y="1"/>
                  </a:lnTo>
                  <a:lnTo>
                    <a:pt x="2867" y="5"/>
                  </a:lnTo>
                  <a:lnTo>
                    <a:pt x="2872" y="0"/>
                  </a:lnTo>
                  <a:lnTo>
                    <a:pt x="2875" y="0"/>
                  </a:lnTo>
                  <a:lnTo>
                    <a:pt x="2878" y="0"/>
                  </a:lnTo>
                  <a:lnTo>
                    <a:pt x="2881" y="0"/>
                  </a:lnTo>
                  <a:lnTo>
                    <a:pt x="2884" y="0"/>
                  </a:lnTo>
                  <a:lnTo>
                    <a:pt x="2888" y="0"/>
                  </a:lnTo>
                  <a:lnTo>
                    <a:pt x="2891" y="0"/>
                  </a:lnTo>
                  <a:lnTo>
                    <a:pt x="2894" y="5"/>
                  </a:lnTo>
                  <a:lnTo>
                    <a:pt x="2900" y="9"/>
                  </a:lnTo>
                  <a:lnTo>
                    <a:pt x="2903" y="9"/>
                  </a:lnTo>
                  <a:lnTo>
                    <a:pt x="2909" y="9"/>
                  </a:lnTo>
                  <a:lnTo>
                    <a:pt x="2910" y="9"/>
                  </a:lnTo>
                  <a:lnTo>
                    <a:pt x="2913" y="9"/>
                  </a:lnTo>
                  <a:lnTo>
                    <a:pt x="2917" y="5"/>
                  </a:lnTo>
                  <a:lnTo>
                    <a:pt x="2922" y="1"/>
                  </a:lnTo>
                  <a:lnTo>
                    <a:pt x="2927" y="1"/>
                  </a:lnTo>
                  <a:lnTo>
                    <a:pt x="2932" y="5"/>
                  </a:lnTo>
                  <a:lnTo>
                    <a:pt x="2939" y="9"/>
                  </a:lnTo>
                  <a:lnTo>
                    <a:pt x="2941" y="9"/>
                  </a:lnTo>
                  <a:lnTo>
                    <a:pt x="2947" y="13"/>
                  </a:lnTo>
                  <a:lnTo>
                    <a:pt x="2949" y="9"/>
                  </a:lnTo>
                  <a:lnTo>
                    <a:pt x="2952" y="9"/>
                  </a:lnTo>
                  <a:lnTo>
                    <a:pt x="2957" y="9"/>
                  </a:lnTo>
                  <a:lnTo>
                    <a:pt x="2960" y="9"/>
                  </a:lnTo>
                  <a:lnTo>
                    <a:pt x="2967" y="9"/>
                  </a:lnTo>
                  <a:lnTo>
                    <a:pt x="2974" y="14"/>
                  </a:lnTo>
                  <a:lnTo>
                    <a:pt x="2980" y="14"/>
                  </a:lnTo>
                  <a:lnTo>
                    <a:pt x="2994" y="9"/>
                  </a:lnTo>
                  <a:lnTo>
                    <a:pt x="2996" y="8"/>
                  </a:lnTo>
                  <a:lnTo>
                    <a:pt x="3007" y="5"/>
                  </a:lnTo>
                  <a:lnTo>
                    <a:pt x="3009" y="1"/>
                  </a:lnTo>
                  <a:lnTo>
                    <a:pt x="3014" y="0"/>
                  </a:lnTo>
                  <a:lnTo>
                    <a:pt x="3022" y="0"/>
                  </a:lnTo>
                  <a:lnTo>
                    <a:pt x="3024" y="0"/>
                  </a:lnTo>
                  <a:lnTo>
                    <a:pt x="3028" y="1"/>
                  </a:lnTo>
                  <a:lnTo>
                    <a:pt x="3031" y="5"/>
                  </a:lnTo>
                  <a:lnTo>
                    <a:pt x="3034" y="14"/>
                  </a:lnTo>
                  <a:lnTo>
                    <a:pt x="3035" y="14"/>
                  </a:lnTo>
                  <a:lnTo>
                    <a:pt x="3041" y="17"/>
                  </a:lnTo>
                  <a:lnTo>
                    <a:pt x="3042" y="18"/>
                  </a:lnTo>
                  <a:lnTo>
                    <a:pt x="3045" y="22"/>
                  </a:lnTo>
                  <a:lnTo>
                    <a:pt x="3052" y="22"/>
                  </a:lnTo>
                  <a:lnTo>
                    <a:pt x="3055" y="18"/>
                  </a:lnTo>
                  <a:lnTo>
                    <a:pt x="3059" y="17"/>
                  </a:lnTo>
                  <a:lnTo>
                    <a:pt x="3063" y="18"/>
                  </a:lnTo>
                  <a:lnTo>
                    <a:pt x="3070" y="17"/>
                  </a:lnTo>
                  <a:lnTo>
                    <a:pt x="3078" y="18"/>
                  </a:lnTo>
                  <a:lnTo>
                    <a:pt x="3082" y="18"/>
                  </a:lnTo>
                  <a:lnTo>
                    <a:pt x="3087" y="14"/>
                  </a:lnTo>
                  <a:lnTo>
                    <a:pt x="3094" y="14"/>
                  </a:lnTo>
                  <a:lnTo>
                    <a:pt x="3095" y="17"/>
                  </a:lnTo>
                  <a:lnTo>
                    <a:pt x="3095" y="18"/>
                  </a:lnTo>
                  <a:lnTo>
                    <a:pt x="3098" y="22"/>
                  </a:lnTo>
                  <a:lnTo>
                    <a:pt x="3099" y="22"/>
                  </a:lnTo>
                  <a:lnTo>
                    <a:pt x="3101" y="22"/>
                  </a:lnTo>
                  <a:lnTo>
                    <a:pt x="3104" y="22"/>
                  </a:lnTo>
                  <a:lnTo>
                    <a:pt x="3105" y="22"/>
                  </a:lnTo>
                  <a:lnTo>
                    <a:pt x="3106" y="22"/>
                  </a:lnTo>
                  <a:lnTo>
                    <a:pt x="3107" y="23"/>
                  </a:lnTo>
                  <a:lnTo>
                    <a:pt x="3110" y="22"/>
                  </a:lnTo>
                  <a:lnTo>
                    <a:pt x="3112" y="28"/>
                  </a:lnTo>
                  <a:lnTo>
                    <a:pt x="3117" y="28"/>
                  </a:lnTo>
                  <a:lnTo>
                    <a:pt x="3123" y="18"/>
                  </a:lnTo>
                  <a:lnTo>
                    <a:pt x="3130" y="22"/>
                  </a:lnTo>
                  <a:lnTo>
                    <a:pt x="3132" y="23"/>
                  </a:lnTo>
                  <a:lnTo>
                    <a:pt x="3135" y="28"/>
                  </a:lnTo>
                  <a:lnTo>
                    <a:pt x="3141" y="22"/>
                  </a:lnTo>
                  <a:lnTo>
                    <a:pt x="3142" y="22"/>
                  </a:lnTo>
                  <a:lnTo>
                    <a:pt x="3146" y="23"/>
                  </a:lnTo>
                  <a:lnTo>
                    <a:pt x="3146" y="30"/>
                  </a:lnTo>
                  <a:lnTo>
                    <a:pt x="3151" y="31"/>
                  </a:lnTo>
                  <a:lnTo>
                    <a:pt x="3149" y="35"/>
                  </a:lnTo>
                  <a:lnTo>
                    <a:pt x="3152" y="41"/>
                  </a:lnTo>
                  <a:lnTo>
                    <a:pt x="3152" y="48"/>
                  </a:lnTo>
                  <a:lnTo>
                    <a:pt x="3152" y="53"/>
                  </a:lnTo>
                  <a:lnTo>
                    <a:pt x="3152" y="58"/>
                  </a:lnTo>
                  <a:lnTo>
                    <a:pt x="3157" y="63"/>
                  </a:lnTo>
                  <a:lnTo>
                    <a:pt x="3162" y="62"/>
                  </a:lnTo>
                  <a:lnTo>
                    <a:pt x="3163" y="58"/>
                  </a:lnTo>
                  <a:lnTo>
                    <a:pt x="3170" y="58"/>
                  </a:lnTo>
                  <a:lnTo>
                    <a:pt x="3176" y="56"/>
                  </a:lnTo>
                  <a:lnTo>
                    <a:pt x="3187" y="56"/>
                  </a:lnTo>
                  <a:lnTo>
                    <a:pt x="3191" y="58"/>
                  </a:lnTo>
                  <a:lnTo>
                    <a:pt x="3196" y="62"/>
                  </a:lnTo>
                  <a:lnTo>
                    <a:pt x="3198" y="63"/>
                  </a:lnTo>
                  <a:lnTo>
                    <a:pt x="3201" y="67"/>
                  </a:lnTo>
                  <a:lnTo>
                    <a:pt x="3205" y="67"/>
                  </a:lnTo>
                  <a:lnTo>
                    <a:pt x="3206" y="71"/>
                  </a:lnTo>
                  <a:lnTo>
                    <a:pt x="3207" y="71"/>
                  </a:lnTo>
                  <a:lnTo>
                    <a:pt x="3207" y="76"/>
                  </a:lnTo>
                  <a:lnTo>
                    <a:pt x="3221" y="92"/>
                  </a:lnTo>
                  <a:lnTo>
                    <a:pt x="3227" y="93"/>
                  </a:lnTo>
                  <a:lnTo>
                    <a:pt x="3229" y="97"/>
                  </a:lnTo>
                  <a:lnTo>
                    <a:pt x="3229" y="101"/>
                  </a:lnTo>
                  <a:lnTo>
                    <a:pt x="3232" y="103"/>
                  </a:lnTo>
                  <a:lnTo>
                    <a:pt x="3238" y="103"/>
                  </a:lnTo>
                  <a:lnTo>
                    <a:pt x="3246" y="103"/>
                  </a:lnTo>
                  <a:lnTo>
                    <a:pt x="3251" y="107"/>
                  </a:lnTo>
                  <a:lnTo>
                    <a:pt x="3258" y="108"/>
                  </a:lnTo>
                  <a:lnTo>
                    <a:pt x="3262" y="108"/>
                  </a:lnTo>
                  <a:lnTo>
                    <a:pt x="3266" y="107"/>
                  </a:lnTo>
                  <a:lnTo>
                    <a:pt x="3271" y="108"/>
                  </a:lnTo>
                  <a:lnTo>
                    <a:pt x="3274" y="108"/>
                  </a:lnTo>
                  <a:lnTo>
                    <a:pt x="3276" y="112"/>
                  </a:lnTo>
                  <a:lnTo>
                    <a:pt x="3276" y="116"/>
                  </a:lnTo>
                  <a:lnTo>
                    <a:pt x="3279" y="120"/>
                  </a:lnTo>
                  <a:lnTo>
                    <a:pt x="3288" y="125"/>
                  </a:lnTo>
                  <a:lnTo>
                    <a:pt x="3291" y="129"/>
                  </a:lnTo>
                  <a:lnTo>
                    <a:pt x="3294" y="129"/>
                  </a:lnTo>
                  <a:lnTo>
                    <a:pt x="3296" y="133"/>
                  </a:lnTo>
                  <a:lnTo>
                    <a:pt x="3299" y="129"/>
                  </a:lnTo>
                  <a:lnTo>
                    <a:pt x="3301" y="129"/>
                  </a:lnTo>
                  <a:lnTo>
                    <a:pt x="3306" y="129"/>
                  </a:lnTo>
                  <a:lnTo>
                    <a:pt x="3308" y="129"/>
                  </a:lnTo>
                  <a:lnTo>
                    <a:pt x="3313" y="129"/>
                  </a:lnTo>
                  <a:lnTo>
                    <a:pt x="3320" y="133"/>
                  </a:lnTo>
                  <a:lnTo>
                    <a:pt x="3319" y="137"/>
                  </a:lnTo>
                  <a:lnTo>
                    <a:pt x="3312" y="147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pt-PT" sz="1200"/>
            </a:p>
          </p:txBody>
        </p:sp>
        <p:sp>
          <p:nvSpPr>
            <p:cNvPr id="149" name="Freeform 148"/>
            <p:cNvSpPr>
              <a:spLocks noEditPoints="1"/>
            </p:cNvSpPr>
            <p:nvPr/>
          </p:nvSpPr>
          <p:spPr bwMode="auto">
            <a:xfrm>
              <a:off x="1784648" y="1620702"/>
              <a:ext cx="445380" cy="800186"/>
            </a:xfrm>
            <a:custGeom>
              <a:avLst/>
              <a:gdLst>
                <a:gd name="T0" fmla="*/ 2047 w 2234"/>
                <a:gd name="T1" fmla="*/ 258 h 2965"/>
                <a:gd name="T2" fmla="*/ 2054 w 2234"/>
                <a:gd name="T3" fmla="*/ 382 h 2965"/>
                <a:gd name="T4" fmla="*/ 2068 w 2234"/>
                <a:gd name="T5" fmla="*/ 430 h 2965"/>
                <a:gd name="T6" fmla="*/ 1997 w 2234"/>
                <a:gd name="T7" fmla="*/ 640 h 2965"/>
                <a:gd name="T8" fmla="*/ 1976 w 2234"/>
                <a:gd name="T9" fmla="*/ 711 h 2965"/>
                <a:gd name="T10" fmla="*/ 2024 w 2234"/>
                <a:gd name="T11" fmla="*/ 800 h 2965"/>
                <a:gd name="T12" fmla="*/ 2012 w 2234"/>
                <a:gd name="T13" fmla="*/ 943 h 2965"/>
                <a:gd name="T14" fmla="*/ 2030 w 2234"/>
                <a:gd name="T15" fmla="*/ 1058 h 2965"/>
                <a:gd name="T16" fmla="*/ 2064 w 2234"/>
                <a:gd name="T17" fmla="*/ 1250 h 2965"/>
                <a:gd name="T18" fmla="*/ 2035 w 2234"/>
                <a:gd name="T19" fmla="*/ 1428 h 2965"/>
                <a:gd name="T20" fmla="*/ 2054 w 2234"/>
                <a:gd name="T21" fmla="*/ 1504 h 2965"/>
                <a:gd name="T22" fmla="*/ 2079 w 2234"/>
                <a:gd name="T23" fmla="*/ 1539 h 2965"/>
                <a:gd name="T24" fmla="*/ 2054 w 2234"/>
                <a:gd name="T25" fmla="*/ 1601 h 2965"/>
                <a:gd name="T26" fmla="*/ 2043 w 2234"/>
                <a:gd name="T27" fmla="*/ 1647 h 2965"/>
                <a:gd name="T28" fmla="*/ 2107 w 2234"/>
                <a:gd name="T29" fmla="*/ 1700 h 2965"/>
                <a:gd name="T30" fmla="*/ 2121 w 2234"/>
                <a:gd name="T31" fmla="*/ 1793 h 2965"/>
                <a:gd name="T32" fmla="*/ 2146 w 2234"/>
                <a:gd name="T33" fmla="*/ 1832 h 2965"/>
                <a:gd name="T34" fmla="*/ 2100 w 2234"/>
                <a:gd name="T35" fmla="*/ 1898 h 2965"/>
                <a:gd name="T36" fmla="*/ 2008 w 2234"/>
                <a:gd name="T37" fmla="*/ 1953 h 2965"/>
                <a:gd name="T38" fmla="*/ 2007 w 2234"/>
                <a:gd name="T39" fmla="*/ 2033 h 2965"/>
                <a:gd name="T40" fmla="*/ 2069 w 2234"/>
                <a:gd name="T41" fmla="*/ 2030 h 2965"/>
                <a:gd name="T42" fmla="*/ 2105 w 2234"/>
                <a:gd name="T43" fmla="*/ 2211 h 2965"/>
                <a:gd name="T44" fmla="*/ 2022 w 2234"/>
                <a:gd name="T45" fmla="*/ 2435 h 2965"/>
                <a:gd name="T46" fmla="*/ 1791 w 2234"/>
                <a:gd name="T47" fmla="*/ 2402 h 2965"/>
                <a:gd name="T48" fmla="*/ 1549 w 2234"/>
                <a:gd name="T49" fmla="*/ 2568 h 2965"/>
                <a:gd name="T50" fmla="*/ 1323 w 2234"/>
                <a:gd name="T51" fmla="*/ 2630 h 2965"/>
                <a:gd name="T52" fmla="*/ 1147 w 2234"/>
                <a:gd name="T53" fmla="*/ 2725 h 2965"/>
                <a:gd name="T54" fmla="*/ 923 w 2234"/>
                <a:gd name="T55" fmla="*/ 2809 h 2965"/>
                <a:gd name="T56" fmla="*/ 622 w 2234"/>
                <a:gd name="T57" fmla="*/ 2959 h 2965"/>
                <a:gd name="T58" fmla="*/ 356 w 2234"/>
                <a:gd name="T59" fmla="*/ 2920 h 2965"/>
                <a:gd name="T60" fmla="*/ 259 w 2234"/>
                <a:gd name="T61" fmla="*/ 2780 h 2965"/>
                <a:gd name="T62" fmla="*/ 180 w 2234"/>
                <a:gd name="T63" fmla="*/ 2629 h 2965"/>
                <a:gd name="T64" fmla="*/ 115 w 2234"/>
                <a:gd name="T65" fmla="*/ 2332 h 2965"/>
                <a:gd name="T66" fmla="*/ 202 w 2234"/>
                <a:gd name="T67" fmla="*/ 2231 h 2965"/>
                <a:gd name="T68" fmla="*/ 209 w 2234"/>
                <a:gd name="T69" fmla="*/ 2121 h 2965"/>
                <a:gd name="T70" fmla="*/ 37 w 2234"/>
                <a:gd name="T71" fmla="*/ 2025 h 2965"/>
                <a:gd name="T72" fmla="*/ 84 w 2234"/>
                <a:gd name="T73" fmla="*/ 1834 h 2965"/>
                <a:gd name="T74" fmla="*/ 88 w 2234"/>
                <a:gd name="T75" fmla="*/ 1676 h 2965"/>
                <a:gd name="T76" fmla="*/ 182 w 2234"/>
                <a:gd name="T77" fmla="*/ 1521 h 2965"/>
                <a:gd name="T78" fmla="*/ 323 w 2234"/>
                <a:gd name="T79" fmla="*/ 1321 h 2965"/>
                <a:gd name="T80" fmla="*/ 378 w 2234"/>
                <a:gd name="T81" fmla="*/ 955 h 2965"/>
                <a:gd name="T82" fmla="*/ 540 w 2234"/>
                <a:gd name="T83" fmla="*/ 672 h 2965"/>
                <a:gd name="T84" fmla="*/ 753 w 2234"/>
                <a:gd name="T85" fmla="*/ 573 h 2965"/>
                <a:gd name="T86" fmla="*/ 914 w 2234"/>
                <a:gd name="T87" fmla="*/ 560 h 2965"/>
                <a:gd name="T88" fmla="*/ 1120 w 2234"/>
                <a:gd name="T89" fmla="*/ 520 h 2965"/>
                <a:gd name="T90" fmla="*/ 1351 w 2234"/>
                <a:gd name="T91" fmla="*/ 391 h 2965"/>
                <a:gd name="T92" fmla="*/ 1501 w 2234"/>
                <a:gd name="T93" fmla="*/ 346 h 2965"/>
                <a:gd name="T94" fmla="*/ 1727 w 2234"/>
                <a:gd name="T95" fmla="*/ 216 h 2965"/>
                <a:gd name="T96" fmla="*/ 1930 w 2234"/>
                <a:gd name="T97" fmla="*/ 83 h 2965"/>
                <a:gd name="T98" fmla="*/ 2065 w 2234"/>
                <a:gd name="T99" fmla="*/ 15 h 2965"/>
                <a:gd name="T100" fmla="*/ 2040 w 2234"/>
                <a:gd name="T101" fmla="*/ 65 h 2965"/>
                <a:gd name="T102" fmla="*/ 2172 w 2234"/>
                <a:gd name="T103" fmla="*/ 172 h 2965"/>
                <a:gd name="T104" fmla="*/ 2115 w 2234"/>
                <a:gd name="T105" fmla="*/ 1527 h 2965"/>
                <a:gd name="T106" fmla="*/ 2140 w 2234"/>
                <a:gd name="T107" fmla="*/ 1486 h 2965"/>
                <a:gd name="T108" fmla="*/ 2132 w 2234"/>
                <a:gd name="T109" fmla="*/ 1556 h 2965"/>
                <a:gd name="T110" fmla="*/ 2171 w 2234"/>
                <a:gd name="T111" fmla="*/ 453 h 2965"/>
                <a:gd name="T112" fmla="*/ 2193 w 2234"/>
                <a:gd name="T113" fmla="*/ 306 h 2965"/>
                <a:gd name="T114" fmla="*/ 2199 w 2234"/>
                <a:gd name="T115" fmla="*/ 560 h 2965"/>
                <a:gd name="T116" fmla="*/ 2058 w 2234"/>
                <a:gd name="T117" fmla="*/ 79 h 2965"/>
                <a:gd name="T118" fmla="*/ 2142 w 2234"/>
                <a:gd name="T119" fmla="*/ 1705 h 2965"/>
                <a:gd name="T120" fmla="*/ 2164 w 2234"/>
                <a:gd name="T121" fmla="*/ 355 h 2965"/>
                <a:gd name="T122" fmla="*/ 2050 w 2234"/>
                <a:gd name="T123" fmla="*/ 2065 h 2965"/>
                <a:gd name="T124" fmla="*/ 2052 w 2234"/>
                <a:gd name="T125" fmla="*/ 1529 h 296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34"/>
                <a:gd name="T190" fmla="*/ 0 h 2965"/>
                <a:gd name="T191" fmla="*/ 2234 w 2234"/>
                <a:gd name="T192" fmla="*/ 2965 h 296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34" h="2965">
                  <a:moveTo>
                    <a:pt x="2165" y="185"/>
                  </a:moveTo>
                  <a:lnTo>
                    <a:pt x="2162" y="185"/>
                  </a:lnTo>
                  <a:lnTo>
                    <a:pt x="2159" y="181"/>
                  </a:lnTo>
                  <a:lnTo>
                    <a:pt x="2153" y="180"/>
                  </a:lnTo>
                  <a:lnTo>
                    <a:pt x="2137" y="177"/>
                  </a:lnTo>
                  <a:lnTo>
                    <a:pt x="2132" y="177"/>
                  </a:lnTo>
                  <a:lnTo>
                    <a:pt x="2128" y="172"/>
                  </a:lnTo>
                  <a:lnTo>
                    <a:pt x="2124" y="172"/>
                  </a:lnTo>
                  <a:lnTo>
                    <a:pt x="2111" y="177"/>
                  </a:lnTo>
                  <a:lnTo>
                    <a:pt x="2101" y="185"/>
                  </a:lnTo>
                  <a:lnTo>
                    <a:pt x="2069" y="208"/>
                  </a:lnTo>
                  <a:lnTo>
                    <a:pt x="2065" y="208"/>
                  </a:lnTo>
                  <a:lnTo>
                    <a:pt x="2064" y="212"/>
                  </a:lnTo>
                  <a:lnTo>
                    <a:pt x="2064" y="208"/>
                  </a:lnTo>
                  <a:lnTo>
                    <a:pt x="2058" y="208"/>
                  </a:lnTo>
                  <a:lnTo>
                    <a:pt x="2061" y="212"/>
                  </a:lnTo>
                  <a:lnTo>
                    <a:pt x="2060" y="208"/>
                  </a:lnTo>
                  <a:lnTo>
                    <a:pt x="2060" y="212"/>
                  </a:lnTo>
                  <a:lnTo>
                    <a:pt x="2058" y="212"/>
                  </a:lnTo>
                  <a:lnTo>
                    <a:pt x="2058" y="213"/>
                  </a:lnTo>
                  <a:lnTo>
                    <a:pt x="2057" y="213"/>
                  </a:lnTo>
                  <a:lnTo>
                    <a:pt x="2055" y="208"/>
                  </a:lnTo>
                  <a:lnTo>
                    <a:pt x="2055" y="204"/>
                  </a:lnTo>
                  <a:lnTo>
                    <a:pt x="2057" y="208"/>
                  </a:lnTo>
                  <a:lnTo>
                    <a:pt x="2064" y="200"/>
                  </a:lnTo>
                  <a:lnTo>
                    <a:pt x="2060" y="200"/>
                  </a:lnTo>
                  <a:lnTo>
                    <a:pt x="2054" y="204"/>
                  </a:lnTo>
                  <a:lnTo>
                    <a:pt x="2054" y="208"/>
                  </a:lnTo>
                  <a:lnTo>
                    <a:pt x="2047" y="225"/>
                  </a:lnTo>
                  <a:lnTo>
                    <a:pt x="2047" y="230"/>
                  </a:lnTo>
                  <a:lnTo>
                    <a:pt x="2049" y="236"/>
                  </a:lnTo>
                  <a:lnTo>
                    <a:pt x="2047" y="236"/>
                  </a:lnTo>
                  <a:lnTo>
                    <a:pt x="2046" y="239"/>
                  </a:lnTo>
                  <a:lnTo>
                    <a:pt x="2050" y="253"/>
                  </a:lnTo>
                  <a:lnTo>
                    <a:pt x="2051" y="247"/>
                  </a:lnTo>
                  <a:lnTo>
                    <a:pt x="2051" y="253"/>
                  </a:lnTo>
                  <a:lnTo>
                    <a:pt x="2043" y="258"/>
                  </a:lnTo>
                  <a:lnTo>
                    <a:pt x="2044" y="261"/>
                  </a:lnTo>
                  <a:lnTo>
                    <a:pt x="2047" y="262"/>
                  </a:lnTo>
                  <a:lnTo>
                    <a:pt x="2047" y="258"/>
                  </a:lnTo>
                  <a:lnTo>
                    <a:pt x="2051" y="258"/>
                  </a:lnTo>
                  <a:lnTo>
                    <a:pt x="2052" y="253"/>
                  </a:lnTo>
                  <a:lnTo>
                    <a:pt x="2054" y="249"/>
                  </a:lnTo>
                  <a:lnTo>
                    <a:pt x="2051" y="239"/>
                  </a:lnTo>
                  <a:lnTo>
                    <a:pt x="2054" y="239"/>
                  </a:lnTo>
                  <a:lnTo>
                    <a:pt x="2058" y="239"/>
                  </a:lnTo>
                  <a:lnTo>
                    <a:pt x="2080" y="253"/>
                  </a:lnTo>
                  <a:lnTo>
                    <a:pt x="2117" y="275"/>
                  </a:lnTo>
                  <a:lnTo>
                    <a:pt x="2129" y="279"/>
                  </a:lnTo>
                  <a:lnTo>
                    <a:pt x="2146" y="283"/>
                  </a:lnTo>
                  <a:lnTo>
                    <a:pt x="2151" y="283"/>
                  </a:lnTo>
                  <a:lnTo>
                    <a:pt x="2154" y="284"/>
                  </a:lnTo>
                  <a:lnTo>
                    <a:pt x="2154" y="288"/>
                  </a:lnTo>
                  <a:lnTo>
                    <a:pt x="2142" y="296"/>
                  </a:lnTo>
                  <a:lnTo>
                    <a:pt x="2139" y="297"/>
                  </a:lnTo>
                  <a:lnTo>
                    <a:pt x="2142" y="297"/>
                  </a:lnTo>
                  <a:lnTo>
                    <a:pt x="2143" y="297"/>
                  </a:lnTo>
                  <a:lnTo>
                    <a:pt x="2143" y="301"/>
                  </a:lnTo>
                  <a:lnTo>
                    <a:pt x="2145" y="301"/>
                  </a:lnTo>
                  <a:lnTo>
                    <a:pt x="2145" y="297"/>
                  </a:lnTo>
                  <a:lnTo>
                    <a:pt x="2147" y="297"/>
                  </a:lnTo>
                  <a:lnTo>
                    <a:pt x="2149" y="293"/>
                  </a:lnTo>
                  <a:lnTo>
                    <a:pt x="2149" y="297"/>
                  </a:lnTo>
                  <a:lnTo>
                    <a:pt x="2132" y="314"/>
                  </a:lnTo>
                  <a:lnTo>
                    <a:pt x="2096" y="331"/>
                  </a:lnTo>
                  <a:lnTo>
                    <a:pt x="2072" y="350"/>
                  </a:lnTo>
                  <a:lnTo>
                    <a:pt x="2068" y="355"/>
                  </a:lnTo>
                  <a:lnTo>
                    <a:pt x="2068" y="359"/>
                  </a:lnTo>
                  <a:lnTo>
                    <a:pt x="2065" y="359"/>
                  </a:lnTo>
                  <a:lnTo>
                    <a:pt x="2066" y="363"/>
                  </a:lnTo>
                  <a:lnTo>
                    <a:pt x="2065" y="365"/>
                  </a:lnTo>
                  <a:lnTo>
                    <a:pt x="2064" y="363"/>
                  </a:lnTo>
                  <a:lnTo>
                    <a:pt x="2062" y="363"/>
                  </a:lnTo>
                  <a:lnTo>
                    <a:pt x="2061" y="367"/>
                  </a:lnTo>
                  <a:lnTo>
                    <a:pt x="2062" y="367"/>
                  </a:lnTo>
                  <a:lnTo>
                    <a:pt x="2055" y="373"/>
                  </a:lnTo>
                  <a:lnTo>
                    <a:pt x="2055" y="378"/>
                  </a:lnTo>
                  <a:lnTo>
                    <a:pt x="2057" y="380"/>
                  </a:lnTo>
                  <a:lnTo>
                    <a:pt x="2055" y="380"/>
                  </a:lnTo>
                  <a:lnTo>
                    <a:pt x="2054" y="382"/>
                  </a:lnTo>
                  <a:lnTo>
                    <a:pt x="2057" y="382"/>
                  </a:lnTo>
                  <a:lnTo>
                    <a:pt x="2058" y="382"/>
                  </a:lnTo>
                  <a:lnTo>
                    <a:pt x="2055" y="382"/>
                  </a:lnTo>
                  <a:lnTo>
                    <a:pt x="2057" y="387"/>
                  </a:lnTo>
                  <a:lnTo>
                    <a:pt x="2052" y="386"/>
                  </a:lnTo>
                  <a:lnTo>
                    <a:pt x="2052" y="387"/>
                  </a:lnTo>
                  <a:lnTo>
                    <a:pt x="2055" y="390"/>
                  </a:lnTo>
                  <a:lnTo>
                    <a:pt x="2054" y="391"/>
                  </a:lnTo>
                  <a:lnTo>
                    <a:pt x="2051" y="390"/>
                  </a:lnTo>
                  <a:lnTo>
                    <a:pt x="2051" y="395"/>
                  </a:lnTo>
                  <a:lnTo>
                    <a:pt x="2052" y="395"/>
                  </a:lnTo>
                  <a:lnTo>
                    <a:pt x="2052" y="391"/>
                  </a:lnTo>
                  <a:lnTo>
                    <a:pt x="2055" y="404"/>
                  </a:lnTo>
                  <a:lnTo>
                    <a:pt x="2058" y="404"/>
                  </a:lnTo>
                  <a:lnTo>
                    <a:pt x="2055" y="404"/>
                  </a:lnTo>
                  <a:lnTo>
                    <a:pt x="2054" y="408"/>
                  </a:lnTo>
                  <a:lnTo>
                    <a:pt x="2052" y="412"/>
                  </a:lnTo>
                  <a:lnTo>
                    <a:pt x="2050" y="412"/>
                  </a:lnTo>
                  <a:lnTo>
                    <a:pt x="2050" y="408"/>
                  </a:lnTo>
                  <a:lnTo>
                    <a:pt x="2054" y="404"/>
                  </a:lnTo>
                  <a:lnTo>
                    <a:pt x="2051" y="400"/>
                  </a:lnTo>
                  <a:lnTo>
                    <a:pt x="2051" y="404"/>
                  </a:lnTo>
                  <a:lnTo>
                    <a:pt x="2046" y="408"/>
                  </a:lnTo>
                  <a:lnTo>
                    <a:pt x="2044" y="423"/>
                  </a:lnTo>
                  <a:lnTo>
                    <a:pt x="2049" y="425"/>
                  </a:lnTo>
                  <a:lnTo>
                    <a:pt x="2055" y="421"/>
                  </a:lnTo>
                  <a:lnTo>
                    <a:pt x="2060" y="423"/>
                  </a:lnTo>
                  <a:lnTo>
                    <a:pt x="2061" y="421"/>
                  </a:lnTo>
                  <a:lnTo>
                    <a:pt x="2061" y="423"/>
                  </a:lnTo>
                  <a:lnTo>
                    <a:pt x="2060" y="427"/>
                  </a:lnTo>
                  <a:lnTo>
                    <a:pt x="2061" y="430"/>
                  </a:lnTo>
                  <a:lnTo>
                    <a:pt x="2065" y="438"/>
                  </a:lnTo>
                  <a:lnTo>
                    <a:pt x="2065" y="440"/>
                  </a:lnTo>
                  <a:lnTo>
                    <a:pt x="2066" y="440"/>
                  </a:lnTo>
                  <a:lnTo>
                    <a:pt x="2066" y="438"/>
                  </a:lnTo>
                  <a:lnTo>
                    <a:pt x="2066" y="436"/>
                  </a:lnTo>
                  <a:lnTo>
                    <a:pt x="2064" y="436"/>
                  </a:lnTo>
                  <a:lnTo>
                    <a:pt x="2064" y="427"/>
                  </a:lnTo>
                  <a:lnTo>
                    <a:pt x="2065" y="430"/>
                  </a:lnTo>
                  <a:lnTo>
                    <a:pt x="2068" y="430"/>
                  </a:lnTo>
                  <a:lnTo>
                    <a:pt x="2071" y="436"/>
                  </a:lnTo>
                  <a:lnTo>
                    <a:pt x="2078" y="436"/>
                  </a:lnTo>
                  <a:lnTo>
                    <a:pt x="2079" y="436"/>
                  </a:lnTo>
                  <a:lnTo>
                    <a:pt x="2076" y="435"/>
                  </a:lnTo>
                  <a:lnTo>
                    <a:pt x="2075" y="436"/>
                  </a:lnTo>
                  <a:lnTo>
                    <a:pt x="2074" y="435"/>
                  </a:lnTo>
                  <a:lnTo>
                    <a:pt x="2078" y="435"/>
                  </a:lnTo>
                  <a:lnTo>
                    <a:pt x="2086" y="438"/>
                  </a:lnTo>
                  <a:lnTo>
                    <a:pt x="2089" y="440"/>
                  </a:lnTo>
                  <a:lnTo>
                    <a:pt x="2091" y="440"/>
                  </a:lnTo>
                  <a:lnTo>
                    <a:pt x="2112" y="443"/>
                  </a:lnTo>
                  <a:lnTo>
                    <a:pt x="2112" y="449"/>
                  </a:lnTo>
                  <a:lnTo>
                    <a:pt x="2110" y="449"/>
                  </a:lnTo>
                  <a:lnTo>
                    <a:pt x="2111" y="457"/>
                  </a:lnTo>
                  <a:lnTo>
                    <a:pt x="2107" y="471"/>
                  </a:lnTo>
                  <a:lnTo>
                    <a:pt x="2108" y="471"/>
                  </a:lnTo>
                  <a:lnTo>
                    <a:pt x="2099" y="487"/>
                  </a:lnTo>
                  <a:lnTo>
                    <a:pt x="2085" y="502"/>
                  </a:lnTo>
                  <a:lnTo>
                    <a:pt x="2082" y="510"/>
                  </a:lnTo>
                  <a:lnTo>
                    <a:pt x="2061" y="529"/>
                  </a:lnTo>
                  <a:lnTo>
                    <a:pt x="2061" y="533"/>
                  </a:lnTo>
                  <a:lnTo>
                    <a:pt x="2054" y="537"/>
                  </a:lnTo>
                  <a:lnTo>
                    <a:pt x="2052" y="542"/>
                  </a:lnTo>
                  <a:lnTo>
                    <a:pt x="2051" y="552"/>
                  </a:lnTo>
                  <a:lnTo>
                    <a:pt x="2051" y="560"/>
                  </a:lnTo>
                  <a:lnTo>
                    <a:pt x="2054" y="567"/>
                  </a:lnTo>
                  <a:lnTo>
                    <a:pt x="2054" y="569"/>
                  </a:lnTo>
                  <a:lnTo>
                    <a:pt x="2061" y="573"/>
                  </a:lnTo>
                  <a:lnTo>
                    <a:pt x="2064" y="573"/>
                  </a:lnTo>
                  <a:lnTo>
                    <a:pt x="2066" y="578"/>
                  </a:lnTo>
                  <a:lnTo>
                    <a:pt x="2066" y="581"/>
                  </a:lnTo>
                  <a:lnTo>
                    <a:pt x="2050" y="587"/>
                  </a:lnTo>
                  <a:lnTo>
                    <a:pt x="2016" y="609"/>
                  </a:lnTo>
                  <a:lnTo>
                    <a:pt x="2008" y="609"/>
                  </a:lnTo>
                  <a:lnTo>
                    <a:pt x="2007" y="609"/>
                  </a:lnTo>
                  <a:lnTo>
                    <a:pt x="2005" y="614"/>
                  </a:lnTo>
                  <a:lnTo>
                    <a:pt x="2000" y="627"/>
                  </a:lnTo>
                  <a:lnTo>
                    <a:pt x="2000" y="636"/>
                  </a:lnTo>
                  <a:lnTo>
                    <a:pt x="1997" y="639"/>
                  </a:lnTo>
                  <a:lnTo>
                    <a:pt x="1997" y="640"/>
                  </a:lnTo>
                  <a:lnTo>
                    <a:pt x="1999" y="640"/>
                  </a:lnTo>
                  <a:lnTo>
                    <a:pt x="1997" y="644"/>
                  </a:lnTo>
                  <a:lnTo>
                    <a:pt x="1999" y="645"/>
                  </a:lnTo>
                  <a:lnTo>
                    <a:pt x="1997" y="645"/>
                  </a:lnTo>
                  <a:lnTo>
                    <a:pt x="1980" y="672"/>
                  </a:lnTo>
                  <a:lnTo>
                    <a:pt x="1962" y="689"/>
                  </a:lnTo>
                  <a:lnTo>
                    <a:pt x="1960" y="685"/>
                  </a:lnTo>
                  <a:lnTo>
                    <a:pt x="1960" y="681"/>
                  </a:lnTo>
                  <a:lnTo>
                    <a:pt x="1958" y="676"/>
                  </a:lnTo>
                  <a:lnTo>
                    <a:pt x="1957" y="676"/>
                  </a:lnTo>
                  <a:lnTo>
                    <a:pt x="1954" y="685"/>
                  </a:lnTo>
                  <a:lnTo>
                    <a:pt x="1950" y="685"/>
                  </a:lnTo>
                  <a:lnTo>
                    <a:pt x="1941" y="681"/>
                  </a:lnTo>
                  <a:lnTo>
                    <a:pt x="1940" y="676"/>
                  </a:lnTo>
                  <a:lnTo>
                    <a:pt x="1936" y="674"/>
                  </a:lnTo>
                  <a:lnTo>
                    <a:pt x="1929" y="674"/>
                  </a:lnTo>
                  <a:lnTo>
                    <a:pt x="1926" y="672"/>
                  </a:lnTo>
                  <a:lnTo>
                    <a:pt x="1924" y="670"/>
                  </a:lnTo>
                  <a:lnTo>
                    <a:pt x="1922" y="662"/>
                  </a:lnTo>
                  <a:lnTo>
                    <a:pt x="1918" y="662"/>
                  </a:lnTo>
                  <a:lnTo>
                    <a:pt x="1921" y="666"/>
                  </a:lnTo>
                  <a:lnTo>
                    <a:pt x="1922" y="672"/>
                  </a:lnTo>
                  <a:lnTo>
                    <a:pt x="1925" y="672"/>
                  </a:lnTo>
                  <a:lnTo>
                    <a:pt x="1926" y="676"/>
                  </a:lnTo>
                  <a:lnTo>
                    <a:pt x="1927" y="676"/>
                  </a:lnTo>
                  <a:lnTo>
                    <a:pt x="1936" y="676"/>
                  </a:lnTo>
                  <a:lnTo>
                    <a:pt x="1939" y="685"/>
                  </a:lnTo>
                  <a:lnTo>
                    <a:pt x="1943" y="687"/>
                  </a:lnTo>
                  <a:lnTo>
                    <a:pt x="1947" y="689"/>
                  </a:lnTo>
                  <a:lnTo>
                    <a:pt x="1951" y="698"/>
                  </a:lnTo>
                  <a:lnTo>
                    <a:pt x="1958" y="711"/>
                  </a:lnTo>
                  <a:lnTo>
                    <a:pt x="1957" y="716"/>
                  </a:lnTo>
                  <a:lnTo>
                    <a:pt x="1960" y="715"/>
                  </a:lnTo>
                  <a:lnTo>
                    <a:pt x="1960" y="711"/>
                  </a:lnTo>
                  <a:lnTo>
                    <a:pt x="1965" y="707"/>
                  </a:lnTo>
                  <a:lnTo>
                    <a:pt x="1966" y="707"/>
                  </a:lnTo>
                  <a:lnTo>
                    <a:pt x="1965" y="707"/>
                  </a:lnTo>
                  <a:lnTo>
                    <a:pt x="1971" y="702"/>
                  </a:lnTo>
                  <a:lnTo>
                    <a:pt x="1974" y="706"/>
                  </a:lnTo>
                  <a:lnTo>
                    <a:pt x="1976" y="711"/>
                  </a:lnTo>
                  <a:lnTo>
                    <a:pt x="1982" y="715"/>
                  </a:lnTo>
                  <a:lnTo>
                    <a:pt x="1983" y="716"/>
                  </a:lnTo>
                  <a:lnTo>
                    <a:pt x="1985" y="716"/>
                  </a:lnTo>
                  <a:lnTo>
                    <a:pt x="1990" y="724"/>
                  </a:lnTo>
                  <a:lnTo>
                    <a:pt x="1990" y="732"/>
                  </a:lnTo>
                  <a:lnTo>
                    <a:pt x="1991" y="734"/>
                  </a:lnTo>
                  <a:lnTo>
                    <a:pt x="1993" y="734"/>
                  </a:lnTo>
                  <a:lnTo>
                    <a:pt x="1996" y="738"/>
                  </a:lnTo>
                  <a:lnTo>
                    <a:pt x="1999" y="734"/>
                  </a:lnTo>
                  <a:lnTo>
                    <a:pt x="1997" y="741"/>
                  </a:lnTo>
                  <a:lnTo>
                    <a:pt x="1999" y="743"/>
                  </a:lnTo>
                  <a:lnTo>
                    <a:pt x="1999" y="755"/>
                  </a:lnTo>
                  <a:lnTo>
                    <a:pt x="2001" y="752"/>
                  </a:lnTo>
                  <a:lnTo>
                    <a:pt x="2002" y="756"/>
                  </a:lnTo>
                  <a:lnTo>
                    <a:pt x="2004" y="756"/>
                  </a:lnTo>
                  <a:lnTo>
                    <a:pt x="2002" y="755"/>
                  </a:lnTo>
                  <a:lnTo>
                    <a:pt x="2001" y="747"/>
                  </a:lnTo>
                  <a:lnTo>
                    <a:pt x="2005" y="743"/>
                  </a:lnTo>
                  <a:lnTo>
                    <a:pt x="2014" y="747"/>
                  </a:lnTo>
                  <a:lnTo>
                    <a:pt x="2015" y="747"/>
                  </a:lnTo>
                  <a:lnTo>
                    <a:pt x="2018" y="751"/>
                  </a:lnTo>
                  <a:lnTo>
                    <a:pt x="2016" y="755"/>
                  </a:lnTo>
                  <a:lnTo>
                    <a:pt x="2019" y="755"/>
                  </a:lnTo>
                  <a:lnTo>
                    <a:pt x="2021" y="752"/>
                  </a:lnTo>
                  <a:lnTo>
                    <a:pt x="2025" y="752"/>
                  </a:lnTo>
                  <a:lnTo>
                    <a:pt x="2022" y="747"/>
                  </a:lnTo>
                  <a:lnTo>
                    <a:pt x="2027" y="743"/>
                  </a:lnTo>
                  <a:lnTo>
                    <a:pt x="2035" y="745"/>
                  </a:lnTo>
                  <a:lnTo>
                    <a:pt x="2040" y="747"/>
                  </a:lnTo>
                  <a:lnTo>
                    <a:pt x="2033" y="760"/>
                  </a:lnTo>
                  <a:lnTo>
                    <a:pt x="2033" y="770"/>
                  </a:lnTo>
                  <a:lnTo>
                    <a:pt x="2030" y="774"/>
                  </a:lnTo>
                  <a:lnTo>
                    <a:pt x="2026" y="777"/>
                  </a:lnTo>
                  <a:lnTo>
                    <a:pt x="2026" y="778"/>
                  </a:lnTo>
                  <a:lnTo>
                    <a:pt x="2025" y="778"/>
                  </a:lnTo>
                  <a:lnTo>
                    <a:pt x="2024" y="782"/>
                  </a:lnTo>
                  <a:lnTo>
                    <a:pt x="2026" y="791"/>
                  </a:lnTo>
                  <a:lnTo>
                    <a:pt x="2026" y="794"/>
                  </a:lnTo>
                  <a:lnTo>
                    <a:pt x="2024" y="795"/>
                  </a:lnTo>
                  <a:lnTo>
                    <a:pt x="2024" y="800"/>
                  </a:lnTo>
                  <a:lnTo>
                    <a:pt x="2026" y="800"/>
                  </a:lnTo>
                  <a:lnTo>
                    <a:pt x="2024" y="814"/>
                  </a:lnTo>
                  <a:lnTo>
                    <a:pt x="2021" y="817"/>
                  </a:lnTo>
                  <a:lnTo>
                    <a:pt x="2019" y="817"/>
                  </a:lnTo>
                  <a:lnTo>
                    <a:pt x="2014" y="822"/>
                  </a:lnTo>
                  <a:lnTo>
                    <a:pt x="2010" y="827"/>
                  </a:lnTo>
                  <a:lnTo>
                    <a:pt x="2011" y="831"/>
                  </a:lnTo>
                  <a:lnTo>
                    <a:pt x="2019" y="840"/>
                  </a:lnTo>
                  <a:lnTo>
                    <a:pt x="2021" y="845"/>
                  </a:lnTo>
                  <a:lnTo>
                    <a:pt x="2011" y="853"/>
                  </a:lnTo>
                  <a:lnTo>
                    <a:pt x="2007" y="852"/>
                  </a:lnTo>
                  <a:lnTo>
                    <a:pt x="2008" y="853"/>
                  </a:lnTo>
                  <a:lnTo>
                    <a:pt x="2007" y="853"/>
                  </a:lnTo>
                  <a:lnTo>
                    <a:pt x="2000" y="859"/>
                  </a:lnTo>
                  <a:lnTo>
                    <a:pt x="1993" y="868"/>
                  </a:lnTo>
                  <a:lnTo>
                    <a:pt x="1996" y="876"/>
                  </a:lnTo>
                  <a:lnTo>
                    <a:pt x="1997" y="875"/>
                  </a:lnTo>
                  <a:lnTo>
                    <a:pt x="1999" y="876"/>
                  </a:lnTo>
                  <a:lnTo>
                    <a:pt x="1997" y="888"/>
                  </a:lnTo>
                  <a:lnTo>
                    <a:pt x="2004" y="894"/>
                  </a:lnTo>
                  <a:lnTo>
                    <a:pt x="2015" y="898"/>
                  </a:lnTo>
                  <a:lnTo>
                    <a:pt x="2018" y="904"/>
                  </a:lnTo>
                  <a:lnTo>
                    <a:pt x="2025" y="906"/>
                  </a:lnTo>
                  <a:lnTo>
                    <a:pt x="2027" y="912"/>
                  </a:lnTo>
                  <a:lnTo>
                    <a:pt x="2027" y="917"/>
                  </a:lnTo>
                  <a:lnTo>
                    <a:pt x="2025" y="925"/>
                  </a:lnTo>
                  <a:lnTo>
                    <a:pt x="2021" y="920"/>
                  </a:lnTo>
                  <a:lnTo>
                    <a:pt x="2012" y="930"/>
                  </a:lnTo>
                  <a:lnTo>
                    <a:pt x="2007" y="932"/>
                  </a:lnTo>
                  <a:lnTo>
                    <a:pt x="2005" y="925"/>
                  </a:lnTo>
                  <a:lnTo>
                    <a:pt x="2005" y="932"/>
                  </a:lnTo>
                  <a:lnTo>
                    <a:pt x="2004" y="932"/>
                  </a:lnTo>
                  <a:lnTo>
                    <a:pt x="2004" y="938"/>
                  </a:lnTo>
                  <a:lnTo>
                    <a:pt x="1996" y="947"/>
                  </a:lnTo>
                  <a:lnTo>
                    <a:pt x="1993" y="951"/>
                  </a:lnTo>
                  <a:lnTo>
                    <a:pt x="2000" y="946"/>
                  </a:lnTo>
                  <a:lnTo>
                    <a:pt x="2007" y="943"/>
                  </a:lnTo>
                  <a:lnTo>
                    <a:pt x="2007" y="946"/>
                  </a:lnTo>
                  <a:lnTo>
                    <a:pt x="2010" y="943"/>
                  </a:lnTo>
                  <a:lnTo>
                    <a:pt x="2012" y="943"/>
                  </a:lnTo>
                  <a:lnTo>
                    <a:pt x="2014" y="946"/>
                  </a:lnTo>
                  <a:lnTo>
                    <a:pt x="2014" y="947"/>
                  </a:lnTo>
                  <a:lnTo>
                    <a:pt x="2012" y="947"/>
                  </a:lnTo>
                  <a:lnTo>
                    <a:pt x="2012" y="952"/>
                  </a:lnTo>
                  <a:lnTo>
                    <a:pt x="2010" y="955"/>
                  </a:lnTo>
                  <a:lnTo>
                    <a:pt x="2012" y="956"/>
                  </a:lnTo>
                  <a:lnTo>
                    <a:pt x="2011" y="960"/>
                  </a:lnTo>
                  <a:lnTo>
                    <a:pt x="2000" y="964"/>
                  </a:lnTo>
                  <a:lnTo>
                    <a:pt x="1993" y="969"/>
                  </a:lnTo>
                  <a:lnTo>
                    <a:pt x="2001" y="965"/>
                  </a:lnTo>
                  <a:lnTo>
                    <a:pt x="2012" y="965"/>
                  </a:lnTo>
                  <a:lnTo>
                    <a:pt x="2014" y="969"/>
                  </a:lnTo>
                  <a:lnTo>
                    <a:pt x="2012" y="969"/>
                  </a:lnTo>
                  <a:lnTo>
                    <a:pt x="2012" y="975"/>
                  </a:lnTo>
                  <a:lnTo>
                    <a:pt x="2010" y="977"/>
                  </a:lnTo>
                  <a:lnTo>
                    <a:pt x="2007" y="977"/>
                  </a:lnTo>
                  <a:lnTo>
                    <a:pt x="2004" y="977"/>
                  </a:lnTo>
                  <a:lnTo>
                    <a:pt x="1999" y="982"/>
                  </a:lnTo>
                  <a:lnTo>
                    <a:pt x="1996" y="982"/>
                  </a:lnTo>
                  <a:lnTo>
                    <a:pt x="1994" y="982"/>
                  </a:lnTo>
                  <a:lnTo>
                    <a:pt x="1996" y="987"/>
                  </a:lnTo>
                  <a:lnTo>
                    <a:pt x="1997" y="982"/>
                  </a:lnTo>
                  <a:lnTo>
                    <a:pt x="2000" y="982"/>
                  </a:lnTo>
                  <a:lnTo>
                    <a:pt x="2004" y="977"/>
                  </a:lnTo>
                  <a:lnTo>
                    <a:pt x="2008" y="981"/>
                  </a:lnTo>
                  <a:lnTo>
                    <a:pt x="2010" y="982"/>
                  </a:lnTo>
                  <a:lnTo>
                    <a:pt x="2011" y="991"/>
                  </a:lnTo>
                  <a:lnTo>
                    <a:pt x="2008" y="1005"/>
                  </a:lnTo>
                  <a:lnTo>
                    <a:pt x="2012" y="1014"/>
                  </a:lnTo>
                  <a:lnTo>
                    <a:pt x="2018" y="1022"/>
                  </a:lnTo>
                  <a:lnTo>
                    <a:pt x="2019" y="1018"/>
                  </a:lnTo>
                  <a:lnTo>
                    <a:pt x="2026" y="1022"/>
                  </a:lnTo>
                  <a:lnTo>
                    <a:pt x="2030" y="1018"/>
                  </a:lnTo>
                  <a:lnTo>
                    <a:pt x="2032" y="1018"/>
                  </a:lnTo>
                  <a:lnTo>
                    <a:pt x="2030" y="1027"/>
                  </a:lnTo>
                  <a:lnTo>
                    <a:pt x="2032" y="1037"/>
                  </a:lnTo>
                  <a:lnTo>
                    <a:pt x="2030" y="1041"/>
                  </a:lnTo>
                  <a:lnTo>
                    <a:pt x="2033" y="1050"/>
                  </a:lnTo>
                  <a:lnTo>
                    <a:pt x="2032" y="1054"/>
                  </a:lnTo>
                  <a:lnTo>
                    <a:pt x="2030" y="1058"/>
                  </a:lnTo>
                  <a:lnTo>
                    <a:pt x="2030" y="1059"/>
                  </a:lnTo>
                  <a:lnTo>
                    <a:pt x="2030" y="1062"/>
                  </a:lnTo>
                  <a:lnTo>
                    <a:pt x="2029" y="1068"/>
                  </a:lnTo>
                  <a:lnTo>
                    <a:pt x="2029" y="1076"/>
                  </a:lnTo>
                  <a:lnTo>
                    <a:pt x="2030" y="1076"/>
                  </a:lnTo>
                  <a:lnTo>
                    <a:pt x="2036" y="1089"/>
                  </a:lnTo>
                  <a:lnTo>
                    <a:pt x="2044" y="1097"/>
                  </a:lnTo>
                  <a:lnTo>
                    <a:pt x="2052" y="1099"/>
                  </a:lnTo>
                  <a:lnTo>
                    <a:pt x="2064" y="1104"/>
                  </a:lnTo>
                  <a:lnTo>
                    <a:pt x="2068" y="1106"/>
                  </a:lnTo>
                  <a:lnTo>
                    <a:pt x="2069" y="1104"/>
                  </a:lnTo>
                  <a:lnTo>
                    <a:pt x="2072" y="1104"/>
                  </a:lnTo>
                  <a:lnTo>
                    <a:pt x="2071" y="1106"/>
                  </a:lnTo>
                  <a:lnTo>
                    <a:pt x="2071" y="1108"/>
                  </a:lnTo>
                  <a:lnTo>
                    <a:pt x="2074" y="1106"/>
                  </a:lnTo>
                  <a:lnTo>
                    <a:pt x="2071" y="1111"/>
                  </a:lnTo>
                  <a:lnTo>
                    <a:pt x="2062" y="1116"/>
                  </a:lnTo>
                  <a:lnTo>
                    <a:pt x="2057" y="1121"/>
                  </a:lnTo>
                  <a:lnTo>
                    <a:pt x="2050" y="1129"/>
                  </a:lnTo>
                  <a:lnTo>
                    <a:pt x="2046" y="1142"/>
                  </a:lnTo>
                  <a:lnTo>
                    <a:pt x="2046" y="1155"/>
                  </a:lnTo>
                  <a:lnTo>
                    <a:pt x="2047" y="1161"/>
                  </a:lnTo>
                  <a:lnTo>
                    <a:pt x="2050" y="1164"/>
                  </a:lnTo>
                  <a:lnTo>
                    <a:pt x="2049" y="1166"/>
                  </a:lnTo>
                  <a:lnTo>
                    <a:pt x="2049" y="1170"/>
                  </a:lnTo>
                  <a:lnTo>
                    <a:pt x="2050" y="1170"/>
                  </a:lnTo>
                  <a:lnTo>
                    <a:pt x="2054" y="1188"/>
                  </a:lnTo>
                  <a:lnTo>
                    <a:pt x="2061" y="1201"/>
                  </a:lnTo>
                  <a:lnTo>
                    <a:pt x="2068" y="1205"/>
                  </a:lnTo>
                  <a:lnTo>
                    <a:pt x="2078" y="1215"/>
                  </a:lnTo>
                  <a:lnTo>
                    <a:pt x="2080" y="1215"/>
                  </a:lnTo>
                  <a:lnTo>
                    <a:pt x="2083" y="1218"/>
                  </a:lnTo>
                  <a:lnTo>
                    <a:pt x="2085" y="1218"/>
                  </a:lnTo>
                  <a:lnTo>
                    <a:pt x="2094" y="1224"/>
                  </a:lnTo>
                  <a:lnTo>
                    <a:pt x="2101" y="1224"/>
                  </a:lnTo>
                  <a:lnTo>
                    <a:pt x="2099" y="1226"/>
                  </a:lnTo>
                  <a:lnTo>
                    <a:pt x="2094" y="1226"/>
                  </a:lnTo>
                  <a:lnTo>
                    <a:pt x="2089" y="1228"/>
                  </a:lnTo>
                  <a:lnTo>
                    <a:pt x="2074" y="1237"/>
                  </a:lnTo>
                  <a:lnTo>
                    <a:pt x="2064" y="1250"/>
                  </a:lnTo>
                  <a:lnTo>
                    <a:pt x="2060" y="1263"/>
                  </a:lnTo>
                  <a:lnTo>
                    <a:pt x="2060" y="1271"/>
                  </a:lnTo>
                  <a:lnTo>
                    <a:pt x="2061" y="1273"/>
                  </a:lnTo>
                  <a:lnTo>
                    <a:pt x="2061" y="1275"/>
                  </a:lnTo>
                  <a:lnTo>
                    <a:pt x="2062" y="1282"/>
                  </a:lnTo>
                  <a:lnTo>
                    <a:pt x="2069" y="1291"/>
                  </a:lnTo>
                  <a:lnTo>
                    <a:pt x="2069" y="1295"/>
                  </a:lnTo>
                  <a:lnTo>
                    <a:pt x="2068" y="1299"/>
                  </a:lnTo>
                  <a:lnTo>
                    <a:pt x="2060" y="1317"/>
                  </a:lnTo>
                  <a:lnTo>
                    <a:pt x="2051" y="1334"/>
                  </a:lnTo>
                  <a:lnTo>
                    <a:pt x="2050" y="1344"/>
                  </a:lnTo>
                  <a:lnTo>
                    <a:pt x="2055" y="1361"/>
                  </a:lnTo>
                  <a:lnTo>
                    <a:pt x="2069" y="1382"/>
                  </a:lnTo>
                  <a:lnTo>
                    <a:pt x="2072" y="1389"/>
                  </a:lnTo>
                  <a:lnTo>
                    <a:pt x="2061" y="1397"/>
                  </a:lnTo>
                  <a:lnTo>
                    <a:pt x="2055" y="1394"/>
                  </a:lnTo>
                  <a:lnTo>
                    <a:pt x="2058" y="1391"/>
                  </a:lnTo>
                  <a:lnTo>
                    <a:pt x="2057" y="1391"/>
                  </a:lnTo>
                  <a:lnTo>
                    <a:pt x="2055" y="1394"/>
                  </a:lnTo>
                  <a:lnTo>
                    <a:pt x="2051" y="1394"/>
                  </a:lnTo>
                  <a:lnTo>
                    <a:pt x="2051" y="1392"/>
                  </a:lnTo>
                  <a:lnTo>
                    <a:pt x="2050" y="1392"/>
                  </a:lnTo>
                  <a:lnTo>
                    <a:pt x="2051" y="1396"/>
                  </a:lnTo>
                  <a:lnTo>
                    <a:pt x="2055" y="1396"/>
                  </a:lnTo>
                  <a:lnTo>
                    <a:pt x="2058" y="1397"/>
                  </a:lnTo>
                  <a:lnTo>
                    <a:pt x="2055" y="1402"/>
                  </a:lnTo>
                  <a:lnTo>
                    <a:pt x="2055" y="1406"/>
                  </a:lnTo>
                  <a:lnTo>
                    <a:pt x="2057" y="1402"/>
                  </a:lnTo>
                  <a:lnTo>
                    <a:pt x="2065" y="1402"/>
                  </a:lnTo>
                  <a:lnTo>
                    <a:pt x="2066" y="1402"/>
                  </a:lnTo>
                  <a:lnTo>
                    <a:pt x="2066" y="1409"/>
                  </a:lnTo>
                  <a:lnTo>
                    <a:pt x="2064" y="1420"/>
                  </a:lnTo>
                  <a:lnTo>
                    <a:pt x="2057" y="1428"/>
                  </a:lnTo>
                  <a:lnTo>
                    <a:pt x="2054" y="1437"/>
                  </a:lnTo>
                  <a:lnTo>
                    <a:pt x="2054" y="1441"/>
                  </a:lnTo>
                  <a:lnTo>
                    <a:pt x="2051" y="1441"/>
                  </a:lnTo>
                  <a:lnTo>
                    <a:pt x="2044" y="1441"/>
                  </a:lnTo>
                  <a:lnTo>
                    <a:pt x="2040" y="1436"/>
                  </a:lnTo>
                  <a:lnTo>
                    <a:pt x="2037" y="1433"/>
                  </a:lnTo>
                  <a:lnTo>
                    <a:pt x="2035" y="1428"/>
                  </a:lnTo>
                  <a:lnTo>
                    <a:pt x="2030" y="1424"/>
                  </a:lnTo>
                  <a:lnTo>
                    <a:pt x="2030" y="1420"/>
                  </a:lnTo>
                  <a:lnTo>
                    <a:pt x="2032" y="1415"/>
                  </a:lnTo>
                  <a:lnTo>
                    <a:pt x="2036" y="1411"/>
                  </a:lnTo>
                  <a:lnTo>
                    <a:pt x="2035" y="1406"/>
                  </a:lnTo>
                  <a:lnTo>
                    <a:pt x="2033" y="1406"/>
                  </a:lnTo>
                  <a:lnTo>
                    <a:pt x="2032" y="1409"/>
                  </a:lnTo>
                  <a:lnTo>
                    <a:pt x="2030" y="1406"/>
                  </a:lnTo>
                  <a:lnTo>
                    <a:pt x="2029" y="1406"/>
                  </a:lnTo>
                  <a:lnTo>
                    <a:pt x="2030" y="1411"/>
                  </a:lnTo>
                  <a:lnTo>
                    <a:pt x="2033" y="1409"/>
                  </a:lnTo>
                  <a:lnTo>
                    <a:pt x="2035" y="1411"/>
                  </a:lnTo>
                  <a:lnTo>
                    <a:pt x="2029" y="1411"/>
                  </a:lnTo>
                  <a:lnTo>
                    <a:pt x="2026" y="1420"/>
                  </a:lnTo>
                  <a:lnTo>
                    <a:pt x="2026" y="1437"/>
                  </a:lnTo>
                  <a:lnTo>
                    <a:pt x="2032" y="1441"/>
                  </a:lnTo>
                  <a:lnTo>
                    <a:pt x="2036" y="1441"/>
                  </a:lnTo>
                  <a:lnTo>
                    <a:pt x="2037" y="1441"/>
                  </a:lnTo>
                  <a:lnTo>
                    <a:pt x="2041" y="1445"/>
                  </a:lnTo>
                  <a:lnTo>
                    <a:pt x="2041" y="1449"/>
                  </a:lnTo>
                  <a:lnTo>
                    <a:pt x="2043" y="1446"/>
                  </a:lnTo>
                  <a:lnTo>
                    <a:pt x="2044" y="1446"/>
                  </a:lnTo>
                  <a:lnTo>
                    <a:pt x="2054" y="1446"/>
                  </a:lnTo>
                  <a:lnTo>
                    <a:pt x="2057" y="1449"/>
                  </a:lnTo>
                  <a:lnTo>
                    <a:pt x="2060" y="1456"/>
                  </a:lnTo>
                  <a:lnTo>
                    <a:pt x="2060" y="1459"/>
                  </a:lnTo>
                  <a:lnTo>
                    <a:pt x="2062" y="1464"/>
                  </a:lnTo>
                  <a:lnTo>
                    <a:pt x="2061" y="1468"/>
                  </a:lnTo>
                  <a:lnTo>
                    <a:pt x="2062" y="1468"/>
                  </a:lnTo>
                  <a:lnTo>
                    <a:pt x="2064" y="1469"/>
                  </a:lnTo>
                  <a:lnTo>
                    <a:pt x="2064" y="1477"/>
                  </a:lnTo>
                  <a:lnTo>
                    <a:pt x="2071" y="1486"/>
                  </a:lnTo>
                  <a:lnTo>
                    <a:pt x="2068" y="1486"/>
                  </a:lnTo>
                  <a:lnTo>
                    <a:pt x="2066" y="1491"/>
                  </a:lnTo>
                  <a:lnTo>
                    <a:pt x="2066" y="1498"/>
                  </a:lnTo>
                  <a:lnTo>
                    <a:pt x="2062" y="1498"/>
                  </a:lnTo>
                  <a:lnTo>
                    <a:pt x="2051" y="1499"/>
                  </a:lnTo>
                  <a:lnTo>
                    <a:pt x="2049" y="1499"/>
                  </a:lnTo>
                  <a:lnTo>
                    <a:pt x="2051" y="1503"/>
                  </a:lnTo>
                  <a:lnTo>
                    <a:pt x="2054" y="1504"/>
                  </a:lnTo>
                  <a:lnTo>
                    <a:pt x="2060" y="1499"/>
                  </a:lnTo>
                  <a:lnTo>
                    <a:pt x="2062" y="1499"/>
                  </a:lnTo>
                  <a:lnTo>
                    <a:pt x="2064" y="1508"/>
                  </a:lnTo>
                  <a:lnTo>
                    <a:pt x="2062" y="1514"/>
                  </a:lnTo>
                  <a:lnTo>
                    <a:pt x="2054" y="1518"/>
                  </a:lnTo>
                  <a:lnTo>
                    <a:pt x="2052" y="1520"/>
                  </a:lnTo>
                  <a:lnTo>
                    <a:pt x="2051" y="1526"/>
                  </a:lnTo>
                  <a:lnTo>
                    <a:pt x="2049" y="1532"/>
                  </a:lnTo>
                  <a:lnTo>
                    <a:pt x="2049" y="1535"/>
                  </a:lnTo>
                  <a:lnTo>
                    <a:pt x="2050" y="1531"/>
                  </a:lnTo>
                  <a:lnTo>
                    <a:pt x="2049" y="1544"/>
                  </a:lnTo>
                  <a:lnTo>
                    <a:pt x="2047" y="1544"/>
                  </a:lnTo>
                  <a:lnTo>
                    <a:pt x="2044" y="1543"/>
                  </a:lnTo>
                  <a:lnTo>
                    <a:pt x="2043" y="1544"/>
                  </a:lnTo>
                  <a:lnTo>
                    <a:pt x="2041" y="1540"/>
                  </a:lnTo>
                  <a:lnTo>
                    <a:pt x="2040" y="1540"/>
                  </a:lnTo>
                  <a:lnTo>
                    <a:pt x="2041" y="1543"/>
                  </a:lnTo>
                  <a:lnTo>
                    <a:pt x="2040" y="1544"/>
                  </a:lnTo>
                  <a:lnTo>
                    <a:pt x="2046" y="1544"/>
                  </a:lnTo>
                  <a:lnTo>
                    <a:pt x="2044" y="1546"/>
                  </a:lnTo>
                  <a:lnTo>
                    <a:pt x="2050" y="1544"/>
                  </a:lnTo>
                  <a:lnTo>
                    <a:pt x="2052" y="1540"/>
                  </a:lnTo>
                  <a:lnTo>
                    <a:pt x="2057" y="1535"/>
                  </a:lnTo>
                  <a:lnTo>
                    <a:pt x="2058" y="1535"/>
                  </a:lnTo>
                  <a:lnTo>
                    <a:pt x="2061" y="1535"/>
                  </a:lnTo>
                  <a:lnTo>
                    <a:pt x="2064" y="1535"/>
                  </a:lnTo>
                  <a:lnTo>
                    <a:pt x="2064" y="1539"/>
                  </a:lnTo>
                  <a:lnTo>
                    <a:pt x="2065" y="1535"/>
                  </a:lnTo>
                  <a:lnTo>
                    <a:pt x="2064" y="1540"/>
                  </a:lnTo>
                  <a:lnTo>
                    <a:pt x="2065" y="1540"/>
                  </a:lnTo>
                  <a:lnTo>
                    <a:pt x="2065" y="1535"/>
                  </a:lnTo>
                  <a:lnTo>
                    <a:pt x="2068" y="1539"/>
                  </a:lnTo>
                  <a:lnTo>
                    <a:pt x="2068" y="1535"/>
                  </a:lnTo>
                  <a:lnTo>
                    <a:pt x="2069" y="1535"/>
                  </a:lnTo>
                  <a:lnTo>
                    <a:pt x="2076" y="1535"/>
                  </a:lnTo>
                  <a:lnTo>
                    <a:pt x="2076" y="1543"/>
                  </a:lnTo>
                  <a:lnTo>
                    <a:pt x="2079" y="1544"/>
                  </a:lnTo>
                  <a:lnTo>
                    <a:pt x="2082" y="1546"/>
                  </a:lnTo>
                  <a:lnTo>
                    <a:pt x="2079" y="1543"/>
                  </a:lnTo>
                  <a:lnTo>
                    <a:pt x="2079" y="1539"/>
                  </a:lnTo>
                  <a:lnTo>
                    <a:pt x="2086" y="1535"/>
                  </a:lnTo>
                  <a:lnTo>
                    <a:pt x="2087" y="1535"/>
                  </a:lnTo>
                  <a:lnTo>
                    <a:pt x="2090" y="1540"/>
                  </a:lnTo>
                  <a:lnTo>
                    <a:pt x="2090" y="1548"/>
                  </a:lnTo>
                  <a:lnTo>
                    <a:pt x="2093" y="1540"/>
                  </a:lnTo>
                  <a:lnTo>
                    <a:pt x="2094" y="1540"/>
                  </a:lnTo>
                  <a:lnTo>
                    <a:pt x="2093" y="1535"/>
                  </a:lnTo>
                  <a:lnTo>
                    <a:pt x="2096" y="1535"/>
                  </a:lnTo>
                  <a:lnTo>
                    <a:pt x="2093" y="1533"/>
                  </a:lnTo>
                  <a:lnTo>
                    <a:pt x="2094" y="1532"/>
                  </a:lnTo>
                  <a:lnTo>
                    <a:pt x="2091" y="1527"/>
                  </a:lnTo>
                  <a:lnTo>
                    <a:pt x="2097" y="1533"/>
                  </a:lnTo>
                  <a:lnTo>
                    <a:pt x="2100" y="1535"/>
                  </a:lnTo>
                  <a:lnTo>
                    <a:pt x="2100" y="1544"/>
                  </a:lnTo>
                  <a:lnTo>
                    <a:pt x="2101" y="1540"/>
                  </a:lnTo>
                  <a:lnTo>
                    <a:pt x="2104" y="1540"/>
                  </a:lnTo>
                  <a:lnTo>
                    <a:pt x="2103" y="1535"/>
                  </a:lnTo>
                  <a:lnTo>
                    <a:pt x="2103" y="1533"/>
                  </a:lnTo>
                  <a:lnTo>
                    <a:pt x="2104" y="1533"/>
                  </a:lnTo>
                  <a:lnTo>
                    <a:pt x="2105" y="1535"/>
                  </a:lnTo>
                  <a:lnTo>
                    <a:pt x="2107" y="1535"/>
                  </a:lnTo>
                  <a:lnTo>
                    <a:pt x="2108" y="1535"/>
                  </a:lnTo>
                  <a:lnTo>
                    <a:pt x="2110" y="1539"/>
                  </a:lnTo>
                  <a:lnTo>
                    <a:pt x="2108" y="1540"/>
                  </a:lnTo>
                  <a:lnTo>
                    <a:pt x="2111" y="1540"/>
                  </a:lnTo>
                  <a:lnTo>
                    <a:pt x="2112" y="1540"/>
                  </a:lnTo>
                  <a:lnTo>
                    <a:pt x="2112" y="1544"/>
                  </a:lnTo>
                  <a:lnTo>
                    <a:pt x="2114" y="1543"/>
                  </a:lnTo>
                  <a:lnTo>
                    <a:pt x="2117" y="1544"/>
                  </a:lnTo>
                  <a:lnTo>
                    <a:pt x="2115" y="1548"/>
                  </a:lnTo>
                  <a:lnTo>
                    <a:pt x="2108" y="1549"/>
                  </a:lnTo>
                  <a:lnTo>
                    <a:pt x="2085" y="1563"/>
                  </a:lnTo>
                  <a:lnTo>
                    <a:pt x="2080" y="1566"/>
                  </a:lnTo>
                  <a:lnTo>
                    <a:pt x="2078" y="1569"/>
                  </a:lnTo>
                  <a:lnTo>
                    <a:pt x="2075" y="1566"/>
                  </a:lnTo>
                  <a:lnTo>
                    <a:pt x="2075" y="1569"/>
                  </a:lnTo>
                  <a:lnTo>
                    <a:pt x="2064" y="1574"/>
                  </a:lnTo>
                  <a:lnTo>
                    <a:pt x="2058" y="1580"/>
                  </a:lnTo>
                  <a:lnTo>
                    <a:pt x="2058" y="1589"/>
                  </a:lnTo>
                  <a:lnTo>
                    <a:pt x="2054" y="1601"/>
                  </a:lnTo>
                  <a:lnTo>
                    <a:pt x="2051" y="1601"/>
                  </a:lnTo>
                  <a:lnTo>
                    <a:pt x="2049" y="1599"/>
                  </a:lnTo>
                  <a:lnTo>
                    <a:pt x="2044" y="1601"/>
                  </a:lnTo>
                  <a:lnTo>
                    <a:pt x="2049" y="1601"/>
                  </a:lnTo>
                  <a:lnTo>
                    <a:pt x="2050" y="1602"/>
                  </a:lnTo>
                  <a:lnTo>
                    <a:pt x="2049" y="1605"/>
                  </a:lnTo>
                  <a:lnTo>
                    <a:pt x="2052" y="1606"/>
                  </a:lnTo>
                  <a:lnTo>
                    <a:pt x="2050" y="1614"/>
                  </a:lnTo>
                  <a:lnTo>
                    <a:pt x="2047" y="1615"/>
                  </a:lnTo>
                  <a:lnTo>
                    <a:pt x="2047" y="1619"/>
                  </a:lnTo>
                  <a:lnTo>
                    <a:pt x="2044" y="1619"/>
                  </a:lnTo>
                  <a:lnTo>
                    <a:pt x="2044" y="1620"/>
                  </a:lnTo>
                  <a:lnTo>
                    <a:pt x="2040" y="1625"/>
                  </a:lnTo>
                  <a:lnTo>
                    <a:pt x="2033" y="1625"/>
                  </a:lnTo>
                  <a:lnTo>
                    <a:pt x="2029" y="1627"/>
                  </a:lnTo>
                  <a:lnTo>
                    <a:pt x="2026" y="1627"/>
                  </a:lnTo>
                  <a:lnTo>
                    <a:pt x="2025" y="1628"/>
                  </a:lnTo>
                  <a:lnTo>
                    <a:pt x="2024" y="1632"/>
                  </a:lnTo>
                  <a:lnTo>
                    <a:pt x="2026" y="1632"/>
                  </a:lnTo>
                  <a:lnTo>
                    <a:pt x="2026" y="1628"/>
                  </a:lnTo>
                  <a:lnTo>
                    <a:pt x="2029" y="1628"/>
                  </a:lnTo>
                  <a:lnTo>
                    <a:pt x="2033" y="1627"/>
                  </a:lnTo>
                  <a:lnTo>
                    <a:pt x="2035" y="1627"/>
                  </a:lnTo>
                  <a:lnTo>
                    <a:pt x="2030" y="1628"/>
                  </a:lnTo>
                  <a:lnTo>
                    <a:pt x="2029" y="1632"/>
                  </a:lnTo>
                  <a:lnTo>
                    <a:pt x="2027" y="1633"/>
                  </a:lnTo>
                  <a:lnTo>
                    <a:pt x="2036" y="1628"/>
                  </a:lnTo>
                  <a:lnTo>
                    <a:pt x="2035" y="1633"/>
                  </a:lnTo>
                  <a:lnTo>
                    <a:pt x="2032" y="1638"/>
                  </a:lnTo>
                  <a:lnTo>
                    <a:pt x="2035" y="1636"/>
                  </a:lnTo>
                  <a:lnTo>
                    <a:pt x="2037" y="1633"/>
                  </a:lnTo>
                  <a:lnTo>
                    <a:pt x="2037" y="1636"/>
                  </a:lnTo>
                  <a:lnTo>
                    <a:pt x="2037" y="1638"/>
                  </a:lnTo>
                  <a:lnTo>
                    <a:pt x="2040" y="1638"/>
                  </a:lnTo>
                  <a:lnTo>
                    <a:pt x="2037" y="1642"/>
                  </a:lnTo>
                  <a:lnTo>
                    <a:pt x="2041" y="1640"/>
                  </a:lnTo>
                  <a:lnTo>
                    <a:pt x="2040" y="1642"/>
                  </a:lnTo>
                  <a:lnTo>
                    <a:pt x="2044" y="1643"/>
                  </a:lnTo>
                  <a:lnTo>
                    <a:pt x="2046" y="1645"/>
                  </a:lnTo>
                  <a:lnTo>
                    <a:pt x="2043" y="1647"/>
                  </a:lnTo>
                  <a:lnTo>
                    <a:pt x="2046" y="1647"/>
                  </a:lnTo>
                  <a:lnTo>
                    <a:pt x="2044" y="1651"/>
                  </a:lnTo>
                  <a:lnTo>
                    <a:pt x="2047" y="1658"/>
                  </a:lnTo>
                  <a:lnTo>
                    <a:pt x="2044" y="1663"/>
                  </a:lnTo>
                  <a:lnTo>
                    <a:pt x="2044" y="1664"/>
                  </a:lnTo>
                  <a:lnTo>
                    <a:pt x="2046" y="1663"/>
                  </a:lnTo>
                  <a:lnTo>
                    <a:pt x="2049" y="1660"/>
                  </a:lnTo>
                  <a:lnTo>
                    <a:pt x="2049" y="1651"/>
                  </a:lnTo>
                  <a:lnTo>
                    <a:pt x="2051" y="1651"/>
                  </a:lnTo>
                  <a:lnTo>
                    <a:pt x="2054" y="1651"/>
                  </a:lnTo>
                  <a:lnTo>
                    <a:pt x="2055" y="1655"/>
                  </a:lnTo>
                  <a:lnTo>
                    <a:pt x="2062" y="1655"/>
                  </a:lnTo>
                  <a:lnTo>
                    <a:pt x="2071" y="1651"/>
                  </a:lnTo>
                  <a:lnTo>
                    <a:pt x="2072" y="1651"/>
                  </a:lnTo>
                  <a:lnTo>
                    <a:pt x="2076" y="1651"/>
                  </a:lnTo>
                  <a:lnTo>
                    <a:pt x="2078" y="1655"/>
                  </a:lnTo>
                  <a:lnTo>
                    <a:pt x="2078" y="1651"/>
                  </a:lnTo>
                  <a:lnTo>
                    <a:pt x="2076" y="1651"/>
                  </a:lnTo>
                  <a:lnTo>
                    <a:pt x="2087" y="1651"/>
                  </a:lnTo>
                  <a:lnTo>
                    <a:pt x="2096" y="1651"/>
                  </a:lnTo>
                  <a:lnTo>
                    <a:pt x="2105" y="1651"/>
                  </a:lnTo>
                  <a:lnTo>
                    <a:pt x="2111" y="1651"/>
                  </a:lnTo>
                  <a:lnTo>
                    <a:pt x="2115" y="1651"/>
                  </a:lnTo>
                  <a:lnTo>
                    <a:pt x="2115" y="1655"/>
                  </a:lnTo>
                  <a:lnTo>
                    <a:pt x="2114" y="1656"/>
                  </a:lnTo>
                  <a:lnTo>
                    <a:pt x="2114" y="1664"/>
                  </a:lnTo>
                  <a:lnTo>
                    <a:pt x="2112" y="1668"/>
                  </a:lnTo>
                  <a:lnTo>
                    <a:pt x="2105" y="1669"/>
                  </a:lnTo>
                  <a:lnTo>
                    <a:pt x="2104" y="1669"/>
                  </a:lnTo>
                  <a:lnTo>
                    <a:pt x="2104" y="1668"/>
                  </a:lnTo>
                  <a:lnTo>
                    <a:pt x="2101" y="1668"/>
                  </a:lnTo>
                  <a:lnTo>
                    <a:pt x="2099" y="1669"/>
                  </a:lnTo>
                  <a:lnTo>
                    <a:pt x="2103" y="1669"/>
                  </a:lnTo>
                  <a:lnTo>
                    <a:pt x="2100" y="1682"/>
                  </a:lnTo>
                  <a:lnTo>
                    <a:pt x="2100" y="1686"/>
                  </a:lnTo>
                  <a:lnTo>
                    <a:pt x="2101" y="1690"/>
                  </a:lnTo>
                  <a:lnTo>
                    <a:pt x="2100" y="1692"/>
                  </a:lnTo>
                  <a:lnTo>
                    <a:pt x="2100" y="1695"/>
                  </a:lnTo>
                  <a:lnTo>
                    <a:pt x="2101" y="1698"/>
                  </a:lnTo>
                  <a:lnTo>
                    <a:pt x="2107" y="1700"/>
                  </a:lnTo>
                  <a:lnTo>
                    <a:pt x="2107" y="1703"/>
                  </a:lnTo>
                  <a:lnTo>
                    <a:pt x="2108" y="1705"/>
                  </a:lnTo>
                  <a:lnTo>
                    <a:pt x="2107" y="1705"/>
                  </a:lnTo>
                  <a:lnTo>
                    <a:pt x="2108" y="1705"/>
                  </a:lnTo>
                  <a:lnTo>
                    <a:pt x="2114" y="1722"/>
                  </a:lnTo>
                  <a:lnTo>
                    <a:pt x="2114" y="1726"/>
                  </a:lnTo>
                  <a:lnTo>
                    <a:pt x="2112" y="1727"/>
                  </a:lnTo>
                  <a:lnTo>
                    <a:pt x="2115" y="1727"/>
                  </a:lnTo>
                  <a:lnTo>
                    <a:pt x="2112" y="1727"/>
                  </a:lnTo>
                  <a:lnTo>
                    <a:pt x="2112" y="1731"/>
                  </a:lnTo>
                  <a:lnTo>
                    <a:pt x="2110" y="1731"/>
                  </a:lnTo>
                  <a:lnTo>
                    <a:pt x="2112" y="1734"/>
                  </a:lnTo>
                  <a:lnTo>
                    <a:pt x="2114" y="1731"/>
                  </a:lnTo>
                  <a:lnTo>
                    <a:pt x="2118" y="1730"/>
                  </a:lnTo>
                  <a:lnTo>
                    <a:pt x="2117" y="1731"/>
                  </a:lnTo>
                  <a:lnTo>
                    <a:pt x="2119" y="1735"/>
                  </a:lnTo>
                  <a:lnTo>
                    <a:pt x="2124" y="1737"/>
                  </a:lnTo>
                  <a:lnTo>
                    <a:pt x="2124" y="1739"/>
                  </a:lnTo>
                  <a:lnTo>
                    <a:pt x="2129" y="1740"/>
                  </a:lnTo>
                  <a:lnTo>
                    <a:pt x="2139" y="1740"/>
                  </a:lnTo>
                  <a:lnTo>
                    <a:pt x="2145" y="1738"/>
                  </a:lnTo>
                  <a:lnTo>
                    <a:pt x="2153" y="1744"/>
                  </a:lnTo>
                  <a:lnTo>
                    <a:pt x="2156" y="1754"/>
                  </a:lnTo>
                  <a:lnTo>
                    <a:pt x="2153" y="1765"/>
                  </a:lnTo>
                  <a:lnTo>
                    <a:pt x="2151" y="1763"/>
                  </a:lnTo>
                  <a:lnTo>
                    <a:pt x="2151" y="1757"/>
                  </a:lnTo>
                  <a:lnTo>
                    <a:pt x="2147" y="1762"/>
                  </a:lnTo>
                  <a:lnTo>
                    <a:pt x="2146" y="1762"/>
                  </a:lnTo>
                  <a:lnTo>
                    <a:pt x="2142" y="1754"/>
                  </a:lnTo>
                  <a:lnTo>
                    <a:pt x="2129" y="1752"/>
                  </a:lnTo>
                  <a:lnTo>
                    <a:pt x="2129" y="1750"/>
                  </a:lnTo>
                  <a:lnTo>
                    <a:pt x="2128" y="1748"/>
                  </a:lnTo>
                  <a:lnTo>
                    <a:pt x="2121" y="1748"/>
                  </a:lnTo>
                  <a:lnTo>
                    <a:pt x="2114" y="1754"/>
                  </a:lnTo>
                  <a:lnTo>
                    <a:pt x="2114" y="1772"/>
                  </a:lnTo>
                  <a:lnTo>
                    <a:pt x="2115" y="1780"/>
                  </a:lnTo>
                  <a:lnTo>
                    <a:pt x="2114" y="1784"/>
                  </a:lnTo>
                  <a:lnTo>
                    <a:pt x="2117" y="1784"/>
                  </a:lnTo>
                  <a:lnTo>
                    <a:pt x="2118" y="1792"/>
                  </a:lnTo>
                  <a:lnTo>
                    <a:pt x="2121" y="1793"/>
                  </a:lnTo>
                  <a:lnTo>
                    <a:pt x="2112" y="1802"/>
                  </a:lnTo>
                  <a:lnTo>
                    <a:pt x="2111" y="1806"/>
                  </a:lnTo>
                  <a:lnTo>
                    <a:pt x="2114" y="1810"/>
                  </a:lnTo>
                  <a:lnTo>
                    <a:pt x="2117" y="1812"/>
                  </a:lnTo>
                  <a:lnTo>
                    <a:pt x="2121" y="1812"/>
                  </a:lnTo>
                  <a:lnTo>
                    <a:pt x="2126" y="1815"/>
                  </a:lnTo>
                  <a:lnTo>
                    <a:pt x="2126" y="1829"/>
                  </a:lnTo>
                  <a:lnTo>
                    <a:pt x="2124" y="1829"/>
                  </a:lnTo>
                  <a:lnTo>
                    <a:pt x="2125" y="1829"/>
                  </a:lnTo>
                  <a:lnTo>
                    <a:pt x="2128" y="1827"/>
                  </a:lnTo>
                  <a:lnTo>
                    <a:pt x="2128" y="1825"/>
                  </a:lnTo>
                  <a:lnTo>
                    <a:pt x="2129" y="1821"/>
                  </a:lnTo>
                  <a:lnTo>
                    <a:pt x="2132" y="1821"/>
                  </a:lnTo>
                  <a:lnTo>
                    <a:pt x="2129" y="1821"/>
                  </a:lnTo>
                  <a:lnTo>
                    <a:pt x="2125" y="1807"/>
                  </a:lnTo>
                  <a:lnTo>
                    <a:pt x="2124" y="1807"/>
                  </a:lnTo>
                  <a:lnTo>
                    <a:pt x="2117" y="1807"/>
                  </a:lnTo>
                  <a:lnTo>
                    <a:pt x="2114" y="1807"/>
                  </a:lnTo>
                  <a:lnTo>
                    <a:pt x="2114" y="1806"/>
                  </a:lnTo>
                  <a:lnTo>
                    <a:pt x="2119" y="1802"/>
                  </a:lnTo>
                  <a:lnTo>
                    <a:pt x="2129" y="1801"/>
                  </a:lnTo>
                  <a:lnTo>
                    <a:pt x="2132" y="1797"/>
                  </a:lnTo>
                  <a:lnTo>
                    <a:pt x="2139" y="1793"/>
                  </a:lnTo>
                  <a:lnTo>
                    <a:pt x="2143" y="1793"/>
                  </a:lnTo>
                  <a:lnTo>
                    <a:pt x="2151" y="1802"/>
                  </a:lnTo>
                  <a:lnTo>
                    <a:pt x="2153" y="1812"/>
                  </a:lnTo>
                  <a:lnTo>
                    <a:pt x="2151" y="1815"/>
                  </a:lnTo>
                  <a:lnTo>
                    <a:pt x="2146" y="1815"/>
                  </a:lnTo>
                  <a:lnTo>
                    <a:pt x="2147" y="1815"/>
                  </a:lnTo>
                  <a:lnTo>
                    <a:pt x="2146" y="1821"/>
                  </a:lnTo>
                  <a:lnTo>
                    <a:pt x="2143" y="1829"/>
                  </a:lnTo>
                  <a:lnTo>
                    <a:pt x="2143" y="1832"/>
                  </a:lnTo>
                  <a:lnTo>
                    <a:pt x="2137" y="1838"/>
                  </a:lnTo>
                  <a:lnTo>
                    <a:pt x="2139" y="1838"/>
                  </a:lnTo>
                  <a:lnTo>
                    <a:pt x="2143" y="1837"/>
                  </a:lnTo>
                  <a:lnTo>
                    <a:pt x="2143" y="1841"/>
                  </a:lnTo>
                  <a:lnTo>
                    <a:pt x="2142" y="1842"/>
                  </a:lnTo>
                  <a:lnTo>
                    <a:pt x="2143" y="1842"/>
                  </a:lnTo>
                  <a:lnTo>
                    <a:pt x="2146" y="1838"/>
                  </a:lnTo>
                  <a:lnTo>
                    <a:pt x="2146" y="1832"/>
                  </a:lnTo>
                  <a:lnTo>
                    <a:pt x="2149" y="1829"/>
                  </a:lnTo>
                  <a:lnTo>
                    <a:pt x="2151" y="1829"/>
                  </a:lnTo>
                  <a:lnTo>
                    <a:pt x="2153" y="1832"/>
                  </a:lnTo>
                  <a:lnTo>
                    <a:pt x="2153" y="1842"/>
                  </a:lnTo>
                  <a:lnTo>
                    <a:pt x="2154" y="1834"/>
                  </a:lnTo>
                  <a:lnTo>
                    <a:pt x="2156" y="1834"/>
                  </a:lnTo>
                  <a:lnTo>
                    <a:pt x="2156" y="1829"/>
                  </a:lnTo>
                  <a:lnTo>
                    <a:pt x="2164" y="1825"/>
                  </a:lnTo>
                  <a:lnTo>
                    <a:pt x="2164" y="1838"/>
                  </a:lnTo>
                  <a:lnTo>
                    <a:pt x="2161" y="1847"/>
                  </a:lnTo>
                  <a:lnTo>
                    <a:pt x="2153" y="1866"/>
                  </a:lnTo>
                  <a:lnTo>
                    <a:pt x="2149" y="1869"/>
                  </a:lnTo>
                  <a:lnTo>
                    <a:pt x="2142" y="1873"/>
                  </a:lnTo>
                  <a:lnTo>
                    <a:pt x="2137" y="1873"/>
                  </a:lnTo>
                  <a:lnTo>
                    <a:pt x="2133" y="1876"/>
                  </a:lnTo>
                  <a:lnTo>
                    <a:pt x="2125" y="1881"/>
                  </a:lnTo>
                  <a:lnTo>
                    <a:pt x="2124" y="1881"/>
                  </a:lnTo>
                  <a:lnTo>
                    <a:pt x="2125" y="1879"/>
                  </a:lnTo>
                  <a:lnTo>
                    <a:pt x="2124" y="1876"/>
                  </a:lnTo>
                  <a:lnTo>
                    <a:pt x="2118" y="1872"/>
                  </a:lnTo>
                  <a:lnTo>
                    <a:pt x="2118" y="1866"/>
                  </a:lnTo>
                  <a:lnTo>
                    <a:pt x="2112" y="1860"/>
                  </a:lnTo>
                  <a:lnTo>
                    <a:pt x="2111" y="1856"/>
                  </a:lnTo>
                  <a:lnTo>
                    <a:pt x="2105" y="1855"/>
                  </a:lnTo>
                  <a:lnTo>
                    <a:pt x="2099" y="1843"/>
                  </a:lnTo>
                  <a:lnTo>
                    <a:pt x="2097" y="1850"/>
                  </a:lnTo>
                  <a:lnTo>
                    <a:pt x="2094" y="1850"/>
                  </a:lnTo>
                  <a:lnTo>
                    <a:pt x="2100" y="1851"/>
                  </a:lnTo>
                  <a:lnTo>
                    <a:pt x="2110" y="1864"/>
                  </a:lnTo>
                  <a:lnTo>
                    <a:pt x="2108" y="1868"/>
                  </a:lnTo>
                  <a:lnTo>
                    <a:pt x="2111" y="1869"/>
                  </a:lnTo>
                  <a:lnTo>
                    <a:pt x="2108" y="1873"/>
                  </a:lnTo>
                  <a:lnTo>
                    <a:pt x="2108" y="1876"/>
                  </a:lnTo>
                  <a:lnTo>
                    <a:pt x="2110" y="1877"/>
                  </a:lnTo>
                  <a:lnTo>
                    <a:pt x="2108" y="1883"/>
                  </a:lnTo>
                  <a:lnTo>
                    <a:pt x="2110" y="1883"/>
                  </a:lnTo>
                  <a:lnTo>
                    <a:pt x="2112" y="1885"/>
                  </a:lnTo>
                  <a:lnTo>
                    <a:pt x="2110" y="1891"/>
                  </a:lnTo>
                  <a:lnTo>
                    <a:pt x="2105" y="1892"/>
                  </a:lnTo>
                  <a:lnTo>
                    <a:pt x="2100" y="1898"/>
                  </a:lnTo>
                  <a:lnTo>
                    <a:pt x="2099" y="1896"/>
                  </a:lnTo>
                  <a:lnTo>
                    <a:pt x="2097" y="1892"/>
                  </a:lnTo>
                  <a:lnTo>
                    <a:pt x="2094" y="1894"/>
                  </a:lnTo>
                  <a:lnTo>
                    <a:pt x="2096" y="1896"/>
                  </a:lnTo>
                  <a:lnTo>
                    <a:pt x="2094" y="1896"/>
                  </a:lnTo>
                  <a:lnTo>
                    <a:pt x="2093" y="1896"/>
                  </a:lnTo>
                  <a:lnTo>
                    <a:pt x="2093" y="1901"/>
                  </a:lnTo>
                  <a:lnTo>
                    <a:pt x="2094" y="1904"/>
                  </a:lnTo>
                  <a:lnTo>
                    <a:pt x="2097" y="1904"/>
                  </a:lnTo>
                  <a:lnTo>
                    <a:pt x="2097" y="1905"/>
                  </a:lnTo>
                  <a:lnTo>
                    <a:pt x="2094" y="1914"/>
                  </a:lnTo>
                  <a:lnTo>
                    <a:pt x="2087" y="1928"/>
                  </a:lnTo>
                  <a:lnTo>
                    <a:pt x="2085" y="1931"/>
                  </a:lnTo>
                  <a:lnTo>
                    <a:pt x="2083" y="1945"/>
                  </a:lnTo>
                  <a:lnTo>
                    <a:pt x="2074" y="1958"/>
                  </a:lnTo>
                  <a:lnTo>
                    <a:pt x="2072" y="1966"/>
                  </a:lnTo>
                  <a:lnTo>
                    <a:pt x="2068" y="1972"/>
                  </a:lnTo>
                  <a:lnTo>
                    <a:pt x="2064" y="1971"/>
                  </a:lnTo>
                  <a:lnTo>
                    <a:pt x="2061" y="1967"/>
                  </a:lnTo>
                  <a:lnTo>
                    <a:pt x="2062" y="1966"/>
                  </a:lnTo>
                  <a:lnTo>
                    <a:pt x="2060" y="1958"/>
                  </a:lnTo>
                  <a:lnTo>
                    <a:pt x="2062" y="1956"/>
                  </a:lnTo>
                  <a:lnTo>
                    <a:pt x="2062" y="1943"/>
                  </a:lnTo>
                  <a:lnTo>
                    <a:pt x="2060" y="1937"/>
                  </a:lnTo>
                  <a:lnTo>
                    <a:pt x="2054" y="1935"/>
                  </a:lnTo>
                  <a:lnTo>
                    <a:pt x="2054" y="1934"/>
                  </a:lnTo>
                  <a:lnTo>
                    <a:pt x="2051" y="1931"/>
                  </a:lnTo>
                  <a:lnTo>
                    <a:pt x="2050" y="1931"/>
                  </a:lnTo>
                  <a:lnTo>
                    <a:pt x="2052" y="1934"/>
                  </a:lnTo>
                  <a:lnTo>
                    <a:pt x="2051" y="1935"/>
                  </a:lnTo>
                  <a:lnTo>
                    <a:pt x="2046" y="1934"/>
                  </a:lnTo>
                  <a:lnTo>
                    <a:pt x="2037" y="1934"/>
                  </a:lnTo>
                  <a:lnTo>
                    <a:pt x="2036" y="1935"/>
                  </a:lnTo>
                  <a:lnTo>
                    <a:pt x="2035" y="1934"/>
                  </a:lnTo>
                  <a:lnTo>
                    <a:pt x="2029" y="1935"/>
                  </a:lnTo>
                  <a:lnTo>
                    <a:pt x="2022" y="1939"/>
                  </a:lnTo>
                  <a:lnTo>
                    <a:pt x="2014" y="1945"/>
                  </a:lnTo>
                  <a:lnTo>
                    <a:pt x="2010" y="1950"/>
                  </a:lnTo>
                  <a:lnTo>
                    <a:pt x="2010" y="1953"/>
                  </a:lnTo>
                  <a:lnTo>
                    <a:pt x="2008" y="1953"/>
                  </a:lnTo>
                  <a:lnTo>
                    <a:pt x="2005" y="1956"/>
                  </a:lnTo>
                  <a:lnTo>
                    <a:pt x="2004" y="1954"/>
                  </a:lnTo>
                  <a:lnTo>
                    <a:pt x="2004" y="1958"/>
                  </a:lnTo>
                  <a:lnTo>
                    <a:pt x="2005" y="1958"/>
                  </a:lnTo>
                  <a:lnTo>
                    <a:pt x="2001" y="1958"/>
                  </a:lnTo>
                  <a:lnTo>
                    <a:pt x="2002" y="1958"/>
                  </a:lnTo>
                  <a:lnTo>
                    <a:pt x="2001" y="1963"/>
                  </a:lnTo>
                  <a:lnTo>
                    <a:pt x="1994" y="1961"/>
                  </a:lnTo>
                  <a:lnTo>
                    <a:pt x="1993" y="1958"/>
                  </a:lnTo>
                  <a:lnTo>
                    <a:pt x="1994" y="1954"/>
                  </a:lnTo>
                  <a:lnTo>
                    <a:pt x="1990" y="1954"/>
                  </a:lnTo>
                  <a:lnTo>
                    <a:pt x="1987" y="1954"/>
                  </a:lnTo>
                  <a:lnTo>
                    <a:pt x="1986" y="1958"/>
                  </a:lnTo>
                  <a:lnTo>
                    <a:pt x="1990" y="1954"/>
                  </a:lnTo>
                  <a:lnTo>
                    <a:pt x="1991" y="1956"/>
                  </a:lnTo>
                  <a:lnTo>
                    <a:pt x="1989" y="1958"/>
                  </a:lnTo>
                  <a:lnTo>
                    <a:pt x="1991" y="1967"/>
                  </a:lnTo>
                  <a:lnTo>
                    <a:pt x="1987" y="1966"/>
                  </a:lnTo>
                  <a:lnTo>
                    <a:pt x="1982" y="1967"/>
                  </a:lnTo>
                  <a:lnTo>
                    <a:pt x="1985" y="1967"/>
                  </a:lnTo>
                  <a:lnTo>
                    <a:pt x="1986" y="1967"/>
                  </a:lnTo>
                  <a:lnTo>
                    <a:pt x="1987" y="1967"/>
                  </a:lnTo>
                  <a:lnTo>
                    <a:pt x="1989" y="1967"/>
                  </a:lnTo>
                  <a:lnTo>
                    <a:pt x="1987" y="1971"/>
                  </a:lnTo>
                  <a:lnTo>
                    <a:pt x="1989" y="1972"/>
                  </a:lnTo>
                  <a:lnTo>
                    <a:pt x="1983" y="1985"/>
                  </a:lnTo>
                  <a:lnTo>
                    <a:pt x="1982" y="1993"/>
                  </a:lnTo>
                  <a:lnTo>
                    <a:pt x="1985" y="1995"/>
                  </a:lnTo>
                  <a:lnTo>
                    <a:pt x="1983" y="1998"/>
                  </a:lnTo>
                  <a:lnTo>
                    <a:pt x="1986" y="2001"/>
                  </a:lnTo>
                  <a:lnTo>
                    <a:pt x="1987" y="2006"/>
                  </a:lnTo>
                  <a:lnTo>
                    <a:pt x="1991" y="2008"/>
                  </a:lnTo>
                  <a:lnTo>
                    <a:pt x="1991" y="2012"/>
                  </a:lnTo>
                  <a:lnTo>
                    <a:pt x="2004" y="2023"/>
                  </a:lnTo>
                  <a:lnTo>
                    <a:pt x="2004" y="2025"/>
                  </a:lnTo>
                  <a:lnTo>
                    <a:pt x="2001" y="2025"/>
                  </a:lnTo>
                  <a:lnTo>
                    <a:pt x="2002" y="2025"/>
                  </a:lnTo>
                  <a:lnTo>
                    <a:pt x="2001" y="2028"/>
                  </a:lnTo>
                  <a:lnTo>
                    <a:pt x="2004" y="2028"/>
                  </a:lnTo>
                  <a:lnTo>
                    <a:pt x="2007" y="2033"/>
                  </a:lnTo>
                  <a:lnTo>
                    <a:pt x="2010" y="2037"/>
                  </a:lnTo>
                  <a:lnTo>
                    <a:pt x="2012" y="2041"/>
                  </a:lnTo>
                  <a:lnTo>
                    <a:pt x="2010" y="2041"/>
                  </a:lnTo>
                  <a:lnTo>
                    <a:pt x="2012" y="2043"/>
                  </a:lnTo>
                  <a:lnTo>
                    <a:pt x="2011" y="2043"/>
                  </a:lnTo>
                  <a:lnTo>
                    <a:pt x="2010" y="2047"/>
                  </a:lnTo>
                  <a:lnTo>
                    <a:pt x="2010" y="2050"/>
                  </a:lnTo>
                  <a:lnTo>
                    <a:pt x="2007" y="2051"/>
                  </a:lnTo>
                  <a:lnTo>
                    <a:pt x="2011" y="2051"/>
                  </a:lnTo>
                  <a:lnTo>
                    <a:pt x="2012" y="2051"/>
                  </a:lnTo>
                  <a:lnTo>
                    <a:pt x="2022" y="2050"/>
                  </a:lnTo>
                  <a:lnTo>
                    <a:pt x="2027" y="2050"/>
                  </a:lnTo>
                  <a:lnTo>
                    <a:pt x="2026" y="2057"/>
                  </a:lnTo>
                  <a:lnTo>
                    <a:pt x="2033" y="2060"/>
                  </a:lnTo>
                  <a:lnTo>
                    <a:pt x="2032" y="2059"/>
                  </a:lnTo>
                  <a:lnTo>
                    <a:pt x="2029" y="2057"/>
                  </a:lnTo>
                  <a:lnTo>
                    <a:pt x="2030" y="2051"/>
                  </a:lnTo>
                  <a:lnTo>
                    <a:pt x="2039" y="2055"/>
                  </a:lnTo>
                  <a:lnTo>
                    <a:pt x="2040" y="2051"/>
                  </a:lnTo>
                  <a:lnTo>
                    <a:pt x="2046" y="2055"/>
                  </a:lnTo>
                  <a:lnTo>
                    <a:pt x="2050" y="2051"/>
                  </a:lnTo>
                  <a:lnTo>
                    <a:pt x="2046" y="2057"/>
                  </a:lnTo>
                  <a:lnTo>
                    <a:pt x="2049" y="2063"/>
                  </a:lnTo>
                  <a:lnTo>
                    <a:pt x="2049" y="2070"/>
                  </a:lnTo>
                  <a:lnTo>
                    <a:pt x="2050" y="2066"/>
                  </a:lnTo>
                  <a:lnTo>
                    <a:pt x="2051" y="2065"/>
                  </a:lnTo>
                  <a:lnTo>
                    <a:pt x="2052" y="2066"/>
                  </a:lnTo>
                  <a:lnTo>
                    <a:pt x="2051" y="2070"/>
                  </a:lnTo>
                  <a:lnTo>
                    <a:pt x="2052" y="2070"/>
                  </a:lnTo>
                  <a:lnTo>
                    <a:pt x="2055" y="2066"/>
                  </a:lnTo>
                  <a:lnTo>
                    <a:pt x="2055" y="2060"/>
                  </a:lnTo>
                  <a:lnTo>
                    <a:pt x="2061" y="2057"/>
                  </a:lnTo>
                  <a:lnTo>
                    <a:pt x="2064" y="2057"/>
                  </a:lnTo>
                  <a:lnTo>
                    <a:pt x="2068" y="2051"/>
                  </a:lnTo>
                  <a:lnTo>
                    <a:pt x="2066" y="2047"/>
                  </a:lnTo>
                  <a:lnTo>
                    <a:pt x="2069" y="2043"/>
                  </a:lnTo>
                  <a:lnTo>
                    <a:pt x="2068" y="2043"/>
                  </a:lnTo>
                  <a:lnTo>
                    <a:pt x="2071" y="2034"/>
                  </a:lnTo>
                  <a:lnTo>
                    <a:pt x="2071" y="2030"/>
                  </a:lnTo>
                  <a:lnTo>
                    <a:pt x="2069" y="2030"/>
                  </a:lnTo>
                  <a:lnTo>
                    <a:pt x="2071" y="2028"/>
                  </a:lnTo>
                  <a:lnTo>
                    <a:pt x="2071" y="2025"/>
                  </a:lnTo>
                  <a:lnTo>
                    <a:pt x="2069" y="2016"/>
                  </a:lnTo>
                  <a:lnTo>
                    <a:pt x="2065" y="2012"/>
                  </a:lnTo>
                  <a:lnTo>
                    <a:pt x="2052" y="2003"/>
                  </a:lnTo>
                  <a:lnTo>
                    <a:pt x="2046" y="2003"/>
                  </a:lnTo>
                  <a:lnTo>
                    <a:pt x="2044" y="2001"/>
                  </a:lnTo>
                  <a:lnTo>
                    <a:pt x="2046" y="1998"/>
                  </a:lnTo>
                  <a:lnTo>
                    <a:pt x="2049" y="1997"/>
                  </a:lnTo>
                  <a:lnTo>
                    <a:pt x="2050" y="1995"/>
                  </a:lnTo>
                  <a:lnTo>
                    <a:pt x="2054" y="1995"/>
                  </a:lnTo>
                  <a:lnTo>
                    <a:pt x="2058" y="1989"/>
                  </a:lnTo>
                  <a:lnTo>
                    <a:pt x="2064" y="1989"/>
                  </a:lnTo>
                  <a:lnTo>
                    <a:pt x="2069" y="1993"/>
                  </a:lnTo>
                  <a:lnTo>
                    <a:pt x="2074" y="1997"/>
                  </a:lnTo>
                  <a:lnTo>
                    <a:pt x="2080" y="1998"/>
                  </a:lnTo>
                  <a:lnTo>
                    <a:pt x="2083" y="1998"/>
                  </a:lnTo>
                  <a:lnTo>
                    <a:pt x="2089" y="2003"/>
                  </a:lnTo>
                  <a:lnTo>
                    <a:pt x="2093" y="2006"/>
                  </a:lnTo>
                  <a:lnTo>
                    <a:pt x="2099" y="2006"/>
                  </a:lnTo>
                  <a:lnTo>
                    <a:pt x="2104" y="2003"/>
                  </a:lnTo>
                  <a:lnTo>
                    <a:pt x="2114" y="2001"/>
                  </a:lnTo>
                  <a:lnTo>
                    <a:pt x="2117" y="1998"/>
                  </a:lnTo>
                  <a:lnTo>
                    <a:pt x="2128" y="2003"/>
                  </a:lnTo>
                  <a:lnTo>
                    <a:pt x="2131" y="2008"/>
                  </a:lnTo>
                  <a:lnTo>
                    <a:pt x="2129" y="2021"/>
                  </a:lnTo>
                  <a:lnTo>
                    <a:pt x="2118" y="2051"/>
                  </a:lnTo>
                  <a:lnTo>
                    <a:pt x="2107" y="2070"/>
                  </a:lnTo>
                  <a:lnTo>
                    <a:pt x="2101" y="2091"/>
                  </a:lnTo>
                  <a:lnTo>
                    <a:pt x="2103" y="2102"/>
                  </a:lnTo>
                  <a:lnTo>
                    <a:pt x="2101" y="2109"/>
                  </a:lnTo>
                  <a:lnTo>
                    <a:pt x="2104" y="2124"/>
                  </a:lnTo>
                  <a:lnTo>
                    <a:pt x="2104" y="2132"/>
                  </a:lnTo>
                  <a:lnTo>
                    <a:pt x="2105" y="2137"/>
                  </a:lnTo>
                  <a:lnTo>
                    <a:pt x="2107" y="2141"/>
                  </a:lnTo>
                  <a:lnTo>
                    <a:pt x="2110" y="2149"/>
                  </a:lnTo>
                  <a:lnTo>
                    <a:pt x="2110" y="2170"/>
                  </a:lnTo>
                  <a:lnTo>
                    <a:pt x="2108" y="2189"/>
                  </a:lnTo>
                  <a:lnTo>
                    <a:pt x="2105" y="2203"/>
                  </a:lnTo>
                  <a:lnTo>
                    <a:pt x="2105" y="2211"/>
                  </a:lnTo>
                  <a:lnTo>
                    <a:pt x="2108" y="2221"/>
                  </a:lnTo>
                  <a:lnTo>
                    <a:pt x="2107" y="2231"/>
                  </a:lnTo>
                  <a:lnTo>
                    <a:pt x="2108" y="2234"/>
                  </a:lnTo>
                  <a:lnTo>
                    <a:pt x="2111" y="2248"/>
                  </a:lnTo>
                  <a:lnTo>
                    <a:pt x="2108" y="2261"/>
                  </a:lnTo>
                  <a:lnTo>
                    <a:pt x="2111" y="2273"/>
                  </a:lnTo>
                  <a:lnTo>
                    <a:pt x="2111" y="2283"/>
                  </a:lnTo>
                  <a:lnTo>
                    <a:pt x="2115" y="2286"/>
                  </a:lnTo>
                  <a:lnTo>
                    <a:pt x="2115" y="2289"/>
                  </a:lnTo>
                  <a:lnTo>
                    <a:pt x="2122" y="2296"/>
                  </a:lnTo>
                  <a:lnTo>
                    <a:pt x="2125" y="2302"/>
                  </a:lnTo>
                  <a:lnTo>
                    <a:pt x="2125" y="2309"/>
                  </a:lnTo>
                  <a:lnTo>
                    <a:pt x="2126" y="2315"/>
                  </a:lnTo>
                  <a:lnTo>
                    <a:pt x="2128" y="2321"/>
                  </a:lnTo>
                  <a:lnTo>
                    <a:pt x="2125" y="2341"/>
                  </a:lnTo>
                  <a:lnTo>
                    <a:pt x="2122" y="2351"/>
                  </a:lnTo>
                  <a:lnTo>
                    <a:pt x="2110" y="2357"/>
                  </a:lnTo>
                  <a:lnTo>
                    <a:pt x="2103" y="2364"/>
                  </a:lnTo>
                  <a:lnTo>
                    <a:pt x="2091" y="2385"/>
                  </a:lnTo>
                  <a:lnTo>
                    <a:pt x="2087" y="2399"/>
                  </a:lnTo>
                  <a:lnTo>
                    <a:pt x="2087" y="2407"/>
                  </a:lnTo>
                  <a:lnTo>
                    <a:pt x="2087" y="2412"/>
                  </a:lnTo>
                  <a:lnTo>
                    <a:pt x="2087" y="2415"/>
                  </a:lnTo>
                  <a:lnTo>
                    <a:pt x="2080" y="2431"/>
                  </a:lnTo>
                  <a:lnTo>
                    <a:pt x="2080" y="2439"/>
                  </a:lnTo>
                  <a:lnTo>
                    <a:pt x="2082" y="2439"/>
                  </a:lnTo>
                  <a:lnTo>
                    <a:pt x="2079" y="2439"/>
                  </a:lnTo>
                  <a:lnTo>
                    <a:pt x="2079" y="2437"/>
                  </a:lnTo>
                  <a:lnTo>
                    <a:pt x="2074" y="2437"/>
                  </a:lnTo>
                  <a:lnTo>
                    <a:pt x="2069" y="2444"/>
                  </a:lnTo>
                  <a:lnTo>
                    <a:pt x="2068" y="2444"/>
                  </a:lnTo>
                  <a:lnTo>
                    <a:pt x="2066" y="2444"/>
                  </a:lnTo>
                  <a:lnTo>
                    <a:pt x="2064" y="2444"/>
                  </a:lnTo>
                  <a:lnTo>
                    <a:pt x="2055" y="2443"/>
                  </a:lnTo>
                  <a:lnTo>
                    <a:pt x="2044" y="2451"/>
                  </a:lnTo>
                  <a:lnTo>
                    <a:pt x="2041" y="2451"/>
                  </a:lnTo>
                  <a:lnTo>
                    <a:pt x="2035" y="2444"/>
                  </a:lnTo>
                  <a:lnTo>
                    <a:pt x="2027" y="2444"/>
                  </a:lnTo>
                  <a:lnTo>
                    <a:pt x="2025" y="2439"/>
                  </a:lnTo>
                  <a:lnTo>
                    <a:pt x="2022" y="2435"/>
                  </a:lnTo>
                  <a:lnTo>
                    <a:pt x="2019" y="2430"/>
                  </a:lnTo>
                  <a:lnTo>
                    <a:pt x="2021" y="2422"/>
                  </a:lnTo>
                  <a:lnTo>
                    <a:pt x="2019" y="2412"/>
                  </a:lnTo>
                  <a:lnTo>
                    <a:pt x="2018" y="2408"/>
                  </a:lnTo>
                  <a:lnTo>
                    <a:pt x="2015" y="2407"/>
                  </a:lnTo>
                  <a:lnTo>
                    <a:pt x="2007" y="2407"/>
                  </a:lnTo>
                  <a:lnTo>
                    <a:pt x="2004" y="2403"/>
                  </a:lnTo>
                  <a:lnTo>
                    <a:pt x="1999" y="2399"/>
                  </a:lnTo>
                  <a:lnTo>
                    <a:pt x="1994" y="2395"/>
                  </a:lnTo>
                  <a:lnTo>
                    <a:pt x="1991" y="2395"/>
                  </a:lnTo>
                  <a:lnTo>
                    <a:pt x="1983" y="2399"/>
                  </a:lnTo>
                  <a:lnTo>
                    <a:pt x="1975" y="2398"/>
                  </a:lnTo>
                  <a:lnTo>
                    <a:pt x="1968" y="2399"/>
                  </a:lnTo>
                  <a:lnTo>
                    <a:pt x="1962" y="2399"/>
                  </a:lnTo>
                  <a:lnTo>
                    <a:pt x="1954" y="2395"/>
                  </a:lnTo>
                  <a:lnTo>
                    <a:pt x="1944" y="2395"/>
                  </a:lnTo>
                  <a:lnTo>
                    <a:pt x="1941" y="2398"/>
                  </a:lnTo>
                  <a:lnTo>
                    <a:pt x="1937" y="2398"/>
                  </a:lnTo>
                  <a:lnTo>
                    <a:pt x="1933" y="2399"/>
                  </a:lnTo>
                  <a:lnTo>
                    <a:pt x="1925" y="2403"/>
                  </a:lnTo>
                  <a:lnTo>
                    <a:pt x="1922" y="2407"/>
                  </a:lnTo>
                  <a:lnTo>
                    <a:pt x="1916" y="2408"/>
                  </a:lnTo>
                  <a:lnTo>
                    <a:pt x="1912" y="2411"/>
                  </a:lnTo>
                  <a:lnTo>
                    <a:pt x="1897" y="2403"/>
                  </a:lnTo>
                  <a:lnTo>
                    <a:pt x="1889" y="2408"/>
                  </a:lnTo>
                  <a:lnTo>
                    <a:pt x="1883" y="2415"/>
                  </a:lnTo>
                  <a:lnTo>
                    <a:pt x="1871" y="2418"/>
                  </a:lnTo>
                  <a:lnTo>
                    <a:pt x="1865" y="2416"/>
                  </a:lnTo>
                  <a:lnTo>
                    <a:pt x="1859" y="2420"/>
                  </a:lnTo>
                  <a:lnTo>
                    <a:pt x="1847" y="2420"/>
                  </a:lnTo>
                  <a:lnTo>
                    <a:pt x="1840" y="2426"/>
                  </a:lnTo>
                  <a:lnTo>
                    <a:pt x="1837" y="2431"/>
                  </a:lnTo>
                  <a:lnTo>
                    <a:pt x="1829" y="2431"/>
                  </a:lnTo>
                  <a:lnTo>
                    <a:pt x="1825" y="2426"/>
                  </a:lnTo>
                  <a:lnTo>
                    <a:pt x="1822" y="2420"/>
                  </a:lnTo>
                  <a:lnTo>
                    <a:pt x="1818" y="2416"/>
                  </a:lnTo>
                  <a:lnTo>
                    <a:pt x="1815" y="2412"/>
                  </a:lnTo>
                  <a:lnTo>
                    <a:pt x="1808" y="2412"/>
                  </a:lnTo>
                  <a:lnTo>
                    <a:pt x="1805" y="2403"/>
                  </a:lnTo>
                  <a:lnTo>
                    <a:pt x="1791" y="2402"/>
                  </a:lnTo>
                  <a:lnTo>
                    <a:pt x="1776" y="2403"/>
                  </a:lnTo>
                  <a:lnTo>
                    <a:pt x="1773" y="2399"/>
                  </a:lnTo>
                  <a:lnTo>
                    <a:pt x="1769" y="2390"/>
                  </a:lnTo>
                  <a:lnTo>
                    <a:pt x="1755" y="2389"/>
                  </a:lnTo>
                  <a:lnTo>
                    <a:pt x="1744" y="2389"/>
                  </a:lnTo>
                  <a:lnTo>
                    <a:pt x="1741" y="2390"/>
                  </a:lnTo>
                  <a:lnTo>
                    <a:pt x="1744" y="2395"/>
                  </a:lnTo>
                  <a:lnTo>
                    <a:pt x="1748" y="2403"/>
                  </a:lnTo>
                  <a:lnTo>
                    <a:pt x="1750" y="2408"/>
                  </a:lnTo>
                  <a:lnTo>
                    <a:pt x="1750" y="2412"/>
                  </a:lnTo>
                  <a:lnTo>
                    <a:pt x="1745" y="2416"/>
                  </a:lnTo>
                  <a:lnTo>
                    <a:pt x="1733" y="2416"/>
                  </a:lnTo>
                  <a:lnTo>
                    <a:pt x="1698" y="2430"/>
                  </a:lnTo>
                  <a:lnTo>
                    <a:pt x="1688" y="2431"/>
                  </a:lnTo>
                  <a:lnTo>
                    <a:pt x="1683" y="2435"/>
                  </a:lnTo>
                  <a:lnTo>
                    <a:pt x="1675" y="2437"/>
                  </a:lnTo>
                  <a:lnTo>
                    <a:pt x="1658" y="2439"/>
                  </a:lnTo>
                  <a:lnTo>
                    <a:pt x="1658" y="2444"/>
                  </a:lnTo>
                  <a:lnTo>
                    <a:pt x="1658" y="2453"/>
                  </a:lnTo>
                  <a:lnTo>
                    <a:pt x="1651" y="2465"/>
                  </a:lnTo>
                  <a:lnTo>
                    <a:pt x="1648" y="2466"/>
                  </a:lnTo>
                  <a:lnTo>
                    <a:pt x="1642" y="2480"/>
                  </a:lnTo>
                  <a:lnTo>
                    <a:pt x="1626" y="2489"/>
                  </a:lnTo>
                  <a:lnTo>
                    <a:pt x="1622" y="2492"/>
                  </a:lnTo>
                  <a:lnTo>
                    <a:pt x="1617" y="2492"/>
                  </a:lnTo>
                  <a:lnTo>
                    <a:pt x="1615" y="2493"/>
                  </a:lnTo>
                  <a:lnTo>
                    <a:pt x="1603" y="2501"/>
                  </a:lnTo>
                  <a:lnTo>
                    <a:pt x="1602" y="2509"/>
                  </a:lnTo>
                  <a:lnTo>
                    <a:pt x="1606" y="2511"/>
                  </a:lnTo>
                  <a:lnTo>
                    <a:pt x="1603" y="2518"/>
                  </a:lnTo>
                  <a:lnTo>
                    <a:pt x="1595" y="2527"/>
                  </a:lnTo>
                  <a:lnTo>
                    <a:pt x="1592" y="2527"/>
                  </a:lnTo>
                  <a:lnTo>
                    <a:pt x="1584" y="2542"/>
                  </a:lnTo>
                  <a:lnTo>
                    <a:pt x="1577" y="2545"/>
                  </a:lnTo>
                  <a:lnTo>
                    <a:pt x="1573" y="2551"/>
                  </a:lnTo>
                  <a:lnTo>
                    <a:pt x="1569" y="2555"/>
                  </a:lnTo>
                  <a:lnTo>
                    <a:pt x="1563" y="2557"/>
                  </a:lnTo>
                  <a:lnTo>
                    <a:pt x="1560" y="2559"/>
                  </a:lnTo>
                  <a:lnTo>
                    <a:pt x="1553" y="2564"/>
                  </a:lnTo>
                  <a:lnTo>
                    <a:pt x="1549" y="2568"/>
                  </a:lnTo>
                  <a:lnTo>
                    <a:pt x="1548" y="2572"/>
                  </a:lnTo>
                  <a:lnTo>
                    <a:pt x="1544" y="2576"/>
                  </a:lnTo>
                  <a:lnTo>
                    <a:pt x="1528" y="2576"/>
                  </a:lnTo>
                  <a:lnTo>
                    <a:pt x="1523" y="2573"/>
                  </a:lnTo>
                  <a:lnTo>
                    <a:pt x="1520" y="2573"/>
                  </a:lnTo>
                  <a:lnTo>
                    <a:pt x="1512" y="2577"/>
                  </a:lnTo>
                  <a:lnTo>
                    <a:pt x="1509" y="2577"/>
                  </a:lnTo>
                  <a:lnTo>
                    <a:pt x="1505" y="2573"/>
                  </a:lnTo>
                  <a:lnTo>
                    <a:pt x="1499" y="2576"/>
                  </a:lnTo>
                  <a:lnTo>
                    <a:pt x="1492" y="2573"/>
                  </a:lnTo>
                  <a:lnTo>
                    <a:pt x="1488" y="2576"/>
                  </a:lnTo>
                  <a:lnTo>
                    <a:pt x="1477" y="2568"/>
                  </a:lnTo>
                  <a:lnTo>
                    <a:pt x="1473" y="2568"/>
                  </a:lnTo>
                  <a:lnTo>
                    <a:pt x="1467" y="2564"/>
                  </a:lnTo>
                  <a:lnTo>
                    <a:pt x="1460" y="2562"/>
                  </a:lnTo>
                  <a:lnTo>
                    <a:pt x="1455" y="2564"/>
                  </a:lnTo>
                  <a:lnTo>
                    <a:pt x="1453" y="2572"/>
                  </a:lnTo>
                  <a:lnTo>
                    <a:pt x="1443" y="2577"/>
                  </a:lnTo>
                  <a:lnTo>
                    <a:pt x="1434" y="2580"/>
                  </a:lnTo>
                  <a:lnTo>
                    <a:pt x="1430" y="2586"/>
                  </a:lnTo>
                  <a:lnTo>
                    <a:pt x="1420" y="2594"/>
                  </a:lnTo>
                  <a:lnTo>
                    <a:pt x="1401" y="2598"/>
                  </a:lnTo>
                  <a:lnTo>
                    <a:pt x="1396" y="2602"/>
                  </a:lnTo>
                  <a:lnTo>
                    <a:pt x="1395" y="2607"/>
                  </a:lnTo>
                  <a:lnTo>
                    <a:pt x="1390" y="2609"/>
                  </a:lnTo>
                  <a:lnTo>
                    <a:pt x="1387" y="2612"/>
                  </a:lnTo>
                  <a:lnTo>
                    <a:pt x="1382" y="2617"/>
                  </a:lnTo>
                  <a:lnTo>
                    <a:pt x="1377" y="2618"/>
                  </a:lnTo>
                  <a:lnTo>
                    <a:pt x="1373" y="2615"/>
                  </a:lnTo>
                  <a:lnTo>
                    <a:pt x="1367" y="2618"/>
                  </a:lnTo>
                  <a:lnTo>
                    <a:pt x="1359" y="2617"/>
                  </a:lnTo>
                  <a:lnTo>
                    <a:pt x="1355" y="2618"/>
                  </a:lnTo>
                  <a:lnTo>
                    <a:pt x="1352" y="2621"/>
                  </a:lnTo>
                  <a:lnTo>
                    <a:pt x="1346" y="2622"/>
                  </a:lnTo>
                  <a:lnTo>
                    <a:pt x="1338" y="2618"/>
                  </a:lnTo>
                  <a:lnTo>
                    <a:pt x="1334" y="2618"/>
                  </a:lnTo>
                  <a:lnTo>
                    <a:pt x="1330" y="2622"/>
                  </a:lnTo>
                  <a:lnTo>
                    <a:pt x="1328" y="2622"/>
                  </a:lnTo>
                  <a:lnTo>
                    <a:pt x="1324" y="2626"/>
                  </a:lnTo>
                  <a:lnTo>
                    <a:pt x="1323" y="2630"/>
                  </a:lnTo>
                  <a:lnTo>
                    <a:pt x="1318" y="2634"/>
                  </a:lnTo>
                  <a:lnTo>
                    <a:pt x="1309" y="2634"/>
                  </a:lnTo>
                  <a:lnTo>
                    <a:pt x="1307" y="2634"/>
                  </a:lnTo>
                  <a:lnTo>
                    <a:pt x="1306" y="2638"/>
                  </a:lnTo>
                  <a:lnTo>
                    <a:pt x="1298" y="2638"/>
                  </a:lnTo>
                  <a:lnTo>
                    <a:pt x="1291" y="2635"/>
                  </a:lnTo>
                  <a:lnTo>
                    <a:pt x="1286" y="2638"/>
                  </a:lnTo>
                  <a:lnTo>
                    <a:pt x="1284" y="2638"/>
                  </a:lnTo>
                  <a:lnTo>
                    <a:pt x="1281" y="2639"/>
                  </a:lnTo>
                  <a:lnTo>
                    <a:pt x="1273" y="2640"/>
                  </a:lnTo>
                  <a:lnTo>
                    <a:pt x="1270" y="2640"/>
                  </a:lnTo>
                  <a:lnTo>
                    <a:pt x="1270" y="2644"/>
                  </a:lnTo>
                  <a:lnTo>
                    <a:pt x="1267" y="2644"/>
                  </a:lnTo>
                  <a:lnTo>
                    <a:pt x="1266" y="2648"/>
                  </a:lnTo>
                  <a:lnTo>
                    <a:pt x="1256" y="2652"/>
                  </a:lnTo>
                  <a:lnTo>
                    <a:pt x="1256" y="2656"/>
                  </a:lnTo>
                  <a:lnTo>
                    <a:pt x="1253" y="2656"/>
                  </a:lnTo>
                  <a:lnTo>
                    <a:pt x="1242" y="2661"/>
                  </a:lnTo>
                  <a:lnTo>
                    <a:pt x="1236" y="2667"/>
                  </a:lnTo>
                  <a:lnTo>
                    <a:pt x="1235" y="2679"/>
                  </a:lnTo>
                  <a:lnTo>
                    <a:pt x="1232" y="2686"/>
                  </a:lnTo>
                  <a:lnTo>
                    <a:pt x="1228" y="2689"/>
                  </a:lnTo>
                  <a:lnTo>
                    <a:pt x="1228" y="2693"/>
                  </a:lnTo>
                  <a:lnTo>
                    <a:pt x="1221" y="2696"/>
                  </a:lnTo>
                  <a:lnTo>
                    <a:pt x="1218" y="2701"/>
                  </a:lnTo>
                  <a:lnTo>
                    <a:pt x="1210" y="2705"/>
                  </a:lnTo>
                  <a:lnTo>
                    <a:pt x="1208" y="2706"/>
                  </a:lnTo>
                  <a:lnTo>
                    <a:pt x="1208" y="2710"/>
                  </a:lnTo>
                  <a:lnTo>
                    <a:pt x="1205" y="2714"/>
                  </a:lnTo>
                  <a:lnTo>
                    <a:pt x="1196" y="2714"/>
                  </a:lnTo>
                  <a:lnTo>
                    <a:pt x="1189" y="2710"/>
                  </a:lnTo>
                  <a:lnTo>
                    <a:pt x="1182" y="2711"/>
                  </a:lnTo>
                  <a:lnTo>
                    <a:pt x="1180" y="2714"/>
                  </a:lnTo>
                  <a:lnTo>
                    <a:pt x="1171" y="2716"/>
                  </a:lnTo>
                  <a:lnTo>
                    <a:pt x="1167" y="2714"/>
                  </a:lnTo>
                  <a:lnTo>
                    <a:pt x="1161" y="2716"/>
                  </a:lnTo>
                  <a:lnTo>
                    <a:pt x="1158" y="2716"/>
                  </a:lnTo>
                  <a:lnTo>
                    <a:pt x="1157" y="2722"/>
                  </a:lnTo>
                  <a:lnTo>
                    <a:pt x="1150" y="2722"/>
                  </a:lnTo>
                  <a:lnTo>
                    <a:pt x="1147" y="2725"/>
                  </a:lnTo>
                  <a:lnTo>
                    <a:pt x="1142" y="2725"/>
                  </a:lnTo>
                  <a:lnTo>
                    <a:pt x="1138" y="2727"/>
                  </a:lnTo>
                  <a:lnTo>
                    <a:pt x="1136" y="2738"/>
                  </a:lnTo>
                  <a:lnTo>
                    <a:pt x="1133" y="2742"/>
                  </a:lnTo>
                  <a:lnTo>
                    <a:pt x="1127" y="2742"/>
                  </a:lnTo>
                  <a:lnTo>
                    <a:pt x="1121" y="2747"/>
                  </a:lnTo>
                  <a:lnTo>
                    <a:pt x="1114" y="2747"/>
                  </a:lnTo>
                  <a:lnTo>
                    <a:pt x="1113" y="2750"/>
                  </a:lnTo>
                  <a:lnTo>
                    <a:pt x="1110" y="2747"/>
                  </a:lnTo>
                  <a:lnTo>
                    <a:pt x="1106" y="2751"/>
                  </a:lnTo>
                  <a:lnTo>
                    <a:pt x="1096" y="2754"/>
                  </a:lnTo>
                  <a:lnTo>
                    <a:pt x="1089" y="2751"/>
                  </a:lnTo>
                  <a:lnTo>
                    <a:pt x="1085" y="2754"/>
                  </a:lnTo>
                  <a:lnTo>
                    <a:pt x="1078" y="2758"/>
                  </a:lnTo>
                  <a:lnTo>
                    <a:pt x="1077" y="2763"/>
                  </a:lnTo>
                  <a:lnTo>
                    <a:pt x="1072" y="2768"/>
                  </a:lnTo>
                  <a:lnTo>
                    <a:pt x="1066" y="2770"/>
                  </a:lnTo>
                  <a:lnTo>
                    <a:pt x="1061" y="2772"/>
                  </a:lnTo>
                  <a:lnTo>
                    <a:pt x="1056" y="2772"/>
                  </a:lnTo>
                  <a:lnTo>
                    <a:pt x="1052" y="2773"/>
                  </a:lnTo>
                  <a:lnTo>
                    <a:pt x="1050" y="2781"/>
                  </a:lnTo>
                  <a:lnTo>
                    <a:pt x="1047" y="2783"/>
                  </a:lnTo>
                  <a:lnTo>
                    <a:pt x="1043" y="2785"/>
                  </a:lnTo>
                  <a:lnTo>
                    <a:pt x="1038" y="2789"/>
                  </a:lnTo>
                  <a:lnTo>
                    <a:pt x="1022" y="2793"/>
                  </a:lnTo>
                  <a:lnTo>
                    <a:pt x="1018" y="2798"/>
                  </a:lnTo>
                  <a:lnTo>
                    <a:pt x="1008" y="2804"/>
                  </a:lnTo>
                  <a:lnTo>
                    <a:pt x="1003" y="2800"/>
                  </a:lnTo>
                  <a:lnTo>
                    <a:pt x="1000" y="2796"/>
                  </a:lnTo>
                  <a:lnTo>
                    <a:pt x="996" y="2793"/>
                  </a:lnTo>
                  <a:lnTo>
                    <a:pt x="985" y="2789"/>
                  </a:lnTo>
                  <a:lnTo>
                    <a:pt x="979" y="2783"/>
                  </a:lnTo>
                  <a:lnTo>
                    <a:pt x="971" y="2783"/>
                  </a:lnTo>
                  <a:lnTo>
                    <a:pt x="961" y="2789"/>
                  </a:lnTo>
                  <a:lnTo>
                    <a:pt x="953" y="2791"/>
                  </a:lnTo>
                  <a:lnTo>
                    <a:pt x="947" y="2795"/>
                  </a:lnTo>
                  <a:lnTo>
                    <a:pt x="939" y="2800"/>
                  </a:lnTo>
                  <a:lnTo>
                    <a:pt x="934" y="2803"/>
                  </a:lnTo>
                  <a:lnTo>
                    <a:pt x="925" y="2805"/>
                  </a:lnTo>
                  <a:lnTo>
                    <a:pt x="923" y="2809"/>
                  </a:lnTo>
                  <a:lnTo>
                    <a:pt x="923" y="2817"/>
                  </a:lnTo>
                  <a:lnTo>
                    <a:pt x="919" y="2822"/>
                  </a:lnTo>
                  <a:lnTo>
                    <a:pt x="906" y="2831"/>
                  </a:lnTo>
                  <a:lnTo>
                    <a:pt x="890" y="2845"/>
                  </a:lnTo>
                  <a:lnTo>
                    <a:pt x="879" y="2847"/>
                  </a:lnTo>
                  <a:lnTo>
                    <a:pt x="873" y="2845"/>
                  </a:lnTo>
                  <a:lnTo>
                    <a:pt x="865" y="2845"/>
                  </a:lnTo>
                  <a:lnTo>
                    <a:pt x="861" y="2843"/>
                  </a:lnTo>
                  <a:lnTo>
                    <a:pt x="853" y="2845"/>
                  </a:lnTo>
                  <a:lnTo>
                    <a:pt x="848" y="2845"/>
                  </a:lnTo>
                  <a:lnTo>
                    <a:pt x="840" y="2848"/>
                  </a:lnTo>
                  <a:lnTo>
                    <a:pt x="832" y="2851"/>
                  </a:lnTo>
                  <a:lnTo>
                    <a:pt x="829" y="2856"/>
                  </a:lnTo>
                  <a:lnTo>
                    <a:pt x="819" y="2862"/>
                  </a:lnTo>
                  <a:lnTo>
                    <a:pt x="815" y="2867"/>
                  </a:lnTo>
                  <a:lnTo>
                    <a:pt x="809" y="2871"/>
                  </a:lnTo>
                  <a:lnTo>
                    <a:pt x="800" y="2871"/>
                  </a:lnTo>
                  <a:lnTo>
                    <a:pt x="775" y="2884"/>
                  </a:lnTo>
                  <a:lnTo>
                    <a:pt x="767" y="2887"/>
                  </a:lnTo>
                  <a:lnTo>
                    <a:pt x="758" y="2890"/>
                  </a:lnTo>
                  <a:lnTo>
                    <a:pt x="750" y="2893"/>
                  </a:lnTo>
                  <a:lnTo>
                    <a:pt x="743" y="2903"/>
                  </a:lnTo>
                  <a:lnTo>
                    <a:pt x="737" y="2909"/>
                  </a:lnTo>
                  <a:lnTo>
                    <a:pt x="729" y="2912"/>
                  </a:lnTo>
                  <a:lnTo>
                    <a:pt x="722" y="2920"/>
                  </a:lnTo>
                  <a:lnTo>
                    <a:pt x="715" y="2922"/>
                  </a:lnTo>
                  <a:lnTo>
                    <a:pt x="711" y="2924"/>
                  </a:lnTo>
                  <a:lnTo>
                    <a:pt x="701" y="2929"/>
                  </a:lnTo>
                  <a:lnTo>
                    <a:pt x="697" y="2929"/>
                  </a:lnTo>
                  <a:lnTo>
                    <a:pt x="693" y="2925"/>
                  </a:lnTo>
                  <a:lnTo>
                    <a:pt x="688" y="2918"/>
                  </a:lnTo>
                  <a:lnTo>
                    <a:pt x="684" y="2918"/>
                  </a:lnTo>
                  <a:lnTo>
                    <a:pt x="669" y="2929"/>
                  </a:lnTo>
                  <a:lnTo>
                    <a:pt x="662" y="2933"/>
                  </a:lnTo>
                  <a:lnTo>
                    <a:pt x="657" y="2934"/>
                  </a:lnTo>
                  <a:lnTo>
                    <a:pt x="640" y="2942"/>
                  </a:lnTo>
                  <a:lnTo>
                    <a:pt x="634" y="2947"/>
                  </a:lnTo>
                  <a:lnTo>
                    <a:pt x="629" y="2957"/>
                  </a:lnTo>
                  <a:lnTo>
                    <a:pt x="627" y="2958"/>
                  </a:lnTo>
                  <a:lnTo>
                    <a:pt x="622" y="2959"/>
                  </a:lnTo>
                  <a:lnTo>
                    <a:pt x="613" y="2955"/>
                  </a:lnTo>
                  <a:lnTo>
                    <a:pt x="607" y="2957"/>
                  </a:lnTo>
                  <a:lnTo>
                    <a:pt x="596" y="2947"/>
                  </a:lnTo>
                  <a:lnTo>
                    <a:pt x="583" y="2946"/>
                  </a:lnTo>
                  <a:lnTo>
                    <a:pt x="577" y="2947"/>
                  </a:lnTo>
                  <a:lnTo>
                    <a:pt x="572" y="2951"/>
                  </a:lnTo>
                  <a:lnTo>
                    <a:pt x="569" y="2951"/>
                  </a:lnTo>
                  <a:lnTo>
                    <a:pt x="565" y="2955"/>
                  </a:lnTo>
                  <a:lnTo>
                    <a:pt x="555" y="2955"/>
                  </a:lnTo>
                  <a:lnTo>
                    <a:pt x="551" y="2958"/>
                  </a:lnTo>
                  <a:lnTo>
                    <a:pt x="549" y="2957"/>
                  </a:lnTo>
                  <a:lnTo>
                    <a:pt x="547" y="2958"/>
                  </a:lnTo>
                  <a:lnTo>
                    <a:pt x="536" y="2965"/>
                  </a:lnTo>
                  <a:lnTo>
                    <a:pt x="530" y="2965"/>
                  </a:lnTo>
                  <a:lnTo>
                    <a:pt x="529" y="2965"/>
                  </a:lnTo>
                  <a:lnTo>
                    <a:pt x="523" y="2958"/>
                  </a:lnTo>
                  <a:lnTo>
                    <a:pt x="511" y="2957"/>
                  </a:lnTo>
                  <a:lnTo>
                    <a:pt x="499" y="2951"/>
                  </a:lnTo>
                  <a:lnTo>
                    <a:pt x="488" y="2957"/>
                  </a:lnTo>
                  <a:lnTo>
                    <a:pt x="481" y="2957"/>
                  </a:lnTo>
                  <a:lnTo>
                    <a:pt x="476" y="2963"/>
                  </a:lnTo>
                  <a:lnTo>
                    <a:pt x="473" y="2963"/>
                  </a:lnTo>
                  <a:lnTo>
                    <a:pt x="462" y="2959"/>
                  </a:lnTo>
                  <a:lnTo>
                    <a:pt x="454" y="2954"/>
                  </a:lnTo>
                  <a:lnTo>
                    <a:pt x="449" y="2951"/>
                  </a:lnTo>
                  <a:lnTo>
                    <a:pt x="445" y="2945"/>
                  </a:lnTo>
                  <a:lnTo>
                    <a:pt x="441" y="2942"/>
                  </a:lnTo>
                  <a:lnTo>
                    <a:pt x="434" y="2938"/>
                  </a:lnTo>
                  <a:lnTo>
                    <a:pt x="413" y="2934"/>
                  </a:lnTo>
                  <a:lnTo>
                    <a:pt x="406" y="2929"/>
                  </a:lnTo>
                  <a:lnTo>
                    <a:pt x="402" y="2929"/>
                  </a:lnTo>
                  <a:lnTo>
                    <a:pt x="399" y="2929"/>
                  </a:lnTo>
                  <a:lnTo>
                    <a:pt x="394" y="2934"/>
                  </a:lnTo>
                  <a:lnTo>
                    <a:pt x="374" y="2937"/>
                  </a:lnTo>
                  <a:lnTo>
                    <a:pt x="370" y="2937"/>
                  </a:lnTo>
                  <a:lnTo>
                    <a:pt x="367" y="2934"/>
                  </a:lnTo>
                  <a:lnTo>
                    <a:pt x="366" y="2932"/>
                  </a:lnTo>
                  <a:lnTo>
                    <a:pt x="363" y="2925"/>
                  </a:lnTo>
                  <a:lnTo>
                    <a:pt x="358" y="2920"/>
                  </a:lnTo>
                  <a:lnTo>
                    <a:pt x="356" y="2920"/>
                  </a:lnTo>
                  <a:lnTo>
                    <a:pt x="348" y="2922"/>
                  </a:lnTo>
                  <a:lnTo>
                    <a:pt x="342" y="2920"/>
                  </a:lnTo>
                  <a:lnTo>
                    <a:pt x="341" y="2916"/>
                  </a:lnTo>
                  <a:lnTo>
                    <a:pt x="341" y="2907"/>
                  </a:lnTo>
                  <a:lnTo>
                    <a:pt x="328" y="2890"/>
                  </a:lnTo>
                  <a:lnTo>
                    <a:pt x="330" y="2883"/>
                  </a:lnTo>
                  <a:lnTo>
                    <a:pt x="328" y="2880"/>
                  </a:lnTo>
                  <a:lnTo>
                    <a:pt x="323" y="2884"/>
                  </a:lnTo>
                  <a:lnTo>
                    <a:pt x="320" y="2884"/>
                  </a:lnTo>
                  <a:lnTo>
                    <a:pt x="320" y="2880"/>
                  </a:lnTo>
                  <a:lnTo>
                    <a:pt x="316" y="2876"/>
                  </a:lnTo>
                  <a:lnTo>
                    <a:pt x="319" y="2875"/>
                  </a:lnTo>
                  <a:lnTo>
                    <a:pt x="317" y="2873"/>
                  </a:lnTo>
                  <a:lnTo>
                    <a:pt x="313" y="2875"/>
                  </a:lnTo>
                  <a:lnTo>
                    <a:pt x="310" y="2871"/>
                  </a:lnTo>
                  <a:lnTo>
                    <a:pt x="308" y="2867"/>
                  </a:lnTo>
                  <a:lnTo>
                    <a:pt x="308" y="2865"/>
                  </a:lnTo>
                  <a:lnTo>
                    <a:pt x="303" y="2865"/>
                  </a:lnTo>
                  <a:lnTo>
                    <a:pt x="298" y="2858"/>
                  </a:lnTo>
                  <a:lnTo>
                    <a:pt x="297" y="2854"/>
                  </a:lnTo>
                  <a:lnTo>
                    <a:pt x="297" y="2853"/>
                  </a:lnTo>
                  <a:lnTo>
                    <a:pt x="287" y="2845"/>
                  </a:lnTo>
                  <a:lnTo>
                    <a:pt x="285" y="2840"/>
                  </a:lnTo>
                  <a:lnTo>
                    <a:pt x="280" y="2838"/>
                  </a:lnTo>
                  <a:lnTo>
                    <a:pt x="275" y="2831"/>
                  </a:lnTo>
                  <a:lnTo>
                    <a:pt x="275" y="2830"/>
                  </a:lnTo>
                  <a:lnTo>
                    <a:pt x="281" y="2817"/>
                  </a:lnTo>
                  <a:lnTo>
                    <a:pt x="284" y="2816"/>
                  </a:lnTo>
                  <a:lnTo>
                    <a:pt x="281" y="2813"/>
                  </a:lnTo>
                  <a:lnTo>
                    <a:pt x="281" y="2812"/>
                  </a:lnTo>
                  <a:lnTo>
                    <a:pt x="280" y="2809"/>
                  </a:lnTo>
                  <a:lnTo>
                    <a:pt x="277" y="2804"/>
                  </a:lnTo>
                  <a:lnTo>
                    <a:pt x="273" y="2804"/>
                  </a:lnTo>
                  <a:lnTo>
                    <a:pt x="273" y="2800"/>
                  </a:lnTo>
                  <a:lnTo>
                    <a:pt x="275" y="2800"/>
                  </a:lnTo>
                  <a:lnTo>
                    <a:pt x="274" y="2791"/>
                  </a:lnTo>
                  <a:lnTo>
                    <a:pt x="267" y="2785"/>
                  </a:lnTo>
                  <a:lnTo>
                    <a:pt x="264" y="2786"/>
                  </a:lnTo>
                  <a:lnTo>
                    <a:pt x="259" y="2783"/>
                  </a:lnTo>
                  <a:lnTo>
                    <a:pt x="259" y="2780"/>
                  </a:lnTo>
                  <a:lnTo>
                    <a:pt x="258" y="2773"/>
                  </a:lnTo>
                  <a:lnTo>
                    <a:pt x="259" y="2772"/>
                  </a:lnTo>
                  <a:lnTo>
                    <a:pt x="260" y="2767"/>
                  </a:lnTo>
                  <a:lnTo>
                    <a:pt x="259" y="2764"/>
                  </a:lnTo>
                  <a:lnTo>
                    <a:pt x="258" y="2759"/>
                  </a:lnTo>
                  <a:lnTo>
                    <a:pt x="253" y="2758"/>
                  </a:lnTo>
                  <a:lnTo>
                    <a:pt x="252" y="2751"/>
                  </a:lnTo>
                  <a:lnTo>
                    <a:pt x="252" y="2747"/>
                  </a:lnTo>
                  <a:lnTo>
                    <a:pt x="245" y="2742"/>
                  </a:lnTo>
                  <a:lnTo>
                    <a:pt x="244" y="2734"/>
                  </a:lnTo>
                  <a:lnTo>
                    <a:pt x="237" y="2729"/>
                  </a:lnTo>
                  <a:lnTo>
                    <a:pt x="235" y="2723"/>
                  </a:lnTo>
                  <a:lnTo>
                    <a:pt x="233" y="2723"/>
                  </a:lnTo>
                  <a:lnTo>
                    <a:pt x="225" y="2716"/>
                  </a:lnTo>
                  <a:lnTo>
                    <a:pt x="222" y="2711"/>
                  </a:lnTo>
                  <a:lnTo>
                    <a:pt x="223" y="2709"/>
                  </a:lnTo>
                  <a:lnTo>
                    <a:pt x="220" y="2706"/>
                  </a:lnTo>
                  <a:lnTo>
                    <a:pt x="220" y="2705"/>
                  </a:lnTo>
                  <a:lnTo>
                    <a:pt x="222" y="2701"/>
                  </a:lnTo>
                  <a:lnTo>
                    <a:pt x="223" y="2701"/>
                  </a:lnTo>
                  <a:lnTo>
                    <a:pt x="217" y="2699"/>
                  </a:lnTo>
                  <a:lnTo>
                    <a:pt x="216" y="2697"/>
                  </a:lnTo>
                  <a:lnTo>
                    <a:pt x="212" y="2696"/>
                  </a:lnTo>
                  <a:lnTo>
                    <a:pt x="210" y="2693"/>
                  </a:lnTo>
                  <a:lnTo>
                    <a:pt x="212" y="2689"/>
                  </a:lnTo>
                  <a:lnTo>
                    <a:pt x="212" y="2686"/>
                  </a:lnTo>
                  <a:lnTo>
                    <a:pt x="213" y="2676"/>
                  </a:lnTo>
                  <a:lnTo>
                    <a:pt x="208" y="2673"/>
                  </a:lnTo>
                  <a:lnTo>
                    <a:pt x="206" y="2671"/>
                  </a:lnTo>
                  <a:lnTo>
                    <a:pt x="203" y="2669"/>
                  </a:lnTo>
                  <a:lnTo>
                    <a:pt x="203" y="2667"/>
                  </a:lnTo>
                  <a:lnTo>
                    <a:pt x="196" y="2661"/>
                  </a:lnTo>
                  <a:lnTo>
                    <a:pt x="196" y="2656"/>
                  </a:lnTo>
                  <a:lnTo>
                    <a:pt x="196" y="2654"/>
                  </a:lnTo>
                  <a:lnTo>
                    <a:pt x="189" y="2648"/>
                  </a:lnTo>
                  <a:lnTo>
                    <a:pt x="185" y="2651"/>
                  </a:lnTo>
                  <a:lnTo>
                    <a:pt x="187" y="2639"/>
                  </a:lnTo>
                  <a:lnTo>
                    <a:pt x="185" y="2635"/>
                  </a:lnTo>
                  <a:lnTo>
                    <a:pt x="180" y="2634"/>
                  </a:lnTo>
                  <a:lnTo>
                    <a:pt x="180" y="2629"/>
                  </a:lnTo>
                  <a:lnTo>
                    <a:pt x="181" y="2622"/>
                  </a:lnTo>
                  <a:lnTo>
                    <a:pt x="181" y="2612"/>
                  </a:lnTo>
                  <a:lnTo>
                    <a:pt x="184" y="2609"/>
                  </a:lnTo>
                  <a:lnTo>
                    <a:pt x="184" y="2599"/>
                  </a:lnTo>
                  <a:lnTo>
                    <a:pt x="187" y="2593"/>
                  </a:lnTo>
                  <a:lnTo>
                    <a:pt x="185" y="2582"/>
                  </a:lnTo>
                  <a:lnTo>
                    <a:pt x="187" y="2581"/>
                  </a:lnTo>
                  <a:lnTo>
                    <a:pt x="189" y="2576"/>
                  </a:lnTo>
                  <a:lnTo>
                    <a:pt x="188" y="2572"/>
                  </a:lnTo>
                  <a:lnTo>
                    <a:pt x="181" y="2568"/>
                  </a:lnTo>
                  <a:lnTo>
                    <a:pt x="177" y="2568"/>
                  </a:lnTo>
                  <a:lnTo>
                    <a:pt x="175" y="2564"/>
                  </a:lnTo>
                  <a:lnTo>
                    <a:pt x="175" y="2560"/>
                  </a:lnTo>
                  <a:lnTo>
                    <a:pt x="173" y="2555"/>
                  </a:lnTo>
                  <a:lnTo>
                    <a:pt x="171" y="2551"/>
                  </a:lnTo>
                  <a:lnTo>
                    <a:pt x="167" y="2549"/>
                  </a:lnTo>
                  <a:lnTo>
                    <a:pt x="168" y="2542"/>
                  </a:lnTo>
                  <a:lnTo>
                    <a:pt x="167" y="2536"/>
                  </a:lnTo>
                  <a:lnTo>
                    <a:pt x="171" y="2509"/>
                  </a:lnTo>
                  <a:lnTo>
                    <a:pt x="170" y="2506"/>
                  </a:lnTo>
                  <a:lnTo>
                    <a:pt x="167" y="2505"/>
                  </a:lnTo>
                  <a:lnTo>
                    <a:pt x="164" y="2487"/>
                  </a:lnTo>
                  <a:lnTo>
                    <a:pt x="166" y="2470"/>
                  </a:lnTo>
                  <a:lnTo>
                    <a:pt x="159" y="2461"/>
                  </a:lnTo>
                  <a:lnTo>
                    <a:pt x="159" y="2457"/>
                  </a:lnTo>
                  <a:lnTo>
                    <a:pt x="157" y="2452"/>
                  </a:lnTo>
                  <a:lnTo>
                    <a:pt x="153" y="2448"/>
                  </a:lnTo>
                  <a:lnTo>
                    <a:pt x="142" y="2443"/>
                  </a:lnTo>
                  <a:lnTo>
                    <a:pt x="139" y="2443"/>
                  </a:lnTo>
                  <a:lnTo>
                    <a:pt x="138" y="2437"/>
                  </a:lnTo>
                  <a:lnTo>
                    <a:pt x="135" y="2430"/>
                  </a:lnTo>
                  <a:lnTo>
                    <a:pt x="134" y="2426"/>
                  </a:lnTo>
                  <a:lnTo>
                    <a:pt x="113" y="2431"/>
                  </a:lnTo>
                  <a:lnTo>
                    <a:pt x="100" y="2437"/>
                  </a:lnTo>
                  <a:lnTo>
                    <a:pt x="79" y="2364"/>
                  </a:lnTo>
                  <a:lnTo>
                    <a:pt x="84" y="2360"/>
                  </a:lnTo>
                  <a:lnTo>
                    <a:pt x="85" y="2354"/>
                  </a:lnTo>
                  <a:lnTo>
                    <a:pt x="90" y="2351"/>
                  </a:lnTo>
                  <a:lnTo>
                    <a:pt x="99" y="2341"/>
                  </a:lnTo>
                  <a:lnTo>
                    <a:pt x="115" y="2332"/>
                  </a:lnTo>
                  <a:lnTo>
                    <a:pt x="120" y="2327"/>
                  </a:lnTo>
                  <a:lnTo>
                    <a:pt x="124" y="2327"/>
                  </a:lnTo>
                  <a:lnTo>
                    <a:pt x="124" y="2323"/>
                  </a:lnTo>
                  <a:lnTo>
                    <a:pt x="127" y="2315"/>
                  </a:lnTo>
                  <a:lnTo>
                    <a:pt x="131" y="2315"/>
                  </a:lnTo>
                  <a:lnTo>
                    <a:pt x="137" y="2318"/>
                  </a:lnTo>
                  <a:lnTo>
                    <a:pt x="149" y="2315"/>
                  </a:lnTo>
                  <a:lnTo>
                    <a:pt x="160" y="2315"/>
                  </a:lnTo>
                  <a:lnTo>
                    <a:pt x="167" y="2309"/>
                  </a:lnTo>
                  <a:lnTo>
                    <a:pt x="170" y="2308"/>
                  </a:lnTo>
                  <a:lnTo>
                    <a:pt x="168" y="2302"/>
                  </a:lnTo>
                  <a:lnTo>
                    <a:pt x="170" y="2301"/>
                  </a:lnTo>
                  <a:lnTo>
                    <a:pt x="178" y="2291"/>
                  </a:lnTo>
                  <a:lnTo>
                    <a:pt x="181" y="2289"/>
                  </a:lnTo>
                  <a:lnTo>
                    <a:pt x="182" y="2286"/>
                  </a:lnTo>
                  <a:lnTo>
                    <a:pt x="187" y="2283"/>
                  </a:lnTo>
                  <a:lnTo>
                    <a:pt x="189" y="2279"/>
                  </a:lnTo>
                  <a:lnTo>
                    <a:pt x="194" y="2274"/>
                  </a:lnTo>
                  <a:lnTo>
                    <a:pt x="195" y="2273"/>
                  </a:lnTo>
                  <a:lnTo>
                    <a:pt x="196" y="2273"/>
                  </a:lnTo>
                  <a:lnTo>
                    <a:pt x="199" y="2270"/>
                  </a:lnTo>
                  <a:lnTo>
                    <a:pt x="196" y="2270"/>
                  </a:lnTo>
                  <a:lnTo>
                    <a:pt x="196" y="2266"/>
                  </a:lnTo>
                  <a:lnTo>
                    <a:pt x="192" y="2266"/>
                  </a:lnTo>
                  <a:lnTo>
                    <a:pt x="191" y="2265"/>
                  </a:lnTo>
                  <a:lnTo>
                    <a:pt x="194" y="2261"/>
                  </a:lnTo>
                  <a:lnTo>
                    <a:pt x="192" y="2256"/>
                  </a:lnTo>
                  <a:lnTo>
                    <a:pt x="196" y="2253"/>
                  </a:lnTo>
                  <a:lnTo>
                    <a:pt x="195" y="2252"/>
                  </a:lnTo>
                  <a:lnTo>
                    <a:pt x="191" y="2253"/>
                  </a:lnTo>
                  <a:lnTo>
                    <a:pt x="189" y="2252"/>
                  </a:lnTo>
                  <a:lnTo>
                    <a:pt x="192" y="2248"/>
                  </a:lnTo>
                  <a:lnTo>
                    <a:pt x="192" y="2244"/>
                  </a:lnTo>
                  <a:lnTo>
                    <a:pt x="194" y="2239"/>
                  </a:lnTo>
                  <a:lnTo>
                    <a:pt x="196" y="2239"/>
                  </a:lnTo>
                  <a:lnTo>
                    <a:pt x="195" y="2234"/>
                  </a:lnTo>
                  <a:lnTo>
                    <a:pt x="196" y="2234"/>
                  </a:lnTo>
                  <a:lnTo>
                    <a:pt x="196" y="2231"/>
                  </a:lnTo>
                  <a:lnTo>
                    <a:pt x="200" y="2231"/>
                  </a:lnTo>
                  <a:lnTo>
                    <a:pt x="202" y="2231"/>
                  </a:lnTo>
                  <a:lnTo>
                    <a:pt x="203" y="2225"/>
                  </a:lnTo>
                  <a:lnTo>
                    <a:pt x="202" y="2221"/>
                  </a:lnTo>
                  <a:lnTo>
                    <a:pt x="205" y="2221"/>
                  </a:lnTo>
                  <a:lnTo>
                    <a:pt x="205" y="2217"/>
                  </a:lnTo>
                  <a:lnTo>
                    <a:pt x="208" y="2217"/>
                  </a:lnTo>
                  <a:lnTo>
                    <a:pt x="208" y="2216"/>
                  </a:lnTo>
                  <a:lnTo>
                    <a:pt x="208" y="2215"/>
                  </a:lnTo>
                  <a:lnTo>
                    <a:pt x="209" y="2212"/>
                  </a:lnTo>
                  <a:lnTo>
                    <a:pt x="212" y="2208"/>
                  </a:lnTo>
                  <a:lnTo>
                    <a:pt x="212" y="2207"/>
                  </a:lnTo>
                  <a:lnTo>
                    <a:pt x="210" y="2203"/>
                  </a:lnTo>
                  <a:lnTo>
                    <a:pt x="210" y="2195"/>
                  </a:lnTo>
                  <a:lnTo>
                    <a:pt x="213" y="2194"/>
                  </a:lnTo>
                  <a:lnTo>
                    <a:pt x="212" y="2190"/>
                  </a:lnTo>
                  <a:lnTo>
                    <a:pt x="214" y="2189"/>
                  </a:lnTo>
                  <a:lnTo>
                    <a:pt x="214" y="2186"/>
                  </a:lnTo>
                  <a:lnTo>
                    <a:pt x="217" y="2184"/>
                  </a:lnTo>
                  <a:lnTo>
                    <a:pt x="217" y="2180"/>
                  </a:lnTo>
                  <a:lnTo>
                    <a:pt x="219" y="2180"/>
                  </a:lnTo>
                  <a:lnTo>
                    <a:pt x="219" y="2177"/>
                  </a:lnTo>
                  <a:lnTo>
                    <a:pt x="217" y="2172"/>
                  </a:lnTo>
                  <a:lnTo>
                    <a:pt x="222" y="2172"/>
                  </a:lnTo>
                  <a:lnTo>
                    <a:pt x="223" y="2171"/>
                  </a:lnTo>
                  <a:lnTo>
                    <a:pt x="225" y="2167"/>
                  </a:lnTo>
                  <a:lnTo>
                    <a:pt x="225" y="2166"/>
                  </a:lnTo>
                  <a:lnTo>
                    <a:pt x="228" y="2159"/>
                  </a:lnTo>
                  <a:lnTo>
                    <a:pt x="225" y="2154"/>
                  </a:lnTo>
                  <a:lnTo>
                    <a:pt x="227" y="2145"/>
                  </a:lnTo>
                  <a:lnTo>
                    <a:pt x="225" y="2145"/>
                  </a:lnTo>
                  <a:lnTo>
                    <a:pt x="224" y="2145"/>
                  </a:lnTo>
                  <a:lnTo>
                    <a:pt x="224" y="2141"/>
                  </a:lnTo>
                  <a:lnTo>
                    <a:pt x="222" y="2135"/>
                  </a:lnTo>
                  <a:lnTo>
                    <a:pt x="222" y="2134"/>
                  </a:lnTo>
                  <a:lnTo>
                    <a:pt x="224" y="2134"/>
                  </a:lnTo>
                  <a:lnTo>
                    <a:pt x="224" y="2132"/>
                  </a:lnTo>
                  <a:lnTo>
                    <a:pt x="222" y="2128"/>
                  </a:lnTo>
                  <a:lnTo>
                    <a:pt x="222" y="2127"/>
                  </a:lnTo>
                  <a:lnTo>
                    <a:pt x="220" y="2127"/>
                  </a:lnTo>
                  <a:lnTo>
                    <a:pt x="220" y="2124"/>
                  </a:lnTo>
                  <a:lnTo>
                    <a:pt x="209" y="2121"/>
                  </a:lnTo>
                  <a:lnTo>
                    <a:pt x="202" y="2119"/>
                  </a:lnTo>
                  <a:lnTo>
                    <a:pt x="200" y="2119"/>
                  </a:lnTo>
                  <a:lnTo>
                    <a:pt x="198" y="2122"/>
                  </a:lnTo>
                  <a:lnTo>
                    <a:pt x="195" y="2124"/>
                  </a:lnTo>
                  <a:lnTo>
                    <a:pt x="189" y="2122"/>
                  </a:lnTo>
                  <a:lnTo>
                    <a:pt x="182" y="2124"/>
                  </a:lnTo>
                  <a:lnTo>
                    <a:pt x="175" y="2128"/>
                  </a:lnTo>
                  <a:lnTo>
                    <a:pt x="170" y="2137"/>
                  </a:lnTo>
                  <a:lnTo>
                    <a:pt x="159" y="2141"/>
                  </a:lnTo>
                  <a:lnTo>
                    <a:pt x="149" y="2141"/>
                  </a:lnTo>
                  <a:lnTo>
                    <a:pt x="148" y="2140"/>
                  </a:lnTo>
                  <a:lnTo>
                    <a:pt x="142" y="2141"/>
                  </a:lnTo>
                  <a:lnTo>
                    <a:pt x="127" y="2134"/>
                  </a:lnTo>
                  <a:lnTo>
                    <a:pt x="121" y="2132"/>
                  </a:lnTo>
                  <a:lnTo>
                    <a:pt x="120" y="2132"/>
                  </a:lnTo>
                  <a:lnTo>
                    <a:pt x="113" y="2132"/>
                  </a:lnTo>
                  <a:lnTo>
                    <a:pt x="110" y="2128"/>
                  </a:lnTo>
                  <a:lnTo>
                    <a:pt x="109" y="2124"/>
                  </a:lnTo>
                  <a:lnTo>
                    <a:pt x="103" y="2124"/>
                  </a:lnTo>
                  <a:lnTo>
                    <a:pt x="103" y="2119"/>
                  </a:lnTo>
                  <a:lnTo>
                    <a:pt x="99" y="2115"/>
                  </a:lnTo>
                  <a:lnTo>
                    <a:pt x="85" y="2113"/>
                  </a:lnTo>
                  <a:lnTo>
                    <a:pt x="81" y="2109"/>
                  </a:lnTo>
                  <a:lnTo>
                    <a:pt x="78" y="2108"/>
                  </a:lnTo>
                  <a:lnTo>
                    <a:pt x="71" y="2105"/>
                  </a:lnTo>
                  <a:lnTo>
                    <a:pt x="65" y="2108"/>
                  </a:lnTo>
                  <a:lnTo>
                    <a:pt x="63" y="2105"/>
                  </a:lnTo>
                  <a:lnTo>
                    <a:pt x="53" y="2102"/>
                  </a:lnTo>
                  <a:lnTo>
                    <a:pt x="50" y="2100"/>
                  </a:lnTo>
                  <a:lnTo>
                    <a:pt x="45" y="2102"/>
                  </a:lnTo>
                  <a:lnTo>
                    <a:pt x="37" y="2099"/>
                  </a:lnTo>
                  <a:lnTo>
                    <a:pt x="14" y="2074"/>
                  </a:lnTo>
                  <a:lnTo>
                    <a:pt x="2" y="2066"/>
                  </a:lnTo>
                  <a:lnTo>
                    <a:pt x="0" y="2060"/>
                  </a:lnTo>
                  <a:lnTo>
                    <a:pt x="3" y="2051"/>
                  </a:lnTo>
                  <a:lnTo>
                    <a:pt x="6" y="2050"/>
                  </a:lnTo>
                  <a:lnTo>
                    <a:pt x="17" y="2037"/>
                  </a:lnTo>
                  <a:lnTo>
                    <a:pt x="23" y="2037"/>
                  </a:lnTo>
                  <a:lnTo>
                    <a:pt x="28" y="2030"/>
                  </a:lnTo>
                  <a:lnTo>
                    <a:pt x="37" y="2025"/>
                  </a:lnTo>
                  <a:lnTo>
                    <a:pt x="40" y="2021"/>
                  </a:lnTo>
                  <a:lnTo>
                    <a:pt x="45" y="2012"/>
                  </a:lnTo>
                  <a:lnTo>
                    <a:pt x="49" y="2010"/>
                  </a:lnTo>
                  <a:lnTo>
                    <a:pt x="49" y="2006"/>
                  </a:lnTo>
                  <a:lnTo>
                    <a:pt x="48" y="2001"/>
                  </a:lnTo>
                  <a:lnTo>
                    <a:pt x="49" y="1998"/>
                  </a:lnTo>
                  <a:lnTo>
                    <a:pt x="48" y="1995"/>
                  </a:lnTo>
                  <a:lnTo>
                    <a:pt x="48" y="1989"/>
                  </a:lnTo>
                  <a:lnTo>
                    <a:pt x="46" y="1988"/>
                  </a:lnTo>
                  <a:lnTo>
                    <a:pt x="50" y="1980"/>
                  </a:lnTo>
                  <a:lnTo>
                    <a:pt x="52" y="1976"/>
                  </a:lnTo>
                  <a:lnTo>
                    <a:pt x="54" y="1972"/>
                  </a:lnTo>
                  <a:lnTo>
                    <a:pt x="56" y="1967"/>
                  </a:lnTo>
                  <a:lnTo>
                    <a:pt x="59" y="1966"/>
                  </a:lnTo>
                  <a:lnTo>
                    <a:pt x="60" y="1958"/>
                  </a:lnTo>
                  <a:lnTo>
                    <a:pt x="73" y="1945"/>
                  </a:lnTo>
                  <a:lnTo>
                    <a:pt x="73" y="1941"/>
                  </a:lnTo>
                  <a:lnTo>
                    <a:pt x="71" y="1937"/>
                  </a:lnTo>
                  <a:lnTo>
                    <a:pt x="67" y="1935"/>
                  </a:lnTo>
                  <a:lnTo>
                    <a:pt x="67" y="1930"/>
                  </a:lnTo>
                  <a:lnTo>
                    <a:pt x="71" y="1928"/>
                  </a:lnTo>
                  <a:lnTo>
                    <a:pt x="73" y="1922"/>
                  </a:lnTo>
                  <a:lnTo>
                    <a:pt x="77" y="1918"/>
                  </a:lnTo>
                  <a:lnTo>
                    <a:pt x="81" y="1909"/>
                  </a:lnTo>
                  <a:lnTo>
                    <a:pt x="87" y="1904"/>
                  </a:lnTo>
                  <a:lnTo>
                    <a:pt x="87" y="1898"/>
                  </a:lnTo>
                  <a:lnTo>
                    <a:pt x="82" y="1896"/>
                  </a:lnTo>
                  <a:lnTo>
                    <a:pt x="81" y="1891"/>
                  </a:lnTo>
                  <a:lnTo>
                    <a:pt x="74" y="1892"/>
                  </a:lnTo>
                  <a:lnTo>
                    <a:pt x="71" y="1883"/>
                  </a:lnTo>
                  <a:lnTo>
                    <a:pt x="71" y="1881"/>
                  </a:lnTo>
                  <a:lnTo>
                    <a:pt x="74" y="1877"/>
                  </a:lnTo>
                  <a:lnTo>
                    <a:pt x="78" y="1873"/>
                  </a:lnTo>
                  <a:lnTo>
                    <a:pt x="77" y="1866"/>
                  </a:lnTo>
                  <a:lnTo>
                    <a:pt x="79" y="1863"/>
                  </a:lnTo>
                  <a:lnTo>
                    <a:pt x="82" y="1856"/>
                  </a:lnTo>
                  <a:lnTo>
                    <a:pt x="88" y="1847"/>
                  </a:lnTo>
                  <a:lnTo>
                    <a:pt x="88" y="1843"/>
                  </a:lnTo>
                  <a:lnTo>
                    <a:pt x="88" y="1838"/>
                  </a:lnTo>
                  <a:lnTo>
                    <a:pt x="84" y="1834"/>
                  </a:lnTo>
                  <a:lnTo>
                    <a:pt x="82" y="1829"/>
                  </a:lnTo>
                  <a:lnTo>
                    <a:pt x="82" y="1825"/>
                  </a:lnTo>
                  <a:lnTo>
                    <a:pt x="77" y="1815"/>
                  </a:lnTo>
                  <a:lnTo>
                    <a:pt x="78" y="1815"/>
                  </a:lnTo>
                  <a:lnTo>
                    <a:pt x="81" y="1812"/>
                  </a:lnTo>
                  <a:lnTo>
                    <a:pt x="78" y="1802"/>
                  </a:lnTo>
                  <a:lnTo>
                    <a:pt x="79" y="1798"/>
                  </a:lnTo>
                  <a:lnTo>
                    <a:pt x="81" y="1797"/>
                  </a:lnTo>
                  <a:lnTo>
                    <a:pt x="79" y="1793"/>
                  </a:lnTo>
                  <a:lnTo>
                    <a:pt x="82" y="1789"/>
                  </a:lnTo>
                  <a:lnTo>
                    <a:pt x="81" y="1785"/>
                  </a:lnTo>
                  <a:lnTo>
                    <a:pt x="84" y="1779"/>
                  </a:lnTo>
                  <a:lnTo>
                    <a:pt x="82" y="1776"/>
                  </a:lnTo>
                  <a:lnTo>
                    <a:pt x="81" y="1767"/>
                  </a:lnTo>
                  <a:lnTo>
                    <a:pt x="77" y="1763"/>
                  </a:lnTo>
                  <a:lnTo>
                    <a:pt x="77" y="1760"/>
                  </a:lnTo>
                  <a:lnTo>
                    <a:pt x="75" y="1757"/>
                  </a:lnTo>
                  <a:lnTo>
                    <a:pt x="74" y="1756"/>
                  </a:lnTo>
                  <a:lnTo>
                    <a:pt x="73" y="1757"/>
                  </a:lnTo>
                  <a:lnTo>
                    <a:pt x="68" y="1756"/>
                  </a:lnTo>
                  <a:lnTo>
                    <a:pt x="70" y="1752"/>
                  </a:lnTo>
                  <a:lnTo>
                    <a:pt x="70" y="1750"/>
                  </a:lnTo>
                  <a:lnTo>
                    <a:pt x="71" y="1748"/>
                  </a:lnTo>
                  <a:lnTo>
                    <a:pt x="70" y="1744"/>
                  </a:lnTo>
                  <a:lnTo>
                    <a:pt x="73" y="1734"/>
                  </a:lnTo>
                  <a:lnTo>
                    <a:pt x="71" y="1731"/>
                  </a:lnTo>
                  <a:lnTo>
                    <a:pt x="73" y="1730"/>
                  </a:lnTo>
                  <a:lnTo>
                    <a:pt x="73" y="1727"/>
                  </a:lnTo>
                  <a:lnTo>
                    <a:pt x="75" y="1722"/>
                  </a:lnTo>
                  <a:lnTo>
                    <a:pt x="77" y="1715"/>
                  </a:lnTo>
                  <a:lnTo>
                    <a:pt x="79" y="1714"/>
                  </a:lnTo>
                  <a:lnTo>
                    <a:pt x="78" y="1709"/>
                  </a:lnTo>
                  <a:lnTo>
                    <a:pt x="84" y="1705"/>
                  </a:lnTo>
                  <a:lnTo>
                    <a:pt x="87" y="1700"/>
                  </a:lnTo>
                  <a:lnTo>
                    <a:pt x="89" y="1698"/>
                  </a:lnTo>
                  <a:lnTo>
                    <a:pt x="90" y="1695"/>
                  </a:lnTo>
                  <a:lnTo>
                    <a:pt x="92" y="1692"/>
                  </a:lnTo>
                  <a:lnTo>
                    <a:pt x="89" y="1690"/>
                  </a:lnTo>
                  <a:lnTo>
                    <a:pt x="85" y="1682"/>
                  </a:lnTo>
                  <a:lnTo>
                    <a:pt x="88" y="1676"/>
                  </a:lnTo>
                  <a:lnTo>
                    <a:pt x="88" y="1668"/>
                  </a:lnTo>
                  <a:lnTo>
                    <a:pt x="90" y="1664"/>
                  </a:lnTo>
                  <a:lnTo>
                    <a:pt x="93" y="1664"/>
                  </a:lnTo>
                  <a:lnTo>
                    <a:pt x="96" y="1663"/>
                  </a:lnTo>
                  <a:lnTo>
                    <a:pt x="100" y="1656"/>
                  </a:lnTo>
                  <a:lnTo>
                    <a:pt x="104" y="1651"/>
                  </a:lnTo>
                  <a:lnTo>
                    <a:pt x="102" y="1647"/>
                  </a:lnTo>
                  <a:lnTo>
                    <a:pt x="109" y="1642"/>
                  </a:lnTo>
                  <a:lnTo>
                    <a:pt x="110" y="1632"/>
                  </a:lnTo>
                  <a:lnTo>
                    <a:pt x="114" y="1628"/>
                  </a:lnTo>
                  <a:lnTo>
                    <a:pt x="113" y="1627"/>
                  </a:lnTo>
                  <a:lnTo>
                    <a:pt x="115" y="1623"/>
                  </a:lnTo>
                  <a:lnTo>
                    <a:pt x="115" y="1614"/>
                  </a:lnTo>
                  <a:lnTo>
                    <a:pt x="114" y="1610"/>
                  </a:lnTo>
                  <a:lnTo>
                    <a:pt x="112" y="1611"/>
                  </a:lnTo>
                  <a:lnTo>
                    <a:pt x="112" y="1607"/>
                  </a:lnTo>
                  <a:lnTo>
                    <a:pt x="109" y="1607"/>
                  </a:lnTo>
                  <a:lnTo>
                    <a:pt x="110" y="1601"/>
                  </a:lnTo>
                  <a:lnTo>
                    <a:pt x="107" y="1601"/>
                  </a:lnTo>
                  <a:lnTo>
                    <a:pt x="107" y="1597"/>
                  </a:lnTo>
                  <a:lnTo>
                    <a:pt x="113" y="1593"/>
                  </a:lnTo>
                  <a:lnTo>
                    <a:pt x="115" y="1588"/>
                  </a:lnTo>
                  <a:lnTo>
                    <a:pt x="115" y="1585"/>
                  </a:lnTo>
                  <a:lnTo>
                    <a:pt x="118" y="1580"/>
                  </a:lnTo>
                  <a:lnTo>
                    <a:pt x="117" y="1576"/>
                  </a:lnTo>
                  <a:lnTo>
                    <a:pt x="118" y="1570"/>
                  </a:lnTo>
                  <a:lnTo>
                    <a:pt x="127" y="1569"/>
                  </a:lnTo>
                  <a:lnTo>
                    <a:pt x="129" y="1566"/>
                  </a:lnTo>
                  <a:lnTo>
                    <a:pt x="137" y="1565"/>
                  </a:lnTo>
                  <a:lnTo>
                    <a:pt x="142" y="1557"/>
                  </a:lnTo>
                  <a:lnTo>
                    <a:pt x="150" y="1552"/>
                  </a:lnTo>
                  <a:lnTo>
                    <a:pt x="149" y="1549"/>
                  </a:lnTo>
                  <a:lnTo>
                    <a:pt x="152" y="1546"/>
                  </a:lnTo>
                  <a:lnTo>
                    <a:pt x="156" y="1543"/>
                  </a:lnTo>
                  <a:lnTo>
                    <a:pt x="159" y="1535"/>
                  </a:lnTo>
                  <a:lnTo>
                    <a:pt x="167" y="1533"/>
                  </a:lnTo>
                  <a:lnTo>
                    <a:pt x="173" y="1529"/>
                  </a:lnTo>
                  <a:lnTo>
                    <a:pt x="175" y="1529"/>
                  </a:lnTo>
                  <a:lnTo>
                    <a:pt x="180" y="1521"/>
                  </a:lnTo>
                  <a:lnTo>
                    <a:pt x="182" y="1521"/>
                  </a:lnTo>
                  <a:lnTo>
                    <a:pt x="188" y="1518"/>
                  </a:lnTo>
                  <a:lnTo>
                    <a:pt x="188" y="1514"/>
                  </a:lnTo>
                  <a:lnTo>
                    <a:pt x="191" y="1512"/>
                  </a:lnTo>
                  <a:lnTo>
                    <a:pt x="194" y="1504"/>
                  </a:lnTo>
                  <a:lnTo>
                    <a:pt x="202" y="1499"/>
                  </a:lnTo>
                  <a:lnTo>
                    <a:pt x="206" y="1495"/>
                  </a:lnTo>
                  <a:lnTo>
                    <a:pt x="209" y="1486"/>
                  </a:lnTo>
                  <a:lnTo>
                    <a:pt x="216" y="1481"/>
                  </a:lnTo>
                  <a:lnTo>
                    <a:pt x="216" y="1478"/>
                  </a:lnTo>
                  <a:lnTo>
                    <a:pt x="213" y="1478"/>
                  </a:lnTo>
                  <a:lnTo>
                    <a:pt x="212" y="1477"/>
                  </a:lnTo>
                  <a:lnTo>
                    <a:pt x="212" y="1469"/>
                  </a:lnTo>
                  <a:lnTo>
                    <a:pt x="210" y="1464"/>
                  </a:lnTo>
                  <a:lnTo>
                    <a:pt x="212" y="1462"/>
                  </a:lnTo>
                  <a:lnTo>
                    <a:pt x="214" y="1458"/>
                  </a:lnTo>
                  <a:lnTo>
                    <a:pt x="213" y="1454"/>
                  </a:lnTo>
                  <a:lnTo>
                    <a:pt x="216" y="1446"/>
                  </a:lnTo>
                  <a:lnTo>
                    <a:pt x="220" y="1445"/>
                  </a:lnTo>
                  <a:lnTo>
                    <a:pt x="222" y="1436"/>
                  </a:lnTo>
                  <a:lnTo>
                    <a:pt x="227" y="1433"/>
                  </a:lnTo>
                  <a:lnTo>
                    <a:pt x="231" y="1432"/>
                  </a:lnTo>
                  <a:lnTo>
                    <a:pt x="231" y="1428"/>
                  </a:lnTo>
                  <a:lnTo>
                    <a:pt x="228" y="1428"/>
                  </a:lnTo>
                  <a:lnTo>
                    <a:pt x="228" y="1420"/>
                  </a:lnTo>
                  <a:lnTo>
                    <a:pt x="235" y="1411"/>
                  </a:lnTo>
                  <a:lnTo>
                    <a:pt x="238" y="1402"/>
                  </a:lnTo>
                  <a:lnTo>
                    <a:pt x="238" y="1397"/>
                  </a:lnTo>
                  <a:lnTo>
                    <a:pt x="234" y="1394"/>
                  </a:lnTo>
                  <a:lnTo>
                    <a:pt x="235" y="1389"/>
                  </a:lnTo>
                  <a:lnTo>
                    <a:pt x="233" y="1387"/>
                  </a:lnTo>
                  <a:lnTo>
                    <a:pt x="233" y="1384"/>
                  </a:lnTo>
                  <a:lnTo>
                    <a:pt x="231" y="1382"/>
                  </a:lnTo>
                  <a:lnTo>
                    <a:pt x="228" y="1375"/>
                  </a:lnTo>
                  <a:lnTo>
                    <a:pt x="237" y="1371"/>
                  </a:lnTo>
                  <a:lnTo>
                    <a:pt x="260" y="1352"/>
                  </a:lnTo>
                  <a:lnTo>
                    <a:pt x="277" y="1344"/>
                  </a:lnTo>
                  <a:lnTo>
                    <a:pt x="285" y="1334"/>
                  </a:lnTo>
                  <a:lnTo>
                    <a:pt x="298" y="1333"/>
                  </a:lnTo>
                  <a:lnTo>
                    <a:pt x="314" y="1321"/>
                  </a:lnTo>
                  <a:lnTo>
                    <a:pt x="323" y="1321"/>
                  </a:lnTo>
                  <a:lnTo>
                    <a:pt x="330" y="1321"/>
                  </a:lnTo>
                  <a:lnTo>
                    <a:pt x="333" y="1317"/>
                  </a:lnTo>
                  <a:lnTo>
                    <a:pt x="335" y="1316"/>
                  </a:lnTo>
                  <a:lnTo>
                    <a:pt x="347" y="1312"/>
                  </a:lnTo>
                  <a:lnTo>
                    <a:pt x="356" y="1303"/>
                  </a:lnTo>
                  <a:lnTo>
                    <a:pt x="356" y="1290"/>
                  </a:lnTo>
                  <a:lnTo>
                    <a:pt x="353" y="1286"/>
                  </a:lnTo>
                  <a:lnTo>
                    <a:pt x="353" y="1282"/>
                  </a:lnTo>
                  <a:lnTo>
                    <a:pt x="359" y="1271"/>
                  </a:lnTo>
                  <a:lnTo>
                    <a:pt x="366" y="1263"/>
                  </a:lnTo>
                  <a:lnTo>
                    <a:pt x="364" y="1250"/>
                  </a:lnTo>
                  <a:lnTo>
                    <a:pt x="367" y="1241"/>
                  </a:lnTo>
                  <a:lnTo>
                    <a:pt x="373" y="1228"/>
                  </a:lnTo>
                  <a:lnTo>
                    <a:pt x="372" y="1218"/>
                  </a:lnTo>
                  <a:lnTo>
                    <a:pt x="374" y="1204"/>
                  </a:lnTo>
                  <a:lnTo>
                    <a:pt x="378" y="1183"/>
                  </a:lnTo>
                  <a:lnTo>
                    <a:pt x="385" y="1166"/>
                  </a:lnTo>
                  <a:lnTo>
                    <a:pt x="391" y="1138"/>
                  </a:lnTo>
                  <a:lnTo>
                    <a:pt x="385" y="1116"/>
                  </a:lnTo>
                  <a:lnTo>
                    <a:pt x="384" y="1108"/>
                  </a:lnTo>
                  <a:lnTo>
                    <a:pt x="391" y="1093"/>
                  </a:lnTo>
                  <a:lnTo>
                    <a:pt x="391" y="1084"/>
                  </a:lnTo>
                  <a:lnTo>
                    <a:pt x="385" y="1072"/>
                  </a:lnTo>
                  <a:lnTo>
                    <a:pt x="383" y="1059"/>
                  </a:lnTo>
                  <a:lnTo>
                    <a:pt x="381" y="1054"/>
                  </a:lnTo>
                  <a:lnTo>
                    <a:pt x="381" y="1052"/>
                  </a:lnTo>
                  <a:lnTo>
                    <a:pt x="380" y="1044"/>
                  </a:lnTo>
                  <a:lnTo>
                    <a:pt x="383" y="1027"/>
                  </a:lnTo>
                  <a:lnTo>
                    <a:pt x="381" y="1027"/>
                  </a:lnTo>
                  <a:lnTo>
                    <a:pt x="381" y="1026"/>
                  </a:lnTo>
                  <a:lnTo>
                    <a:pt x="380" y="1018"/>
                  </a:lnTo>
                  <a:lnTo>
                    <a:pt x="374" y="1013"/>
                  </a:lnTo>
                  <a:lnTo>
                    <a:pt x="374" y="1009"/>
                  </a:lnTo>
                  <a:lnTo>
                    <a:pt x="374" y="1005"/>
                  </a:lnTo>
                  <a:lnTo>
                    <a:pt x="376" y="1001"/>
                  </a:lnTo>
                  <a:lnTo>
                    <a:pt x="377" y="997"/>
                  </a:lnTo>
                  <a:lnTo>
                    <a:pt x="378" y="992"/>
                  </a:lnTo>
                  <a:lnTo>
                    <a:pt x="378" y="977"/>
                  </a:lnTo>
                  <a:lnTo>
                    <a:pt x="377" y="964"/>
                  </a:lnTo>
                  <a:lnTo>
                    <a:pt x="378" y="955"/>
                  </a:lnTo>
                  <a:lnTo>
                    <a:pt x="383" y="943"/>
                  </a:lnTo>
                  <a:lnTo>
                    <a:pt x="383" y="939"/>
                  </a:lnTo>
                  <a:lnTo>
                    <a:pt x="383" y="932"/>
                  </a:lnTo>
                  <a:lnTo>
                    <a:pt x="378" y="920"/>
                  </a:lnTo>
                  <a:lnTo>
                    <a:pt x="378" y="912"/>
                  </a:lnTo>
                  <a:lnTo>
                    <a:pt x="383" y="904"/>
                  </a:lnTo>
                  <a:lnTo>
                    <a:pt x="385" y="889"/>
                  </a:lnTo>
                  <a:lnTo>
                    <a:pt x="387" y="876"/>
                  </a:lnTo>
                  <a:lnTo>
                    <a:pt x="387" y="872"/>
                  </a:lnTo>
                  <a:lnTo>
                    <a:pt x="389" y="868"/>
                  </a:lnTo>
                  <a:lnTo>
                    <a:pt x="389" y="867"/>
                  </a:lnTo>
                  <a:lnTo>
                    <a:pt x="389" y="863"/>
                  </a:lnTo>
                  <a:lnTo>
                    <a:pt x="391" y="863"/>
                  </a:lnTo>
                  <a:lnTo>
                    <a:pt x="392" y="861"/>
                  </a:lnTo>
                  <a:lnTo>
                    <a:pt x="392" y="859"/>
                  </a:lnTo>
                  <a:lnTo>
                    <a:pt x="394" y="859"/>
                  </a:lnTo>
                  <a:lnTo>
                    <a:pt x="392" y="859"/>
                  </a:lnTo>
                  <a:lnTo>
                    <a:pt x="398" y="848"/>
                  </a:lnTo>
                  <a:lnTo>
                    <a:pt x="403" y="831"/>
                  </a:lnTo>
                  <a:lnTo>
                    <a:pt x="409" y="813"/>
                  </a:lnTo>
                  <a:lnTo>
                    <a:pt x="417" y="794"/>
                  </a:lnTo>
                  <a:lnTo>
                    <a:pt x="427" y="781"/>
                  </a:lnTo>
                  <a:lnTo>
                    <a:pt x="430" y="778"/>
                  </a:lnTo>
                  <a:lnTo>
                    <a:pt x="437" y="768"/>
                  </a:lnTo>
                  <a:lnTo>
                    <a:pt x="438" y="764"/>
                  </a:lnTo>
                  <a:lnTo>
                    <a:pt x="441" y="760"/>
                  </a:lnTo>
                  <a:lnTo>
                    <a:pt x="442" y="760"/>
                  </a:lnTo>
                  <a:lnTo>
                    <a:pt x="454" y="751"/>
                  </a:lnTo>
                  <a:lnTo>
                    <a:pt x="459" y="743"/>
                  </a:lnTo>
                  <a:lnTo>
                    <a:pt x="466" y="734"/>
                  </a:lnTo>
                  <a:lnTo>
                    <a:pt x="467" y="730"/>
                  </a:lnTo>
                  <a:lnTo>
                    <a:pt x="470" y="730"/>
                  </a:lnTo>
                  <a:lnTo>
                    <a:pt x="474" y="724"/>
                  </a:lnTo>
                  <a:lnTo>
                    <a:pt x="483" y="719"/>
                  </a:lnTo>
                  <a:lnTo>
                    <a:pt x="487" y="716"/>
                  </a:lnTo>
                  <a:lnTo>
                    <a:pt x="494" y="710"/>
                  </a:lnTo>
                  <a:lnTo>
                    <a:pt x="508" y="702"/>
                  </a:lnTo>
                  <a:lnTo>
                    <a:pt x="516" y="697"/>
                  </a:lnTo>
                  <a:lnTo>
                    <a:pt x="524" y="693"/>
                  </a:lnTo>
                  <a:lnTo>
                    <a:pt x="540" y="672"/>
                  </a:lnTo>
                  <a:lnTo>
                    <a:pt x="559" y="659"/>
                  </a:lnTo>
                  <a:lnTo>
                    <a:pt x="562" y="654"/>
                  </a:lnTo>
                  <a:lnTo>
                    <a:pt x="565" y="652"/>
                  </a:lnTo>
                  <a:lnTo>
                    <a:pt x="568" y="652"/>
                  </a:lnTo>
                  <a:lnTo>
                    <a:pt x="577" y="652"/>
                  </a:lnTo>
                  <a:lnTo>
                    <a:pt x="583" y="653"/>
                  </a:lnTo>
                  <a:lnTo>
                    <a:pt x="586" y="652"/>
                  </a:lnTo>
                  <a:lnTo>
                    <a:pt x="587" y="649"/>
                  </a:lnTo>
                  <a:lnTo>
                    <a:pt x="591" y="645"/>
                  </a:lnTo>
                  <a:lnTo>
                    <a:pt x="594" y="645"/>
                  </a:lnTo>
                  <a:lnTo>
                    <a:pt x="596" y="645"/>
                  </a:lnTo>
                  <a:lnTo>
                    <a:pt x="602" y="648"/>
                  </a:lnTo>
                  <a:lnTo>
                    <a:pt x="608" y="645"/>
                  </a:lnTo>
                  <a:lnTo>
                    <a:pt x="609" y="645"/>
                  </a:lnTo>
                  <a:lnTo>
                    <a:pt x="612" y="644"/>
                  </a:lnTo>
                  <a:lnTo>
                    <a:pt x="613" y="640"/>
                  </a:lnTo>
                  <a:lnTo>
                    <a:pt x="615" y="640"/>
                  </a:lnTo>
                  <a:lnTo>
                    <a:pt x="627" y="645"/>
                  </a:lnTo>
                  <a:lnTo>
                    <a:pt x="632" y="645"/>
                  </a:lnTo>
                  <a:lnTo>
                    <a:pt x="638" y="645"/>
                  </a:lnTo>
                  <a:lnTo>
                    <a:pt x="640" y="645"/>
                  </a:lnTo>
                  <a:lnTo>
                    <a:pt x="646" y="648"/>
                  </a:lnTo>
                  <a:lnTo>
                    <a:pt x="657" y="636"/>
                  </a:lnTo>
                  <a:lnTo>
                    <a:pt x="661" y="632"/>
                  </a:lnTo>
                  <a:lnTo>
                    <a:pt x="666" y="627"/>
                  </a:lnTo>
                  <a:lnTo>
                    <a:pt x="668" y="627"/>
                  </a:lnTo>
                  <a:lnTo>
                    <a:pt x="672" y="627"/>
                  </a:lnTo>
                  <a:lnTo>
                    <a:pt x="677" y="627"/>
                  </a:lnTo>
                  <a:lnTo>
                    <a:pt x="684" y="622"/>
                  </a:lnTo>
                  <a:lnTo>
                    <a:pt x="691" y="617"/>
                  </a:lnTo>
                  <a:lnTo>
                    <a:pt x="696" y="617"/>
                  </a:lnTo>
                  <a:lnTo>
                    <a:pt x="711" y="604"/>
                  </a:lnTo>
                  <a:lnTo>
                    <a:pt x="721" y="595"/>
                  </a:lnTo>
                  <a:lnTo>
                    <a:pt x="723" y="591"/>
                  </a:lnTo>
                  <a:lnTo>
                    <a:pt x="730" y="587"/>
                  </a:lnTo>
                  <a:lnTo>
                    <a:pt x="739" y="582"/>
                  </a:lnTo>
                  <a:lnTo>
                    <a:pt x="741" y="578"/>
                  </a:lnTo>
                  <a:lnTo>
                    <a:pt x="747" y="577"/>
                  </a:lnTo>
                  <a:lnTo>
                    <a:pt x="750" y="573"/>
                  </a:lnTo>
                  <a:lnTo>
                    <a:pt x="753" y="573"/>
                  </a:lnTo>
                  <a:lnTo>
                    <a:pt x="754" y="569"/>
                  </a:lnTo>
                  <a:lnTo>
                    <a:pt x="757" y="567"/>
                  </a:lnTo>
                  <a:lnTo>
                    <a:pt x="762" y="565"/>
                  </a:lnTo>
                  <a:lnTo>
                    <a:pt x="764" y="565"/>
                  </a:lnTo>
                  <a:lnTo>
                    <a:pt x="768" y="565"/>
                  </a:lnTo>
                  <a:lnTo>
                    <a:pt x="769" y="565"/>
                  </a:lnTo>
                  <a:lnTo>
                    <a:pt x="771" y="565"/>
                  </a:lnTo>
                  <a:lnTo>
                    <a:pt x="773" y="565"/>
                  </a:lnTo>
                  <a:lnTo>
                    <a:pt x="778" y="564"/>
                  </a:lnTo>
                  <a:lnTo>
                    <a:pt x="783" y="565"/>
                  </a:lnTo>
                  <a:lnTo>
                    <a:pt x="790" y="564"/>
                  </a:lnTo>
                  <a:lnTo>
                    <a:pt x="793" y="560"/>
                  </a:lnTo>
                  <a:lnTo>
                    <a:pt x="798" y="564"/>
                  </a:lnTo>
                  <a:lnTo>
                    <a:pt x="800" y="564"/>
                  </a:lnTo>
                  <a:lnTo>
                    <a:pt x="804" y="565"/>
                  </a:lnTo>
                  <a:lnTo>
                    <a:pt x="807" y="567"/>
                  </a:lnTo>
                  <a:lnTo>
                    <a:pt x="809" y="569"/>
                  </a:lnTo>
                  <a:lnTo>
                    <a:pt x="815" y="565"/>
                  </a:lnTo>
                  <a:lnTo>
                    <a:pt x="819" y="565"/>
                  </a:lnTo>
                  <a:lnTo>
                    <a:pt x="821" y="567"/>
                  </a:lnTo>
                  <a:lnTo>
                    <a:pt x="823" y="569"/>
                  </a:lnTo>
                  <a:lnTo>
                    <a:pt x="825" y="569"/>
                  </a:lnTo>
                  <a:lnTo>
                    <a:pt x="836" y="569"/>
                  </a:lnTo>
                  <a:lnTo>
                    <a:pt x="843" y="569"/>
                  </a:lnTo>
                  <a:lnTo>
                    <a:pt x="847" y="567"/>
                  </a:lnTo>
                  <a:lnTo>
                    <a:pt x="850" y="569"/>
                  </a:lnTo>
                  <a:lnTo>
                    <a:pt x="857" y="565"/>
                  </a:lnTo>
                  <a:lnTo>
                    <a:pt x="859" y="567"/>
                  </a:lnTo>
                  <a:lnTo>
                    <a:pt x="864" y="565"/>
                  </a:lnTo>
                  <a:lnTo>
                    <a:pt x="871" y="567"/>
                  </a:lnTo>
                  <a:lnTo>
                    <a:pt x="873" y="565"/>
                  </a:lnTo>
                  <a:lnTo>
                    <a:pt x="879" y="565"/>
                  </a:lnTo>
                  <a:lnTo>
                    <a:pt x="883" y="565"/>
                  </a:lnTo>
                  <a:lnTo>
                    <a:pt x="886" y="565"/>
                  </a:lnTo>
                  <a:lnTo>
                    <a:pt x="889" y="565"/>
                  </a:lnTo>
                  <a:lnTo>
                    <a:pt x="892" y="565"/>
                  </a:lnTo>
                  <a:lnTo>
                    <a:pt x="897" y="564"/>
                  </a:lnTo>
                  <a:lnTo>
                    <a:pt x="901" y="560"/>
                  </a:lnTo>
                  <a:lnTo>
                    <a:pt x="908" y="560"/>
                  </a:lnTo>
                  <a:lnTo>
                    <a:pt x="914" y="560"/>
                  </a:lnTo>
                  <a:lnTo>
                    <a:pt x="917" y="558"/>
                  </a:lnTo>
                  <a:lnTo>
                    <a:pt x="921" y="556"/>
                  </a:lnTo>
                  <a:lnTo>
                    <a:pt x="925" y="556"/>
                  </a:lnTo>
                  <a:lnTo>
                    <a:pt x="931" y="556"/>
                  </a:lnTo>
                  <a:lnTo>
                    <a:pt x="933" y="556"/>
                  </a:lnTo>
                  <a:lnTo>
                    <a:pt x="947" y="554"/>
                  </a:lnTo>
                  <a:lnTo>
                    <a:pt x="951" y="552"/>
                  </a:lnTo>
                  <a:lnTo>
                    <a:pt x="956" y="550"/>
                  </a:lnTo>
                  <a:lnTo>
                    <a:pt x="958" y="550"/>
                  </a:lnTo>
                  <a:lnTo>
                    <a:pt x="967" y="547"/>
                  </a:lnTo>
                  <a:lnTo>
                    <a:pt x="979" y="552"/>
                  </a:lnTo>
                  <a:lnTo>
                    <a:pt x="983" y="556"/>
                  </a:lnTo>
                  <a:lnTo>
                    <a:pt x="985" y="560"/>
                  </a:lnTo>
                  <a:lnTo>
                    <a:pt x="989" y="560"/>
                  </a:lnTo>
                  <a:lnTo>
                    <a:pt x="996" y="560"/>
                  </a:lnTo>
                  <a:lnTo>
                    <a:pt x="1006" y="564"/>
                  </a:lnTo>
                  <a:lnTo>
                    <a:pt x="1008" y="565"/>
                  </a:lnTo>
                  <a:lnTo>
                    <a:pt x="1014" y="567"/>
                  </a:lnTo>
                  <a:lnTo>
                    <a:pt x="1025" y="569"/>
                  </a:lnTo>
                  <a:lnTo>
                    <a:pt x="1027" y="569"/>
                  </a:lnTo>
                  <a:lnTo>
                    <a:pt x="1031" y="573"/>
                  </a:lnTo>
                  <a:lnTo>
                    <a:pt x="1035" y="577"/>
                  </a:lnTo>
                  <a:lnTo>
                    <a:pt x="1036" y="577"/>
                  </a:lnTo>
                  <a:lnTo>
                    <a:pt x="1043" y="573"/>
                  </a:lnTo>
                  <a:lnTo>
                    <a:pt x="1052" y="573"/>
                  </a:lnTo>
                  <a:lnTo>
                    <a:pt x="1053" y="569"/>
                  </a:lnTo>
                  <a:lnTo>
                    <a:pt x="1057" y="569"/>
                  </a:lnTo>
                  <a:lnTo>
                    <a:pt x="1067" y="564"/>
                  </a:lnTo>
                  <a:lnTo>
                    <a:pt x="1070" y="560"/>
                  </a:lnTo>
                  <a:lnTo>
                    <a:pt x="1077" y="556"/>
                  </a:lnTo>
                  <a:lnTo>
                    <a:pt x="1085" y="552"/>
                  </a:lnTo>
                  <a:lnTo>
                    <a:pt x="1091" y="552"/>
                  </a:lnTo>
                  <a:lnTo>
                    <a:pt x="1097" y="547"/>
                  </a:lnTo>
                  <a:lnTo>
                    <a:pt x="1100" y="542"/>
                  </a:lnTo>
                  <a:lnTo>
                    <a:pt x="1104" y="541"/>
                  </a:lnTo>
                  <a:lnTo>
                    <a:pt x="1110" y="537"/>
                  </a:lnTo>
                  <a:lnTo>
                    <a:pt x="1111" y="533"/>
                  </a:lnTo>
                  <a:lnTo>
                    <a:pt x="1116" y="532"/>
                  </a:lnTo>
                  <a:lnTo>
                    <a:pt x="1118" y="524"/>
                  </a:lnTo>
                  <a:lnTo>
                    <a:pt x="1120" y="520"/>
                  </a:lnTo>
                  <a:lnTo>
                    <a:pt x="1129" y="511"/>
                  </a:lnTo>
                  <a:lnTo>
                    <a:pt x="1135" y="505"/>
                  </a:lnTo>
                  <a:lnTo>
                    <a:pt x="1138" y="502"/>
                  </a:lnTo>
                  <a:lnTo>
                    <a:pt x="1139" y="502"/>
                  </a:lnTo>
                  <a:lnTo>
                    <a:pt x="1147" y="502"/>
                  </a:lnTo>
                  <a:lnTo>
                    <a:pt x="1150" y="498"/>
                  </a:lnTo>
                  <a:lnTo>
                    <a:pt x="1155" y="497"/>
                  </a:lnTo>
                  <a:lnTo>
                    <a:pt x="1160" y="494"/>
                  </a:lnTo>
                  <a:lnTo>
                    <a:pt x="1170" y="488"/>
                  </a:lnTo>
                  <a:lnTo>
                    <a:pt x="1177" y="485"/>
                  </a:lnTo>
                  <a:lnTo>
                    <a:pt x="1182" y="485"/>
                  </a:lnTo>
                  <a:lnTo>
                    <a:pt x="1185" y="485"/>
                  </a:lnTo>
                  <a:lnTo>
                    <a:pt x="1189" y="479"/>
                  </a:lnTo>
                  <a:lnTo>
                    <a:pt x="1192" y="475"/>
                  </a:lnTo>
                  <a:lnTo>
                    <a:pt x="1199" y="471"/>
                  </a:lnTo>
                  <a:lnTo>
                    <a:pt x="1211" y="471"/>
                  </a:lnTo>
                  <a:lnTo>
                    <a:pt x="1214" y="471"/>
                  </a:lnTo>
                  <a:lnTo>
                    <a:pt x="1220" y="466"/>
                  </a:lnTo>
                  <a:lnTo>
                    <a:pt x="1233" y="449"/>
                  </a:lnTo>
                  <a:lnTo>
                    <a:pt x="1238" y="449"/>
                  </a:lnTo>
                  <a:lnTo>
                    <a:pt x="1249" y="440"/>
                  </a:lnTo>
                  <a:lnTo>
                    <a:pt x="1256" y="440"/>
                  </a:lnTo>
                  <a:lnTo>
                    <a:pt x="1257" y="438"/>
                  </a:lnTo>
                  <a:lnTo>
                    <a:pt x="1260" y="436"/>
                  </a:lnTo>
                  <a:lnTo>
                    <a:pt x="1263" y="427"/>
                  </a:lnTo>
                  <a:lnTo>
                    <a:pt x="1274" y="427"/>
                  </a:lnTo>
                  <a:lnTo>
                    <a:pt x="1284" y="413"/>
                  </a:lnTo>
                  <a:lnTo>
                    <a:pt x="1282" y="412"/>
                  </a:lnTo>
                  <a:lnTo>
                    <a:pt x="1288" y="412"/>
                  </a:lnTo>
                  <a:lnTo>
                    <a:pt x="1293" y="408"/>
                  </a:lnTo>
                  <a:lnTo>
                    <a:pt x="1296" y="408"/>
                  </a:lnTo>
                  <a:lnTo>
                    <a:pt x="1305" y="408"/>
                  </a:lnTo>
                  <a:lnTo>
                    <a:pt x="1309" y="404"/>
                  </a:lnTo>
                  <a:lnTo>
                    <a:pt x="1313" y="404"/>
                  </a:lnTo>
                  <a:lnTo>
                    <a:pt x="1323" y="400"/>
                  </a:lnTo>
                  <a:lnTo>
                    <a:pt x="1328" y="395"/>
                  </a:lnTo>
                  <a:lnTo>
                    <a:pt x="1338" y="395"/>
                  </a:lnTo>
                  <a:lnTo>
                    <a:pt x="1342" y="395"/>
                  </a:lnTo>
                  <a:lnTo>
                    <a:pt x="1349" y="391"/>
                  </a:lnTo>
                  <a:lnTo>
                    <a:pt x="1351" y="391"/>
                  </a:lnTo>
                  <a:lnTo>
                    <a:pt x="1351" y="387"/>
                  </a:lnTo>
                  <a:lnTo>
                    <a:pt x="1352" y="386"/>
                  </a:lnTo>
                  <a:lnTo>
                    <a:pt x="1355" y="386"/>
                  </a:lnTo>
                  <a:lnTo>
                    <a:pt x="1357" y="386"/>
                  </a:lnTo>
                  <a:lnTo>
                    <a:pt x="1359" y="382"/>
                  </a:lnTo>
                  <a:lnTo>
                    <a:pt x="1360" y="382"/>
                  </a:lnTo>
                  <a:lnTo>
                    <a:pt x="1362" y="382"/>
                  </a:lnTo>
                  <a:lnTo>
                    <a:pt x="1363" y="386"/>
                  </a:lnTo>
                  <a:lnTo>
                    <a:pt x="1371" y="382"/>
                  </a:lnTo>
                  <a:lnTo>
                    <a:pt x="1373" y="382"/>
                  </a:lnTo>
                  <a:lnTo>
                    <a:pt x="1381" y="382"/>
                  </a:lnTo>
                  <a:lnTo>
                    <a:pt x="1384" y="382"/>
                  </a:lnTo>
                  <a:lnTo>
                    <a:pt x="1385" y="382"/>
                  </a:lnTo>
                  <a:lnTo>
                    <a:pt x="1388" y="382"/>
                  </a:lnTo>
                  <a:lnTo>
                    <a:pt x="1392" y="382"/>
                  </a:lnTo>
                  <a:lnTo>
                    <a:pt x="1398" y="382"/>
                  </a:lnTo>
                  <a:lnTo>
                    <a:pt x="1401" y="382"/>
                  </a:lnTo>
                  <a:lnTo>
                    <a:pt x="1402" y="382"/>
                  </a:lnTo>
                  <a:lnTo>
                    <a:pt x="1407" y="378"/>
                  </a:lnTo>
                  <a:lnTo>
                    <a:pt x="1409" y="378"/>
                  </a:lnTo>
                  <a:lnTo>
                    <a:pt x="1420" y="376"/>
                  </a:lnTo>
                  <a:lnTo>
                    <a:pt x="1421" y="376"/>
                  </a:lnTo>
                  <a:lnTo>
                    <a:pt x="1427" y="373"/>
                  </a:lnTo>
                  <a:lnTo>
                    <a:pt x="1430" y="373"/>
                  </a:lnTo>
                  <a:lnTo>
                    <a:pt x="1431" y="368"/>
                  </a:lnTo>
                  <a:lnTo>
                    <a:pt x="1435" y="368"/>
                  </a:lnTo>
                  <a:lnTo>
                    <a:pt x="1438" y="367"/>
                  </a:lnTo>
                  <a:lnTo>
                    <a:pt x="1441" y="368"/>
                  </a:lnTo>
                  <a:lnTo>
                    <a:pt x="1445" y="368"/>
                  </a:lnTo>
                  <a:lnTo>
                    <a:pt x="1453" y="365"/>
                  </a:lnTo>
                  <a:lnTo>
                    <a:pt x="1459" y="365"/>
                  </a:lnTo>
                  <a:lnTo>
                    <a:pt x="1465" y="363"/>
                  </a:lnTo>
                  <a:lnTo>
                    <a:pt x="1468" y="359"/>
                  </a:lnTo>
                  <a:lnTo>
                    <a:pt x="1474" y="359"/>
                  </a:lnTo>
                  <a:lnTo>
                    <a:pt x="1476" y="359"/>
                  </a:lnTo>
                  <a:lnTo>
                    <a:pt x="1478" y="355"/>
                  </a:lnTo>
                  <a:lnTo>
                    <a:pt x="1482" y="355"/>
                  </a:lnTo>
                  <a:lnTo>
                    <a:pt x="1491" y="350"/>
                  </a:lnTo>
                  <a:lnTo>
                    <a:pt x="1495" y="350"/>
                  </a:lnTo>
                  <a:lnTo>
                    <a:pt x="1501" y="346"/>
                  </a:lnTo>
                  <a:lnTo>
                    <a:pt x="1505" y="342"/>
                  </a:lnTo>
                  <a:lnTo>
                    <a:pt x="1505" y="341"/>
                  </a:lnTo>
                  <a:lnTo>
                    <a:pt x="1506" y="337"/>
                  </a:lnTo>
                  <a:lnTo>
                    <a:pt x="1510" y="337"/>
                  </a:lnTo>
                  <a:lnTo>
                    <a:pt x="1517" y="337"/>
                  </a:lnTo>
                  <a:lnTo>
                    <a:pt x="1521" y="333"/>
                  </a:lnTo>
                  <a:lnTo>
                    <a:pt x="1526" y="329"/>
                  </a:lnTo>
                  <a:lnTo>
                    <a:pt x="1535" y="323"/>
                  </a:lnTo>
                  <a:lnTo>
                    <a:pt x="1540" y="320"/>
                  </a:lnTo>
                  <a:lnTo>
                    <a:pt x="1555" y="314"/>
                  </a:lnTo>
                  <a:lnTo>
                    <a:pt x="1563" y="305"/>
                  </a:lnTo>
                  <a:lnTo>
                    <a:pt x="1572" y="297"/>
                  </a:lnTo>
                  <a:lnTo>
                    <a:pt x="1572" y="296"/>
                  </a:lnTo>
                  <a:lnTo>
                    <a:pt x="1573" y="296"/>
                  </a:lnTo>
                  <a:lnTo>
                    <a:pt x="1576" y="293"/>
                  </a:lnTo>
                  <a:lnTo>
                    <a:pt x="1581" y="297"/>
                  </a:lnTo>
                  <a:lnTo>
                    <a:pt x="1588" y="293"/>
                  </a:lnTo>
                  <a:lnTo>
                    <a:pt x="1591" y="293"/>
                  </a:lnTo>
                  <a:lnTo>
                    <a:pt x="1594" y="292"/>
                  </a:lnTo>
                  <a:lnTo>
                    <a:pt x="1603" y="288"/>
                  </a:lnTo>
                  <a:lnTo>
                    <a:pt x="1608" y="287"/>
                  </a:lnTo>
                  <a:lnTo>
                    <a:pt x="1615" y="287"/>
                  </a:lnTo>
                  <a:lnTo>
                    <a:pt x="1619" y="284"/>
                  </a:lnTo>
                  <a:lnTo>
                    <a:pt x="1631" y="284"/>
                  </a:lnTo>
                  <a:lnTo>
                    <a:pt x="1637" y="284"/>
                  </a:lnTo>
                  <a:lnTo>
                    <a:pt x="1638" y="284"/>
                  </a:lnTo>
                  <a:lnTo>
                    <a:pt x="1644" y="279"/>
                  </a:lnTo>
                  <a:lnTo>
                    <a:pt x="1654" y="279"/>
                  </a:lnTo>
                  <a:lnTo>
                    <a:pt x="1659" y="275"/>
                  </a:lnTo>
                  <a:lnTo>
                    <a:pt x="1672" y="269"/>
                  </a:lnTo>
                  <a:lnTo>
                    <a:pt x="1683" y="261"/>
                  </a:lnTo>
                  <a:lnTo>
                    <a:pt x="1684" y="258"/>
                  </a:lnTo>
                  <a:lnTo>
                    <a:pt x="1686" y="253"/>
                  </a:lnTo>
                  <a:lnTo>
                    <a:pt x="1697" y="239"/>
                  </a:lnTo>
                  <a:lnTo>
                    <a:pt x="1698" y="238"/>
                  </a:lnTo>
                  <a:lnTo>
                    <a:pt x="1700" y="236"/>
                  </a:lnTo>
                  <a:lnTo>
                    <a:pt x="1712" y="229"/>
                  </a:lnTo>
                  <a:lnTo>
                    <a:pt x="1719" y="221"/>
                  </a:lnTo>
                  <a:lnTo>
                    <a:pt x="1726" y="217"/>
                  </a:lnTo>
                  <a:lnTo>
                    <a:pt x="1727" y="216"/>
                  </a:lnTo>
                  <a:lnTo>
                    <a:pt x="1731" y="213"/>
                  </a:lnTo>
                  <a:lnTo>
                    <a:pt x="1737" y="208"/>
                  </a:lnTo>
                  <a:lnTo>
                    <a:pt x="1744" y="204"/>
                  </a:lnTo>
                  <a:lnTo>
                    <a:pt x="1750" y="202"/>
                  </a:lnTo>
                  <a:lnTo>
                    <a:pt x="1769" y="185"/>
                  </a:lnTo>
                  <a:lnTo>
                    <a:pt x="1775" y="177"/>
                  </a:lnTo>
                  <a:lnTo>
                    <a:pt x="1781" y="172"/>
                  </a:lnTo>
                  <a:lnTo>
                    <a:pt x="1783" y="168"/>
                  </a:lnTo>
                  <a:lnTo>
                    <a:pt x="1786" y="164"/>
                  </a:lnTo>
                  <a:lnTo>
                    <a:pt x="1790" y="163"/>
                  </a:lnTo>
                  <a:lnTo>
                    <a:pt x="1795" y="158"/>
                  </a:lnTo>
                  <a:lnTo>
                    <a:pt x="1802" y="155"/>
                  </a:lnTo>
                  <a:lnTo>
                    <a:pt x="1804" y="150"/>
                  </a:lnTo>
                  <a:lnTo>
                    <a:pt x="1806" y="150"/>
                  </a:lnTo>
                  <a:lnTo>
                    <a:pt x="1812" y="146"/>
                  </a:lnTo>
                  <a:lnTo>
                    <a:pt x="1814" y="146"/>
                  </a:lnTo>
                  <a:lnTo>
                    <a:pt x="1825" y="133"/>
                  </a:lnTo>
                  <a:lnTo>
                    <a:pt x="1829" y="129"/>
                  </a:lnTo>
                  <a:lnTo>
                    <a:pt x="1839" y="120"/>
                  </a:lnTo>
                  <a:lnTo>
                    <a:pt x="1840" y="114"/>
                  </a:lnTo>
                  <a:lnTo>
                    <a:pt x="1851" y="106"/>
                  </a:lnTo>
                  <a:lnTo>
                    <a:pt x="1855" y="105"/>
                  </a:lnTo>
                  <a:lnTo>
                    <a:pt x="1861" y="101"/>
                  </a:lnTo>
                  <a:lnTo>
                    <a:pt x="1864" y="97"/>
                  </a:lnTo>
                  <a:lnTo>
                    <a:pt x="1869" y="97"/>
                  </a:lnTo>
                  <a:lnTo>
                    <a:pt x="1871" y="96"/>
                  </a:lnTo>
                  <a:lnTo>
                    <a:pt x="1873" y="92"/>
                  </a:lnTo>
                  <a:lnTo>
                    <a:pt x="1879" y="92"/>
                  </a:lnTo>
                  <a:lnTo>
                    <a:pt x="1880" y="88"/>
                  </a:lnTo>
                  <a:lnTo>
                    <a:pt x="1886" y="88"/>
                  </a:lnTo>
                  <a:lnTo>
                    <a:pt x="1887" y="88"/>
                  </a:lnTo>
                  <a:lnTo>
                    <a:pt x="1889" y="88"/>
                  </a:lnTo>
                  <a:lnTo>
                    <a:pt x="1901" y="84"/>
                  </a:lnTo>
                  <a:lnTo>
                    <a:pt x="1908" y="84"/>
                  </a:lnTo>
                  <a:lnTo>
                    <a:pt x="1912" y="84"/>
                  </a:lnTo>
                  <a:lnTo>
                    <a:pt x="1916" y="84"/>
                  </a:lnTo>
                  <a:lnTo>
                    <a:pt x="1919" y="87"/>
                  </a:lnTo>
                  <a:lnTo>
                    <a:pt x="1924" y="87"/>
                  </a:lnTo>
                  <a:lnTo>
                    <a:pt x="1927" y="84"/>
                  </a:lnTo>
                  <a:lnTo>
                    <a:pt x="1930" y="83"/>
                  </a:lnTo>
                  <a:lnTo>
                    <a:pt x="1932" y="84"/>
                  </a:lnTo>
                  <a:lnTo>
                    <a:pt x="1935" y="83"/>
                  </a:lnTo>
                  <a:lnTo>
                    <a:pt x="1939" y="84"/>
                  </a:lnTo>
                  <a:lnTo>
                    <a:pt x="1941" y="84"/>
                  </a:lnTo>
                  <a:lnTo>
                    <a:pt x="1946" y="79"/>
                  </a:lnTo>
                  <a:lnTo>
                    <a:pt x="1952" y="75"/>
                  </a:lnTo>
                  <a:lnTo>
                    <a:pt x="1960" y="71"/>
                  </a:lnTo>
                  <a:lnTo>
                    <a:pt x="1965" y="62"/>
                  </a:lnTo>
                  <a:lnTo>
                    <a:pt x="1966" y="52"/>
                  </a:lnTo>
                  <a:lnTo>
                    <a:pt x="1969" y="47"/>
                  </a:lnTo>
                  <a:lnTo>
                    <a:pt x="1972" y="43"/>
                  </a:lnTo>
                  <a:lnTo>
                    <a:pt x="1976" y="38"/>
                  </a:lnTo>
                  <a:lnTo>
                    <a:pt x="1983" y="30"/>
                  </a:lnTo>
                  <a:lnTo>
                    <a:pt x="1985" y="34"/>
                  </a:lnTo>
                  <a:lnTo>
                    <a:pt x="1991" y="30"/>
                  </a:lnTo>
                  <a:lnTo>
                    <a:pt x="1989" y="26"/>
                  </a:lnTo>
                  <a:lnTo>
                    <a:pt x="1991" y="25"/>
                  </a:lnTo>
                  <a:lnTo>
                    <a:pt x="1999" y="14"/>
                  </a:lnTo>
                  <a:lnTo>
                    <a:pt x="2002" y="3"/>
                  </a:lnTo>
                  <a:lnTo>
                    <a:pt x="2010" y="8"/>
                  </a:lnTo>
                  <a:lnTo>
                    <a:pt x="2015" y="0"/>
                  </a:lnTo>
                  <a:lnTo>
                    <a:pt x="2019" y="0"/>
                  </a:lnTo>
                  <a:lnTo>
                    <a:pt x="2029" y="3"/>
                  </a:lnTo>
                  <a:lnTo>
                    <a:pt x="2030" y="8"/>
                  </a:lnTo>
                  <a:lnTo>
                    <a:pt x="2032" y="8"/>
                  </a:lnTo>
                  <a:lnTo>
                    <a:pt x="2033" y="8"/>
                  </a:lnTo>
                  <a:lnTo>
                    <a:pt x="2033" y="3"/>
                  </a:lnTo>
                  <a:lnTo>
                    <a:pt x="2036" y="3"/>
                  </a:lnTo>
                  <a:lnTo>
                    <a:pt x="2049" y="8"/>
                  </a:lnTo>
                  <a:lnTo>
                    <a:pt x="2060" y="11"/>
                  </a:lnTo>
                  <a:lnTo>
                    <a:pt x="2058" y="13"/>
                  </a:lnTo>
                  <a:lnTo>
                    <a:pt x="2052" y="14"/>
                  </a:lnTo>
                  <a:lnTo>
                    <a:pt x="2049" y="17"/>
                  </a:lnTo>
                  <a:lnTo>
                    <a:pt x="2043" y="15"/>
                  </a:lnTo>
                  <a:lnTo>
                    <a:pt x="2041" y="21"/>
                  </a:lnTo>
                  <a:lnTo>
                    <a:pt x="2043" y="26"/>
                  </a:lnTo>
                  <a:lnTo>
                    <a:pt x="2040" y="30"/>
                  </a:lnTo>
                  <a:lnTo>
                    <a:pt x="2041" y="30"/>
                  </a:lnTo>
                  <a:lnTo>
                    <a:pt x="2051" y="26"/>
                  </a:lnTo>
                  <a:lnTo>
                    <a:pt x="2065" y="15"/>
                  </a:lnTo>
                  <a:lnTo>
                    <a:pt x="2068" y="11"/>
                  </a:lnTo>
                  <a:lnTo>
                    <a:pt x="2068" y="3"/>
                  </a:lnTo>
                  <a:lnTo>
                    <a:pt x="2075" y="3"/>
                  </a:lnTo>
                  <a:lnTo>
                    <a:pt x="2082" y="8"/>
                  </a:lnTo>
                  <a:lnTo>
                    <a:pt x="2082" y="13"/>
                  </a:lnTo>
                  <a:lnTo>
                    <a:pt x="2085" y="13"/>
                  </a:lnTo>
                  <a:lnTo>
                    <a:pt x="2086" y="17"/>
                  </a:lnTo>
                  <a:lnTo>
                    <a:pt x="2089" y="17"/>
                  </a:lnTo>
                  <a:lnTo>
                    <a:pt x="2086" y="26"/>
                  </a:lnTo>
                  <a:lnTo>
                    <a:pt x="2089" y="34"/>
                  </a:lnTo>
                  <a:lnTo>
                    <a:pt x="2093" y="39"/>
                  </a:lnTo>
                  <a:lnTo>
                    <a:pt x="2094" y="47"/>
                  </a:lnTo>
                  <a:lnTo>
                    <a:pt x="2097" y="48"/>
                  </a:lnTo>
                  <a:lnTo>
                    <a:pt x="2099" y="51"/>
                  </a:lnTo>
                  <a:lnTo>
                    <a:pt x="2096" y="56"/>
                  </a:lnTo>
                  <a:lnTo>
                    <a:pt x="2096" y="62"/>
                  </a:lnTo>
                  <a:lnTo>
                    <a:pt x="2094" y="62"/>
                  </a:lnTo>
                  <a:lnTo>
                    <a:pt x="2091" y="62"/>
                  </a:lnTo>
                  <a:lnTo>
                    <a:pt x="2090" y="62"/>
                  </a:lnTo>
                  <a:lnTo>
                    <a:pt x="2087" y="60"/>
                  </a:lnTo>
                  <a:lnTo>
                    <a:pt x="2085" y="60"/>
                  </a:lnTo>
                  <a:lnTo>
                    <a:pt x="2085" y="64"/>
                  </a:lnTo>
                  <a:lnTo>
                    <a:pt x="2080" y="64"/>
                  </a:lnTo>
                  <a:lnTo>
                    <a:pt x="2078" y="65"/>
                  </a:lnTo>
                  <a:lnTo>
                    <a:pt x="2075" y="65"/>
                  </a:lnTo>
                  <a:lnTo>
                    <a:pt x="2074" y="62"/>
                  </a:lnTo>
                  <a:lnTo>
                    <a:pt x="2072" y="62"/>
                  </a:lnTo>
                  <a:lnTo>
                    <a:pt x="2074" y="65"/>
                  </a:lnTo>
                  <a:lnTo>
                    <a:pt x="2072" y="65"/>
                  </a:lnTo>
                  <a:lnTo>
                    <a:pt x="2066" y="64"/>
                  </a:lnTo>
                  <a:lnTo>
                    <a:pt x="2062" y="62"/>
                  </a:lnTo>
                  <a:lnTo>
                    <a:pt x="2060" y="64"/>
                  </a:lnTo>
                  <a:lnTo>
                    <a:pt x="2058" y="70"/>
                  </a:lnTo>
                  <a:lnTo>
                    <a:pt x="2055" y="71"/>
                  </a:lnTo>
                  <a:lnTo>
                    <a:pt x="2051" y="70"/>
                  </a:lnTo>
                  <a:lnTo>
                    <a:pt x="2047" y="73"/>
                  </a:lnTo>
                  <a:lnTo>
                    <a:pt x="2046" y="75"/>
                  </a:lnTo>
                  <a:lnTo>
                    <a:pt x="2044" y="73"/>
                  </a:lnTo>
                  <a:lnTo>
                    <a:pt x="2046" y="65"/>
                  </a:lnTo>
                  <a:lnTo>
                    <a:pt x="2040" y="65"/>
                  </a:lnTo>
                  <a:lnTo>
                    <a:pt x="2036" y="71"/>
                  </a:lnTo>
                  <a:lnTo>
                    <a:pt x="2036" y="73"/>
                  </a:lnTo>
                  <a:lnTo>
                    <a:pt x="2039" y="71"/>
                  </a:lnTo>
                  <a:lnTo>
                    <a:pt x="2040" y="65"/>
                  </a:lnTo>
                  <a:lnTo>
                    <a:pt x="2041" y="65"/>
                  </a:lnTo>
                  <a:lnTo>
                    <a:pt x="2041" y="79"/>
                  </a:lnTo>
                  <a:lnTo>
                    <a:pt x="2043" y="79"/>
                  </a:lnTo>
                  <a:lnTo>
                    <a:pt x="2050" y="79"/>
                  </a:lnTo>
                  <a:lnTo>
                    <a:pt x="2050" y="83"/>
                  </a:lnTo>
                  <a:lnTo>
                    <a:pt x="2047" y="84"/>
                  </a:lnTo>
                  <a:lnTo>
                    <a:pt x="2046" y="92"/>
                  </a:lnTo>
                  <a:lnTo>
                    <a:pt x="2050" y="88"/>
                  </a:lnTo>
                  <a:lnTo>
                    <a:pt x="2054" y="92"/>
                  </a:lnTo>
                  <a:lnTo>
                    <a:pt x="2068" y="92"/>
                  </a:lnTo>
                  <a:lnTo>
                    <a:pt x="2078" y="88"/>
                  </a:lnTo>
                  <a:lnTo>
                    <a:pt x="2082" y="84"/>
                  </a:lnTo>
                  <a:lnTo>
                    <a:pt x="2086" y="83"/>
                  </a:lnTo>
                  <a:lnTo>
                    <a:pt x="2090" y="83"/>
                  </a:lnTo>
                  <a:lnTo>
                    <a:pt x="2097" y="84"/>
                  </a:lnTo>
                  <a:lnTo>
                    <a:pt x="2100" y="88"/>
                  </a:lnTo>
                  <a:lnTo>
                    <a:pt x="2107" y="88"/>
                  </a:lnTo>
                  <a:lnTo>
                    <a:pt x="2115" y="97"/>
                  </a:lnTo>
                  <a:lnTo>
                    <a:pt x="2121" y="97"/>
                  </a:lnTo>
                  <a:lnTo>
                    <a:pt x="2126" y="101"/>
                  </a:lnTo>
                  <a:lnTo>
                    <a:pt x="2128" y="101"/>
                  </a:lnTo>
                  <a:lnTo>
                    <a:pt x="2125" y="106"/>
                  </a:lnTo>
                  <a:lnTo>
                    <a:pt x="2125" y="110"/>
                  </a:lnTo>
                  <a:lnTo>
                    <a:pt x="2118" y="110"/>
                  </a:lnTo>
                  <a:lnTo>
                    <a:pt x="2115" y="120"/>
                  </a:lnTo>
                  <a:lnTo>
                    <a:pt x="2115" y="137"/>
                  </a:lnTo>
                  <a:lnTo>
                    <a:pt x="2118" y="146"/>
                  </a:lnTo>
                  <a:lnTo>
                    <a:pt x="2125" y="154"/>
                  </a:lnTo>
                  <a:lnTo>
                    <a:pt x="2129" y="154"/>
                  </a:lnTo>
                  <a:lnTo>
                    <a:pt x="2136" y="155"/>
                  </a:lnTo>
                  <a:lnTo>
                    <a:pt x="2146" y="158"/>
                  </a:lnTo>
                  <a:lnTo>
                    <a:pt x="2154" y="158"/>
                  </a:lnTo>
                  <a:lnTo>
                    <a:pt x="2160" y="159"/>
                  </a:lnTo>
                  <a:lnTo>
                    <a:pt x="2165" y="163"/>
                  </a:lnTo>
                  <a:lnTo>
                    <a:pt x="2170" y="168"/>
                  </a:lnTo>
                  <a:lnTo>
                    <a:pt x="2172" y="172"/>
                  </a:lnTo>
                  <a:lnTo>
                    <a:pt x="2171" y="185"/>
                  </a:lnTo>
                  <a:lnTo>
                    <a:pt x="2165" y="185"/>
                  </a:lnTo>
                  <a:close/>
                  <a:moveTo>
                    <a:pt x="2156" y="1498"/>
                  </a:moveTo>
                  <a:lnTo>
                    <a:pt x="2153" y="1503"/>
                  </a:lnTo>
                  <a:lnTo>
                    <a:pt x="2156" y="1504"/>
                  </a:lnTo>
                  <a:lnTo>
                    <a:pt x="2153" y="1504"/>
                  </a:lnTo>
                  <a:lnTo>
                    <a:pt x="2156" y="1508"/>
                  </a:lnTo>
                  <a:lnTo>
                    <a:pt x="2157" y="1518"/>
                  </a:lnTo>
                  <a:lnTo>
                    <a:pt x="2154" y="1520"/>
                  </a:lnTo>
                  <a:lnTo>
                    <a:pt x="2151" y="1518"/>
                  </a:lnTo>
                  <a:lnTo>
                    <a:pt x="2149" y="1521"/>
                  </a:lnTo>
                  <a:lnTo>
                    <a:pt x="2146" y="1526"/>
                  </a:lnTo>
                  <a:lnTo>
                    <a:pt x="2145" y="1526"/>
                  </a:lnTo>
                  <a:lnTo>
                    <a:pt x="2143" y="1529"/>
                  </a:lnTo>
                  <a:lnTo>
                    <a:pt x="2142" y="1529"/>
                  </a:lnTo>
                  <a:lnTo>
                    <a:pt x="2140" y="1532"/>
                  </a:lnTo>
                  <a:lnTo>
                    <a:pt x="2139" y="1532"/>
                  </a:lnTo>
                  <a:lnTo>
                    <a:pt x="2140" y="1535"/>
                  </a:lnTo>
                  <a:lnTo>
                    <a:pt x="2136" y="1535"/>
                  </a:lnTo>
                  <a:lnTo>
                    <a:pt x="2137" y="1535"/>
                  </a:lnTo>
                  <a:lnTo>
                    <a:pt x="2136" y="1535"/>
                  </a:lnTo>
                  <a:lnTo>
                    <a:pt x="2132" y="1540"/>
                  </a:lnTo>
                  <a:lnTo>
                    <a:pt x="2133" y="1540"/>
                  </a:lnTo>
                  <a:lnTo>
                    <a:pt x="2137" y="1539"/>
                  </a:lnTo>
                  <a:lnTo>
                    <a:pt x="2142" y="1540"/>
                  </a:lnTo>
                  <a:lnTo>
                    <a:pt x="2140" y="1543"/>
                  </a:lnTo>
                  <a:lnTo>
                    <a:pt x="2136" y="1544"/>
                  </a:lnTo>
                  <a:lnTo>
                    <a:pt x="2137" y="1540"/>
                  </a:lnTo>
                  <a:lnTo>
                    <a:pt x="2133" y="1543"/>
                  </a:lnTo>
                  <a:lnTo>
                    <a:pt x="2128" y="1544"/>
                  </a:lnTo>
                  <a:lnTo>
                    <a:pt x="2118" y="1553"/>
                  </a:lnTo>
                  <a:lnTo>
                    <a:pt x="2119" y="1549"/>
                  </a:lnTo>
                  <a:lnTo>
                    <a:pt x="2118" y="1548"/>
                  </a:lnTo>
                  <a:lnTo>
                    <a:pt x="2118" y="1540"/>
                  </a:lnTo>
                  <a:lnTo>
                    <a:pt x="2114" y="1535"/>
                  </a:lnTo>
                  <a:lnTo>
                    <a:pt x="2110" y="1531"/>
                  </a:lnTo>
                  <a:lnTo>
                    <a:pt x="2118" y="1532"/>
                  </a:lnTo>
                  <a:lnTo>
                    <a:pt x="2118" y="1531"/>
                  </a:lnTo>
                  <a:lnTo>
                    <a:pt x="2125" y="1527"/>
                  </a:lnTo>
                  <a:lnTo>
                    <a:pt x="2115" y="1527"/>
                  </a:lnTo>
                  <a:lnTo>
                    <a:pt x="2115" y="1521"/>
                  </a:lnTo>
                  <a:lnTo>
                    <a:pt x="2114" y="1521"/>
                  </a:lnTo>
                  <a:lnTo>
                    <a:pt x="2112" y="1527"/>
                  </a:lnTo>
                  <a:lnTo>
                    <a:pt x="2108" y="1527"/>
                  </a:lnTo>
                  <a:lnTo>
                    <a:pt x="2110" y="1526"/>
                  </a:lnTo>
                  <a:lnTo>
                    <a:pt x="2108" y="1521"/>
                  </a:lnTo>
                  <a:lnTo>
                    <a:pt x="2105" y="1521"/>
                  </a:lnTo>
                  <a:lnTo>
                    <a:pt x="2101" y="1520"/>
                  </a:lnTo>
                  <a:lnTo>
                    <a:pt x="2100" y="1521"/>
                  </a:lnTo>
                  <a:lnTo>
                    <a:pt x="2096" y="1518"/>
                  </a:lnTo>
                  <a:lnTo>
                    <a:pt x="2096" y="1516"/>
                  </a:lnTo>
                  <a:lnTo>
                    <a:pt x="2100" y="1511"/>
                  </a:lnTo>
                  <a:lnTo>
                    <a:pt x="2103" y="1511"/>
                  </a:lnTo>
                  <a:lnTo>
                    <a:pt x="2104" y="1512"/>
                  </a:lnTo>
                  <a:lnTo>
                    <a:pt x="2103" y="1508"/>
                  </a:lnTo>
                  <a:lnTo>
                    <a:pt x="2104" y="1511"/>
                  </a:lnTo>
                  <a:lnTo>
                    <a:pt x="2107" y="1507"/>
                  </a:lnTo>
                  <a:lnTo>
                    <a:pt x="2111" y="1504"/>
                  </a:lnTo>
                  <a:lnTo>
                    <a:pt x="2111" y="1503"/>
                  </a:lnTo>
                  <a:lnTo>
                    <a:pt x="2114" y="1499"/>
                  </a:lnTo>
                  <a:lnTo>
                    <a:pt x="2115" y="1499"/>
                  </a:lnTo>
                  <a:lnTo>
                    <a:pt x="2118" y="1504"/>
                  </a:lnTo>
                  <a:lnTo>
                    <a:pt x="2119" y="1512"/>
                  </a:lnTo>
                  <a:lnTo>
                    <a:pt x="2125" y="1514"/>
                  </a:lnTo>
                  <a:lnTo>
                    <a:pt x="2124" y="1508"/>
                  </a:lnTo>
                  <a:lnTo>
                    <a:pt x="2125" y="1508"/>
                  </a:lnTo>
                  <a:lnTo>
                    <a:pt x="2126" y="1508"/>
                  </a:lnTo>
                  <a:lnTo>
                    <a:pt x="2131" y="1514"/>
                  </a:lnTo>
                  <a:lnTo>
                    <a:pt x="2135" y="1516"/>
                  </a:lnTo>
                  <a:lnTo>
                    <a:pt x="2133" y="1508"/>
                  </a:lnTo>
                  <a:lnTo>
                    <a:pt x="2135" y="1508"/>
                  </a:lnTo>
                  <a:lnTo>
                    <a:pt x="2136" y="1508"/>
                  </a:lnTo>
                  <a:lnTo>
                    <a:pt x="2131" y="1503"/>
                  </a:lnTo>
                  <a:lnTo>
                    <a:pt x="2128" y="1499"/>
                  </a:lnTo>
                  <a:lnTo>
                    <a:pt x="2125" y="1503"/>
                  </a:lnTo>
                  <a:lnTo>
                    <a:pt x="2126" y="1499"/>
                  </a:lnTo>
                  <a:lnTo>
                    <a:pt x="2126" y="1495"/>
                  </a:lnTo>
                  <a:lnTo>
                    <a:pt x="2128" y="1495"/>
                  </a:lnTo>
                  <a:lnTo>
                    <a:pt x="2136" y="1491"/>
                  </a:lnTo>
                  <a:lnTo>
                    <a:pt x="2140" y="1486"/>
                  </a:lnTo>
                  <a:lnTo>
                    <a:pt x="2143" y="1491"/>
                  </a:lnTo>
                  <a:lnTo>
                    <a:pt x="2150" y="1495"/>
                  </a:lnTo>
                  <a:lnTo>
                    <a:pt x="2157" y="1495"/>
                  </a:lnTo>
                  <a:lnTo>
                    <a:pt x="2159" y="1491"/>
                  </a:lnTo>
                  <a:lnTo>
                    <a:pt x="2160" y="1495"/>
                  </a:lnTo>
                  <a:lnTo>
                    <a:pt x="2156" y="1498"/>
                  </a:lnTo>
                  <a:close/>
                  <a:moveTo>
                    <a:pt x="2151" y="1400"/>
                  </a:moveTo>
                  <a:lnTo>
                    <a:pt x="2151" y="1406"/>
                  </a:lnTo>
                  <a:lnTo>
                    <a:pt x="2154" y="1411"/>
                  </a:lnTo>
                  <a:lnTo>
                    <a:pt x="2146" y="1420"/>
                  </a:lnTo>
                  <a:lnTo>
                    <a:pt x="2133" y="1428"/>
                  </a:lnTo>
                  <a:lnTo>
                    <a:pt x="2131" y="1428"/>
                  </a:lnTo>
                  <a:lnTo>
                    <a:pt x="2131" y="1424"/>
                  </a:lnTo>
                  <a:lnTo>
                    <a:pt x="2128" y="1424"/>
                  </a:lnTo>
                  <a:lnTo>
                    <a:pt x="2126" y="1424"/>
                  </a:lnTo>
                  <a:lnTo>
                    <a:pt x="2129" y="1420"/>
                  </a:lnTo>
                  <a:lnTo>
                    <a:pt x="2131" y="1416"/>
                  </a:lnTo>
                  <a:lnTo>
                    <a:pt x="2128" y="1406"/>
                  </a:lnTo>
                  <a:lnTo>
                    <a:pt x="2124" y="1402"/>
                  </a:lnTo>
                  <a:lnTo>
                    <a:pt x="2125" y="1397"/>
                  </a:lnTo>
                  <a:lnTo>
                    <a:pt x="2118" y="1392"/>
                  </a:lnTo>
                  <a:lnTo>
                    <a:pt x="2117" y="1389"/>
                  </a:lnTo>
                  <a:lnTo>
                    <a:pt x="2107" y="1383"/>
                  </a:lnTo>
                  <a:lnTo>
                    <a:pt x="2124" y="1371"/>
                  </a:lnTo>
                  <a:lnTo>
                    <a:pt x="2128" y="1371"/>
                  </a:lnTo>
                  <a:lnTo>
                    <a:pt x="2129" y="1371"/>
                  </a:lnTo>
                  <a:lnTo>
                    <a:pt x="2139" y="1375"/>
                  </a:lnTo>
                  <a:lnTo>
                    <a:pt x="2149" y="1389"/>
                  </a:lnTo>
                  <a:lnTo>
                    <a:pt x="2151" y="1400"/>
                  </a:lnTo>
                  <a:close/>
                  <a:moveTo>
                    <a:pt x="2151" y="1593"/>
                  </a:moveTo>
                  <a:lnTo>
                    <a:pt x="2147" y="1598"/>
                  </a:lnTo>
                  <a:lnTo>
                    <a:pt x="2139" y="1593"/>
                  </a:lnTo>
                  <a:lnTo>
                    <a:pt x="2137" y="1591"/>
                  </a:lnTo>
                  <a:lnTo>
                    <a:pt x="2139" y="1589"/>
                  </a:lnTo>
                  <a:lnTo>
                    <a:pt x="2137" y="1588"/>
                  </a:lnTo>
                  <a:lnTo>
                    <a:pt x="2137" y="1585"/>
                  </a:lnTo>
                  <a:lnTo>
                    <a:pt x="2136" y="1580"/>
                  </a:lnTo>
                  <a:lnTo>
                    <a:pt x="2136" y="1570"/>
                  </a:lnTo>
                  <a:lnTo>
                    <a:pt x="2132" y="1566"/>
                  </a:lnTo>
                  <a:lnTo>
                    <a:pt x="2132" y="1556"/>
                  </a:lnTo>
                  <a:lnTo>
                    <a:pt x="2135" y="1552"/>
                  </a:lnTo>
                  <a:lnTo>
                    <a:pt x="2136" y="1549"/>
                  </a:lnTo>
                  <a:lnTo>
                    <a:pt x="2139" y="1552"/>
                  </a:lnTo>
                  <a:lnTo>
                    <a:pt x="2142" y="1553"/>
                  </a:lnTo>
                  <a:lnTo>
                    <a:pt x="2147" y="1557"/>
                  </a:lnTo>
                  <a:lnTo>
                    <a:pt x="2149" y="1557"/>
                  </a:lnTo>
                  <a:lnTo>
                    <a:pt x="2151" y="1561"/>
                  </a:lnTo>
                  <a:lnTo>
                    <a:pt x="2154" y="1563"/>
                  </a:lnTo>
                  <a:lnTo>
                    <a:pt x="2153" y="1566"/>
                  </a:lnTo>
                  <a:lnTo>
                    <a:pt x="2156" y="1574"/>
                  </a:lnTo>
                  <a:lnTo>
                    <a:pt x="2154" y="1589"/>
                  </a:lnTo>
                  <a:lnTo>
                    <a:pt x="2151" y="1593"/>
                  </a:lnTo>
                  <a:close/>
                  <a:moveTo>
                    <a:pt x="2234" y="425"/>
                  </a:moveTo>
                  <a:lnTo>
                    <a:pt x="2232" y="427"/>
                  </a:lnTo>
                  <a:lnTo>
                    <a:pt x="2234" y="430"/>
                  </a:lnTo>
                  <a:lnTo>
                    <a:pt x="2232" y="430"/>
                  </a:lnTo>
                  <a:lnTo>
                    <a:pt x="2229" y="436"/>
                  </a:lnTo>
                  <a:lnTo>
                    <a:pt x="2226" y="435"/>
                  </a:lnTo>
                  <a:lnTo>
                    <a:pt x="2226" y="436"/>
                  </a:lnTo>
                  <a:lnTo>
                    <a:pt x="2225" y="436"/>
                  </a:lnTo>
                  <a:lnTo>
                    <a:pt x="2226" y="438"/>
                  </a:lnTo>
                  <a:lnTo>
                    <a:pt x="2222" y="440"/>
                  </a:lnTo>
                  <a:lnTo>
                    <a:pt x="2221" y="440"/>
                  </a:lnTo>
                  <a:lnTo>
                    <a:pt x="2224" y="440"/>
                  </a:lnTo>
                  <a:lnTo>
                    <a:pt x="2222" y="440"/>
                  </a:lnTo>
                  <a:lnTo>
                    <a:pt x="2215" y="443"/>
                  </a:lnTo>
                  <a:lnTo>
                    <a:pt x="2211" y="443"/>
                  </a:lnTo>
                  <a:lnTo>
                    <a:pt x="2204" y="440"/>
                  </a:lnTo>
                  <a:lnTo>
                    <a:pt x="2201" y="443"/>
                  </a:lnTo>
                  <a:lnTo>
                    <a:pt x="2184" y="449"/>
                  </a:lnTo>
                  <a:lnTo>
                    <a:pt x="2179" y="453"/>
                  </a:lnTo>
                  <a:lnTo>
                    <a:pt x="2178" y="453"/>
                  </a:lnTo>
                  <a:lnTo>
                    <a:pt x="2176" y="453"/>
                  </a:lnTo>
                  <a:lnTo>
                    <a:pt x="2174" y="453"/>
                  </a:lnTo>
                  <a:lnTo>
                    <a:pt x="2178" y="453"/>
                  </a:lnTo>
                  <a:lnTo>
                    <a:pt x="2178" y="449"/>
                  </a:lnTo>
                  <a:lnTo>
                    <a:pt x="2176" y="453"/>
                  </a:lnTo>
                  <a:lnTo>
                    <a:pt x="2172" y="453"/>
                  </a:lnTo>
                  <a:lnTo>
                    <a:pt x="2172" y="457"/>
                  </a:lnTo>
                  <a:lnTo>
                    <a:pt x="2171" y="453"/>
                  </a:lnTo>
                  <a:lnTo>
                    <a:pt x="2168" y="449"/>
                  </a:lnTo>
                  <a:lnTo>
                    <a:pt x="2151" y="449"/>
                  </a:lnTo>
                  <a:lnTo>
                    <a:pt x="2139" y="440"/>
                  </a:lnTo>
                  <a:lnTo>
                    <a:pt x="2149" y="440"/>
                  </a:lnTo>
                  <a:lnTo>
                    <a:pt x="2164" y="448"/>
                  </a:lnTo>
                  <a:lnTo>
                    <a:pt x="2176" y="448"/>
                  </a:lnTo>
                  <a:lnTo>
                    <a:pt x="2192" y="443"/>
                  </a:lnTo>
                  <a:lnTo>
                    <a:pt x="2200" y="440"/>
                  </a:lnTo>
                  <a:lnTo>
                    <a:pt x="2215" y="436"/>
                  </a:lnTo>
                  <a:lnTo>
                    <a:pt x="2221" y="430"/>
                  </a:lnTo>
                  <a:lnTo>
                    <a:pt x="2222" y="430"/>
                  </a:lnTo>
                  <a:lnTo>
                    <a:pt x="2221" y="427"/>
                  </a:lnTo>
                  <a:lnTo>
                    <a:pt x="2224" y="425"/>
                  </a:lnTo>
                  <a:lnTo>
                    <a:pt x="2226" y="423"/>
                  </a:lnTo>
                  <a:lnTo>
                    <a:pt x="2231" y="423"/>
                  </a:lnTo>
                  <a:lnTo>
                    <a:pt x="2234" y="425"/>
                  </a:lnTo>
                  <a:close/>
                  <a:moveTo>
                    <a:pt x="2207" y="297"/>
                  </a:moveTo>
                  <a:lnTo>
                    <a:pt x="2207" y="305"/>
                  </a:lnTo>
                  <a:lnTo>
                    <a:pt x="2204" y="306"/>
                  </a:lnTo>
                  <a:lnTo>
                    <a:pt x="2196" y="311"/>
                  </a:lnTo>
                  <a:lnTo>
                    <a:pt x="2193" y="311"/>
                  </a:lnTo>
                  <a:lnTo>
                    <a:pt x="2190" y="320"/>
                  </a:lnTo>
                  <a:lnTo>
                    <a:pt x="2186" y="320"/>
                  </a:lnTo>
                  <a:lnTo>
                    <a:pt x="2186" y="323"/>
                  </a:lnTo>
                  <a:lnTo>
                    <a:pt x="2184" y="323"/>
                  </a:lnTo>
                  <a:lnTo>
                    <a:pt x="2181" y="320"/>
                  </a:lnTo>
                  <a:lnTo>
                    <a:pt x="2178" y="320"/>
                  </a:lnTo>
                  <a:lnTo>
                    <a:pt x="2181" y="324"/>
                  </a:lnTo>
                  <a:lnTo>
                    <a:pt x="2176" y="324"/>
                  </a:lnTo>
                  <a:lnTo>
                    <a:pt x="2175" y="324"/>
                  </a:lnTo>
                  <a:lnTo>
                    <a:pt x="2179" y="314"/>
                  </a:lnTo>
                  <a:lnTo>
                    <a:pt x="2179" y="306"/>
                  </a:lnTo>
                  <a:lnTo>
                    <a:pt x="2182" y="301"/>
                  </a:lnTo>
                  <a:lnTo>
                    <a:pt x="2182" y="297"/>
                  </a:lnTo>
                  <a:lnTo>
                    <a:pt x="2184" y="297"/>
                  </a:lnTo>
                  <a:lnTo>
                    <a:pt x="2187" y="301"/>
                  </a:lnTo>
                  <a:lnTo>
                    <a:pt x="2190" y="311"/>
                  </a:lnTo>
                  <a:lnTo>
                    <a:pt x="2193" y="309"/>
                  </a:lnTo>
                  <a:lnTo>
                    <a:pt x="2197" y="306"/>
                  </a:lnTo>
                  <a:lnTo>
                    <a:pt x="2193" y="306"/>
                  </a:lnTo>
                  <a:lnTo>
                    <a:pt x="2192" y="301"/>
                  </a:lnTo>
                  <a:lnTo>
                    <a:pt x="2189" y="301"/>
                  </a:lnTo>
                  <a:lnTo>
                    <a:pt x="2189" y="297"/>
                  </a:lnTo>
                  <a:lnTo>
                    <a:pt x="2190" y="297"/>
                  </a:lnTo>
                  <a:lnTo>
                    <a:pt x="2190" y="293"/>
                  </a:lnTo>
                  <a:lnTo>
                    <a:pt x="2189" y="293"/>
                  </a:lnTo>
                  <a:lnTo>
                    <a:pt x="2186" y="288"/>
                  </a:lnTo>
                  <a:lnTo>
                    <a:pt x="2184" y="287"/>
                  </a:lnTo>
                  <a:lnTo>
                    <a:pt x="2185" y="283"/>
                  </a:lnTo>
                  <a:lnTo>
                    <a:pt x="2187" y="287"/>
                  </a:lnTo>
                  <a:lnTo>
                    <a:pt x="2199" y="292"/>
                  </a:lnTo>
                  <a:lnTo>
                    <a:pt x="2207" y="297"/>
                  </a:lnTo>
                  <a:close/>
                  <a:moveTo>
                    <a:pt x="2147" y="1656"/>
                  </a:moveTo>
                  <a:lnTo>
                    <a:pt x="2149" y="1663"/>
                  </a:lnTo>
                  <a:lnTo>
                    <a:pt x="2147" y="1669"/>
                  </a:lnTo>
                  <a:lnTo>
                    <a:pt x="2145" y="1673"/>
                  </a:lnTo>
                  <a:lnTo>
                    <a:pt x="2143" y="1677"/>
                  </a:lnTo>
                  <a:lnTo>
                    <a:pt x="2142" y="1678"/>
                  </a:lnTo>
                  <a:lnTo>
                    <a:pt x="2139" y="1681"/>
                  </a:lnTo>
                  <a:lnTo>
                    <a:pt x="2137" y="1678"/>
                  </a:lnTo>
                  <a:lnTo>
                    <a:pt x="2133" y="1678"/>
                  </a:lnTo>
                  <a:lnTo>
                    <a:pt x="2131" y="1682"/>
                  </a:lnTo>
                  <a:lnTo>
                    <a:pt x="2128" y="1682"/>
                  </a:lnTo>
                  <a:lnTo>
                    <a:pt x="2131" y="1678"/>
                  </a:lnTo>
                  <a:lnTo>
                    <a:pt x="2129" y="1673"/>
                  </a:lnTo>
                  <a:lnTo>
                    <a:pt x="2128" y="1669"/>
                  </a:lnTo>
                  <a:lnTo>
                    <a:pt x="2124" y="1668"/>
                  </a:lnTo>
                  <a:lnTo>
                    <a:pt x="2124" y="1664"/>
                  </a:lnTo>
                  <a:lnTo>
                    <a:pt x="2128" y="1660"/>
                  </a:lnTo>
                  <a:lnTo>
                    <a:pt x="2133" y="1658"/>
                  </a:lnTo>
                  <a:lnTo>
                    <a:pt x="2133" y="1656"/>
                  </a:lnTo>
                  <a:lnTo>
                    <a:pt x="2143" y="1651"/>
                  </a:lnTo>
                  <a:lnTo>
                    <a:pt x="2147" y="1656"/>
                  </a:lnTo>
                  <a:close/>
                  <a:moveTo>
                    <a:pt x="2215" y="537"/>
                  </a:moveTo>
                  <a:lnTo>
                    <a:pt x="2218" y="554"/>
                  </a:lnTo>
                  <a:lnTo>
                    <a:pt x="2214" y="556"/>
                  </a:lnTo>
                  <a:lnTo>
                    <a:pt x="2209" y="560"/>
                  </a:lnTo>
                  <a:lnTo>
                    <a:pt x="2204" y="558"/>
                  </a:lnTo>
                  <a:lnTo>
                    <a:pt x="2201" y="560"/>
                  </a:lnTo>
                  <a:lnTo>
                    <a:pt x="2199" y="560"/>
                  </a:lnTo>
                  <a:lnTo>
                    <a:pt x="2193" y="560"/>
                  </a:lnTo>
                  <a:lnTo>
                    <a:pt x="2193" y="564"/>
                  </a:lnTo>
                  <a:lnTo>
                    <a:pt x="2189" y="565"/>
                  </a:lnTo>
                  <a:lnTo>
                    <a:pt x="2182" y="569"/>
                  </a:lnTo>
                  <a:lnTo>
                    <a:pt x="2190" y="560"/>
                  </a:lnTo>
                  <a:lnTo>
                    <a:pt x="2195" y="552"/>
                  </a:lnTo>
                  <a:lnTo>
                    <a:pt x="2195" y="547"/>
                  </a:lnTo>
                  <a:lnTo>
                    <a:pt x="2197" y="545"/>
                  </a:lnTo>
                  <a:lnTo>
                    <a:pt x="2199" y="541"/>
                  </a:lnTo>
                  <a:lnTo>
                    <a:pt x="2201" y="537"/>
                  </a:lnTo>
                  <a:lnTo>
                    <a:pt x="2207" y="537"/>
                  </a:lnTo>
                  <a:lnTo>
                    <a:pt x="2215" y="537"/>
                  </a:lnTo>
                  <a:close/>
                  <a:moveTo>
                    <a:pt x="2189" y="243"/>
                  </a:moveTo>
                  <a:lnTo>
                    <a:pt x="2186" y="256"/>
                  </a:lnTo>
                  <a:lnTo>
                    <a:pt x="2186" y="253"/>
                  </a:lnTo>
                  <a:lnTo>
                    <a:pt x="2185" y="253"/>
                  </a:lnTo>
                  <a:lnTo>
                    <a:pt x="2182" y="262"/>
                  </a:lnTo>
                  <a:lnTo>
                    <a:pt x="2179" y="253"/>
                  </a:lnTo>
                  <a:lnTo>
                    <a:pt x="2178" y="249"/>
                  </a:lnTo>
                  <a:lnTo>
                    <a:pt x="2174" y="243"/>
                  </a:lnTo>
                  <a:lnTo>
                    <a:pt x="2164" y="239"/>
                  </a:lnTo>
                  <a:lnTo>
                    <a:pt x="2167" y="238"/>
                  </a:lnTo>
                  <a:lnTo>
                    <a:pt x="2170" y="238"/>
                  </a:lnTo>
                  <a:lnTo>
                    <a:pt x="2171" y="236"/>
                  </a:lnTo>
                  <a:lnTo>
                    <a:pt x="2179" y="238"/>
                  </a:lnTo>
                  <a:lnTo>
                    <a:pt x="2182" y="236"/>
                  </a:lnTo>
                  <a:lnTo>
                    <a:pt x="2184" y="238"/>
                  </a:lnTo>
                  <a:lnTo>
                    <a:pt x="2186" y="238"/>
                  </a:lnTo>
                  <a:lnTo>
                    <a:pt x="2189" y="243"/>
                  </a:lnTo>
                  <a:close/>
                  <a:moveTo>
                    <a:pt x="2076" y="79"/>
                  </a:moveTo>
                  <a:lnTo>
                    <a:pt x="2075" y="84"/>
                  </a:lnTo>
                  <a:lnTo>
                    <a:pt x="2066" y="88"/>
                  </a:lnTo>
                  <a:lnTo>
                    <a:pt x="2055" y="88"/>
                  </a:lnTo>
                  <a:lnTo>
                    <a:pt x="2051" y="88"/>
                  </a:lnTo>
                  <a:lnTo>
                    <a:pt x="2049" y="88"/>
                  </a:lnTo>
                  <a:lnTo>
                    <a:pt x="2050" y="84"/>
                  </a:lnTo>
                  <a:lnTo>
                    <a:pt x="2051" y="83"/>
                  </a:lnTo>
                  <a:lnTo>
                    <a:pt x="2051" y="75"/>
                  </a:lnTo>
                  <a:lnTo>
                    <a:pt x="2052" y="73"/>
                  </a:lnTo>
                  <a:lnTo>
                    <a:pt x="2058" y="79"/>
                  </a:lnTo>
                  <a:lnTo>
                    <a:pt x="2071" y="75"/>
                  </a:lnTo>
                  <a:lnTo>
                    <a:pt x="2074" y="79"/>
                  </a:lnTo>
                  <a:lnTo>
                    <a:pt x="2076" y="79"/>
                  </a:lnTo>
                  <a:close/>
                  <a:moveTo>
                    <a:pt x="2135" y="1205"/>
                  </a:moveTo>
                  <a:lnTo>
                    <a:pt x="2135" y="1211"/>
                  </a:lnTo>
                  <a:lnTo>
                    <a:pt x="2132" y="1218"/>
                  </a:lnTo>
                  <a:lnTo>
                    <a:pt x="2129" y="1218"/>
                  </a:lnTo>
                  <a:lnTo>
                    <a:pt x="2129" y="1224"/>
                  </a:lnTo>
                  <a:lnTo>
                    <a:pt x="2124" y="1228"/>
                  </a:lnTo>
                  <a:lnTo>
                    <a:pt x="2124" y="1218"/>
                  </a:lnTo>
                  <a:lnTo>
                    <a:pt x="2122" y="1215"/>
                  </a:lnTo>
                  <a:lnTo>
                    <a:pt x="2114" y="1211"/>
                  </a:lnTo>
                  <a:lnTo>
                    <a:pt x="2115" y="1205"/>
                  </a:lnTo>
                  <a:lnTo>
                    <a:pt x="2121" y="1205"/>
                  </a:lnTo>
                  <a:lnTo>
                    <a:pt x="2122" y="1205"/>
                  </a:lnTo>
                  <a:lnTo>
                    <a:pt x="2131" y="1205"/>
                  </a:lnTo>
                  <a:lnTo>
                    <a:pt x="2135" y="1205"/>
                  </a:lnTo>
                  <a:close/>
                  <a:moveTo>
                    <a:pt x="2176" y="573"/>
                  </a:moveTo>
                  <a:lnTo>
                    <a:pt x="2178" y="573"/>
                  </a:lnTo>
                  <a:lnTo>
                    <a:pt x="2171" y="577"/>
                  </a:lnTo>
                  <a:lnTo>
                    <a:pt x="2164" y="578"/>
                  </a:lnTo>
                  <a:lnTo>
                    <a:pt x="2161" y="578"/>
                  </a:lnTo>
                  <a:lnTo>
                    <a:pt x="2153" y="581"/>
                  </a:lnTo>
                  <a:lnTo>
                    <a:pt x="2129" y="565"/>
                  </a:lnTo>
                  <a:lnTo>
                    <a:pt x="2126" y="564"/>
                  </a:lnTo>
                  <a:lnTo>
                    <a:pt x="2135" y="565"/>
                  </a:lnTo>
                  <a:lnTo>
                    <a:pt x="2150" y="573"/>
                  </a:lnTo>
                  <a:lnTo>
                    <a:pt x="2160" y="577"/>
                  </a:lnTo>
                  <a:lnTo>
                    <a:pt x="2167" y="577"/>
                  </a:lnTo>
                  <a:lnTo>
                    <a:pt x="2176" y="573"/>
                  </a:lnTo>
                  <a:close/>
                  <a:moveTo>
                    <a:pt x="2159" y="1709"/>
                  </a:moveTo>
                  <a:lnTo>
                    <a:pt x="2160" y="1709"/>
                  </a:lnTo>
                  <a:lnTo>
                    <a:pt x="2156" y="1712"/>
                  </a:lnTo>
                  <a:lnTo>
                    <a:pt x="2157" y="1715"/>
                  </a:lnTo>
                  <a:lnTo>
                    <a:pt x="2156" y="1717"/>
                  </a:lnTo>
                  <a:lnTo>
                    <a:pt x="2156" y="1715"/>
                  </a:lnTo>
                  <a:lnTo>
                    <a:pt x="2151" y="1713"/>
                  </a:lnTo>
                  <a:lnTo>
                    <a:pt x="2139" y="1709"/>
                  </a:lnTo>
                  <a:lnTo>
                    <a:pt x="2139" y="1705"/>
                  </a:lnTo>
                  <a:lnTo>
                    <a:pt x="2142" y="1705"/>
                  </a:lnTo>
                  <a:lnTo>
                    <a:pt x="2149" y="1703"/>
                  </a:lnTo>
                  <a:lnTo>
                    <a:pt x="2150" y="1703"/>
                  </a:lnTo>
                  <a:lnTo>
                    <a:pt x="2154" y="1703"/>
                  </a:lnTo>
                  <a:lnTo>
                    <a:pt x="2153" y="1705"/>
                  </a:lnTo>
                  <a:lnTo>
                    <a:pt x="2159" y="1709"/>
                  </a:lnTo>
                  <a:close/>
                  <a:moveTo>
                    <a:pt x="2079" y="75"/>
                  </a:moveTo>
                  <a:lnTo>
                    <a:pt x="2078" y="75"/>
                  </a:lnTo>
                  <a:lnTo>
                    <a:pt x="2071" y="75"/>
                  </a:lnTo>
                  <a:lnTo>
                    <a:pt x="2061" y="75"/>
                  </a:lnTo>
                  <a:lnTo>
                    <a:pt x="2058" y="75"/>
                  </a:lnTo>
                  <a:lnTo>
                    <a:pt x="2061" y="73"/>
                  </a:lnTo>
                  <a:lnTo>
                    <a:pt x="2062" y="71"/>
                  </a:lnTo>
                  <a:lnTo>
                    <a:pt x="2061" y="70"/>
                  </a:lnTo>
                  <a:lnTo>
                    <a:pt x="2061" y="65"/>
                  </a:lnTo>
                  <a:lnTo>
                    <a:pt x="2062" y="65"/>
                  </a:lnTo>
                  <a:lnTo>
                    <a:pt x="2071" y="71"/>
                  </a:lnTo>
                  <a:lnTo>
                    <a:pt x="2079" y="75"/>
                  </a:lnTo>
                  <a:close/>
                  <a:moveTo>
                    <a:pt x="2182" y="716"/>
                  </a:moveTo>
                  <a:lnTo>
                    <a:pt x="2184" y="716"/>
                  </a:lnTo>
                  <a:lnTo>
                    <a:pt x="2179" y="719"/>
                  </a:lnTo>
                  <a:lnTo>
                    <a:pt x="2165" y="719"/>
                  </a:lnTo>
                  <a:lnTo>
                    <a:pt x="2162" y="720"/>
                  </a:lnTo>
                  <a:lnTo>
                    <a:pt x="2160" y="720"/>
                  </a:lnTo>
                  <a:lnTo>
                    <a:pt x="2160" y="716"/>
                  </a:lnTo>
                  <a:lnTo>
                    <a:pt x="2162" y="716"/>
                  </a:lnTo>
                  <a:lnTo>
                    <a:pt x="2171" y="719"/>
                  </a:lnTo>
                  <a:lnTo>
                    <a:pt x="2178" y="716"/>
                  </a:lnTo>
                  <a:lnTo>
                    <a:pt x="2182" y="716"/>
                  </a:lnTo>
                  <a:close/>
                  <a:moveTo>
                    <a:pt x="2164" y="355"/>
                  </a:moveTo>
                  <a:lnTo>
                    <a:pt x="2165" y="355"/>
                  </a:lnTo>
                  <a:lnTo>
                    <a:pt x="2161" y="358"/>
                  </a:lnTo>
                  <a:lnTo>
                    <a:pt x="2160" y="359"/>
                  </a:lnTo>
                  <a:lnTo>
                    <a:pt x="2160" y="355"/>
                  </a:lnTo>
                  <a:lnTo>
                    <a:pt x="2159" y="355"/>
                  </a:lnTo>
                  <a:lnTo>
                    <a:pt x="2159" y="350"/>
                  </a:lnTo>
                  <a:lnTo>
                    <a:pt x="2157" y="346"/>
                  </a:lnTo>
                  <a:lnTo>
                    <a:pt x="2159" y="346"/>
                  </a:lnTo>
                  <a:lnTo>
                    <a:pt x="2160" y="350"/>
                  </a:lnTo>
                  <a:lnTo>
                    <a:pt x="2162" y="350"/>
                  </a:lnTo>
                  <a:lnTo>
                    <a:pt x="2164" y="355"/>
                  </a:lnTo>
                  <a:close/>
                  <a:moveTo>
                    <a:pt x="2167" y="1610"/>
                  </a:moveTo>
                  <a:lnTo>
                    <a:pt x="2167" y="1615"/>
                  </a:lnTo>
                  <a:lnTo>
                    <a:pt x="2164" y="1615"/>
                  </a:lnTo>
                  <a:lnTo>
                    <a:pt x="2162" y="1614"/>
                  </a:lnTo>
                  <a:lnTo>
                    <a:pt x="2165" y="1606"/>
                  </a:lnTo>
                  <a:lnTo>
                    <a:pt x="2168" y="1606"/>
                  </a:lnTo>
                  <a:lnTo>
                    <a:pt x="2168" y="1607"/>
                  </a:lnTo>
                  <a:lnTo>
                    <a:pt x="2167" y="1610"/>
                  </a:lnTo>
                  <a:close/>
                  <a:moveTo>
                    <a:pt x="2086" y="764"/>
                  </a:moveTo>
                  <a:lnTo>
                    <a:pt x="2087" y="765"/>
                  </a:lnTo>
                  <a:lnTo>
                    <a:pt x="2085" y="765"/>
                  </a:lnTo>
                  <a:lnTo>
                    <a:pt x="2080" y="764"/>
                  </a:lnTo>
                  <a:lnTo>
                    <a:pt x="2076" y="760"/>
                  </a:lnTo>
                  <a:lnTo>
                    <a:pt x="2076" y="756"/>
                  </a:lnTo>
                  <a:lnTo>
                    <a:pt x="2083" y="760"/>
                  </a:lnTo>
                  <a:lnTo>
                    <a:pt x="2086" y="764"/>
                  </a:lnTo>
                  <a:close/>
                  <a:moveTo>
                    <a:pt x="2087" y="711"/>
                  </a:moveTo>
                  <a:lnTo>
                    <a:pt x="2089" y="711"/>
                  </a:lnTo>
                  <a:lnTo>
                    <a:pt x="2083" y="711"/>
                  </a:lnTo>
                  <a:lnTo>
                    <a:pt x="2079" y="707"/>
                  </a:lnTo>
                  <a:lnTo>
                    <a:pt x="2080" y="707"/>
                  </a:lnTo>
                  <a:lnTo>
                    <a:pt x="2082" y="707"/>
                  </a:lnTo>
                  <a:lnTo>
                    <a:pt x="2087" y="711"/>
                  </a:lnTo>
                  <a:close/>
                  <a:moveTo>
                    <a:pt x="2058" y="1520"/>
                  </a:moveTo>
                  <a:lnTo>
                    <a:pt x="2057" y="1526"/>
                  </a:lnTo>
                  <a:lnTo>
                    <a:pt x="2052" y="1527"/>
                  </a:lnTo>
                  <a:lnTo>
                    <a:pt x="2054" y="1520"/>
                  </a:lnTo>
                  <a:lnTo>
                    <a:pt x="2055" y="1518"/>
                  </a:lnTo>
                  <a:lnTo>
                    <a:pt x="2058" y="1520"/>
                  </a:lnTo>
                  <a:close/>
                  <a:moveTo>
                    <a:pt x="2151" y="1772"/>
                  </a:moveTo>
                  <a:lnTo>
                    <a:pt x="2151" y="1776"/>
                  </a:lnTo>
                  <a:lnTo>
                    <a:pt x="2149" y="1779"/>
                  </a:lnTo>
                  <a:lnTo>
                    <a:pt x="2147" y="1776"/>
                  </a:lnTo>
                  <a:lnTo>
                    <a:pt x="2146" y="1772"/>
                  </a:lnTo>
                  <a:lnTo>
                    <a:pt x="2146" y="1771"/>
                  </a:lnTo>
                  <a:lnTo>
                    <a:pt x="2150" y="1772"/>
                  </a:lnTo>
                  <a:lnTo>
                    <a:pt x="2151" y="1772"/>
                  </a:lnTo>
                  <a:close/>
                  <a:moveTo>
                    <a:pt x="2051" y="2057"/>
                  </a:moveTo>
                  <a:lnTo>
                    <a:pt x="2051" y="2060"/>
                  </a:lnTo>
                  <a:lnTo>
                    <a:pt x="2050" y="2065"/>
                  </a:lnTo>
                  <a:lnTo>
                    <a:pt x="2050" y="2060"/>
                  </a:lnTo>
                  <a:lnTo>
                    <a:pt x="2047" y="2059"/>
                  </a:lnTo>
                  <a:lnTo>
                    <a:pt x="2049" y="2057"/>
                  </a:lnTo>
                  <a:lnTo>
                    <a:pt x="2051" y="2057"/>
                  </a:lnTo>
                  <a:close/>
                  <a:moveTo>
                    <a:pt x="2145" y="1623"/>
                  </a:moveTo>
                  <a:lnTo>
                    <a:pt x="2145" y="1625"/>
                  </a:lnTo>
                  <a:lnTo>
                    <a:pt x="2143" y="1625"/>
                  </a:lnTo>
                  <a:lnTo>
                    <a:pt x="2142" y="1625"/>
                  </a:lnTo>
                  <a:lnTo>
                    <a:pt x="2143" y="1623"/>
                  </a:lnTo>
                  <a:lnTo>
                    <a:pt x="2140" y="1620"/>
                  </a:lnTo>
                  <a:lnTo>
                    <a:pt x="2140" y="1619"/>
                  </a:lnTo>
                  <a:lnTo>
                    <a:pt x="2145" y="1623"/>
                  </a:lnTo>
                  <a:close/>
                  <a:moveTo>
                    <a:pt x="2147" y="1076"/>
                  </a:moveTo>
                  <a:lnTo>
                    <a:pt x="2149" y="1076"/>
                  </a:lnTo>
                  <a:lnTo>
                    <a:pt x="2145" y="1076"/>
                  </a:lnTo>
                  <a:lnTo>
                    <a:pt x="2145" y="1080"/>
                  </a:lnTo>
                  <a:lnTo>
                    <a:pt x="2137" y="1076"/>
                  </a:lnTo>
                  <a:lnTo>
                    <a:pt x="2147" y="1076"/>
                  </a:lnTo>
                  <a:close/>
                  <a:moveTo>
                    <a:pt x="2087" y="1531"/>
                  </a:moveTo>
                  <a:lnTo>
                    <a:pt x="2089" y="1532"/>
                  </a:lnTo>
                  <a:lnTo>
                    <a:pt x="2083" y="1533"/>
                  </a:lnTo>
                  <a:lnTo>
                    <a:pt x="2083" y="1532"/>
                  </a:lnTo>
                  <a:lnTo>
                    <a:pt x="2083" y="1531"/>
                  </a:lnTo>
                  <a:lnTo>
                    <a:pt x="2085" y="1531"/>
                  </a:lnTo>
                  <a:lnTo>
                    <a:pt x="2087" y="1531"/>
                  </a:lnTo>
                  <a:close/>
                  <a:moveTo>
                    <a:pt x="2097" y="1259"/>
                  </a:moveTo>
                  <a:lnTo>
                    <a:pt x="2096" y="1263"/>
                  </a:lnTo>
                  <a:lnTo>
                    <a:pt x="2093" y="1263"/>
                  </a:lnTo>
                  <a:lnTo>
                    <a:pt x="2093" y="1259"/>
                  </a:lnTo>
                  <a:lnTo>
                    <a:pt x="2094" y="1259"/>
                  </a:lnTo>
                  <a:lnTo>
                    <a:pt x="2097" y="1259"/>
                  </a:lnTo>
                  <a:close/>
                  <a:moveTo>
                    <a:pt x="2128" y="672"/>
                  </a:moveTo>
                  <a:lnTo>
                    <a:pt x="2126" y="674"/>
                  </a:lnTo>
                  <a:lnTo>
                    <a:pt x="2122" y="672"/>
                  </a:lnTo>
                  <a:lnTo>
                    <a:pt x="2121" y="672"/>
                  </a:lnTo>
                  <a:lnTo>
                    <a:pt x="2124" y="672"/>
                  </a:lnTo>
                  <a:lnTo>
                    <a:pt x="2128" y="672"/>
                  </a:lnTo>
                  <a:close/>
                  <a:moveTo>
                    <a:pt x="2052" y="1533"/>
                  </a:moveTo>
                  <a:lnTo>
                    <a:pt x="2052" y="1532"/>
                  </a:lnTo>
                  <a:lnTo>
                    <a:pt x="2052" y="1529"/>
                  </a:lnTo>
                  <a:lnTo>
                    <a:pt x="2054" y="1527"/>
                  </a:lnTo>
                  <a:lnTo>
                    <a:pt x="2052" y="1529"/>
                  </a:lnTo>
                  <a:lnTo>
                    <a:pt x="2054" y="1529"/>
                  </a:lnTo>
                  <a:lnTo>
                    <a:pt x="2055" y="1532"/>
                  </a:lnTo>
                  <a:lnTo>
                    <a:pt x="2052" y="1533"/>
                  </a:lnTo>
                  <a:close/>
                  <a:moveTo>
                    <a:pt x="2061" y="1527"/>
                  </a:moveTo>
                  <a:lnTo>
                    <a:pt x="2060" y="1529"/>
                  </a:lnTo>
                  <a:lnTo>
                    <a:pt x="2057" y="1532"/>
                  </a:lnTo>
                  <a:lnTo>
                    <a:pt x="2057" y="1529"/>
                  </a:lnTo>
                  <a:lnTo>
                    <a:pt x="2058" y="1529"/>
                  </a:lnTo>
                  <a:lnTo>
                    <a:pt x="2061" y="1527"/>
                  </a:lnTo>
                  <a:close/>
                  <a:moveTo>
                    <a:pt x="2032" y="1436"/>
                  </a:moveTo>
                  <a:lnTo>
                    <a:pt x="2029" y="1433"/>
                  </a:lnTo>
                  <a:lnTo>
                    <a:pt x="2029" y="1432"/>
                  </a:lnTo>
                  <a:lnTo>
                    <a:pt x="2029" y="1428"/>
                  </a:lnTo>
                  <a:lnTo>
                    <a:pt x="2032" y="1436"/>
                  </a:lnTo>
                  <a:close/>
                  <a:moveTo>
                    <a:pt x="2091" y="1241"/>
                  </a:moveTo>
                  <a:lnTo>
                    <a:pt x="2090" y="1241"/>
                  </a:lnTo>
                  <a:lnTo>
                    <a:pt x="2087" y="1240"/>
                  </a:lnTo>
                  <a:lnTo>
                    <a:pt x="2091" y="1241"/>
                  </a:lnTo>
                  <a:close/>
                  <a:moveTo>
                    <a:pt x="2027" y="1436"/>
                  </a:moveTo>
                  <a:lnTo>
                    <a:pt x="2030" y="1440"/>
                  </a:lnTo>
                  <a:lnTo>
                    <a:pt x="2026" y="1436"/>
                  </a:lnTo>
                  <a:lnTo>
                    <a:pt x="2027" y="1436"/>
                  </a:lnTo>
                  <a:close/>
                  <a:moveTo>
                    <a:pt x="2114" y="1084"/>
                  </a:moveTo>
                  <a:lnTo>
                    <a:pt x="2114" y="1086"/>
                  </a:lnTo>
                  <a:lnTo>
                    <a:pt x="2112" y="1086"/>
                  </a:lnTo>
                  <a:lnTo>
                    <a:pt x="2111" y="1084"/>
                  </a:lnTo>
                  <a:lnTo>
                    <a:pt x="2114" y="1084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51" name="Freeform 150"/>
            <p:cNvSpPr>
              <a:spLocks noEditPoints="1"/>
            </p:cNvSpPr>
            <p:nvPr/>
          </p:nvSpPr>
          <p:spPr bwMode="auto">
            <a:xfrm>
              <a:off x="1646534" y="2219078"/>
              <a:ext cx="663885" cy="761055"/>
            </a:xfrm>
            <a:custGeom>
              <a:avLst/>
              <a:gdLst>
                <a:gd name="T0" fmla="*/ 3326 w 3330"/>
                <a:gd name="T1" fmla="*/ 1006 h 2820"/>
                <a:gd name="T2" fmla="*/ 3299 w 3330"/>
                <a:gd name="T3" fmla="*/ 1124 h 2820"/>
                <a:gd name="T4" fmla="*/ 3165 w 3330"/>
                <a:gd name="T5" fmla="*/ 1137 h 2820"/>
                <a:gd name="T6" fmla="*/ 3270 w 3330"/>
                <a:gd name="T7" fmla="*/ 1250 h 2820"/>
                <a:gd name="T8" fmla="*/ 3201 w 3330"/>
                <a:gd name="T9" fmla="*/ 1237 h 2820"/>
                <a:gd name="T10" fmla="*/ 3183 w 3330"/>
                <a:gd name="T11" fmla="*/ 1240 h 2820"/>
                <a:gd name="T12" fmla="*/ 3169 w 3330"/>
                <a:gd name="T13" fmla="*/ 1318 h 2820"/>
                <a:gd name="T14" fmla="*/ 3069 w 3330"/>
                <a:gd name="T15" fmla="*/ 1386 h 2820"/>
                <a:gd name="T16" fmla="*/ 3145 w 3330"/>
                <a:gd name="T17" fmla="*/ 1369 h 2820"/>
                <a:gd name="T18" fmla="*/ 3120 w 3330"/>
                <a:gd name="T19" fmla="*/ 1607 h 2820"/>
                <a:gd name="T20" fmla="*/ 2994 w 3330"/>
                <a:gd name="T21" fmla="*/ 1760 h 2820"/>
                <a:gd name="T22" fmla="*/ 2757 w 3330"/>
                <a:gd name="T23" fmla="*/ 2024 h 2820"/>
                <a:gd name="T24" fmla="*/ 2684 w 3330"/>
                <a:gd name="T25" fmla="*/ 2183 h 2820"/>
                <a:gd name="T26" fmla="*/ 2558 w 3330"/>
                <a:gd name="T27" fmla="*/ 2246 h 2820"/>
                <a:gd name="T28" fmla="*/ 2499 w 3330"/>
                <a:gd name="T29" fmla="*/ 2356 h 2820"/>
                <a:gd name="T30" fmla="*/ 2429 w 3330"/>
                <a:gd name="T31" fmla="*/ 2473 h 2820"/>
                <a:gd name="T32" fmla="*/ 2051 w 3330"/>
                <a:gd name="T33" fmla="*/ 2648 h 2820"/>
                <a:gd name="T34" fmla="*/ 1956 w 3330"/>
                <a:gd name="T35" fmla="*/ 2738 h 2820"/>
                <a:gd name="T36" fmla="*/ 1870 w 3330"/>
                <a:gd name="T37" fmla="*/ 2580 h 2820"/>
                <a:gd name="T38" fmla="*/ 1873 w 3330"/>
                <a:gd name="T39" fmla="*/ 2434 h 2820"/>
                <a:gd name="T40" fmla="*/ 1785 w 3330"/>
                <a:gd name="T41" fmla="*/ 2188 h 2820"/>
                <a:gd name="T42" fmla="*/ 1752 w 3330"/>
                <a:gd name="T43" fmla="*/ 2019 h 2820"/>
                <a:gd name="T44" fmla="*/ 1644 w 3330"/>
                <a:gd name="T45" fmla="*/ 1859 h 2820"/>
                <a:gd name="T46" fmla="*/ 1463 w 3330"/>
                <a:gd name="T47" fmla="*/ 1715 h 2820"/>
                <a:gd name="T48" fmla="*/ 1256 w 3330"/>
                <a:gd name="T49" fmla="*/ 1602 h 2820"/>
                <a:gd name="T50" fmla="*/ 1110 w 3330"/>
                <a:gd name="T51" fmla="*/ 1515 h 2820"/>
                <a:gd name="T52" fmla="*/ 941 w 3330"/>
                <a:gd name="T53" fmla="*/ 1433 h 2820"/>
                <a:gd name="T54" fmla="*/ 763 w 3330"/>
                <a:gd name="T55" fmla="*/ 1440 h 2820"/>
                <a:gd name="T56" fmla="*/ 677 w 3330"/>
                <a:gd name="T57" fmla="*/ 1363 h 2820"/>
                <a:gd name="T58" fmla="*/ 571 w 3330"/>
                <a:gd name="T59" fmla="*/ 1385 h 2820"/>
                <a:gd name="T60" fmla="*/ 427 w 3330"/>
                <a:gd name="T61" fmla="*/ 1275 h 2820"/>
                <a:gd name="T62" fmla="*/ 107 w 3330"/>
                <a:gd name="T63" fmla="*/ 1133 h 2820"/>
                <a:gd name="T64" fmla="*/ 256 w 3330"/>
                <a:gd name="T65" fmla="*/ 988 h 2820"/>
                <a:gd name="T66" fmla="*/ 498 w 3330"/>
                <a:gd name="T67" fmla="*/ 897 h 2820"/>
                <a:gd name="T68" fmla="*/ 674 w 3330"/>
                <a:gd name="T69" fmla="*/ 767 h 2820"/>
                <a:gd name="T70" fmla="*/ 824 w 3330"/>
                <a:gd name="T71" fmla="*/ 686 h 2820"/>
                <a:gd name="T72" fmla="*/ 1066 w 3330"/>
                <a:gd name="T73" fmla="*/ 647 h 2820"/>
                <a:gd name="T74" fmla="*/ 1323 w 3330"/>
                <a:gd name="T75" fmla="*/ 576 h 2820"/>
                <a:gd name="T76" fmla="*/ 1581 w 3330"/>
                <a:gd name="T77" fmla="*/ 557 h 2820"/>
                <a:gd name="T78" fmla="*/ 1871 w 3330"/>
                <a:gd name="T79" fmla="*/ 456 h 2820"/>
                <a:gd name="T80" fmla="*/ 2111 w 3330"/>
                <a:gd name="T81" fmla="*/ 361 h 2820"/>
                <a:gd name="T82" fmla="*/ 2271 w 3330"/>
                <a:gd name="T83" fmla="*/ 251 h 2820"/>
                <a:gd name="T84" fmla="*/ 2475 w 3330"/>
                <a:gd name="T85" fmla="*/ 179 h 2820"/>
                <a:gd name="T86" fmla="*/ 2686 w 3330"/>
                <a:gd name="T87" fmla="*/ 42 h 2820"/>
                <a:gd name="T88" fmla="*/ 2942 w 3330"/>
                <a:gd name="T89" fmla="*/ 6 h 2820"/>
                <a:gd name="T90" fmla="*/ 3092 w 3330"/>
                <a:gd name="T91" fmla="*/ 93 h 2820"/>
                <a:gd name="T92" fmla="*/ 3103 w 3330"/>
                <a:gd name="T93" fmla="*/ 201 h 2820"/>
                <a:gd name="T94" fmla="*/ 3152 w 3330"/>
                <a:gd name="T95" fmla="*/ 442 h 2820"/>
                <a:gd name="T96" fmla="*/ 3141 w 3330"/>
                <a:gd name="T97" fmla="*/ 553 h 2820"/>
                <a:gd name="T98" fmla="*/ 3106 w 3330"/>
                <a:gd name="T99" fmla="*/ 632 h 2820"/>
                <a:gd name="T100" fmla="*/ 3133 w 3330"/>
                <a:gd name="T101" fmla="*/ 658 h 2820"/>
                <a:gd name="T102" fmla="*/ 3194 w 3330"/>
                <a:gd name="T103" fmla="*/ 605 h 2820"/>
                <a:gd name="T104" fmla="*/ 3162 w 3330"/>
                <a:gd name="T105" fmla="*/ 710 h 2820"/>
                <a:gd name="T106" fmla="*/ 3176 w 3330"/>
                <a:gd name="T107" fmla="*/ 838 h 2820"/>
                <a:gd name="T108" fmla="*/ 3151 w 3330"/>
                <a:gd name="T109" fmla="*/ 933 h 2820"/>
                <a:gd name="T110" fmla="*/ 3219 w 3330"/>
                <a:gd name="T111" fmla="*/ 805 h 2820"/>
                <a:gd name="T112" fmla="*/ 3268 w 3330"/>
                <a:gd name="T113" fmla="*/ 888 h 2820"/>
                <a:gd name="T114" fmla="*/ 2572 w 3330"/>
                <a:gd name="T115" fmla="*/ 2393 h 2820"/>
                <a:gd name="T116" fmla="*/ 2539 w 3330"/>
                <a:gd name="T117" fmla="*/ 2311 h 2820"/>
                <a:gd name="T118" fmla="*/ 2598 w 3330"/>
                <a:gd name="T119" fmla="*/ 2312 h 2820"/>
                <a:gd name="T120" fmla="*/ 3316 w 3330"/>
                <a:gd name="T121" fmla="*/ 1145 h 2820"/>
                <a:gd name="T122" fmla="*/ 3291 w 3330"/>
                <a:gd name="T123" fmla="*/ 1287 h 28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30"/>
                <a:gd name="T187" fmla="*/ 0 h 2820"/>
                <a:gd name="T188" fmla="*/ 3330 w 3330"/>
                <a:gd name="T189" fmla="*/ 2820 h 28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30" h="2820">
                  <a:moveTo>
                    <a:pt x="1920" y="2807"/>
                  </a:moveTo>
                  <a:lnTo>
                    <a:pt x="1920" y="2813"/>
                  </a:lnTo>
                  <a:lnTo>
                    <a:pt x="1916" y="2820"/>
                  </a:lnTo>
                  <a:lnTo>
                    <a:pt x="1912" y="2820"/>
                  </a:lnTo>
                  <a:lnTo>
                    <a:pt x="1904" y="2817"/>
                  </a:lnTo>
                  <a:lnTo>
                    <a:pt x="1902" y="2816"/>
                  </a:lnTo>
                  <a:lnTo>
                    <a:pt x="1902" y="2813"/>
                  </a:lnTo>
                  <a:lnTo>
                    <a:pt x="1905" y="2812"/>
                  </a:lnTo>
                  <a:lnTo>
                    <a:pt x="1904" y="2807"/>
                  </a:lnTo>
                  <a:lnTo>
                    <a:pt x="1904" y="2802"/>
                  </a:lnTo>
                  <a:lnTo>
                    <a:pt x="1909" y="2802"/>
                  </a:lnTo>
                  <a:lnTo>
                    <a:pt x="1916" y="2807"/>
                  </a:lnTo>
                  <a:lnTo>
                    <a:pt x="1920" y="2807"/>
                  </a:lnTo>
                  <a:close/>
                  <a:moveTo>
                    <a:pt x="3323" y="892"/>
                  </a:moveTo>
                  <a:lnTo>
                    <a:pt x="3321" y="904"/>
                  </a:lnTo>
                  <a:lnTo>
                    <a:pt x="3318" y="909"/>
                  </a:lnTo>
                  <a:lnTo>
                    <a:pt x="3316" y="922"/>
                  </a:lnTo>
                  <a:lnTo>
                    <a:pt x="3313" y="930"/>
                  </a:lnTo>
                  <a:lnTo>
                    <a:pt x="3308" y="936"/>
                  </a:lnTo>
                  <a:lnTo>
                    <a:pt x="3305" y="936"/>
                  </a:lnTo>
                  <a:lnTo>
                    <a:pt x="3304" y="939"/>
                  </a:lnTo>
                  <a:lnTo>
                    <a:pt x="3299" y="941"/>
                  </a:lnTo>
                  <a:lnTo>
                    <a:pt x="3298" y="950"/>
                  </a:lnTo>
                  <a:lnTo>
                    <a:pt x="3299" y="954"/>
                  </a:lnTo>
                  <a:lnTo>
                    <a:pt x="3301" y="955"/>
                  </a:lnTo>
                  <a:lnTo>
                    <a:pt x="3301" y="958"/>
                  </a:lnTo>
                  <a:lnTo>
                    <a:pt x="3304" y="959"/>
                  </a:lnTo>
                  <a:lnTo>
                    <a:pt x="3304" y="963"/>
                  </a:lnTo>
                  <a:lnTo>
                    <a:pt x="3311" y="972"/>
                  </a:lnTo>
                  <a:lnTo>
                    <a:pt x="3313" y="972"/>
                  </a:lnTo>
                  <a:lnTo>
                    <a:pt x="3315" y="972"/>
                  </a:lnTo>
                  <a:lnTo>
                    <a:pt x="3319" y="972"/>
                  </a:lnTo>
                  <a:lnTo>
                    <a:pt x="3321" y="972"/>
                  </a:lnTo>
                  <a:lnTo>
                    <a:pt x="3323" y="976"/>
                  </a:lnTo>
                  <a:lnTo>
                    <a:pt x="3323" y="979"/>
                  </a:lnTo>
                  <a:lnTo>
                    <a:pt x="3324" y="980"/>
                  </a:lnTo>
                  <a:lnTo>
                    <a:pt x="3329" y="993"/>
                  </a:lnTo>
                  <a:lnTo>
                    <a:pt x="3326" y="1006"/>
                  </a:lnTo>
                  <a:lnTo>
                    <a:pt x="3327" y="1010"/>
                  </a:lnTo>
                  <a:lnTo>
                    <a:pt x="3327" y="1017"/>
                  </a:lnTo>
                  <a:lnTo>
                    <a:pt x="3329" y="1017"/>
                  </a:lnTo>
                  <a:lnTo>
                    <a:pt x="3327" y="1023"/>
                  </a:lnTo>
                  <a:lnTo>
                    <a:pt x="3329" y="1030"/>
                  </a:lnTo>
                  <a:lnTo>
                    <a:pt x="3327" y="1033"/>
                  </a:lnTo>
                  <a:lnTo>
                    <a:pt x="3329" y="1034"/>
                  </a:lnTo>
                  <a:lnTo>
                    <a:pt x="3329" y="1043"/>
                  </a:lnTo>
                  <a:lnTo>
                    <a:pt x="3327" y="1072"/>
                  </a:lnTo>
                  <a:lnTo>
                    <a:pt x="3326" y="1072"/>
                  </a:lnTo>
                  <a:lnTo>
                    <a:pt x="3326" y="1066"/>
                  </a:lnTo>
                  <a:lnTo>
                    <a:pt x="3324" y="1066"/>
                  </a:lnTo>
                  <a:lnTo>
                    <a:pt x="3323" y="1066"/>
                  </a:lnTo>
                  <a:lnTo>
                    <a:pt x="3323" y="1068"/>
                  </a:lnTo>
                  <a:lnTo>
                    <a:pt x="3322" y="1068"/>
                  </a:lnTo>
                  <a:lnTo>
                    <a:pt x="3319" y="1068"/>
                  </a:lnTo>
                  <a:lnTo>
                    <a:pt x="3316" y="1075"/>
                  </a:lnTo>
                  <a:lnTo>
                    <a:pt x="3318" y="1082"/>
                  </a:lnTo>
                  <a:lnTo>
                    <a:pt x="3313" y="1085"/>
                  </a:lnTo>
                  <a:lnTo>
                    <a:pt x="3312" y="1088"/>
                  </a:lnTo>
                  <a:lnTo>
                    <a:pt x="3315" y="1097"/>
                  </a:lnTo>
                  <a:lnTo>
                    <a:pt x="3319" y="1097"/>
                  </a:lnTo>
                  <a:lnTo>
                    <a:pt x="3322" y="1100"/>
                  </a:lnTo>
                  <a:lnTo>
                    <a:pt x="3321" y="1095"/>
                  </a:lnTo>
                  <a:lnTo>
                    <a:pt x="3322" y="1095"/>
                  </a:lnTo>
                  <a:lnTo>
                    <a:pt x="3324" y="1092"/>
                  </a:lnTo>
                  <a:lnTo>
                    <a:pt x="3326" y="1092"/>
                  </a:lnTo>
                  <a:lnTo>
                    <a:pt x="3326" y="1105"/>
                  </a:lnTo>
                  <a:lnTo>
                    <a:pt x="3327" y="1105"/>
                  </a:lnTo>
                  <a:lnTo>
                    <a:pt x="3324" y="1118"/>
                  </a:lnTo>
                  <a:lnTo>
                    <a:pt x="3323" y="1120"/>
                  </a:lnTo>
                  <a:lnTo>
                    <a:pt x="3323" y="1110"/>
                  </a:lnTo>
                  <a:lnTo>
                    <a:pt x="3319" y="1109"/>
                  </a:lnTo>
                  <a:lnTo>
                    <a:pt x="3313" y="1110"/>
                  </a:lnTo>
                  <a:lnTo>
                    <a:pt x="3309" y="1113"/>
                  </a:lnTo>
                  <a:lnTo>
                    <a:pt x="3305" y="1118"/>
                  </a:lnTo>
                  <a:lnTo>
                    <a:pt x="3304" y="1126"/>
                  </a:lnTo>
                  <a:lnTo>
                    <a:pt x="3299" y="1124"/>
                  </a:lnTo>
                  <a:lnTo>
                    <a:pt x="3288" y="1124"/>
                  </a:lnTo>
                  <a:lnTo>
                    <a:pt x="3276" y="1128"/>
                  </a:lnTo>
                  <a:lnTo>
                    <a:pt x="3270" y="1135"/>
                  </a:lnTo>
                  <a:lnTo>
                    <a:pt x="3272" y="1137"/>
                  </a:lnTo>
                  <a:lnTo>
                    <a:pt x="3274" y="1137"/>
                  </a:lnTo>
                  <a:lnTo>
                    <a:pt x="3262" y="1149"/>
                  </a:lnTo>
                  <a:lnTo>
                    <a:pt x="3259" y="1146"/>
                  </a:lnTo>
                  <a:lnTo>
                    <a:pt x="3251" y="1150"/>
                  </a:lnTo>
                  <a:lnTo>
                    <a:pt x="3247" y="1150"/>
                  </a:lnTo>
                  <a:lnTo>
                    <a:pt x="3241" y="1153"/>
                  </a:lnTo>
                  <a:lnTo>
                    <a:pt x="3236" y="1158"/>
                  </a:lnTo>
                  <a:lnTo>
                    <a:pt x="3223" y="1159"/>
                  </a:lnTo>
                  <a:lnTo>
                    <a:pt x="3215" y="1167"/>
                  </a:lnTo>
                  <a:lnTo>
                    <a:pt x="3212" y="1167"/>
                  </a:lnTo>
                  <a:lnTo>
                    <a:pt x="3209" y="1169"/>
                  </a:lnTo>
                  <a:lnTo>
                    <a:pt x="3205" y="1169"/>
                  </a:lnTo>
                  <a:lnTo>
                    <a:pt x="3201" y="1171"/>
                  </a:lnTo>
                  <a:lnTo>
                    <a:pt x="3194" y="1171"/>
                  </a:lnTo>
                  <a:lnTo>
                    <a:pt x="3182" y="1172"/>
                  </a:lnTo>
                  <a:lnTo>
                    <a:pt x="3179" y="1172"/>
                  </a:lnTo>
                  <a:lnTo>
                    <a:pt x="3187" y="1169"/>
                  </a:lnTo>
                  <a:lnTo>
                    <a:pt x="3188" y="1163"/>
                  </a:lnTo>
                  <a:lnTo>
                    <a:pt x="3183" y="1159"/>
                  </a:lnTo>
                  <a:lnTo>
                    <a:pt x="3183" y="1149"/>
                  </a:lnTo>
                  <a:lnTo>
                    <a:pt x="3177" y="1145"/>
                  </a:lnTo>
                  <a:lnTo>
                    <a:pt x="3176" y="1141"/>
                  </a:lnTo>
                  <a:lnTo>
                    <a:pt x="3173" y="1140"/>
                  </a:lnTo>
                  <a:lnTo>
                    <a:pt x="3170" y="1128"/>
                  </a:lnTo>
                  <a:lnTo>
                    <a:pt x="3172" y="1122"/>
                  </a:lnTo>
                  <a:lnTo>
                    <a:pt x="3177" y="1122"/>
                  </a:lnTo>
                  <a:lnTo>
                    <a:pt x="3177" y="1120"/>
                  </a:lnTo>
                  <a:lnTo>
                    <a:pt x="3170" y="1122"/>
                  </a:lnTo>
                  <a:lnTo>
                    <a:pt x="3168" y="1124"/>
                  </a:lnTo>
                  <a:lnTo>
                    <a:pt x="3166" y="1126"/>
                  </a:lnTo>
                  <a:lnTo>
                    <a:pt x="3166" y="1130"/>
                  </a:lnTo>
                  <a:lnTo>
                    <a:pt x="3165" y="1135"/>
                  </a:lnTo>
                  <a:lnTo>
                    <a:pt x="3166" y="1135"/>
                  </a:lnTo>
                  <a:lnTo>
                    <a:pt x="3165" y="1137"/>
                  </a:lnTo>
                  <a:lnTo>
                    <a:pt x="3166" y="1137"/>
                  </a:lnTo>
                  <a:lnTo>
                    <a:pt x="3166" y="1141"/>
                  </a:lnTo>
                  <a:lnTo>
                    <a:pt x="3165" y="1141"/>
                  </a:lnTo>
                  <a:lnTo>
                    <a:pt x="3169" y="1146"/>
                  </a:lnTo>
                  <a:lnTo>
                    <a:pt x="3169" y="1150"/>
                  </a:lnTo>
                  <a:lnTo>
                    <a:pt x="3174" y="1153"/>
                  </a:lnTo>
                  <a:lnTo>
                    <a:pt x="3177" y="1155"/>
                  </a:lnTo>
                  <a:lnTo>
                    <a:pt x="3174" y="1163"/>
                  </a:lnTo>
                  <a:lnTo>
                    <a:pt x="3176" y="1180"/>
                  </a:lnTo>
                  <a:lnTo>
                    <a:pt x="3179" y="1182"/>
                  </a:lnTo>
                  <a:lnTo>
                    <a:pt x="3190" y="1192"/>
                  </a:lnTo>
                  <a:lnTo>
                    <a:pt x="3208" y="1199"/>
                  </a:lnTo>
                  <a:lnTo>
                    <a:pt x="3215" y="1203"/>
                  </a:lnTo>
                  <a:lnTo>
                    <a:pt x="3220" y="1201"/>
                  </a:lnTo>
                  <a:lnTo>
                    <a:pt x="3220" y="1199"/>
                  </a:lnTo>
                  <a:lnTo>
                    <a:pt x="3213" y="1199"/>
                  </a:lnTo>
                  <a:lnTo>
                    <a:pt x="3210" y="1195"/>
                  </a:lnTo>
                  <a:lnTo>
                    <a:pt x="3212" y="1194"/>
                  </a:lnTo>
                  <a:lnTo>
                    <a:pt x="3209" y="1194"/>
                  </a:lnTo>
                  <a:lnTo>
                    <a:pt x="3209" y="1192"/>
                  </a:lnTo>
                  <a:lnTo>
                    <a:pt x="3215" y="1191"/>
                  </a:lnTo>
                  <a:lnTo>
                    <a:pt x="3223" y="1195"/>
                  </a:lnTo>
                  <a:lnTo>
                    <a:pt x="3227" y="1195"/>
                  </a:lnTo>
                  <a:lnTo>
                    <a:pt x="3232" y="1192"/>
                  </a:lnTo>
                  <a:lnTo>
                    <a:pt x="3237" y="1195"/>
                  </a:lnTo>
                  <a:lnTo>
                    <a:pt x="3245" y="1195"/>
                  </a:lnTo>
                  <a:lnTo>
                    <a:pt x="3249" y="1197"/>
                  </a:lnTo>
                  <a:lnTo>
                    <a:pt x="3249" y="1203"/>
                  </a:lnTo>
                  <a:lnTo>
                    <a:pt x="3255" y="1221"/>
                  </a:lnTo>
                  <a:lnTo>
                    <a:pt x="3258" y="1225"/>
                  </a:lnTo>
                  <a:lnTo>
                    <a:pt x="3262" y="1231"/>
                  </a:lnTo>
                  <a:lnTo>
                    <a:pt x="3268" y="1238"/>
                  </a:lnTo>
                  <a:lnTo>
                    <a:pt x="3279" y="1244"/>
                  </a:lnTo>
                  <a:lnTo>
                    <a:pt x="3279" y="1248"/>
                  </a:lnTo>
                  <a:lnTo>
                    <a:pt x="3276" y="1251"/>
                  </a:lnTo>
                  <a:lnTo>
                    <a:pt x="3276" y="1256"/>
                  </a:lnTo>
                  <a:lnTo>
                    <a:pt x="3272" y="1261"/>
                  </a:lnTo>
                  <a:lnTo>
                    <a:pt x="3270" y="1250"/>
                  </a:lnTo>
                  <a:lnTo>
                    <a:pt x="3266" y="1249"/>
                  </a:lnTo>
                  <a:lnTo>
                    <a:pt x="3258" y="1249"/>
                  </a:lnTo>
                  <a:lnTo>
                    <a:pt x="3258" y="1251"/>
                  </a:lnTo>
                  <a:lnTo>
                    <a:pt x="3255" y="1253"/>
                  </a:lnTo>
                  <a:lnTo>
                    <a:pt x="3252" y="1257"/>
                  </a:lnTo>
                  <a:lnTo>
                    <a:pt x="3252" y="1253"/>
                  </a:lnTo>
                  <a:lnTo>
                    <a:pt x="3255" y="1249"/>
                  </a:lnTo>
                  <a:lnTo>
                    <a:pt x="3259" y="1246"/>
                  </a:lnTo>
                  <a:lnTo>
                    <a:pt x="3261" y="1242"/>
                  </a:lnTo>
                  <a:lnTo>
                    <a:pt x="3263" y="1242"/>
                  </a:lnTo>
                  <a:lnTo>
                    <a:pt x="3261" y="1240"/>
                  </a:lnTo>
                  <a:lnTo>
                    <a:pt x="3259" y="1240"/>
                  </a:lnTo>
                  <a:lnTo>
                    <a:pt x="3257" y="1246"/>
                  </a:lnTo>
                  <a:lnTo>
                    <a:pt x="3257" y="1244"/>
                  </a:lnTo>
                  <a:lnTo>
                    <a:pt x="3255" y="1244"/>
                  </a:lnTo>
                  <a:lnTo>
                    <a:pt x="3251" y="1249"/>
                  </a:lnTo>
                  <a:lnTo>
                    <a:pt x="3254" y="1244"/>
                  </a:lnTo>
                  <a:lnTo>
                    <a:pt x="3252" y="1242"/>
                  </a:lnTo>
                  <a:lnTo>
                    <a:pt x="3251" y="1244"/>
                  </a:lnTo>
                  <a:lnTo>
                    <a:pt x="3251" y="1240"/>
                  </a:lnTo>
                  <a:lnTo>
                    <a:pt x="3249" y="1242"/>
                  </a:lnTo>
                  <a:lnTo>
                    <a:pt x="3247" y="1242"/>
                  </a:lnTo>
                  <a:lnTo>
                    <a:pt x="3245" y="1248"/>
                  </a:lnTo>
                  <a:lnTo>
                    <a:pt x="3245" y="1240"/>
                  </a:lnTo>
                  <a:lnTo>
                    <a:pt x="3241" y="1240"/>
                  </a:lnTo>
                  <a:lnTo>
                    <a:pt x="3240" y="1242"/>
                  </a:lnTo>
                  <a:lnTo>
                    <a:pt x="3237" y="1242"/>
                  </a:lnTo>
                  <a:lnTo>
                    <a:pt x="3232" y="1242"/>
                  </a:lnTo>
                  <a:lnTo>
                    <a:pt x="3227" y="1240"/>
                  </a:lnTo>
                  <a:lnTo>
                    <a:pt x="3215" y="1242"/>
                  </a:lnTo>
                  <a:lnTo>
                    <a:pt x="3215" y="1240"/>
                  </a:lnTo>
                  <a:lnTo>
                    <a:pt x="3209" y="1240"/>
                  </a:lnTo>
                  <a:lnTo>
                    <a:pt x="3208" y="1244"/>
                  </a:lnTo>
                  <a:lnTo>
                    <a:pt x="3202" y="1244"/>
                  </a:lnTo>
                  <a:lnTo>
                    <a:pt x="3201" y="1240"/>
                  </a:lnTo>
                  <a:lnTo>
                    <a:pt x="3198" y="1242"/>
                  </a:lnTo>
                  <a:lnTo>
                    <a:pt x="3198" y="1238"/>
                  </a:lnTo>
                  <a:lnTo>
                    <a:pt x="3201" y="1237"/>
                  </a:lnTo>
                  <a:lnTo>
                    <a:pt x="3201" y="1234"/>
                  </a:lnTo>
                  <a:lnTo>
                    <a:pt x="3195" y="1234"/>
                  </a:lnTo>
                  <a:lnTo>
                    <a:pt x="3194" y="1234"/>
                  </a:lnTo>
                  <a:lnTo>
                    <a:pt x="3188" y="1224"/>
                  </a:lnTo>
                  <a:lnTo>
                    <a:pt x="3184" y="1221"/>
                  </a:lnTo>
                  <a:lnTo>
                    <a:pt x="3176" y="1224"/>
                  </a:lnTo>
                  <a:lnTo>
                    <a:pt x="3172" y="1224"/>
                  </a:lnTo>
                  <a:lnTo>
                    <a:pt x="3170" y="1221"/>
                  </a:lnTo>
                  <a:lnTo>
                    <a:pt x="3172" y="1217"/>
                  </a:lnTo>
                  <a:lnTo>
                    <a:pt x="3169" y="1215"/>
                  </a:lnTo>
                  <a:lnTo>
                    <a:pt x="3168" y="1216"/>
                  </a:lnTo>
                  <a:lnTo>
                    <a:pt x="3166" y="1221"/>
                  </a:lnTo>
                  <a:lnTo>
                    <a:pt x="3166" y="1226"/>
                  </a:lnTo>
                  <a:lnTo>
                    <a:pt x="3168" y="1226"/>
                  </a:lnTo>
                  <a:lnTo>
                    <a:pt x="3170" y="1231"/>
                  </a:lnTo>
                  <a:lnTo>
                    <a:pt x="3177" y="1229"/>
                  </a:lnTo>
                  <a:lnTo>
                    <a:pt x="3179" y="1231"/>
                  </a:lnTo>
                  <a:lnTo>
                    <a:pt x="3173" y="1237"/>
                  </a:lnTo>
                  <a:lnTo>
                    <a:pt x="3169" y="1238"/>
                  </a:lnTo>
                  <a:lnTo>
                    <a:pt x="3162" y="1234"/>
                  </a:lnTo>
                  <a:lnTo>
                    <a:pt x="3159" y="1234"/>
                  </a:lnTo>
                  <a:lnTo>
                    <a:pt x="3155" y="1240"/>
                  </a:lnTo>
                  <a:lnTo>
                    <a:pt x="3152" y="1244"/>
                  </a:lnTo>
                  <a:lnTo>
                    <a:pt x="3154" y="1244"/>
                  </a:lnTo>
                  <a:lnTo>
                    <a:pt x="3155" y="1244"/>
                  </a:lnTo>
                  <a:lnTo>
                    <a:pt x="3159" y="1238"/>
                  </a:lnTo>
                  <a:lnTo>
                    <a:pt x="3168" y="1240"/>
                  </a:lnTo>
                  <a:lnTo>
                    <a:pt x="3176" y="1244"/>
                  </a:lnTo>
                  <a:lnTo>
                    <a:pt x="3179" y="1250"/>
                  </a:lnTo>
                  <a:lnTo>
                    <a:pt x="3179" y="1253"/>
                  </a:lnTo>
                  <a:lnTo>
                    <a:pt x="3182" y="1253"/>
                  </a:lnTo>
                  <a:lnTo>
                    <a:pt x="3182" y="1257"/>
                  </a:lnTo>
                  <a:lnTo>
                    <a:pt x="3184" y="1259"/>
                  </a:lnTo>
                  <a:lnTo>
                    <a:pt x="3185" y="1257"/>
                  </a:lnTo>
                  <a:lnTo>
                    <a:pt x="3184" y="1253"/>
                  </a:lnTo>
                  <a:lnTo>
                    <a:pt x="3184" y="1250"/>
                  </a:lnTo>
                  <a:lnTo>
                    <a:pt x="3182" y="1244"/>
                  </a:lnTo>
                  <a:lnTo>
                    <a:pt x="3183" y="1240"/>
                  </a:lnTo>
                  <a:lnTo>
                    <a:pt x="3185" y="1250"/>
                  </a:lnTo>
                  <a:lnTo>
                    <a:pt x="3188" y="1251"/>
                  </a:lnTo>
                  <a:lnTo>
                    <a:pt x="3193" y="1257"/>
                  </a:lnTo>
                  <a:lnTo>
                    <a:pt x="3197" y="1263"/>
                  </a:lnTo>
                  <a:lnTo>
                    <a:pt x="3207" y="1270"/>
                  </a:lnTo>
                  <a:lnTo>
                    <a:pt x="3209" y="1273"/>
                  </a:lnTo>
                  <a:lnTo>
                    <a:pt x="3212" y="1273"/>
                  </a:lnTo>
                  <a:lnTo>
                    <a:pt x="3215" y="1275"/>
                  </a:lnTo>
                  <a:lnTo>
                    <a:pt x="3215" y="1283"/>
                  </a:lnTo>
                  <a:lnTo>
                    <a:pt x="3218" y="1284"/>
                  </a:lnTo>
                  <a:lnTo>
                    <a:pt x="3213" y="1287"/>
                  </a:lnTo>
                  <a:lnTo>
                    <a:pt x="3213" y="1291"/>
                  </a:lnTo>
                  <a:lnTo>
                    <a:pt x="3219" y="1300"/>
                  </a:lnTo>
                  <a:lnTo>
                    <a:pt x="3223" y="1301"/>
                  </a:lnTo>
                  <a:lnTo>
                    <a:pt x="3227" y="1307"/>
                  </a:lnTo>
                  <a:lnTo>
                    <a:pt x="3229" y="1309"/>
                  </a:lnTo>
                  <a:lnTo>
                    <a:pt x="3226" y="1313"/>
                  </a:lnTo>
                  <a:lnTo>
                    <a:pt x="3229" y="1315"/>
                  </a:lnTo>
                  <a:lnTo>
                    <a:pt x="3224" y="1319"/>
                  </a:lnTo>
                  <a:lnTo>
                    <a:pt x="3219" y="1319"/>
                  </a:lnTo>
                  <a:lnTo>
                    <a:pt x="3212" y="1323"/>
                  </a:lnTo>
                  <a:lnTo>
                    <a:pt x="3208" y="1321"/>
                  </a:lnTo>
                  <a:lnTo>
                    <a:pt x="3199" y="1323"/>
                  </a:lnTo>
                  <a:lnTo>
                    <a:pt x="3195" y="1324"/>
                  </a:lnTo>
                  <a:lnTo>
                    <a:pt x="3190" y="1324"/>
                  </a:lnTo>
                  <a:lnTo>
                    <a:pt x="3191" y="1324"/>
                  </a:lnTo>
                  <a:lnTo>
                    <a:pt x="3190" y="1323"/>
                  </a:lnTo>
                  <a:lnTo>
                    <a:pt x="3187" y="1324"/>
                  </a:lnTo>
                  <a:lnTo>
                    <a:pt x="3185" y="1324"/>
                  </a:lnTo>
                  <a:lnTo>
                    <a:pt x="3187" y="1324"/>
                  </a:lnTo>
                  <a:lnTo>
                    <a:pt x="3185" y="1321"/>
                  </a:lnTo>
                  <a:lnTo>
                    <a:pt x="3180" y="1323"/>
                  </a:lnTo>
                  <a:lnTo>
                    <a:pt x="3182" y="1321"/>
                  </a:lnTo>
                  <a:lnTo>
                    <a:pt x="3182" y="1320"/>
                  </a:lnTo>
                  <a:lnTo>
                    <a:pt x="3179" y="1320"/>
                  </a:lnTo>
                  <a:lnTo>
                    <a:pt x="3176" y="1321"/>
                  </a:lnTo>
                  <a:lnTo>
                    <a:pt x="3173" y="1321"/>
                  </a:lnTo>
                  <a:lnTo>
                    <a:pt x="3169" y="1318"/>
                  </a:lnTo>
                  <a:lnTo>
                    <a:pt x="3165" y="1319"/>
                  </a:lnTo>
                  <a:lnTo>
                    <a:pt x="3159" y="1321"/>
                  </a:lnTo>
                  <a:lnTo>
                    <a:pt x="3154" y="1328"/>
                  </a:lnTo>
                  <a:lnTo>
                    <a:pt x="3151" y="1333"/>
                  </a:lnTo>
                  <a:lnTo>
                    <a:pt x="3145" y="1336"/>
                  </a:lnTo>
                  <a:lnTo>
                    <a:pt x="3143" y="1340"/>
                  </a:lnTo>
                  <a:lnTo>
                    <a:pt x="3140" y="1340"/>
                  </a:lnTo>
                  <a:lnTo>
                    <a:pt x="3138" y="1343"/>
                  </a:lnTo>
                  <a:lnTo>
                    <a:pt x="3137" y="1346"/>
                  </a:lnTo>
                  <a:lnTo>
                    <a:pt x="3134" y="1346"/>
                  </a:lnTo>
                  <a:lnTo>
                    <a:pt x="3134" y="1350"/>
                  </a:lnTo>
                  <a:lnTo>
                    <a:pt x="3129" y="1353"/>
                  </a:lnTo>
                  <a:lnTo>
                    <a:pt x="3126" y="1357"/>
                  </a:lnTo>
                  <a:lnTo>
                    <a:pt x="3124" y="1360"/>
                  </a:lnTo>
                  <a:lnTo>
                    <a:pt x="3123" y="1363"/>
                  </a:lnTo>
                  <a:lnTo>
                    <a:pt x="3122" y="1362"/>
                  </a:lnTo>
                  <a:lnTo>
                    <a:pt x="3120" y="1360"/>
                  </a:lnTo>
                  <a:lnTo>
                    <a:pt x="3117" y="1360"/>
                  </a:lnTo>
                  <a:lnTo>
                    <a:pt x="3115" y="1356"/>
                  </a:lnTo>
                  <a:lnTo>
                    <a:pt x="3110" y="1354"/>
                  </a:lnTo>
                  <a:lnTo>
                    <a:pt x="3109" y="1350"/>
                  </a:lnTo>
                  <a:lnTo>
                    <a:pt x="3105" y="1346"/>
                  </a:lnTo>
                  <a:lnTo>
                    <a:pt x="3094" y="1346"/>
                  </a:lnTo>
                  <a:lnTo>
                    <a:pt x="3089" y="1356"/>
                  </a:lnTo>
                  <a:lnTo>
                    <a:pt x="3088" y="1350"/>
                  </a:lnTo>
                  <a:lnTo>
                    <a:pt x="3084" y="1346"/>
                  </a:lnTo>
                  <a:lnTo>
                    <a:pt x="3078" y="1350"/>
                  </a:lnTo>
                  <a:lnTo>
                    <a:pt x="3076" y="1354"/>
                  </a:lnTo>
                  <a:lnTo>
                    <a:pt x="3076" y="1358"/>
                  </a:lnTo>
                  <a:lnTo>
                    <a:pt x="3077" y="1362"/>
                  </a:lnTo>
                  <a:lnTo>
                    <a:pt x="3076" y="1369"/>
                  </a:lnTo>
                  <a:lnTo>
                    <a:pt x="3074" y="1373"/>
                  </a:lnTo>
                  <a:lnTo>
                    <a:pt x="3072" y="1373"/>
                  </a:lnTo>
                  <a:lnTo>
                    <a:pt x="3070" y="1375"/>
                  </a:lnTo>
                  <a:lnTo>
                    <a:pt x="3070" y="1377"/>
                  </a:lnTo>
                  <a:lnTo>
                    <a:pt x="3073" y="1377"/>
                  </a:lnTo>
                  <a:lnTo>
                    <a:pt x="3072" y="1385"/>
                  </a:lnTo>
                  <a:lnTo>
                    <a:pt x="3069" y="1386"/>
                  </a:lnTo>
                  <a:lnTo>
                    <a:pt x="3066" y="1382"/>
                  </a:lnTo>
                  <a:lnTo>
                    <a:pt x="3064" y="1386"/>
                  </a:lnTo>
                  <a:lnTo>
                    <a:pt x="3063" y="1382"/>
                  </a:lnTo>
                  <a:lnTo>
                    <a:pt x="3059" y="1382"/>
                  </a:lnTo>
                  <a:lnTo>
                    <a:pt x="3059" y="1390"/>
                  </a:lnTo>
                  <a:lnTo>
                    <a:pt x="3060" y="1391"/>
                  </a:lnTo>
                  <a:lnTo>
                    <a:pt x="3058" y="1393"/>
                  </a:lnTo>
                  <a:lnTo>
                    <a:pt x="3056" y="1394"/>
                  </a:lnTo>
                  <a:lnTo>
                    <a:pt x="3058" y="1395"/>
                  </a:lnTo>
                  <a:lnTo>
                    <a:pt x="3056" y="1395"/>
                  </a:lnTo>
                  <a:lnTo>
                    <a:pt x="3056" y="1399"/>
                  </a:lnTo>
                  <a:lnTo>
                    <a:pt x="3059" y="1399"/>
                  </a:lnTo>
                  <a:lnTo>
                    <a:pt x="3059" y="1402"/>
                  </a:lnTo>
                  <a:lnTo>
                    <a:pt x="3060" y="1405"/>
                  </a:lnTo>
                  <a:lnTo>
                    <a:pt x="3063" y="1405"/>
                  </a:lnTo>
                  <a:lnTo>
                    <a:pt x="3062" y="1402"/>
                  </a:lnTo>
                  <a:lnTo>
                    <a:pt x="3064" y="1394"/>
                  </a:lnTo>
                  <a:lnTo>
                    <a:pt x="3069" y="1391"/>
                  </a:lnTo>
                  <a:lnTo>
                    <a:pt x="3076" y="1402"/>
                  </a:lnTo>
                  <a:lnTo>
                    <a:pt x="3077" y="1403"/>
                  </a:lnTo>
                  <a:lnTo>
                    <a:pt x="3083" y="1405"/>
                  </a:lnTo>
                  <a:lnTo>
                    <a:pt x="3088" y="1405"/>
                  </a:lnTo>
                  <a:lnTo>
                    <a:pt x="3092" y="1407"/>
                  </a:lnTo>
                  <a:lnTo>
                    <a:pt x="3094" y="1405"/>
                  </a:lnTo>
                  <a:lnTo>
                    <a:pt x="3103" y="1408"/>
                  </a:lnTo>
                  <a:lnTo>
                    <a:pt x="3110" y="1411"/>
                  </a:lnTo>
                  <a:lnTo>
                    <a:pt x="3113" y="1408"/>
                  </a:lnTo>
                  <a:lnTo>
                    <a:pt x="3115" y="1405"/>
                  </a:lnTo>
                  <a:lnTo>
                    <a:pt x="3124" y="1395"/>
                  </a:lnTo>
                  <a:lnTo>
                    <a:pt x="3131" y="1398"/>
                  </a:lnTo>
                  <a:lnTo>
                    <a:pt x="3134" y="1394"/>
                  </a:lnTo>
                  <a:lnTo>
                    <a:pt x="3133" y="1386"/>
                  </a:lnTo>
                  <a:lnTo>
                    <a:pt x="3127" y="1379"/>
                  </a:lnTo>
                  <a:lnTo>
                    <a:pt x="3133" y="1381"/>
                  </a:lnTo>
                  <a:lnTo>
                    <a:pt x="3137" y="1379"/>
                  </a:lnTo>
                  <a:lnTo>
                    <a:pt x="3141" y="1373"/>
                  </a:lnTo>
                  <a:lnTo>
                    <a:pt x="3143" y="1369"/>
                  </a:lnTo>
                  <a:lnTo>
                    <a:pt x="3145" y="1369"/>
                  </a:lnTo>
                  <a:lnTo>
                    <a:pt x="3151" y="1369"/>
                  </a:lnTo>
                  <a:lnTo>
                    <a:pt x="3149" y="1369"/>
                  </a:lnTo>
                  <a:lnTo>
                    <a:pt x="3147" y="1368"/>
                  </a:lnTo>
                  <a:lnTo>
                    <a:pt x="3147" y="1366"/>
                  </a:lnTo>
                  <a:lnTo>
                    <a:pt x="3152" y="1366"/>
                  </a:lnTo>
                  <a:lnTo>
                    <a:pt x="3152" y="1363"/>
                  </a:lnTo>
                  <a:lnTo>
                    <a:pt x="3159" y="1373"/>
                  </a:lnTo>
                  <a:lnTo>
                    <a:pt x="3166" y="1385"/>
                  </a:lnTo>
                  <a:lnTo>
                    <a:pt x="3169" y="1386"/>
                  </a:lnTo>
                  <a:lnTo>
                    <a:pt x="3174" y="1386"/>
                  </a:lnTo>
                  <a:lnTo>
                    <a:pt x="3187" y="1395"/>
                  </a:lnTo>
                  <a:lnTo>
                    <a:pt x="3188" y="1395"/>
                  </a:lnTo>
                  <a:lnTo>
                    <a:pt x="3190" y="1399"/>
                  </a:lnTo>
                  <a:lnTo>
                    <a:pt x="3190" y="1403"/>
                  </a:lnTo>
                  <a:lnTo>
                    <a:pt x="3191" y="1408"/>
                  </a:lnTo>
                  <a:lnTo>
                    <a:pt x="3191" y="1435"/>
                  </a:lnTo>
                  <a:lnTo>
                    <a:pt x="3194" y="1440"/>
                  </a:lnTo>
                  <a:lnTo>
                    <a:pt x="3202" y="1449"/>
                  </a:lnTo>
                  <a:lnTo>
                    <a:pt x="3202" y="1456"/>
                  </a:lnTo>
                  <a:lnTo>
                    <a:pt x="3201" y="1457"/>
                  </a:lnTo>
                  <a:lnTo>
                    <a:pt x="3197" y="1469"/>
                  </a:lnTo>
                  <a:lnTo>
                    <a:pt x="3180" y="1493"/>
                  </a:lnTo>
                  <a:lnTo>
                    <a:pt x="3168" y="1509"/>
                  </a:lnTo>
                  <a:lnTo>
                    <a:pt x="3165" y="1524"/>
                  </a:lnTo>
                  <a:lnTo>
                    <a:pt x="3160" y="1531"/>
                  </a:lnTo>
                  <a:lnTo>
                    <a:pt x="3162" y="1534"/>
                  </a:lnTo>
                  <a:lnTo>
                    <a:pt x="3158" y="1537"/>
                  </a:lnTo>
                  <a:lnTo>
                    <a:pt x="3152" y="1542"/>
                  </a:lnTo>
                  <a:lnTo>
                    <a:pt x="3131" y="1567"/>
                  </a:lnTo>
                  <a:lnTo>
                    <a:pt x="3127" y="1577"/>
                  </a:lnTo>
                  <a:lnTo>
                    <a:pt x="3123" y="1581"/>
                  </a:lnTo>
                  <a:lnTo>
                    <a:pt x="3124" y="1585"/>
                  </a:lnTo>
                  <a:lnTo>
                    <a:pt x="3122" y="1590"/>
                  </a:lnTo>
                  <a:lnTo>
                    <a:pt x="3120" y="1598"/>
                  </a:lnTo>
                  <a:lnTo>
                    <a:pt x="3119" y="1602"/>
                  </a:lnTo>
                  <a:lnTo>
                    <a:pt x="3119" y="1604"/>
                  </a:lnTo>
                  <a:lnTo>
                    <a:pt x="3120" y="1604"/>
                  </a:lnTo>
                  <a:lnTo>
                    <a:pt x="3120" y="1607"/>
                  </a:lnTo>
                  <a:lnTo>
                    <a:pt x="3120" y="1611"/>
                  </a:lnTo>
                  <a:lnTo>
                    <a:pt x="3115" y="1621"/>
                  </a:lnTo>
                  <a:lnTo>
                    <a:pt x="3116" y="1631"/>
                  </a:lnTo>
                  <a:lnTo>
                    <a:pt x="3115" y="1631"/>
                  </a:lnTo>
                  <a:lnTo>
                    <a:pt x="3117" y="1635"/>
                  </a:lnTo>
                  <a:lnTo>
                    <a:pt x="3110" y="1647"/>
                  </a:lnTo>
                  <a:lnTo>
                    <a:pt x="3101" y="1654"/>
                  </a:lnTo>
                  <a:lnTo>
                    <a:pt x="3091" y="1669"/>
                  </a:lnTo>
                  <a:lnTo>
                    <a:pt x="3083" y="1680"/>
                  </a:lnTo>
                  <a:lnTo>
                    <a:pt x="3081" y="1682"/>
                  </a:lnTo>
                  <a:lnTo>
                    <a:pt x="3077" y="1688"/>
                  </a:lnTo>
                  <a:lnTo>
                    <a:pt x="3076" y="1686"/>
                  </a:lnTo>
                  <a:lnTo>
                    <a:pt x="3074" y="1684"/>
                  </a:lnTo>
                  <a:lnTo>
                    <a:pt x="3080" y="1680"/>
                  </a:lnTo>
                  <a:lnTo>
                    <a:pt x="3078" y="1679"/>
                  </a:lnTo>
                  <a:lnTo>
                    <a:pt x="3074" y="1679"/>
                  </a:lnTo>
                  <a:lnTo>
                    <a:pt x="3070" y="1676"/>
                  </a:lnTo>
                  <a:lnTo>
                    <a:pt x="3063" y="1680"/>
                  </a:lnTo>
                  <a:lnTo>
                    <a:pt x="3063" y="1685"/>
                  </a:lnTo>
                  <a:lnTo>
                    <a:pt x="3059" y="1685"/>
                  </a:lnTo>
                  <a:lnTo>
                    <a:pt x="3059" y="1686"/>
                  </a:lnTo>
                  <a:lnTo>
                    <a:pt x="3058" y="1692"/>
                  </a:lnTo>
                  <a:lnTo>
                    <a:pt x="3059" y="1692"/>
                  </a:lnTo>
                  <a:lnTo>
                    <a:pt x="3063" y="1694"/>
                  </a:lnTo>
                  <a:lnTo>
                    <a:pt x="3067" y="1692"/>
                  </a:lnTo>
                  <a:lnTo>
                    <a:pt x="3064" y="1698"/>
                  </a:lnTo>
                  <a:lnTo>
                    <a:pt x="3055" y="1702"/>
                  </a:lnTo>
                  <a:lnTo>
                    <a:pt x="3045" y="1709"/>
                  </a:lnTo>
                  <a:lnTo>
                    <a:pt x="3042" y="1715"/>
                  </a:lnTo>
                  <a:lnTo>
                    <a:pt x="3041" y="1719"/>
                  </a:lnTo>
                  <a:lnTo>
                    <a:pt x="3035" y="1718"/>
                  </a:lnTo>
                  <a:lnTo>
                    <a:pt x="3035" y="1721"/>
                  </a:lnTo>
                  <a:lnTo>
                    <a:pt x="3024" y="1725"/>
                  </a:lnTo>
                  <a:lnTo>
                    <a:pt x="3008" y="1736"/>
                  </a:lnTo>
                  <a:lnTo>
                    <a:pt x="2999" y="1744"/>
                  </a:lnTo>
                  <a:lnTo>
                    <a:pt x="2997" y="1750"/>
                  </a:lnTo>
                  <a:lnTo>
                    <a:pt x="2997" y="1754"/>
                  </a:lnTo>
                  <a:lnTo>
                    <a:pt x="2994" y="1760"/>
                  </a:lnTo>
                  <a:lnTo>
                    <a:pt x="2977" y="1781"/>
                  </a:lnTo>
                  <a:lnTo>
                    <a:pt x="2973" y="1793"/>
                  </a:lnTo>
                  <a:lnTo>
                    <a:pt x="2966" y="1800"/>
                  </a:lnTo>
                  <a:lnTo>
                    <a:pt x="2958" y="1814"/>
                  </a:lnTo>
                  <a:lnTo>
                    <a:pt x="2958" y="1818"/>
                  </a:lnTo>
                  <a:lnTo>
                    <a:pt x="2950" y="1830"/>
                  </a:lnTo>
                  <a:lnTo>
                    <a:pt x="2937" y="1848"/>
                  </a:lnTo>
                  <a:lnTo>
                    <a:pt x="2919" y="1863"/>
                  </a:lnTo>
                  <a:lnTo>
                    <a:pt x="2913" y="1867"/>
                  </a:lnTo>
                  <a:lnTo>
                    <a:pt x="2908" y="1876"/>
                  </a:lnTo>
                  <a:lnTo>
                    <a:pt x="2905" y="1880"/>
                  </a:lnTo>
                  <a:lnTo>
                    <a:pt x="2878" y="1905"/>
                  </a:lnTo>
                  <a:lnTo>
                    <a:pt x="2869" y="1912"/>
                  </a:lnTo>
                  <a:lnTo>
                    <a:pt x="2855" y="1925"/>
                  </a:lnTo>
                  <a:lnTo>
                    <a:pt x="2848" y="1934"/>
                  </a:lnTo>
                  <a:lnTo>
                    <a:pt x="2846" y="1937"/>
                  </a:lnTo>
                  <a:lnTo>
                    <a:pt x="2837" y="1945"/>
                  </a:lnTo>
                  <a:lnTo>
                    <a:pt x="2824" y="1959"/>
                  </a:lnTo>
                  <a:lnTo>
                    <a:pt x="2804" y="1974"/>
                  </a:lnTo>
                  <a:lnTo>
                    <a:pt x="2785" y="1999"/>
                  </a:lnTo>
                  <a:lnTo>
                    <a:pt x="2785" y="2005"/>
                  </a:lnTo>
                  <a:lnTo>
                    <a:pt x="2781" y="2004"/>
                  </a:lnTo>
                  <a:lnTo>
                    <a:pt x="2763" y="2012"/>
                  </a:lnTo>
                  <a:lnTo>
                    <a:pt x="2756" y="2016"/>
                  </a:lnTo>
                  <a:lnTo>
                    <a:pt x="2754" y="2013"/>
                  </a:lnTo>
                  <a:lnTo>
                    <a:pt x="2757" y="2009"/>
                  </a:lnTo>
                  <a:lnTo>
                    <a:pt x="2771" y="2005"/>
                  </a:lnTo>
                  <a:lnTo>
                    <a:pt x="2773" y="2002"/>
                  </a:lnTo>
                  <a:lnTo>
                    <a:pt x="2773" y="1991"/>
                  </a:lnTo>
                  <a:lnTo>
                    <a:pt x="2771" y="1989"/>
                  </a:lnTo>
                  <a:lnTo>
                    <a:pt x="2768" y="2001"/>
                  </a:lnTo>
                  <a:lnTo>
                    <a:pt x="2763" y="2001"/>
                  </a:lnTo>
                  <a:lnTo>
                    <a:pt x="2759" y="2005"/>
                  </a:lnTo>
                  <a:lnTo>
                    <a:pt x="2756" y="2005"/>
                  </a:lnTo>
                  <a:lnTo>
                    <a:pt x="2750" y="2012"/>
                  </a:lnTo>
                  <a:lnTo>
                    <a:pt x="2750" y="2021"/>
                  </a:lnTo>
                  <a:lnTo>
                    <a:pt x="2753" y="2024"/>
                  </a:lnTo>
                  <a:lnTo>
                    <a:pt x="2757" y="2024"/>
                  </a:lnTo>
                  <a:lnTo>
                    <a:pt x="2752" y="2028"/>
                  </a:lnTo>
                  <a:lnTo>
                    <a:pt x="2745" y="2047"/>
                  </a:lnTo>
                  <a:lnTo>
                    <a:pt x="2739" y="2051"/>
                  </a:lnTo>
                  <a:lnTo>
                    <a:pt x="2727" y="2050"/>
                  </a:lnTo>
                  <a:lnTo>
                    <a:pt x="2717" y="2053"/>
                  </a:lnTo>
                  <a:lnTo>
                    <a:pt x="2710" y="2059"/>
                  </a:lnTo>
                  <a:lnTo>
                    <a:pt x="2707" y="2064"/>
                  </a:lnTo>
                  <a:lnTo>
                    <a:pt x="2706" y="2075"/>
                  </a:lnTo>
                  <a:lnTo>
                    <a:pt x="2709" y="2073"/>
                  </a:lnTo>
                  <a:lnTo>
                    <a:pt x="2715" y="2061"/>
                  </a:lnTo>
                  <a:lnTo>
                    <a:pt x="2721" y="2054"/>
                  </a:lnTo>
                  <a:lnTo>
                    <a:pt x="2739" y="2057"/>
                  </a:lnTo>
                  <a:lnTo>
                    <a:pt x="2748" y="2057"/>
                  </a:lnTo>
                  <a:lnTo>
                    <a:pt x="2752" y="2051"/>
                  </a:lnTo>
                  <a:lnTo>
                    <a:pt x="2756" y="2046"/>
                  </a:lnTo>
                  <a:lnTo>
                    <a:pt x="2762" y="2041"/>
                  </a:lnTo>
                  <a:lnTo>
                    <a:pt x="2762" y="2030"/>
                  </a:lnTo>
                  <a:lnTo>
                    <a:pt x="2764" y="2028"/>
                  </a:lnTo>
                  <a:lnTo>
                    <a:pt x="2765" y="2028"/>
                  </a:lnTo>
                  <a:lnTo>
                    <a:pt x="2767" y="2032"/>
                  </a:lnTo>
                  <a:lnTo>
                    <a:pt x="2764" y="2045"/>
                  </a:lnTo>
                  <a:lnTo>
                    <a:pt x="2764" y="2053"/>
                  </a:lnTo>
                  <a:lnTo>
                    <a:pt x="2749" y="2073"/>
                  </a:lnTo>
                  <a:lnTo>
                    <a:pt x="2742" y="2087"/>
                  </a:lnTo>
                  <a:lnTo>
                    <a:pt x="2742" y="2089"/>
                  </a:lnTo>
                  <a:lnTo>
                    <a:pt x="2743" y="2091"/>
                  </a:lnTo>
                  <a:lnTo>
                    <a:pt x="2737" y="2101"/>
                  </a:lnTo>
                  <a:lnTo>
                    <a:pt x="2735" y="2106"/>
                  </a:lnTo>
                  <a:lnTo>
                    <a:pt x="2735" y="2108"/>
                  </a:lnTo>
                  <a:lnTo>
                    <a:pt x="2738" y="2108"/>
                  </a:lnTo>
                  <a:lnTo>
                    <a:pt x="2739" y="2109"/>
                  </a:lnTo>
                  <a:lnTo>
                    <a:pt x="2739" y="2113"/>
                  </a:lnTo>
                  <a:lnTo>
                    <a:pt x="2731" y="2120"/>
                  </a:lnTo>
                  <a:lnTo>
                    <a:pt x="2715" y="2143"/>
                  </a:lnTo>
                  <a:lnTo>
                    <a:pt x="2706" y="2150"/>
                  </a:lnTo>
                  <a:lnTo>
                    <a:pt x="2702" y="2151"/>
                  </a:lnTo>
                  <a:lnTo>
                    <a:pt x="2696" y="2157"/>
                  </a:lnTo>
                  <a:lnTo>
                    <a:pt x="2684" y="2183"/>
                  </a:lnTo>
                  <a:lnTo>
                    <a:pt x="2682" y="2191"/>
                  </a:lnTo>
                  <a:lnTo>
                    <a:pt x="2677" y="2203"/>
                  </a:lnTo>
                  <a:lnTo>
                    <a:pt x="2656" y="2218"/>
                  </a:lnTo>
                  <a:lnTo>
                    <a:pt x="2646" y="2228"/>
                  </a:lnTo>
                  <a:lnTo>
                    <a:pt x="2638" y="2237"/>
                  </a:lnTo>
                  <a:lnTo>
                    <a:pt x="2624" y="2248"/>
                  </a:lnTo>
                  <a:lnTo>
                    <a:pt x="2607" y="2246"/>
                  </a:lnTo>
                  <a:lnTo>
                    <a:pt x="2589" y="2250"/>
                  </a:lnTo>
                  <a:lnTo>
                    <a:pt x="2586" y="2248"/>
                  </a:lnTo>
                  <a:lnTo>
                    <a:pt x="2588" y="2248"/>
                  </a:lnTo>
                  <a:lnTo>
                    <a:pt x="2586" y="2248"/>
                  </a:lnTo>
                  <a:lnTo>
                    <a:pt x="2584" y="2250"/>
                  </a:lnTo>
                  <a:lnTo>
                    <a:pt x="2579" y="2250"/>
                  </a:lnTo>
                  <a:lnTo>
                    <a:pt x="2576" y="2246"/>
                  </a:lnTo>
                  <a:lnTo>
                    <a:pt x="2578" y="2241"/>
                  </a:lnTo>
                  <a:lnTo>
                    <a:pt x="2576" y="2241"/>
                  </a:lnTo>
                  <a:lnTo>
                    <a:pt x="2578" y="2240"/>
                  </a:lnTo>
                  <a:lnTo>
                    <a:pt x="2576" y="2237"/>
                  </a:lnTo>
                  <a:lnTo>
                    <a:pt x="2564" y="2218"/>
                  </a:lnTo>
                  <a:lnTo>
                    <a:pt x="2564" y="2213"/>
                  </a:lnTo>
                  <a:lnTo>
                    <a:pt x="2570" y="2207"/>
                  </a:lnTo>
                  <a:lnTo>
                    <a:pt x="2575" y="2207"/>
                  </a:lnTo>
                  <a:lnTo>
                    <a:pt x="2576" y="2203"/>
                  </a:lnTo>
                  <a:lnTo>
                    <a:pt x="2572" y="2193"/>
                  </a:lnTo>
                  <a:lnTo>
                    <a:pt x="2568" y="2195"/>
                  </a:lnTo>
                  <a:lnTo>
                    <a:pt x="2567" y="2196"/>
                  </a:lnTo>
                  <a:lnTo>
                    <a:pt x="2564" y="2196"/>
                  </a:lnTo>
                  <a:lnTo>
                    <a:pt x="2564" y="2199"/>
                  </a:lnTo>
                  <a:lnTo>
                    <a:pt x="2560" y="2202"/>
                  </a:lnTo>
                  <a:lnTo>
                    <a:pt x="2561" y="2211"/>
                  </a:lnTo>
                  <a:lnTo>
                    <a:pt x="2556" y="2215"/>
                  </a:lnTo>
                  <a:lnTo>
                    <a:pt x="2558" y="2221"/>
                  </a:lnTo>
                  <a:lnTo>
                    <a:pt x="2560" y="2225"/>
                  </a:lnTo>
                  <a:lnTo>
                    <a:pt x="2564" y="2229"/>
                  </a:lnTo>
                  <a:lnTo>
                    <a:pt x="2565" y="2229"/>
                  </a:lnTo>
                  <a:lnTo>
                    <a:pt x="2565" y="2244"/>
                  </a:lnTo>
                  <a:lnTo>
                    <a:pt x="2563" y="2246"/>
                  </a:lnTo>
                  <a:lnTo>
                    <a:pt x="2558" y="2246"/>
                  </a:lnTo>
                  <a:lnTo>
                    <a:pt x="2546" y="2241"/>
                  </a:lnTo>
                  <a:lnTo>
                    <a:pt x="2542" y="2241"/>
                  </a:lnTo>
                  <a:lnTo>
                    <a:pt x="2546" y="2252"/>
                  </a:lnTo>
                  <a:lnTo>
                    <a:pt x="2544" y="2252"/>
                  </a:lnTo>
                  <a:lnTo>
                    <a:pt x="2543" y="2260"/>
                  </a:lnTo>
                  <a:lnTo>
                    <a:pt x="2539" y="2263"/>
                  </a:lnTo>
                  <a:lnTo>
                    <a:pt x="2535" y="2263"/>
                  </a:lnTo>
                  <a:lnTo>
                    <a:pt x="2526" y="2268"/>
                  </a:lnTo>
                  <a:lnTo>
                    <a:pt x="2519" y="2268"/>
                  </a:lnTo>
                  <a:lnTo>
                    <a:pt x="2507" y="2274"/>
                  </a:lnTo>
                  <a:lnTo>
                    <a:pt x="2501" y="2273"/>
                  </a:lnTo>
                  <a:lnTo>
                    <a:pt x="2496" y="2278"/>
                  </a:lnTo>
                  <a:lnTo>
                    <a:pt x="2480" y="2281"/>
                  </a:lnTo>
                  <a:lnTo>
                    <a:pt x="2476" y="2278"/>
                  </a:lnTo>
                  <a:lnTo>
                    <a:pt x="2469" y="2268"/>
                  </a:lnTo>
                  <a:lnTo>
                    <a:pt x="2465" y="2266"/>
                  </a:lnTo>
                  <a:lnTo>
                    <a:pt x="2464" y="2262"/>
                  </a:lnTo>
                  <a:lnTo>
                    <a:pt x="2458" y="2260"/>
                  </a:lnTo>
                  <a:lnTo>
                    <a:pt x="2460" y="2266"/>
                  </a:lnTo>
                  <a:lnTo>
                    <a:pt x="2468" y="2270"/>
                  </a:lnTo>
                  <a:lnTo>
                    <a:pt x="2474" y="2282"/>
                  </a:lnTo>
                  <a:lnTo>
                    <a:pt x="2478" y="2286"/>
                  </a:lnTo>
                  <a:lnTo>
                    <a:pt x="2485" y="2286"/>
                  </a:lnTo>
                  <a:lnTo>
                    <a:pt x="2493" y="2286"/>
                  </a:lnTo>
                  <a:lnTo>
                    <a:pt x="2503" y="2282"/>
                  </a:lnTo>
                  <a:lnTo>
                    <a:pt x="2494" y="2293"/>
                  </a:lnTo>
                  <a:lnTo>
                    <a:pt x="2486" y="2293"/>
                  </a:lnTo>
                  <a:lnTo>
                    <a:pt x="2485" y="2297"/>
                  </a:lnTo>
                  <a:lnTo>
                    <a:pt x="2480" y="2299"/>
                  </a:lnTo>
                  <a:lnTo>
                    <a:pt x="2474" y="2311"/>
                  </a:lnTo>
                  <a:lnTo>
                    <a:pt x="2476" y="2312"/>
                  </a:lnTo>
                  <a:lnTo>
                    <a:pt x="2479" y="2307"/>
                  </a:lnTo>
                  <a:lnTo>
                    <a:pt x="2486" y="2323"/>
                  </a:lnTo>
                  <a:lnTo>
                    <a:pt x="2486" y="2335"/>
                  </a:lnTo>
                  <a:lnTo>
                    <a:pt x="2489" y="2341"/>
                  </a:lnTo>
                  <a:lnTo>
                    <a:pt x="2489" y="2345"/>
                  </a:lnTo>
                  <a:lnTo>
                    <a:pt x="2493" y="2352"/>
                  </a:lnTo>
                  <a:lnTo>
                    <a:pt x="2499" y="2356"/>
                  </a:lnTo>
                  <a:lnTo>
                    <a:pt x="2499" y="2357"/>
                  </a:lnTo>
                  <a:lnTo>
                    <a:pt x="2504" y="2360"/>
                  </a:lnTo>
                  <a:lnTo>
                    <a:pt x="2508" y="2368"/>
                  </a:lnTo>
                  <a:lnTo>
                    <a:pt x="2514" y="2372"/>
                  </a:lnTo>
                  <a:lnTo>
                    <a:pt x="2514" y="2376"/>
                  </a:lnTo>
                  <a:lnTo>
                    <a:pt x="2515" y="2379"/>
                  </a:lnTo>
                  <a:lnTo>
                    <a:pt x="2504" y="2382"/>
                  </a:lnTo>
                  <a:lnTo>
                    <a:pt x="2497" y="2386"/>
                  </a:lnTo>
                  <a:lnTo>
                    <a:pt x="2501" y="2386"/>
                  </a:lnTo>
                  <a:lnTo>
                    <a:pt x="2507" y="2384"/>
                  </a:lnTo>
                  <a:lnTo>
                    <a:pt x="2519" y="2384"/>
                  </a:lnTo>
                  <a:lnTo>
                    <a:pt x="2521" y="2386"/>
                  </a:lnTo>
                  <a:lnTo>
                    <a:pt x="2521" y="2389"/>
                  </a:lnTo>
                  <a:lnTo>
                    <a:pt x="2525" y="2389"/>
                  </a:lnTo>
                  <a:lnTo>
                    <a:pt x="2532" y="2397"/>
                  </a:lnTo>
                  <a:lnTo>
                    <a:pt x="2530" y="2398"/>
                  </a:lnTo>
                  <a:lnTo>
                    <a:pt x="2533" y="2401"/>
                  </a:lnTo>
                  <a:lnTo>
                    <a:pt x="2538" y="2402"/>
                  </a:lnTo>
                  <a:lnTo>
                    <a:pt x="2544" y="2401"/>
                  </a:lnTo>
                  <a:lnTo>
                    <a:pt x="2547" y="2402"/>
                  </a:lnTo>
                  <a:lnTo>
                    <a:pt x="2546" y="2406"/>
                  </a:lnTo>
                  <a:lnTo>
                    <a:pt x="2540" y="2409"/>
                  </a:lnTo>
                  <a:lnTo>
                    <a:pt x="2499" y="2424"/>
                  </a:lnTo>
                  <a:lnTo>
                    <a:pt x="2494" y="2428"/>
                  </a:lnTo>
                  <a:lnTo>
                    <a:pt x="2491" y="2434"/>
                  </a:lnTo>
                  <a:lnTo>
                    <a:pt x="2490" y="2432"/>
                  </a:lnTo>
                  <a:lnTo>
                    <a:pt x="2489" y="2431"/>
                  </a:lnTo>
                  <a:lnTo>
                    <a:pt x="2482" y="2432"/>
                  </a:lnTo>
                  <a:lnTo>
                    <a:pt x="2479" y="2435"/>
                  </a:lnTo>
                  <a:lnTo>
                    <a:pt x="2472" y="2439"/>
                  </a:lnTo>
                  <a:lnTo>
                    <a:pt x="2474" y="2441"/>
                  </a:lnTo>
                  <a:lnTo>
                    <a:pt x="2476" y="2441"/>
                  </a:lnTo>
                  <a:lnTo>
                    <a:pt x="2483" y="2435"/>
                  </a:lnTo>
                  <a:lnTo>
                    <a:pt x="2488" y="2434"/>
                  </a:lnTo>
                  <a:lnTo>
                    <a:pt x="2489" y="2439"/>
                  </a:lnTo>
                  <a:lnTo>
                    <a:pt x="2482" y="2446"/>
                  </a:lnTo>
                  <a:lnTo>
                    <a:pt x="2438" y="2468"/>
                  </a:lnTo>
                  <a:lnTo>
                    <a:pt x="2429" y="2473"/>
                  </a:lnTo>
                  <a:lnTo>
                    <a:pt x="2428" y="2473"/>
                  </a:lnTo>
                  <a:lnTo>
                    <a:pt x="2430" y="2469"/>
                  </a:lnTo>
                  <a:lnTo>
                    <a:pt x="2429" y="2465"/>
                  </a:lnTo>
                  <a:lnTo>
                    <a:pt x="2426" y="2465"/>
                  </a:lnTo>
                  <a:lnTo>
                    <a:pt x="2424" y="2473"/>
                  </a:lnTo>
                  <a:lnTo>
                    <a:pt x="2426" y="2473"/>
                  </a:lnTo>
                  <a:lnTo>
                    <a:pt x="2426" y="2477"/>
                  </a:lnTo>
                  <a:lnTo>
                    <a:pt x="2400" y="2496"/>
                  </a:lnTo>
                  <a:lnTo>
                    <a:pt x="2390" y="2499"/>
                  </a:lnTo>
                  <a:lnTo>
                    <a:pt x="2369" y="2509"/>
                  </a:lnTo>
                  <a:lnTo>
                    <a:pt x="2361" y="2514"/>
                  </a:lnTo>
                  <a:lnTo>
                    <a:pt x="2358" y="2516"/>
                  </a:lnTo>
                  <a:lnTo>
                    <a:pt x="2354" y="2522"/>
                  </a:lnTo>
                  <a:lnTo>
                    <a:pt x="2341" y="2533"/>
                  </a:lnTo>
                  <a:lnTo>
                    <a:pt x="2322" y="2540"/>
                  </a:lnTo>
                  <a:lnTo>
                    <a:pt x="2305" y="2547"/>
                  </a:lnTo>
                  <a:lnTo>
                    <a:pt x="2294" y="2551"/>
                  </a:lnTo>
                  <a:lnTo>
                    <a:pt x="2290" y="2555"/>
                  </a:lnTo>
                  <a:lnTo>
                    <a:pt x="2289" y="2563"/>
                  </a:lnTo>
                  <a:lnTo>
                    <a:pt x="2286" y="2566"/>
                  </a:lnTo>
                  <a:lnTo>
                    <a:pt x="2283" y="2571"/>
                  </a:lnTo>
                  <a:lnTo>
                    <a:pt x="2276" y="2576"/>
                  </a:lnTo>
                  <a:lnTo>
                    <a:pt x="2229" y="2603"/>
                  </a:lnTo>
                  <a:lnTo>
                    <a:pt x="2187" y="2625"/>
                  </a:lnTo>
                  <a:lnTo>
                    <a:pt x="2125" y="2651"/>
                  </a:lnTo>
                  <a:lnTo>
                    <a:pt x="2116" y="2655"/>
                  </a:lnTo>
                  <a:lnTo>
                    <a:pt x="2109" y="2663"/>
                  </a:lnTo>
                  <a:lnTo>
                    <a:pt x="2093" y="2675"/>
                  </a:lnTo>
                  <a:lnTo>
                    <a:pt x="2094" y="2679"/>
                  </a:lnTo>
                  <a:lnTo>
                    <a:pt x="2090" y="2675"/>
                  </a:lnTo>
                  <a:lnTo>
                    <a:pt x="2087" y="2675"/>
                  </a:lnTo>
                  <a:lnTo>
                    <a:pt x="2087" y="2673"/>
                  </a:lnTo>
                  <a:lnTo>
                    <a:pt x="2086" y="2671"/>
                  </a:lnTo>
                  <a:lnTo>
                    <a:pt x="2076" y="2675"/>
                  </a:lnTo>
                  <a:lnTo>
                    <a:pt x="2065" y="2675"/>
                  </a:lnTo>
                  <a:lnTo>
                    <a:pt x="2062" y="2673"/>
                  </a:lnTo>
                  <a:lnTo>
                    <a:pt x="2051" y="2656"/>
                  </a:lnTo>
                  <a:lnTo>
                    <a:pt x="2051" y="2648"/>
                  </a:lnTo>
                  <a:lnTo>
                    <a:pt x="2054" y="2646"/>
                  </a:lnTo>
                  <a:lnTo>
                    <a:pt x="2054" y="2642"/>
                  </a:lnTo>
                  <a:lnTo>
                    <a:pt x="2044" y="2622"/>
                  </a:lnTo>
                  <a:lnTo>
                    <a:pt x="2044" y="2611"/>
                  </a:lnTo>
                  <a:lnTo>
                    <a:pt x="2043" y="2611"/>
                  </a:lnTo>
                  <a:lnTo>
                    <a:pt x="2040" y="2615"/>
                  </a:lnTo>
                  <a:lnTo>
                    <a:pt x="2040" y="2620"/>
                  </a:lnTo>
                  <a:lnTo>
                    <a:pt x="2040" y="2626"/>
                  </a:lnTo>
                  <a:lnTo>
                    <a:pt x="2044" y="2634"/>
                  </a:lnTo>
                  <a:lnTo>
                    <a:pt x="2044" y="2652"/>
                  </a:lnTo>
                  <a:lnTo>
                    <a:pt x="2045" y="2660"/>
                  </a:lnTo>
                  <a:lnTo>
                    <a:pt x="2050" y="2667"/>
                  </a:lnTo>
                  <a:lnTo>
                    <a:pt x="2047" y="2670"/>
                  </a:lnTo>
                  <a:lnTo>
                    <a:pt x="2044" y="2671"/>
                  </a:lnTo>
                  <a:lnTo>
                    <a:pt x="2026" y="2668"/>
                  </a:lnTo>
                  <a:lnTo>
                    <a:pt x="2023" y="2671"/>
                  </a:lnTo>
                  <a:lnTo>
                    <a:pt x="2030" y="2675"/>
                  </a:lnTo>
                  <a:lnTo>
                    <a:pt x="2037" y="2679"/>
                  </a:lnTo>
                  <a:lnTo>
                    <a:pt x="2039" y="2683"/>
                  </a:lnTo>
                  <a:lnTo>
                    <a:pt x="2051" y="2683"/>
                  </a:lnTo>
                  <a:lnTo>
                    <a:pt x="2056" y="2690"/>
                  </a:lnTo>
                  <a:lnTo>
                    <a:pt x="2062" y="2687"/>
                  </a:lnTo>
                  <a:lnTo>
                    <a:pt x="2064" y="2687"/>
                  </a:lnTo>
                  <a:lnTo>
                    <a:pt x="2066" y="2683"/>
                  </a:lnTo>
                  <a:lnTo>
                    <a:pt x="2072" y="2685"/>
                  </a:lnTo>
                  <a:lnTo>
                    <a:pt x="2062" y="2693"/>
                  </a:lnTo>
                  <a:lnTo>
                    <a:pt x="2041" y="2705"/>
                  </a:lnTo>
                  <a:lnTo>
                    <a:pt x="2001" y="2732"/>
                  </a:lnTo>
                  <a:lnTo>
                    <a:pt x="1981" y="2754"/>
                  </a:lnTo>
                  <a:lnTo>
                    <a:pt x="1967" y="2772"/>
                  </a:lnTo>
                  <a:lnTo>
                    <a:pt x="1967" y="2776"/>
                  </a:lnTo>
                  <a:lnTo>
                    <a:pt x="1966" y="2776"/>
                  </a:lnTo>
                  <a:lnTo>
                    <a:pt x="1966" y="2772"/>
                  </a:lnTo>
                  <a:lnTo>
                    <a:pt x="1965" y="2763"/>
                  </a:lnTo>
                  <a:lnTo>
                    <a:pt x="1959" y="2757"/>
                  </a:lnTo>
                  <a:lnTo>
                    <a:pt x="1958" y="2746"/>
                  </a:lnTo>
                  <a:lnTo>
                    <a:pt x="1956" y="2742"/>
                  </a:lnTo>
                  <a:lnTo>
                    <a:pt x="1956" y="2738"/>
                  </a:lnTo>
                  <a:lnTo>
                    <a:pt x="1960" y="2735"/>
                  </a:lnTo>
                  <a:lnTo>
                    <a:pt x="1962" y="2732"/>
                  </a:lnTo>
                  <a:lnTo>
                    <a:pt x="1963" y="2726"/>
                  </a:lnTo>
                  <a:lnTo>
                    <a:pt x="1962" y="2724"/>
                  </a:lnTo>
                  <a:lnTo>
                    <a:pt x="1951" y="2715"/>
                  </a:lnTo>
                  <a:lnTo>
                    <a:pt x="1948" y="2713"/>
                  </a:lnTo>
                  <a:lnTo>
                    <a:pt x="1946" y="2708"/>
                  </a:lnTo>
                  <a:lnTo>
                    <a:pt x="1946" y="2701"/>
                  </a:lnTo>
                  <a:lnTo>
                    <a:pt x="1942" y="2690"/>
                  </a:lnTo>
                  <a:lnTo>
                    <a:pt x="1935" y="2689"/>
                  </a:lnTo>
                  <a:lnTo>
                    <a:pt x="1934" y="2683"/>
                  </a:lnTo>
                  <a:lnTo>
                    <a:pt x="1929" y="2685"/>
                  </a:lnTo>
                  <a:lnTo>
                    <a:pt x="1926" y="2681"/>
                  </a:lnTo>
                  <a:lnTo>
                    <a:pt x="1921" y="2681"/>
                  </a:lnTo>
                  <a:lnTo>
                    <a:pt x="1919" y="2675"/>
                  </a:lnTo>
                  <a:lnTo>
                    <a:pt x="1916" y="2673"/>
                  </a:lnTo>
                  <a:lnTo>
                    <a:pt x="1915" y="2668"/>
                  </a:lnTo>
                  <a:lnTo>
                    <a:pt x="1912" y="2663"/>
                  </a:lnTo>
                  <a:lnTo>
                    <a:pt x="1913" y="2656"/>
                  </a:lnTo>
                  <a:lnTo>
                    <a:pt x="1912" y="2652"/>
                  </a:lnTo>
                  <a:lnTo>
                    <a:pt x="1912" y="2648"/>
                  </a:lnTo>
                  <a:lnTo>
                    <a:pt x="1910" y="2646"/>
                  </a:lnTo>
                  <a:lnTo>
                    <a:pt x="1910" y="2645"/>
                  </a:lnTo>
                  <a:lnTo>
                    <a:pt x="1904" y="2638"/>
                  </a:lnTo>
                  <a:lnTo>
                    <a:pt x="1899" y="2638"/>
                  </a:lnTo>
                  <a:lnTo>
                    <a:pt x="1894" y="2630"/>
                  </a:lnTo>
                  <a:lnTo>
                    <a:pt x="1890" y="2628"/>
                  </a:lnTo>
                  <a:lnTo>
                    <a:pt x="1891" y="2622"/>
                  </a:lnTo>
                  <a:lnTo>
                    <a:pt x="1890" y="2618"/>
                  </a:lnTo>
                  <a:lnTo>
                    <a:pt x="1892" y="2610"/>
                  </a:lnTo>
                  <a:lnTo>
                    <a:pt x="1890" y="2600"/>
                  </a:lnTo>
                  <a:lnTo>
                    <a:pt x="1890" y="2593"/>
                  </a:lnTo>
                  <a:lnTo>
                    <a:pt x="1885" y="2592"/>
                  </a:lnTo>
                  <a:lnTo>
                    <a:pt x="1884" y="2588"/>
                  </a:lnTo>
                  <a:lnTo>
                    <a:pt x="1882" y="2585"/>
                  </a:lnTo>
                  <a:lnTo>
                    <a:pt x="1880" y="2585"/>
                  </a:lnTo>
                  <a:lnTo>
                    <a:pt x="1874" y="2584"/>
                  </a:lnTo>
                  <a:lnTo>
                    <a:pt x="1870" y="2580"/>
                  </a:lnTo>
                  <a:lnTo>
                    <a:pt x="1867" y="2581"/>
                  </a:lnTo>
                  <a:lnTo>
                    <a:pt x="1863" y="2581"/>
                  </a:lnTo>
                  <a:lnTo>
                    <a:pt x="1862" y="2577"/>
                  </a:lnTo>
                  <a:lnTo>
                    <a:pt x="1859" y="2580"/>
                  </a:lnTo>
                  <a:lnTo>
                    <a:pt x="1856" y="2577"/>
                  </a:lnTo>
                  <a:lnTo>
                    <a:pt x="1855" y="2577"/>
                  </a:lnTo>
                  <a:lnTo>
                    <a:pt x="1851" y="2575"/>
                  </a:lnTo>
                  <a:lnTo>
                    <a:pt x="1851" y="2571"/>
                  </a:lnTo>
                  <a:lnTo>
                    <a:pt x="1845" y="2569"/>
                  </a:lnTo>
                  <a:lnTo>
                    <a:pt x="1845" y="2563"/>
                  </a:lnTo>
                  <a:lnTo>
                    <a:pt x="1842" y="2561"/>
                  </a:lnTo>
                  <a:lnTo>
                    <a:pt x="1841" y="2559"/>
                  </a:lnTo>
                  <a:lnTo>
                    <a:pt x="1844" y="2553"/>
                  </a:lnTo>
                  <a:lnTo>
                    <a:pt x="1841" y="2544"/>
                  </a:lnTo>
                  <a:lnTo>
                    <a:pt x="1844" y="2540"/>
                  </a:lnTo>
                  <a:lnTo>
                    <a:pt x="1845" y="2535"/>
                  </a:lnTo>
                  <a:lnTo>
                    <a:pt x="1851" y="2526"/>
                  </a:lnTo>
                  <a:lnTo>
                    <a:pt x="1849" y="2518"/>
                  </a:lnTo>
                  <a:lnTo>
                    <a:pt x="1851" y="2514"/>
                  </a:lnTo>
                  <a:lnTo>
                    <a:pt x="1849" y="2510"/>
                  </a:lnTo>
                  <a:lnTo>
                    <a:pt x="1854" y="2499"/>
                  </a:lnTo>
                  <a:lnTo>
                    <a:pt x="1851" y="2494"/>
                  </a:lnTo>
                  <a:lnTo>
                    <a:pt x="1852" y="2488"/>
                  </a:lnTo>
                  <a:lnTo>
                    <a:pt x="1860" y="2482"/>
                  </a:lnTo>
                  <a:lnTo>
                    <a:pt x="1863" y="2477"/>
                  </a:lnTo>
                  <a:lnTo>
                    <a:pt x="1867" y="2479"/>
                  </a:lnTo>
                  <a:lnTo>
                    <a:pt x="1869" y="2477"/>
                  </a:lnTo>
                  <a:lnTo>
                    <a:pt x="1873" y="2477"/>
                  </a:lnTo>
                  <a:lnTo>
                    <a:pt x="1876" y="2477"/>
                  </a:lnTo>
                  <a:lnTo>
                    <a:pt x="1884" y="2477"/>
                  </a:lnTo>
                  <a:lnTo>
                    <a:pt x="1885" y="2476"/>
                  </a:lnTo>
                  <a:lnTo>
                    <a:pt x="1885" y="2468"/>
                  </a:lnTo>
                  <a:lnTo>
                    <a:pt x="1880" y="2461"/>
                  </a:lnTo>
                  <a:lnTo>
                    <a:pt x="1877" y="2454"/>
                  </a:lnTo>
                  <a:lnTo>
                    <a:pt x="1870" y="2451"/>
                  </a:lnTo>
                  <a:lnTo>
                    <a:pt x="1869" y="2439"/>
                  </a:lnTo>
                  <a:lnTo>
                    <a:pt x="1873" y="2435"/>
                  </a:lnTo>
                  <a:lnTo>
                    <a:pt x="1873" y="2434"/>
                  </a:lnTo>
                  <a:lnTo>
                    <a:pt x="1881" y="2431"/>
                  </a:lnTo>
                  <a:lnTo>
                    <a:pt x="1885" y="2424"/>
                  </a:lnTo>
                  <a:lnTo>
                    <a:pt x="1884" y="2419"/>
                  </a:lnTo>
                  <a:lnTo>
                    <a:pt x="1887" y="2412"/>
                  </a:lnTo>
                  <a:lnTo>
                    <a:pt x="1885" y="2394"/>
                  </a:lnTo>
                  <a:lnTo>
                    <a:pt x="1884" y="2393"/>
                  </a:lnTo>
                  <a:lnTo>
                    <a:pt x="1876" y="2389"/>
                  </a:lnTo>
                  <a:lnTo>
                    <a:pt x="1874" y="2379"/>
                  </a:lnTo>
                  <a:lnTo>
                    <a:pt x="1863" y="2370"/>
                  </a:lnTo>
                  <a:lnTo>
                    <a:pt x="1863" y="2368"/>
                  </a:lnTo>
                  <a:lnTo>
                    <a:pt x="1866" y="2364"/>
                  </a:lnTo>
                  <a:lnTo>
                    <a:pt x="1866" y="2360"/>
                  </a:lnTo>
                  <a:lnTo>
                    <a:pt x="1865" y="2356"/>
                  </a:lnTo>
                  <a:lnTo>
                    <a:pt x="1860" y="2353"/>
                  </a:lnTo>
                  <a:lnTo>
                    <a:pt x="1860" y="2349"/>
                  </a:lnTo>
                  <a:lnTo>
                    <a:pt x="1855" y="2341"/>
                  </a:lnTo>
                  <a:lnTo>
                    <a:pt x="1855" y="2335"/>
                  </a:lnTo>
                  <a:lnTo>
                    <a:pt x="1854" y="2327"/>
                  </a:lnTo>
                  <a:lnTo>
                    <a:pt x="1859" y="2322"/>
                  </a:lnTo>
                  <a:lnTo>
                    <a:pt x="1857" y="2319"/>
                  </a:lnTo>
                  <a:lnTo>
                    <a:pt x="1856" y="2318"/>
                  </a:lnTo>
                  <a:lnTo>
                    <a:pt x="1845" y="2304"/>
                  </a:lnTo>
                  <a:lnTo>
                    <a:pt x="1846" y="2297"/>
                  </a:lnTo>
                  <a:lnTo>
                    <a:pt x="1846" y="2290"/>
                  </a:lnTo>
                  <a:lnTo>
                    <a:pt x="1838" y="2274"/>
                  </a:lnTo>
                  <a:lnTo>
                    <a:pt x="1837" y="2273"/>
                  </a:lnTo>
                  <a:lnTo>
                    <a:pt x="1831" y="2274"/>
                  </a:lnTo>
                  <a:lnTo>
                    <a:pt x="1820" y="2273"/>
                  </a:lnTo>
                  <a:lnTo>
                    <a:pt x="1807" y="2262"/>
                  </a:lnTo>
                  <a:lnTo>
                    <a:pt x="1807" y="2252"/>
                  </a:lnTo>
                  <a:lnTo>
                    <a:pt x="1801" y="2248"/>
                  </a:lnTo>
                  <a:lnTo>
                    <a:pt x="1799" y="2241"/>
                  </a:lnTo>
                  <a:lnTo>
                    <a:pt x="1799" y="2237"/>
                  </a:lnTo>
                  <a:lnTo>
                    <a:pt x="1796" y="2229"/>
                  </a:lnTo>
                  <a:lnTo>
                    <a:pt x="1788" y="2219"/>
                  </a:lnTo>
                  <a:lnTo>
                    <a:pt x="1788" y="2206"/>
                  </a:lnTo>
                  <a:lnTo>
                    <a:pt x="1785" y="2199"/>
                  </a:lnTo>
                  <a:lnTo>
                    <a:pt x="1785" y="2188"/>
                  </a:lnTo>
                  <a:lnTo>
                    <a:pt x="1788" y="2187"/>
                  </a:lnTo>
                  <a:lnTo>
                    <a:pt x="1792" y="2185"/>
                  </a:lnTo>
                  <a:lnTo>
                    <a:pt x="1794" y="2183"/>
                  </a:lnTo>
                  <a:lnTo>
                    <a:pt x="1787" y="2174"/>
                  </a:lnTo>
                  <a:lnTo>
                    <a:pt x="1785" y="2169"/>
                  </a:lnTo>
                  <a:lnTo>
                    <a:pt x="1787" y="2166"/>
                  </a:lnTo>
                  <a:lnTo>
                    <a:pt x="1791" y="2162"/>
                  </a:lnTo>
                  <a:lnTo>
                    <a:pt x="1798" y="2153"/>
                  </a:lnTo>
                  <a:lnTo>
                    <a:pt x="1805" y="2151"/>
                  </a:lnTo>
                  <a:lnTo>
                    <a:pt x="1806" y="2148"/>
                  </a:lnTo>
                  <a:lnTo>
                    <a:pt x="1805" y="2146"/>
                  </a:lnTo>
                  <a:lnTo>
                    <a:pt x="1799" y="2146"/>
                  </a:lnTo>
                  <a:lnTo>
                    <a:pt x="1798" y="2144"/>
                  </a:lnTo>
                  <a:lnTo>
                    <a:pt x="1795" y="2140"/>
                  </a:lnTo>
                  <a:lnTo>
                    <a:pt x="1794" y="2125"/>
                  </a:lnTo>
                  <a:lnTo>
                    <a:pt x="1791" y="2124"/>
                  </a:lnTo>
                  <a:lnTo>
                    <a:pt x="1788" y="2117"/>
                  </a:lnTo>
                  <a:lnTo>
                    <a:pt x="1784" y="2113"/>
                  </a:lnTo>
                  <a:lnTo>
                    <a:pt x="1781" y="2109"/>
                  </a:lnTo>
                  <a:lnTo>
                    <a:pt x="1781" y="2108"/>
                  </a:lnTo>
                  <a:lnTo>
                    <a:pt x="1787" y="2094"/>
                  </a:lnTo>
                  <a:lnTo>
                    <a:pt x="1787" y="2091"/>
                  </a:lnTo>
                  <a:lnTo>
                    <a:pt x="1785" y="2083"/>
                  </a:lnTo>
                  <a:lnTo>
                    <a:pt x="1777" y="2082"/>
                  </a:lnTo>
                  <a:lnTo>
                    <a:pt x="1776" y="2079"/>
                  </a:lnTo>
                  <a:lnTo>
                    <a:pt x="1769" y="2076"/>
                  </a:lnTo>
                  <a:lnTo>
                    <a:pt x="1771" y="2069"/>
                  </a:lnTo>
                  <a:lnTo>
                    <a:pt x="1770" y="2063"/>
                  </a:lnTo>
                  <a:lnTo>
                    <a:pt x="1769" y="2059"/>
                  </a:lnTo>
                  <a:lnTo>
                    <a:pt x="1749" y="2053"/>
                  </a:lnTo>
                  <a:lnTo>
                    <a:pt x="1749" y="2046"/>
                  </a:lnTo>
                  <a:lnTo>
                    <a:pt x="1751" y="2041"/>
                  </a:lnTo>
                  <a:lnTo>
                    <a:pt x="1748" y="2034"/>
                  </a:lnTo>
                  <a:lnTo>
                    <a:pt x="1749" y="2032"/>
                  </a:lnTo>
                  <a:lnTo>
                    <a:pt x="1752" y="2032"/>
                  </a:lnTo>
                  <a:lnTo>
                    <a:pt x="1753" y="2028"/>
                  </a:lnTo>
                  <a:lnTo>
                    <a:pt x="1751" y="2025"/>
                  </a:lnTo>
                  <a:lnTo>
                    <a:pt x="1752" y="2019"/>
                  </a:lnTo>
                  <a:lnTo>
                    <a:pt x="1751" y="2013"/>
                  </a:lnTo>
                  <a:lnTo>
                    <a:pt x="1752" y="2009"/>
                  </a:lnTo>
                  <a:lnTo>
                    <a:pt x="1752" y="2005"/>
                  </a:lnTo>
                  <a:lnTo>
                    <a:pt x="1746" y="2001"/>
                  </a:lnTo>
                  <a:lnTo>
                    <a:pt x="1742" y="1995"/>
                  </a:lnTo>
                  <a:lnTo>
                    <a:pt x="1737" y="1991"/>
                  </a:lnTo>
                  <a:lnTo>
                    <a:pt x="1730" y="1991"/>
                  </a:lnTo>
                  <a:lnTo>
                    <a:pt x="1728" y="1991"/>
                  </a:lnTo>
                  <a:lnTo>
                    <a:pt x="1727" y="1988"/>
                  </a:lnTo>
                  <a:lnTo>
                    <a:pt x="1730" y="1983"/>
                  </a:lnTo>
                  <a:lnTo>
                    <a:pt x="1730" y="1980"/>
                  </a:lnTo>
                  <a:lnTo>
                    <a:pt x="1732" y="1976"/>
                  </a:lnTo>
                  <a:lnTo>
                    <a:pt x="1732" y="1966"/>
                  </a:lnTo>
                  <a:lnTo>
                    <a:pt x="1730" y="1963"/>
                  </a:lnTo>
                  <a:lnTo>
                    <a:pt x="1723" y="1960"/>
                  </a:lnTo>
                  <a:lnTo>
                    <a:pt x="1713" y="1960"/>
                  </a:lnTo>
                  <a:lnTo>
                    <a:pt x="1710" y="1958"/>
                  </a:lnTo>
                  <a:lnTo>
                    <a:pt x="1709" y="1938"/>
                  </a:lnTo>
                  <a:lnTo>
                    <a:pt x="1709" y="1934"/>
                  </a:lnTo>
                  <a:lnTo>
                    <a:pt x="1707" y="1932"/>
                  </a:lnTo>
                  <a:lnTo>
                    <a:pt x="1710" y="1925"/>
                  </a:lnTo>
                  <a:lnTo>
                    <a:pt x="1710" y="1924"/>
                  </a:lnTo>
                  <a:lnTo>
                    <a:pt x="1702" y="1920"/>
                  </a:lnTo>
                  <a:lnTo>
                    <a:pt x="1696" y="1908"/>
                  </a:lnTo>
                  <a:lnTo>
                    <a:pt x="1697" y="1889"/>
                  </a:lnTo>
                  <a:lnTo>
                    <a:pt x="1691" y="1885"/>
                  </a:lnTo>
                  <a:lnTo>
                    <a:pt x="1685" y="1880"/>
                  </a:lnTo>
                  <a:lnTo>
                    <a:pt x="1685" y="1876"/>
                  </a:lnTo>
                  <a:lnTo>
                    <a:pt x="1681" y="1871"/>
                  </a:lnTo>
                  <a:lnTo>
                    <a:pt x="1681" y="1865"/>
                  </a:lnTo>
                  <a:lnTo>
                    <a:pt x="1680" y="1863"/>
                  </a:lnTo>
                  <a:lnTo>
                    <a:pt x="1675" y="1863"/>
                  </a:lnTo>
                  <a:lnTo>
                    <a:pt x="1667" y="1871"/>
                  </a:lnTo>
                  <a:lnTo>
                    <a:pt x="1659" y="1870"/>
                  </a:lnTo>
                  <a:lnTo>
                    <a:pt x="1653" y="1870"/>
                  </a:lnTo>
                  <a:lnTo>
                    <a:pt x="1649" y="1867"/>
                  </a:lnTo>
                  <a:lnTo>
                    <a:pt x="1644" y="1865"/>
                  </a:lnTo>
                  <a:lnTo>
                    <a:pt x="1644" y="1859"/>
                  </a:lnTo>
                  <a:lnTo>
                    <a:pt x="1641" y="1852"/>
                  </a:lnTo>
                  <a:lnTo>
                    <a:pt x="1634" y="1852"/>
                  </a:lnTo>
                  <a:lnTo>
                    <a:pt x="1631" y="1847"/>
                  </a:lnTo>
                  <a:lnTo>
                    <a:pt x="1622" y="1840"/>
                  </a:lnTo>
                  <a:lnTo>
                    <a:pt x="1616" y="1840"/>
                  </a:lnTo>
                  <a:lnTo>
                    <a:pt x="1610" y="1830"/>
                  </a:lnTo>
                  <a:lnTo>
                    <a:pt x="1610" y="1822"/>
                  </a:lnTo>
                  <a:lnTo>
                    <a:pt x="1607" y="1817"/>
                  </a:lnTo>
                  <a:lnTo>
                    <a:pt x="1609" y="1814"/>
                  </a:lnTo>
                  <a:lnTo>
                    <a:pt x="1606" y="1805"/>
                  </a:lnTo>
                  <a:lnTo>
                    <a:pt x="1603" y="1802"/>
                  </a:lnTo>
                  <a:lnTo>
                    <a:pt x="1599" y="1793"/>
                  </a:lnTo>
                  <a:lnTo>
                    <a:pt x="1588" y="1792"/>
                  </a:lnTo>
                  <a:lnTo>
                    <a:pt x="1582" y="1795"/>
                  </a:lnTo>
                  <a:lnTo>
                    <a:pt x="1570" y="1796"/>
                  </a:lnTo>
                  <a:lnTo>
                    <a:pt x="1559" y="1796"/>
                  </a:lnTo>
                  <a:lnTo>
                    <a:pt x="1549" y="1793"/>
                  </a:lnTo>
                  <a:lnTo>
                    <a:pt x="1546" y="1789"/>
                  </a:lnTo>
                  <a:lnTo>
                    <a:pt x="1535" y="1792"/>
                  </a:lnTo>
                  <a:lnTo>
                    <a:pt x="1531" y="1792"/>
                  </a:lnTo>
                  <a:lnTo>
                    <a:pt x="1528" y="1790"/>
                  </a:lnTo>
                  <a:lnTo>
                    <a:pt x="1525" y="1786"/>
                  </a:lnTo>
                  <a:lnTo>
                    <a:pt x="1524" y="1783"/>
                  </a:lnTo>
                  <a:lnTo>
                    <a:pt x="1520" y="1783"/>
                  </a:lnTo>
                  <a:lnTo>
                    <a:pt x="1520" y="1780"/>
                  </a:lnTo>
                  <a:lnTo>
                    <a:pt x="1517" y="1777"/>
                  </a:lnTo>
                  <a:lnTo>
                    <a:pt x="1511" y="1773"/>
                  </a:lnTo>
                  <a:lnTo>
                    <a:pt x="1507" y="1773"/>
                  </a:lnTo>
                  <a:lnTo>
                    <a:pt x="1505" y="1772"/>
                  </a:lnTo>
                  <a:lnTo>
                    <a:pt x="1499" y="1765"/>
                  </a:lnTo>
                  <a:lnTo>
                    <a:pt x="1495" y="1760"/>
                  </a:lnTo>
                  <a:lnTo>
                    <a:pt x="1485" y="1747"/>
                  </a:lnTo>
                  <a:lnTo>
                    <a:pt x="1479" y="1743"/>
                  </a:lnTo>
                  <a:lnTo>
                    <a:pt x="1478" y="1733"/>
                  </a:lnTo>
                  <a:lnTo>
                    <a:pt x="1472" y="1725"/>
                  </a:lnTo>
                  <a:lnTo>
                    <a:pt x="1471" y="1723"/>
                  </a:lnTo>
                  <a:lnTo>
                    <a:pt x="1470" y="1723"/>
                  </a:lnTo>
                  <a:lnTo>
                    <a:pt x="1463" y="1715"/>
                  </a:lnTo>
                  <a:lnTo>
                    <a:pt x="1450" y="1706"/>
                  </a:lnTo>
                  <a:lnTo>
                    <a:pt x="1445" y="1706"/>
                  </a:lnTo>
                  <a:lnTo>
                    <a:pt x="1439" y="1708"/>
                  </a:lnTo>
                  <a:lnTo>
                    <a:pt x="1432" y="1708"/>
                  </a:lnTo>
                  <a:lnTo>
                    <a:pt x="1428" y="1705"/>
                  </a:lnTo>
                  <a:lnTo>
                    <a:pt x="1426" y="1698"/>
                  </a:lnTo>
                  <a:lnTo>
                    <a:pt x="1424" y="1697"/>
                  </a:lnTo>
                  <a:lnTo>
                    <a:pt x="1412" y="1696"/>
                  </a:lnTo>
                  <a:lnTo>
                    <a:pt x="1406" y="1689"/>
                  </a:lnTo>
                  <a:lnTo>
                    <a:pt x="1403" y="1686"/>
                  </a:lnTo>
                  <a:lnTo>
                    <a:pt x="1403" y="1676"/>
                  </a:lnTo>
                  <a:lnTo>
                    <a:pt x="1399" y="1672"/>
                  </a:lnTo>
                  <a:lnTo>
                    <a:pt x="1399" y="1665"/>
                  </a:lnTo>
                  <a:lnTo>
                    <a:pt x="1397" y="1663"/>
                  </a:lnTo>
                  <a:lnTo>
                    <a:pt x="1395" y="1661"/>
                  </a:lnTo>
                  <a:lnTo>
                    <a:pt x="1393" y="1657"/>
                  </a:lnTo>
                  <a:lnTo>
                    <a:pt x="1392" y="1656"/>
                  </a:lnTo>
                  <a:lnTo>
                    <a:pt x="1389" y="1654"/>
                  </a:lnTo>
                  <a:lnTo>
                    <a:pt x="1381" y="1657"/>
                  </a:lnTo>
                  <a:lnTo>
                    <a:pt x="1375" y="1656"/>
                  </a:lnTo>
                  <a:lnTo>
                    <a:pt x="1371" y="1656"/>
                  </a:lnTo>
                  <a:lnTo>
                    <a:pt x="1370" y="1654"/>
                  </a:lnTo>
                  <a:lnTo>
                    <a:pt x="1362" y="1644"/>
                  </a:lnTo>
                  <a:lnTo>
                    <a:pt x="1358" y="1644"/>
                  </a:lnTo>
                  <a:lnTo>
                    <a:pt x="1354" y="1636"/>
                  </a:lnTo>
                  <a:lnTo>
                    <a:pt x="1348" y="1631"/>
                  </a:lnTo>
                  <a:lnTo>
                    <a:pt x="1346" y="1630"/>
                  </a:lnTo>
                  <a:lnTo>
                    <a:pt x="1346" y="1624"/>
                  </a:lnTo>
                  <a:lnTo>
                    <a:pt x="1342" y="1621"/>
                  </a:lnTo>
                  <a:lnTo>
                    <a:pt x="1326" y="1622"/>
                  </a:lnTo>
                  <a:lnTo>
                    <a:pt x="1311" y="1621"/>
                  </a:lnTo>
                  <a:lnTo>
                    <a:pt x="1308" y="1618"/>
                  </a:lnTo>
                  <a:lnTo>
                    <a:pt x="1308" y="1611"/>
                  </a:lnTo>
                  <a:lnTo>
                    <a:pt x="1303" y="1609"/>
                  </a:lnTo>
                  <a:lnTo>
                    <a:pt x="1290" y="1614"/>
                  </a:lnTo>
                  <a:lnTo>
                    <a:pt x="1276" y="1617"/>
                  </a:lnTo>
                  <a:lnTo>
                    <a:pt x="1261" y="1611"/>
                  </a:lnTo>
                  <a:lnTo>
                    <a:pt x="1256" y="1602"/>
                  </a:lnTo>
                  <a:lnTo>
                    <a:pt x="1251" y="1601"/>
                  </a:lnTo>
                  <a:lnTo>
                    <a:pt x="1243" y="1609"/>
                  </a:lnTo>
                  <a:lnTo>
                    <a:pt x="1231" y="1614"/>
                  </a:lnTo>
                  <a:lnTo>
                    <a:pt x="1225" y="1612"/>
                  </a:lnTo>
                  <a:lnTo>
                    <a:pt x="1217" y="1609"/>
                  </a:lnTo>
                  <a:lnTo>
                    <a:pt x="1214" y="1605"/>
                  </a:lnTo>
                  <a:lnTo>
                    <a:pt x="1204" y="1604"/>
                  </a:lnTo>
                  <a:lnTo>
                    <a:pt x="1196" y="1596"/>
                  </a:lnTo>
                  <a:lnTo>
                    <a:pt x="1192" y="1593"/>
                  </a:lnTo>
                  <a:lnTo>
                    <a:pt x="1190" y="1586"/>
                  </a:lnTo>
                  <a:lnTo>
                    <a:pt x="1183" y="1579"/>
                  </a:lnTo>
                  <a:lnTo>
                    <a:pt x="1183" y="1573"/>
                  </a:lnTo>
                  <a:lnTo>
                    <a:pt x="1186" y="1572"/>
                  </a:lnTo>
                  <a:lnTo>
                    <a:pt x="1186" y="1569"/>
                  </a:lnTo>
                  <a:lnTo>
                    <a:pt x="1180" y="1564"/>
                  </a:lnTo>
                  <a:lnTo>
                    <a:pt x="1176" y="1565"/>
                  </a:lnTo>
                  <a:lnTo>
                    <a:pt x="1172" y="1564"/>
                  </a:lnTo>
                  <a:lnTo>
                    <a:pt x="1162" y="1556"/>
                  </a:lnTo>
                  <a:lnTo>
                    <a:pt x="1158" y="1557"/>
                  </a:lnTo>
                  <a:lnTo>
                    <a:pt x="1154" y="1556"/>
                  </a:lnTo>
                  <a:lnTo>
                    <a:pt x="1154" y="1549"/>
                  </a:lnTo>
                  <a:lnTo>
                    <a:pt x="1154" y="1542"/>
                  </a:lnTo>
                  <a:lnTo>
                    <a:pt x="1160" y="1536"/>
                  </a:lnTo>
                  <a:lnTo>
                    <a:pt x="1164" y="1524"/>
                  </a:lnTo>
                  <a:lnTo>
                    <a:pt x="1162" y="1523"/>
                  </a:lnTo>
                  <a:lnTo>
                    <a:pt x="1154" y="1524"/>
                  </a:lnTo>
                  <a:lnTo>
                    <a:pt x="1143" y="1528"/>
                  </a:lnTo>
                  <a:lnTo>
                    <a:pt x="1138" y="1528"/>
                  </a:lnTo>
                  <a:lnTo>
                    <a:pt x="1135" y="1522"/>
                  </a:lnTo>
                  <a:lnTo>
                    <a:pt x="1127" y="1519"/>
                  </a:lnTo>
                  <a:lnTo>
                    <a:pt x="1127" y="1518"/>
                  </a:lnTo>
                  <a:lnTo>
                    <a:pt x="1132" y="1515"/>
                  </a:lnTo>
                  <a:lnTo>
                    <a:pt x="1132" y="1511"/>
                  </a:lnTo>
                  <a:lnTo>
                    <a:pt x="1126" y="1509"/>
                  </a:lnTo>
                  <a:lnTo>
                    <a:pt x="1126" y="1507"/>
                  </a:lnTo>
                  <a:lnTo>
                    <a:pt x="1119" y="1511"/>
                  </a:lnTo>
                  <a:lnTo>
                    <a:pt x="1115" y="1509"/>
                  </a:lnTo>
                  <a:lnTo>
                    <a:pt x="1110" y="1515"/>
                  </a:lnTo>
                  <a:lnTo>
                    <a:pt x="1105" y="1515"/>
                  </a:lnTo>
                  <a:lnTo>
                    <a:pt x="1100" y="1511"/>
                  </a:lnTo>
                  <a:lnTo>
                    <a:pt x="1096" y="1511"/>
                  </a:lnTo>
                  <a:lnTo>
                    <a:pt x="1090" y="1507"/>
                  </a:lnTo>
                  <a:lnTo>
                    <a:pt x="1091" y="1502"/>
                  </a:lnTo>
                  <a:lnTo>
                    <a:pt x="1090" y="1498"/>
                  </a:lnTo>
                  <a:lnTo>
                    <a:pt x="1086" y="1498"/>
                  </a:lnTo>
                  <a:lnTo>
                    <a:pt x="1083" y="1500"/>
                  </a:lnTo>
                  <a:lnTo>
                    <a:pt x="1083" y="1507"/>
                  </a:lnTo>
                  <a:lnTo>
                    <a:pt x="1082" y="1509"/>
                  </a:lnTo>
                  <a:lnTo>
                    <a:pt x="1073" y="1505"/>
                  </a:lnTo>
                  <a:lnTo>
                    <a:pt x="1065" y="1495"/>
                  </a:lnTo>
                  <a:lnTo>
                    <a:pt x="1058" y="1493"/>
                  </a:lnTo>
                  <a:lnTo>
                    <a:pt x="1054" y="1489"/>
                  </a:lnTo>
                  <a:lnTo>
                    <a:pt x="1050" y="1475"/>
                  </a:lnTo>
                  <a:lnTo>
                    <a:pt x="1054" y="1474"/>
                  </a:lnTo>
                  <a:lnTo>
                    <a:pt x="1051" y="1464"/>
                  </a:lnTo>
                  <a:lnTo>
                    <a:pt x="1054" y="1460"/>
                  </a:lnTo>
                  <a:lnTo>
                    <a:pt x="1052" y="1457"/>
                  </a:lnTo>
                  <a:lnTo>
                    <a:pt x="1041" y="1457"/>
                  </a:lnTo>
                  <a:lnTo>
                    <a:pt x="1029" y="1449"/>
                  </a:lnTo>
                  <a:lnTo>
                    <a:pt x="1027" y="1448"/>
                  </a:lnTo>
                  <a:lnTo>
                    <a:pt x="1029" y="1447"/>
                  </a:lnTo>
                  <a:lnTo>
                    <a:pt x="1026" y="1444"/>
                  </a:lnTo>
                  <a:lnTo>
                    <a:pt x="1018" y="1443"/>
                  </a:lnTo>
                  <a:lnTo>
                    <a:pt x="1016" y="1444"/>
                  </a:lnTo>
                  <a:lnTo>
                    <a:pt x="1005" y="1437"/>
                  </a:lnTo>
                  <a:lnTo>
                    <a:pt x="998" y="1436"/>
                  </a:lnTo>
                  <a:lnTo>
                    <a:pt x="987" y="1433"/>
                  </a:lnTo>
                  <a:lnTo>
                    <a:pt x="975" y="1433"/>
                  </a:lnTo>
                  <a:lnTo>
                    <a:pt x="972" y="1435"/>
                  </a:lnTo>
                  <a:lnTo>
                    <a:pt x="968" y="1430"/>
                  </a:lnTo>
                  <a:lnTo>
                    <a:pt x="963" y="1433"/>
                  </a:lnTo>
                  <a:lnTo>
                    <a:pt x="958" y="1436"/>
                  </a:lnTo>
                  <a:lnTo>
                    <a:pt x="955" y="1440"/>
                  </a:lnTo>
                  <a:lnTo>
                    <a:pt x="951" y="1440"/>
                  </a:lnTo>
                  <a:lnTo>
                    <a:pt x="946" y="1433"/>
                  </a:lnTo>
                  <a:lnTo>
                    <a:pt x="941" y="1433"/>
                  </a:lnTo>
                  <a:lnTo>
                    <a:pt x="937" y="1428"/>
                  </a:lnTo>
                  <a:lnTo>
                    <a:pt x="936" y="1425"/>
                  </a:lnTo>
                  <a:lnTo>
                    <a:pt x="930" y="1427"/>
                  </a:lnTo>
                  <a:lnTo>
                    <a:pt x="929" y="1422"/>
                  </a:lnTo>
                  <a:lnTo>
                    <a:pt x="922" y="1418"/>
                  </a:lnTo>
                  <a:lnTo>
                    <a:pt x="920" y="1413"/>
                  </a:lnTo>
                  <a:lnTo>
                    <a:pt x="915" y="1413"/>
                  </a:lnTo>
                  <a:lnTo>
                    <a:pt x="912" y="1412"/>
                  </a:lnTo>
                  <a:lnTo>
                    <a:pt x="909" y="1415"/>
                  </a:lnTo>
                  <a:lnTo>
                    <a:pt x="905" y="1416"/>
                  </a:lnTo>
                  <a:lnTo>
                    <a:pt x="900" y="1418"/>
                  </a:lnTo>
                  <a:lnTo>
                    <a:pt x="897" y="1418"/>
                  </a:lnTo>
                  <a:lnTo>
                    <a:pt x="892" y="1418"/>
                  </a:lnTo>
                  <a:lnTo>
                    <a:pt x="891" y="1422"/>
                  </a:lnTo>
                  <a:lnTo>
                    <a:pt x="884" y="1422"/>
                  </a:lnTo>
                  <a:lnTo>
                    <a:pt x="880" y="1422"/>
                  </a:lnTo>
                  <a:lnTo>
                    <a:pt x="869" y="1422"/>
                  </a:lnTo>
                  <a:lnTo>
                    <a:pt x="867" y="1422"/>
                  </a:lnTo>
                  <a:lnTo>
                    <a:pt x="856" y="1418"/>
                  </a:lnTo>
                  <a:lnTo>
                    <a:pt x="841" y="1427"/>
                  </a:lnTo>
                  <a:lnTo>
                    <a:pt x="837" y="1427"/>
                  </a:lnTo>
                  <a:lnTo>
                    <a:pt x="830" y="1436"/>
                  </a:lnTo>
                  <a:lnTo>
                    <a:pt x="824" y="1440"/>
                  </a:lnTo>
                  <a:lnTo>
                    <a:pt x="822" y="1440"/>
                  </a:lnTo>
                  <a:lnTo>
                    <a:pt x="819" y="1443"/>
                  </a:lnTo>
                  <a:lnTo>
                    <a:pt x="803" y="1447"/>
                  </a:lnTo>
                  <a:lnTo>
                    <a:pt x="798" y="1444"/>
                  </a:lnTo>
                  <a:lnTo>
                    <a:pt x="797" y="1443"/>
                  </a:lnTo>
                  <a:lnTo>
                    <a:pt x="797" y="1444"/>
                  </a:lnTo>
                  <a:lnTo>
                    <a:pt x="794" y="1447"/>
                  </a:lnTo>
                  <a:lnTo>
                    <a:pt x="788" y="1440"/>
                  </a:lnTo>
                  <a:lnTo>
                    <a:pt x="786" y="1444"/>
                  </a:lnTo>
                  <a:lnTo>
                    <a:pt x="784" y="1444"/>
                  </a:lnTo>
                  <a:lnTo>
                    <a:pt x="783" y="1440"/>
                  </a:lnTo>
                  <a:lnTo>
                    <a:pt x="776" y="1440"/>
                  </a:lnTo>
                  <a:lnTo>
                    <a:pt x="772" y="1440"/>
                  </a:lnTo>
                  <a:lnTo>
                    <a:pt x="766" y="1440"/>
                  </a:lnTo>
                  <a:lnTo>
                    <a:pt x="763" y="1440"/>
                  </a:lnTo>
                  <a:lnTo>
                    <a:pt x="761" y="1438"/>
                  </a:lnTo>
                  <a:lnTo>
                    <a:pt x="758" y="1440"/>
                  </a:lnTo>
                  <a:lnTo>
                    <a:pt x="755" y="1437"/>
                  </a:lnTo>
                  <a:lnTo>
                    <a:pt x="752" y="1438"/>
                  </a:lnTo>
                  <a:lnTo>
                    <a:pt x="749" y="1438"/>
                  </a:lnTo>
                  <a:lnTo>
                    <a:pt x="747" y="1440"/>
                  </a:lnTo>
                  <a:lnTo>
                    <a:pt x="744" y="1437"/>
                  </a:lnTo>
                  <a:lnTo>
                    <a:pt x="742" y="1433"/>
                  </a:lnTo>
                  <a:lnTo>
                    <a:pt x="739" y="1431"/>
                  </a:lnTo>
                  <a:lnTo>
                    <a:pt x="739" y="1430"/>
                  </a:lnTo>
                  <a:lnTo>
                    <a:pt x="741" y="1430"/>
                  </a:lnTo>
                  <a:lnTo>
                    <a:pt x="741" y="1428"/>
                  </a:lnTo>
                  <a:lnTo>
                    <a:pt x="742" y="1427"/>
                  </a:lnTo>
                  <a:lnTo>
                    <a:pt x="742" y="1424"/>
                  </a:lnTo>
                  <a:lnTo>
                    <a:pt x="739" y="1422"/>
                  </a:lnTo>
                  <a:lnTo>
                    <a:pt x="742" y="1418"/>
                  </a:lnTo>
                  <a:lnTo>
                    <a:pt x="741" y="1418"/>
                  </a:lnTo>
                  <a:lnTo>
                    <a:pt x="741" y="1415"/>
                  </a:lnTo>
                  <a:lnTo>
                    <a:pt x="739" y="1411"/>
                  </a:lnTo>
                  <a:lnTo>
                    <a:pt x="736" y="1412"/>
                  </a:lnTo>
                  <a:lnTo>
                    <a:pt x="734" y="1408"/>
                  </a:lnTo>
                  <a:lnTo>
                    <a:pt x="733" y="1411"/>
                  </a:lnTo>
                  <a:lnTo>
                    <a:pt x="730" y="1408"/>
                  </a:lnTo>
                  <a:lnTo>
                    <a:pt x="728" y="1405"/>
                  </a:lnTo>
                  <a:lnTo>
                    <a:pt x="724" y="1402"/>
                  </a:lnTo>
                  <a:lnTo>
                    <a:pt x="720" y="1405"/>
                  </a:lnTo>
                  <a:lnTo>
                    <a:pt x="717" y="1405"/>
                  </a:lnTo>
                  <a:lnTo>
                    <a:pt x="716" y="1399"/>
                  </a:lnTo>
                  <a:lnTo>
                    <a:pt x="713" y="1399"/>
                  </a:lnTo>
                  <a:lnTo>
                    <a:pt x="705" y="1388"/>
                  </a:lnTo>
                  <a:lnTo>
                    <a:pt x="701" y="1386"/>
                  </a:lnTo>
                  <a:lnTo>
                    <a:pt x="698" y="1382"/>
                  </a:lnTo>
                  <a:lnTo>
                    <a:pt x="694" y="1382"/>
                  </a:lnTo>
                  <a:lnTo>
                    <a:pt x="688" y="1378"/>
                  </a:lnTo>
                  <a:lnTo>
                    <a:pt x="688" y="1375"/>
                  </a:lnTo>
                  <a:lnTo>
                    <a:pt x="686" y="1373"/>
                  </a:lnTo>
                  <a:lnTo>
                    <a:pt x="686" y="1371"/>
                  </a:lnTo>
                  <a:lnTo>
                    <a:pt x="677" y="1363"/>
                  </a:lnTo>
                  <a:lnTo>
                    <a:pt x="676" y="1363"/>
                  </a:lnTo>
                  <a:lnTo>
                    <a:pt x="676" y="1362"/>
                  </a:lnTo>
                  <a:lnTo>
                    <a:pt x="674" y="1363"/>
                  </a:lnTo>
                  <a:lnTo>
                    <a:pt x="672" y="1363"/>
                  </a:lnTo>
                  <a:lnTo>
                    <a:pt x="670" y="1366"/>
                  </a:lnTo>
                  <a:lnTo>
                    <a:pt x="667" y="1368"/>
                  </a:lnTo>
                  <a:lnTo>
                    <a:pt x="663" y="1360"/>
                  </a:lnTo>
                  <a:lnTo>
                    <a:pt x="663" y="1358"/>
                  </a:lnTo>
                  <a:lnTo>
                    <a:pt x="660" y="1358"/>
                  </a:lnTo>
                  <a:lnTo>
                    <a:pt x="659" y="1353"/>
                  </a:lnTo>
                  <a:lnTo>
                    <a:pt x="656" y="1350"/>
                  </a:lnTo>
                  <a:lnTo>
                    <a:pt x="652" y="1353"/>
                  </a:lnTo>
                  <a:lnTo>
                    <a:pt x="651" y="1350"/>
                  </a:lnTo>
                  <a:lnTo>
                    <a:pt x="647" y="1356"/>
                  </a:lnTo>
                  <a:lnTo>
                    <a:pt x="647" y="1354"/>
                  </a:lnTo>
                  <a:lnTo>
                    <a:pt x="641" y="1362"/>
                  </a:lnTo>
                  <a:lnTo>
                    <a:pt x="637" y="1366"/>
                  </a:lnTo>
                  <a:lnTo>
                    <a:pt x="634" y="1369"/>
                  </a:lnTo>
                  <a:lnTo>
                    <a:pt x="630" y="1373"/>
                  </a:lnTo>
                  <a:lnTo>
                    <a:pt x="627" y="1379"/>
                  </a:lnTo>
                  <a:lnTo>
                    <a:pt x="621" y="1382"/>
                  </a:lnTo>
                  <a:lnTo>
                    <a:pt x="614" y="1388"/>
                  </a:lnTo>
                  <a:lnTo>
                    <a:pt x="614" y="1391"/>
                  </a:lnTo>
                  <a:lnTo>
                    <a:pt x="610" y="1391"/>
                  </a:lnTo>
                  <a:lnTo>
                    <a:pt x="602" y="1395"/>
                  </a:lnTo>
                  <a:lnTo>
                    <a:pt x="598" y="1395"/>
                  </a:lnTo>
                  <a:lnTo>
                    <a:pt x="595" y="1399"/>
                  </a:lnTo>
                  <a:lnTo>
                    <a:pt x="593" y="1398"/>
                  </a:lnTo>
                  <a:lnTo>
                    <a:pt x="591" y="1399"/>
                  </a:lnTo>
                  <a:lnTo>
                    <a:pt x="588" y="1399"/>
                  </a:lnTo>
                  <a:lnTo>
                    <a:pt x="585" y="1398"/>
                  </a:lnTo>
                  <a:lnTo>
                    <a:pt x="584" y="1399"/>
                  </a:lnTo>
                  <a:lnTo>
                    <a:pt x="581" y="1398"/>
                  </a:lnTo>
                  <a:lnTo>
                    <a:pt x="571" y="1402"/>
                  </a:lnTo>
                  <a:lnTo>
                    <a:pt x="570" y="1399"/>
                  </a:lnTo>
                  <a:lnTo>
                    <a:pt x="570" y="1395"/>
                  </a:lnTo>
                  <a:lnTo>
                    <a:pt x="568" y="1394"/>
                  </a:lnTo>
                  <a:lnTo>
                    <a:pt x="571" y="1385"/>
                  </a:lnTo>
                  <a:lnTo>
                    <a:pt x="571" y="1377"/>
                  </a:lnTo>
                  <a:lnTo>
                    <a:pt x="568" y="1369"/>
                  </a:lnTo>
                  <a:lnTo>
                    <a:pt x="570" y="1360"/>
                  </a:lnTo>
                  <a:lnTo>
                    <a:pt x="567" y="1357"/>
                  </a:lnTo>
                  <a:lnTo>
                    <a:pt x="542" y="1331"/>
                  </a:lnTo>
                  <a:lnTo>
                    <a:pt x="537" y="1333"/>
                  </a:lnTo>
                  <a:lnTo>
                    <a:pt x="531" y="1341"/>
                  </a:lnTo>
                  <a:lnTo>
                    <a:pt x="527" y="1344"/>
                  </a:lnTo>
                  <a:lnTo>
                    <a:pt x="513" y="1358"/>
                  </a:lnTo>
                  <a:lnTo>
                    <a:pt x="509" y="1356"/>
                  </a:lnTo>
                  <a:lnTo>
                    <a:pt x="506" y="1357"/>
                  </a:lnTo>
                  <a:lnTo>
                    <a:pt x="501" y="1356"/>
                  </a:lnTo>
                  <a:lnTo>
                    <a:pt x="498" y="1350"/>
                  </a:lnTo>
                  <a:lnTo>
                    <a:pt x="493" y="1350"/>
                  </a:lnTo>
                  <a:lnTo>
                    <a:pt x="493" y="1346"/>
                  </a:lnTo>
                  <a:lnTo>
                    <a:pt x="491" y="1346"/>
                  </a:lnTo>
                  <a:lnTo>
                    <a:pt x="479" y="1344"/>
                  </a:lnTo>
                  <a:lnTo>
                    <a:pt x="477" y="1337"/>
                  </a:lnTo>
                  <a:lnTo>
                    <a:pt x="477" y="1333"/>
                  </a:lnTo>
                  <a:lnTo>
                    <a:pt x="473" y="1324"/>
                  </a:lnTo>
                  <a:lnTo>
                    <a:pt x="467" y="1324"/>
                  </a:lnTo>
                  <a:lnTo>
                    <a:pt x="463" y="1328"/>
                  </a:lnTo>
                  <a:lnTo>
                    <a:pt x="460" y="1324"/>
                  </a:lnTo>
                  <a:lnTo>
                    <a:pt x="459" y="1323"/>
                  </a:lnTo>
                  <a:lnTo>
                    <a:pt x="446" y="1287"/>
                  </a:lnTo>
                  <a:lnTo>
                    <a:pt x="442" y="1279"/>
                  </a:lnTo>
                  <a:lnTo>
                    <a:pt x="441" y="1278"/>
                  </a:lnTo>
                  <a:lnTo>
                    <a:pt x="441" y="1275"/>
                  </a:lnTo>
                  <a:lnTo>
                    <a:pt x="439" y="1274"/>
                  </a:lnTo>
                  <a:lnTo>
                    <a:pt x="441" y="1273"/>
                  </a:lnTo>
                  <a:lnTo>
                    <a:pt x="439" y="1269"/>
                  </a:lnTo>
                  <a:lnTo>
                    <a:pt x="438" y="1266"/>
                  </a:lnTo>
                  <a:lnTo>
                    <a:pt x="438" y="1265"/>
                  </a:lnTo>
                  <a:lnTo>
                    <a:pt x="434" y="1270"/>
                  </a:lnTo>
                  <a:lnTo>
                    <a:pt x="435" y="1273"/>
                  </a:lnTo>
                  <a:lnTo>
                    <a:pt x="435" y="1275"/>
                  </a:lnTo>
                  <a:lnTo>
                    <a:pt x="432" y="1274"/>
                  </a:lnTo>
                  <a:lnTo>
                    <a:pt x="427" y="1275"/>
                  </a:lnTo>
                  <a:lnTo>
                    <a:pt x="423" y="1273"/>
                  </a:lnTo>
                  <a:lnTo>
                    <a:pt x="414" y="1270"/>
                  </a:lnTo>
                  <a:lnTo>
                    <a:pt x="410" y="1266"/>
                  </a:lnTo>
                  <a:lnTo>
                    <a:pt x="410" y="1262"/>
                  </a:lnTo>
                  <a:lnTo>
                    <a:pt x="404" y="1251"/>
                  </a:lnTo>
                  <a:lnTo>
                    <a:pt x="395" y="1249"/>
                  </a:lnTo>
                  <a:lnTo>
                    <a:pt x="44" y="1249"/>
                  </a:lnTo>
                  <a:lnTo>
                    <a:pt x="0" y="1249"/>
                  </a:lnTo>
                  <a:lnTo>
                    <a:pt x="3" y="1244"/>
                  </a:lnTo>
                  <a:lnTo>
                    <a:pt x="8" y="1244"/>
                  </a:lnTo>
                  <a:lnTo>
                    <a:pt x="9" y="1242"/>
                  </a:lnTo>
                  <a:lnTo>
                    <a:pt x="12" y="1240"/>
                  </a:lnTo>
                  <a:lnTo>
                    <a:pt x="19" y="1234"/>
                  </a:lnTo>
                  <a:lnTo>
                    <a:pt x="22" y="1231"/>
                  </a:lnTo>
                  <a:lnTo>
                    <a:pt x="29" y="1221"/>
                  </a:lnTo>
                  <a:lnTo>
                    <a:pt x="34" y="1220"/>
                  </a:lnTo>
                  <a:lnTo>
                    <a:pt x="37" y="1216"/>
                  </a:lnTo>
                  <a:lnTo>
                    <a:pt x="42" y="1204"/>
                  </a:lnTo>
                  <a:lnTo>
                    <a:pt x="50" y="1199"/>
                  </a:lnTo>
                  <a:lnTo>
                    <a:pt x="57" y="1194"/>
                  </a:lnTo>
                  <a:lnTo>
                    <a:pt x="55" y="1188"/>
                  </a:lnTo>
                  <a:lnTo>
                    <a:pt x="60" y="1180"/>
                  </a:lnTo>
                  <a:lnTo>
                    <a:pt x="57" y="1176"/>
                  </a:lnTo>
                  <a:lnTo>
                    <a:pt x="55" y="1175"/>
                  </a:lnTo>
                  <a:lnTo>
                    <a:pt x="60" y="1172"/>
                  </a:lnTo>
                  <a:lnTo>
                    <a:pt x="69" y="1171"/>
                  </a:lnTo>
                  <a:lnTo>
                    <a:pt x="71" y="1171"/>
                  </a:lnTo>
                  <a:lnTo>
                    <a:pt x="76" y="1163"/>
                  </a:lnTo>
                  <a:lnTo>
                    <a:pt x="76" y="1162"/>
                  </a:lnTo>
                  <a:lnTo>
                    <a:pt x="83" y="1159"/>
                  </a:lnTo>
                  <a:lnTo>
                    <a:pt x="85" y="1154"/>
                  </a:lnTo>
                  <a:lnTo>
                    <a:pt x="92" y="1146"/>
                  </a:lnTo>
                  <a:lnTo>
                    <a:pt x="94" y="1141"/>
                  </a:lnTo>
                  <a:lnTo>
                    <a:pt x="100" y="1141"/>
                  </a:lnTo>
                  <a:lnTo>
                    <a:pt x="105" y="1141"/>
                  </a:lnTo>
                  <a:lnTo>
                    <a:pt x="113" y="1137"/>
                  </a:lnTo>
                  <a:lnTo>
                    <a:pt x="113" y="1134"/>
                  </a:lnTo>
                  <a:lnTo>
                    <a:pt x="107" y="1133"/>
                  </a:lnTo>
                  <a:lnTo>
                    <a:pt x="107" y="1130"/>
                  </a:lnTo>
                  <a:lnTo>
                    <a:pt x="108" y="1118"/>
                  </a:lnTo>
                  <a:lnTo>
                    <a:pt x="111" y="1117"/>
                  </a:lnTo>
                  <a:lnTo>
                    <a:pt x="114" y="1120"/>
                  </a:lnTo>
                  <a:lnTo>
                    <a:pt x="117" y="1120"/>
                  </a:lnTo>
                  <a:lnTo>
                    <a:pt x="119" y="1118"/>
                  </a:lnTo>
                  <a:lnTo>
                    <a:pt x="121" y="1115"/>
                  </a:lnTo>
                  <a:lnTo>
                    <a:pt x="119" y="1113"/>
                  </a:lnTo>
                  <a:lnTo>
                    <a:pt x="117" y="1115"/>
                  </a:lnTo>
                  <a:lnTo>
                    <a:pt x="113" y="1110"/>
                  </a:lnTo>
                  <a:lnTo>
                    <a:pt x="113" y="1105"/>
                  </a:lnTo>
                  <a:lnTo>
                    <a:pt x="115" y="1100"/>
                  </a:lnTo>
                  <a:lnTo>
                    <a:pt x="124" y="1091"/>
                  </a:lnTo>
                  <a:lnTo>
                    <a:pt x="127" y="1085"/>
                  </a:lnTo>
                  <a:lnTo>
                    <a:pt x="130" y="1083"/>
                  </a:lnTo>
                  <a:lnTo>
                    <a:pt x="136" y="1079"/>
                  </a:lnTo>
                  <a:lnTo>
                    <a:pt x="142" y="1078"/>
                  </a:lnTo>
                  <a:lnTo>
                    <a:pt x="149" y="1072"/>
                  </a:lnTo>
                  <a:lnTo>
                    <a:pt x="152" y="1070"/>
                  </a:lnTo>
                  <a:lnTo>
                    <a:pt x="150" y="1066"/>
                  </a:lnTo>
                  <a:lnTo>
                    <a:pt x="152" y="1062"/>
                  </a:lnTo>
                  <a:lnTo>
                    <a:pt x="167" y="1057"/>
                  </a:lnTo>
                  <a:lnTo>
                    <a:pt x="174" y="1050"/>
                  </a:lnTo>
                  <a:lnTo>
                    <a:pt x="182" y="1047"/>
                  </a:lnTo>
                  <a:lnTo>
                    <a:pt x="188" y="1047"/>
                  </a:lnTo>
                  <a:lnTo>
                    <a:pt x="192" y="1043"/>
                  </a:lnTo>
                  <a:lnTo>
                    <a:pt x="196" y="1042"/>
                  </a:lnTo>
                  <a:lnTo>
                    <a:pt x="199" y="1034"/>
                  </a:lnTo>
                  <a:lnTo>
                    <a:pt x="200" y="1033"/>
                  </a:lnTo>
                  <a:lnTo>
                    <a:pt x="199" y="1026"/>
                  </a:lnTo>
                  <a:lnTo>
                    <a:pt x="203" y="1020"/>
                  </a:lnTo>
                  <a:lnTo>
                    <a:pt x="210" y="1016"/>
                  </a:lnTo>
                  <a:lnTo>
                    <a:pt x="214" y="1017"/>
                  </a:lnTo>
                  <a:lnTo>
                    <a:pt x="217" y="1012"/>
                  </a:lnTo>
                  <a:lnTo>
                    <a:pt x="224" y="1010"/>
                  </a:lnTo>
                  <a:lnTo>
                    <a:pt x="233" y="1004"/>
                  </a:lnTo>
                  <a:lnTo>
                    <a:pt x="247" y="989"/>
                  </a:lnTo>
                  <a:lnTo>
                    <a:pt x="256" y="988"/>
                  </a:lnTo>
                  <a:lnTo>
                    <a:pt x="271" y="981"/>
                  </a:lnTo>
                  <a:lnTo>
                    <a:pt x="275" y="981"/>
                  </a:lnTo>
                  <a:lnTo>
                    <a:pt x="282" y="981"/>
                  </a:lnTo>
                  <a:lnTo>
                    <a:pt x="290" y="976"/>
                  </a:lnTo>
                  <a:lnTo>
                    <a:pt x="300" y="971"/>
                  </a:lnTo>
                  <a:lnTo>
                    <a:pt x="306" y="963"/>
                  </a:lnTo>
                  <a:lnTo>
                    <a:pt x="311" y="961"/>
                  </a:lnTo>
                  <a:lnTo>
                    <a:pt x="314" y="961"/>
                  </a:lnTo>
                  <a:lnTo>
                    <a:pt x="317" y="961"/>
                  </a:lnTo>
                  <a:lnTo>
                    <a:pt x="319" y="959"/>
                  </a:lnTo>
                  <a:lnTo>
                    <a:pt x="331" y="950"/>
                  </a:lnTo>
                  <a:lnTo>
                    <a:pt x="335" y="946"/>
                  </a:lnTo>
                  <a:lnTo>
                    <a:pt x="342" y="939"/>
                  </a:lnTo>
                  <a:lnTo>
                    <a:pt x="356" y="933"/>
                  </a:lnTo>
                  <a:lnTo>
                    <a:pt x="363" y="923"/>
                  </a:lnTo>
                  <a:lnTo>
                    <a:pt x="367" y="921"/>
                  </a:lnTo>
                  <a:lnTo>
                    <a:pt x="370" y="921"/>
                  </a:lnTo>
                  <a:lnTo>
                    <a:pt x="375" y="923"/>
                  </a:lnTo>
                  <a:lnTo>
                    <a:pt x="382" y="923"/>
                  </a:lnTo>
                  <a:lnTo>
                    <a:pt x="392" y="918"/>
                  </a:lnTo>
                  <a:lnTo>
                    <a:pt x="401" y="930"/>
                  </a:lnTo>
                  <a:lnTo>
                    <a:pt x="410" y="936"/>
                  </a:lnTo>
                  <a:lnTo>
                    <a:pt x="413" y="936"/>
                  </a:lnTo>
                  <a:lnTo>
                    <a:pt x="416" y="936"/>
                  </a:lnTo>
                  <a:lnTo>
                    <a:pt x="420" y="933"/>
                  </a:lnTo>
                  <a:lnTo>
                    <a:pt x="423" y="931"/>
                  </a:lnTo>
                  <a:lnTo>
                    <a:pt x="431" y="934"/>
                  </a:lnTo>
                  <a:lnTo>
                    <a:pt x="434" y="931"/>
                  </a:lnTo>
                  <a:lnTo>
                    <a:pt x="435" y="923"/>
                  </a:lnTo>
                  <a:lnTo>
                    <a:pt x="442" y="923"/>
                  </a:lnTo>
                  <a:lnTo>
                    <a:pt x="445" y="922"/>
                  </a:lnTo>
                  <a:lnTo>
                    <a:pt x="448" y="922"/>
                  </a:lnTo>
                  <a:lnTo>
                    <a:pt x="452" y="917"/>
                  </a:lnTo>
                  <a:lnTo>
                    <a:pt x="460" y="911"/>
                  </a:lnTo>
                  <a:lnTo>
                    <a:pt x="468" y="910"/>
                  </a:lnTo>
                  <a:lnTo>
                    <a:pt x="479" y="905"/>
                  </a:lnTo>
                  <a:lnTo>
                    <a:pt x="493" y="900"/>
                  </a:lnTo>
                  <a:lnTo>
                    <a:pt x="498" y="897"/>
                  </a:lnTo>
                  <a:lnTo>
                    <a:pt x="503" y="896"/>
                  </a:lnTo>
                  <a:lnTo>
                    <a:pt x="516" y="888"/>
                  </a:lnTo>
                  <a:lnTo>
                    <a:pt x="520" y="883"/>
                  </a:lnTo>
                  <a:lnTo>
                    <a:pt x="518" y="879"/>
                  </a:lnTo>
                  <a:lnTo>
                    <a:pt x="516" y="877"/>
                  </a:lnTo>
                  <a:lnTo>
                    <a:pt x="517" y="874"/>
                  </a:lnTo>
                  <a:lnTo>
                    <a:pt x="523" y="872"/>
                  </a:lnTo>
                  <a:lnTo>
                    <a:pt x="528" y="867"/>
                  </a:lnTo>
                  <a:lnTo>
                    <a:pt x="537" y="864"/>
                  </a:lnTo>
                  <a:lnTo>
                    <a:pt x="539" y="861"/>
                  </a:lnTo>
                  <a:lnTo>
                    <a:pt x="543" y="852"/>
                  </a:lnTo>
                  <a:lnTo>
                    <a:pt x="552" y="847"/>
                  </a:lnTo>
                  <a:lnTo>
                    <a:pt x="556" y="842"/>
                  </a:lnTo>
                  <a:lnTo>
                    <a:pt x="562" y="838"/>
                  </a:lnTo>
                  <a:lnTo>
                    <a:pt x="563" y="834"/>
                  </a:lnTo>
                  <a:lnTo>
                    <a:pt x="570" y="834"/>
                  </a:lnTo>
                  <a:lnTo>
                    <a:pt x="577" y="829"/>
                  </a:lnTo>
                  <a:lnTo>
                    <a:pt x="581" y="829"/>
                  </a:lnTo>
                  <a:lnTo>
                    <a:pt x="581" y="821"/>
                  </a:lnTo>
                  <a:lnTo>
                    <a:pt x="584" y="811"/>
                  </a:lnTo>
                  <a:lnTo>
                    <a:pt x="582" y="807"/>
                  </a:lnTo>
                  <a:lnTo>
                    <a:pt x="582" y="805"/>
                  </a:lnTo>
                  <a:lnTo>
                    <a:pt x="593" y="794"/>
                  </a:lnTo>
                  <a:lnTo>
                    <a:pt x="601" y="789"/>
                  </a:lnTo>
                  <a:lnTo>
                    <a:pt x="613" y="784"/>
                  </a:lnTo>
                  <a:lnTo>
                    <a:pt x="623" y="779"/>
                  </a:lnTo>
                  <a:lnTo>
                    <a:pt x="623" y="772"/>
                  </a:lnTo>
                  <a:lnTo>
                    <a:pt x="626" y="769"/>
                  </a:lnTo>
                  <a:lnTo>
                    <a:pt x="627" y="762"/>
                  </a:lnTo>
                  <a:lnTo>
                    <a:pt x="628" y="759"/>
                  </a:lnTo>
                  <a:lnTo>
                    <a:pt x="633" y="759"/>
                  </a:lnTo>
                  <a:lnTo>
                    <a:pt x="635" y="754"/>
                  </a:lnTo>
                  <a:lnTo>
                    <a:pt x="641" y="752"/>
                  </a:lnTo>
                  <a:lnTo>
                    <a:pt x="645" y="754"/>
                  </a:lnTo>
                  <a:lnTo>
                    <a:pt x="655" y="754"/>
                  </a:lnTo>
                  <a:lnTo>
                    <a:pt x="664" y="757"/>
                  </a:lnTo>
                  <a:lnTo>
                    <a:pt x="670" y="761"/>
                  </a:lnTo>
                  <a:lnTo>
                    <a:pt x="674" y="767"/>
                  </a:lnTo>
                  <a:lnTo>
                    <a:pt x="678" y="768"/>
                  </a:lnTo>
                  <a:lnTo>
                    <a:pt x="687" y="769"/>
                  </a:lnTo>
                  <a:lnTo>
                    <a:pt x="691" y="768"/>
                  </a:lnTo>
                  <a:lnTo>
                    <a:pt x="695" y="762"/>
                  </a:lnTo>
                  <a:lnTo>
                    <a:pt x="701" y="762"/>
                  </a:lnTo>
                  <a:lnTo>
                    <a:pt x="701" y="761"/>
                  </a:lnTo>
                  <a:lnTo>
                    <a:pt x="701" y="757"/>
                  </a:lnTo>
                  <a:lnTo>
                    <a:pt x="708" y="751"/>
                  </a:lnTo>
                  <a:lnTo>
                    <a:pt x="708" y="748"/>
                  </a:lnTo>
                  <a:lnTo>
                    <a:pt x="711" y="745"/>
                  </a:lnTo>
                  <a:lnTo>
                    <a:pt x="714" y="745"/>
                  </a:lnTo>
                  <a:lnTo>
                    <a:pt x="722" y="739"/>
                  </a:lnTo>
                  <a:lnTo>
                    <a:pt x="733" y="730"/>
                  </a:lnTo>
                  <a:lnTo>
                    <a:pt x="739" y="727"/>
                  </a:lnTo>
                  <a:lnTo>
                    <a:pt x="741" y="723"/>
                  </a:lnTo>
                  <a:lnTo>
                    <a:pt x="741" y="720"/>
                  </a:lnTo>
                  <a:lnTo>
                    <a:pt x="736" y="710"/>
                  </a:lnTo>
                  <a:lnTo>
                    <a:pt x="736" y="703"/>
                  </a:lnTo>
                  <a:lnTo>
                    <a:pt x="731" y="695"/>
                  </a:lnTo>
                  <a:lnTo>
                    <a:pt x="730" y="692"/>
                  </a:lnTo>
                  <a:lnTo>
                    <a:pt x="731" y="687"/>
                  </a:lnTo>
                  <a:lnTo>
                    <a:pt x="730" y="682"/>
                  </a:lnTo>
                  <a:lnTo>
                    <a:pt x="733" y="678"/>
                  </a:lnTo>
                  <a:lnTo>
                    <a:pt x="741" y="674"/>
                  </a:lnTo>
                  <a:lnTo>
                    <a:pt x="749" y="677"/>
                  </a:lnTo>
                  <a:lnTo>
                    <a:pt x="755" y="678"/>
                  </a:lnTo>
                  <a:lnTo>
                    <a:pt x="761" y="678"/>
                  </a:lnTo>
                  <a:lnTo>
                    <a:pt x="769" y="673"/>
                  </a:lnTo>
                  <a:lnTo>
                    <a:pt x="770" y="669"/>
                  </a:lnTo>
                  <a:lnTo>
                    <a:pt x="774" y="669"/>
                  </a:lnTo>
                  <a:lnTo>
                    <a:pt x="777" y="669"/>
                  </a:lnTo>
                  <a:lnTo>
                    <a:pt x="787" y="665"/>
                  </a:lnTo>
                  <a:lnTo>
                    <a:pt x="799" y="665"/>
                  </a:lnTo>
                  <a:lnTo>
                    <a:pt x="802" y="665"/>
                  </a:lnTo>
                  <a:lnTo>
                    <a:pt x="806" y="669"/>
                  </a:lnTo>
                  <a:lnTo>
                    <a:pt x="817" y="686"/>
                  </a:lnTo>
                  <a:lnTo>
                    <a:pt x="819" y="687"/>
                  </a:lnTo>
                  <a:lnTo>
                    <a:pt x="824" y="686"/>
                  </a:lnTo>
                  <a:lnTo>
                    <a:pt x="833" y="686"/>
                  </a:lnTo>
                  <a:lnTo>
                    <a:pt x="841" y="678"/>
                  </a:lnTo>
                  <a:lnTo>
                    <a:pt x="842" y="674"/>
                  </a:lnTo>
                  <a:lnTo>
                    <a:pt x="847" y="672"/>
                  </a:lnTo>
                  <a:lnTo>
                    <a:pt x="853" y="672"/>
                  </a:lnTo>
                  <a:lnTo>
                    <a:pt x="858" y="665"/>
                  </a:lnTo>
                  <a:lnTo>
                    <a:pt x="865" y="665"/>
                  </a:lnTo>
                  <a:lnTo>
                    <a:pt x="870" y="660"/>
                  </a:lnTo>
                  <a:lnTo>
                    <a:pt x="870" y="658"/>
                  </a:lnTo>
                  <a:lnTo>
                    <a:pt x="874" y="652"/>
                  </a:lnTo>
                  <a:lnTo>
                    <a:pt x="876" y="647"/>
                  </a:lnTo>
                  <a:lnTo>
                    <a:pt x="880" y="643"/>
                  </a:lnTo>
                  <a:lnTo>
                    <a:pt x="887" y="643"/>
                  </a:lnTo>
                  <a:lnTo>
                    <a:pt x="890" y="645"/>
                  </a:lnTo>
                  <a:lnTo>
                    <a:pt x="897" y="647"/>
                  </a:lnTo>
                  <a:lnTo>
                    <a:pt x="904" y="647"/>
                  </a:lnTo>
                  <a:lnTo>
                    <a:pt x="916" y="651"/>
                  </a:lnTo>
                  <a:lnTo>
                    <a:pt x="926" y="647"/>
                  </a:lnTo>
                  <a:lnTo>
                    <a:pt x="933" y="645"/>
                  </a:lnTo>
                  <a:lnTo>
                    <a:pt x="947" y="658"/>
                  </a:lnTo>
                  <a:lnTo>
                    <a:pt x="951" y="664"/>
                  </a:lnTo>
                  <a:lnTo>
                    <a:pt x="950" y="669"/>
                  </a:lnTo>
                  <a:lnTo>
                    <a:pt x="962" y="674"/>
                  </a:lnTo>
                  <a:lnTo>
                    <a:pt x="969" y="685"/>
                  </a:lnTo>
                  <a:lnTo>
                    <a:pt x="982" y="697"/>
                  </a:lnTo>
                  <a:lnTo>
                    <a:pt x="990" y="701"/>
                  </a:lnTo>
                  <a:lnTo>
                    <a:pt x="994" y="701"/>
                  </a:lnTo>
                  <a:lnTo>
                    <a:pt x="997" y="698"/>
                  </a:lnTo>
                  <a:lnTo>
                    <a:pt x="1004" y="695"/>
                  </a:lnTo>
                  <a:lnTo>
                    <a:pt x="1010" y="690"/>
                  </a:lnTo>
                  <a:lnTo>
                    <a:pt x="1015" y="684"/>
                  </a:lnTo>
                  <a:lnTo>
                    <a:pt x="1022" y="678"/>
                  </a:lnTo>
                  <a:lnTo>
                    <a:pt x="1022" y="674"/>
                  </a:lnTo>
                  <a:lnTo>
                    <a:pt x="1026" y="669"/>
                  </a:lnTo>
                  <a:lnTo>
                    <a:pt x="1043" y="660"/>
                  </a:lnTo>
                  <a:lnTo>
                    <a:pt x="1055" y="652"/>
                  </a:lnTo>
                  <a:lnTo>
                    <a:pt x="1063" y="647"/>
                  </a:lnTo>
                  <a:lnTo>
                    <a:pt x="1066" y="647"/>
                  </a:lnTo>
                  <a:lnTo>
                    <a:pt x="1075" y="647"/>
                  </a:lnTo>
                  <a:lnTo>
                    <a:pt x="1077" y="647"/>
                  </a:lnTo>
                  <a:lnTo>
                    <a:pt x="1082" y="649"/>
                  </a:lnTo>
                  <a:lnTo>
                    <a:pt x="1090" y="651"/>
                  </a:lnTo>
                  <a:lnTo>
                    <a:pt x="1100" y="651"/>
                  </a:lnTo>
                  <a:lnTo>
                    <a:pt x="1104" y="656"/>
                  </a:lnTo>
                  <a:lnTo>
                    <a:pt x="1111" y="658"/>
                  </a:lnTo>
                  <a:lnTo>
                    <a:pt x="1119" y="656"/>
                  </a:lnTo>
                  <a:lnTo>
                    <a:pt x="1127" y="651"/>
                  </a:lnTo>
                  <a:lnTo>
                    <a:pt x="1129" y="647"/>
                  </a:lnTo>
                  <a:lnTo>
                    <a:pt x="1136" y="651"/>
                  </a:lnTo>
                  <a:lnTo>
                    <a:pt x="1140" y="655"/>
                  </a:lnTo>
                  <a:lnTo>
                    <a:pt x="1148" y="656"/>
                  </a:lnTo>
                  <a:lnTo>
                    <a:pt x="1157" y="645"/>
                  </a:lnTo>
                  <a:lnTo>
                    <a:pt x="1168" y="637"/>
                  </a:lnTo>
                  <a:lnTo>
                    <a:pt x="1176" y="633"/>
                  </a:lnTo>
                  <a:lnTo>
                    <a:pt x="1196" y="632"/>
                  </a:lnTo>
                  <a:lnTo>
                    <a:pt x="1200" y="630"/>
                  </a:lnTo>
                  <a:lnTo>
                    <a:pt x="1206" y="627"/>
                  </a:lnTo>
                  <a:lnTo>
                    <a:pt x="1212" y="616"/>
                  </a:lnTo>
                  <a:lnTo>
                    <a:pt x="1222" y="607"/>
                  </a:lnTo>
                  <a:lnTo>
                    <a:pt x="1223" y="603"/>
                  </a:lnTo>
                  <a:lnTo>
                    <a:pt x="1229" y="598"/>
                  </a:lnTo>
                  <a:lnTo>
                    <a:pt x="1231" y="597"/>
                  </a:lnTo>
                  <a:lnTo>
                    <a:pt x="1236" y="597"/>
                  </a:lnTo>
                  <a:lnTo>
                    <a:pt x="1245" y="585"/>
                  </a:lnTo>
                  <a:lnTo>
                    <a:pt x="1251" y="581"/>
                  </a:lnTo>
                  <a:lnTo>
                    <a:pt x="1260" y="580"/>
                  </a:lnTo>
                  <a:lnTo>
                    <a:pt x="1262" y="578"/>
                  </a:lnTo>
                  <a:lnTo>
                    <a:pt x="1268" y="580"/>
                  </a:lnTo>
                  <a:lnTo>
                    <a:pt x="1272" y="576"/>
                  </a:lnTo>
                  <a:lnTo>
                    <a:pt x="1275" y="571"/>
                  </a:lnTo>
                  <a:lnTo>
                    <a:pt x="1278" y="571"/>
                  </a:lnTo>
                  <a:lnTo>
                    <a:pt x="1287" y="571"/>
                  </a:lnTo>
                  <a:lnTo>
                    <a:pt x="1296" y="565"/>
                  </a:lnTo>
                  <a:lnTo>
                    <a:pt x="1300" y="565"/>
                  </a:lnTo>
                  <a:lnTo>
                    <a:pt x="1318" y="576"/>
                  </a:lnTo>
                  <a:lnTo>
                    <a:pt x="1323" y="576"/>
                  </a:lnTo>
                  <a:lnTo>
                    <a:pt x="1328" y="571"/>
                  </a:lnTo>
                  <a:lnTo>
                    <a:pt x="1329" y="566"/>
                  </a:lnTo>
                  <a:lnTo>
                    <a:pt x="1333" y="562"/>
                  </a:lnTo>
                  <a:lnTo>
                    <a:pt x="1339" y="561"/>
                  </a:lnTo>
                  <a:lnTo>
                    <a:pt x="1342" y="558"/>
                  </a:lnTo>
                  <a:lnTo>
                    <a:pt x="1347" y="558"/>
                  </a:lnTo>
                  <a:lnTo>
                    <a:pt x="1356" y="557"/>
                  </a:lnTo>
                  <a:lnTo>
                    <a:pt x="1372" y="548"/>
                  </a:lnTo>
                  <a:lnTo>
                    <a:pt x="1392" y="545"/>
                  </a:lnTo>
                  <a:lnTo>
                    <a:pt x="1397" y="540"/>
                  </a:lnTo>
                  <a:lnTo>
                    <a:pt x="1400" y="540"/>
                  </a:lnTo>
                  <a:lnTo>
                    <a:pt x="1404" y="540"/>
                  </a:lnTo>
                  <a:lnTo>
                    <a:pt x="1411" y="545"/>
                  </a:lnTo>
                  <a:lnTo>
                    <a:pt x="1432" y="549"/>
                  </a:lnTo>
                  <a:lnTo>
                    <a:pt x="1439" y="553"/>
                  </a:lnTo>
                  <a:lnTo>
                    <a:pt x="1443" y="556"/>
                  </a:lnTo>
                  <a:lnTo>
                    <a:pt x="1447" y="562"/>
                  </a:lnTo>
                  <a:lnTo>
                    <a:pt x="1452" y="565"/>
                  </a:lnTo>
                  <a:lnTo>
                    <a:pt x="1460" y="570"/>
                  </a:lnTo>
                  <a:lnTo>
                    <a:pt x="1471" y="574"/>
                  </a:lnTo>
                  <a:lnTo>
                    <a:pt x="1474" y="574"/>
                  </a:lnTo>
                  <a:lnTo>
                    <a:pt x="1479" y="568"/>
                  </a:lnTo>
                  <a:lnTo>
                    <a:pt x="1486" y="568"/>
                  </a:lnTo>
                  <a:lnTo>
                    <a:pt x="1497" y="562"/>
                  </a:lnTo>
                  <a:lnTo>
                    <a:pt x="1509" y="568"/>
                  </a:lnTo>
                  <a:lnTo>
                    <a:pt x="1521" y="569"/>
                  </a:lnTo>
                  <a:lnTo>
                    <a:pt x="1527" y="576"/>
                  </a:lnTo>
                  <a:lnTo>
                    <a:pt x="1528" y="576"/>
                  </a:lnTo>
                  <a:lnTo>
                    <a:pt x="1534" y="576"/>
                  </a:lnTo>
                  <a:lnTo>
                    <a:pt x="1545" y="569"/>
                  </a:lnTo>
                  <a:lnTo>
                    <a:pt x="1547" y="568"/>
                  </a:lnTo>
                  <a:lnTo>
                    <a:pt x="1549" y="569"/>
                  </a:lnTo>
                  <a:lnTo>
                    <a:pt x="1553" y="566"/>
                  </a:lnTo>
                  <a:lnTo>
                    <a:pt x="1563" y="566"/>
                  </a:lnTo>
                  <a:lnTo>
                    <a:pt x="1567" y="562"/>
                  </a:lnTo>
                  <a:lnTo>
                    <a:pt x="1570" y="562"/>
                  </a:lnTo>
                  <a:lnTo>
                    <a:pt x="1575" y="558"/>
                  </a:lnTo>
                  <a:lnTo>
                    <a:pt x="1581" y="557"/>
                  </a:lnTo>
                  <a:lnTo>
                    <a:pt x="1594" y="558"/>
                  </a:lnTo>
                  <a:lnTo>
                    <a:pt x="1605" y="568"/>
                  </a:lnTo>
                  <a:lnTo>
                    <a:pt x="1611" y="566"/>
                  </a:lnTo>
                  <a:lnTo>
                    <a:pt x="1620" y="570"/>
                  </a:lnTo>
                  <a:lnTo>
                    <a:pt x="1625" y="569"/>
                  </a:lnTo>
                  <a:lnTo>
                    <a:pt x="1627" y="568"/>
                  </a:lnTo>
                  <a:lnTo>
                    <a:pt x="1632" y="558"/>
                  </a:lnTo>
                  <a:lnTo>
                    <a:pt x="1638" y="553"/>
                  </a:lnTo>
                  <a:lnTo>
                    <a:pt x="1655" y="545"/>
                  </a:lnTo>
                  <a:lnTo>
                    <a:pt x="1660" y="544"/>
                  </a:lnTo>
                  <a:lnTo>
                    <a:pt x="1667" y="540"/>
                  </a:lnTo>
                  <a:lnTo>
                    <a:pt x="1682" y="529"/>
                  </a:lnTo>
                  <a:lnTo>
                    <a:pt x="1686" y="529"/>
                  </a:lnTo>
                  <a:lnTo>
                    <a:pt x="1691" y="536"/>
                  </a:lnTo>
                  <a:lnTo>
                    <a:pt x="1695" y="540"/>
                  </a:lnTo>
                  <a:lnTo>
                    <a:pt x="1699" y="540"/>
                  </a:lnTo>
                  <a:lnTo>
                    <a:pt x="1709" y="535"/>
                  </a:lnTo>
                  <a:lnTo>
                    <a:pt x="1713" y="533"/>
                  </a:lnTo>
                  <a:lnTo>
                    <a:pt x="1720" y="531"/>
                  </a:lnTo>
                  <a:lnTo>
                    <a:pt x="1727" y="523"/>
                  </a:lnTo>
                  <a:lnTo>
                    <a:pt x="1735" y="520"/>
                  </a:lnTo>
                  <a:lnTo>
                    <a:pt x="1741" y="514"/>
                  </a:lnTo>
                  <a:lnTo>
                    <a:pt x="1748" y="504"/>
                  </a:lnTo>
                  <a:lnTo>
                    <a:pt x="1756" y="501"/>
                  </a:lnTo>
                  <a:lnTo>
                    <a:pt x="1765" y="498"/>
                  </a:lnTo>
                  <a:lnTo>
                    <a:pt x="1773" y="495"/>
                  </a:lnTo>
                  <a:lnTo>
                    <a:pt x="1798" y="482"/>
                  </a:lnTo>
                  <a:lnTo>
                    <a:pt x="1807" y="482"/>
                  </a:lnTo>
                  <a:lnTo>
                    <a:pt x="1813" y="478"/>
                  </a:lnTo>
                  <a:lnTo>
                    <a:pt x="1817" y="473"/>
                  </a:lnTo>
                  <a:lnTo>
                    <a:pt x="1827" y="467"/>
                  </a:lnTo>
                  <a:lnTo>
                    <a:pt x="1830" y="462"/>
                  </a:lnTo>
                  <a:lnTo>
                    <a:pt x="1838" y="459"/>
                  </a:lnTo>
                  <a:lnTo>
                    <a:pt x="1846" y="456"/>
                  </a:lnTo>
                  <a:lnTo>
                    <a:pt x="1851" y="456"/>
                  </a:lnTo>
                  <a:lnTo>
                    <a:pt x="1859" y="454"/>
                  </a:lnTo>
                  <a:lnTo>
                    <a:pt x="1863" y="456"/>
                  </a:lnTo>
                  <a:lnTo>
                    <a:pt x="1871" y="456"/>
                  </a:lnTo>
                  <a:lnTo>
                    <a:pt x="1877" y="458"/>
                  </a:lnTo>
                  <a:lnTo>
                    <a:pt x="1888" y="456"/>
                  </a:lnTo>
                  <a:lnTo>
                    <a:pt x="1904" y="442"/>
                  </a:lnTo>
                  <a:lnTo>
                    <a:pt x="1917" y="433"/>
                  </a:lnTo>
                  <a:lnTo>
                    <a:pt x="1921" y="428"/>
                  </a:lnTo>
                  <a:lnTo>
                    <a:pt x="1921" y="420"/>
                  </a:lnTo>
                  <a:lnTo>
                    <a:pt x="1923" y="416"/>
                  </a:lnTo>
                  <a:lnTo>
                    <a:pt x="1932" y="414"/>
                  </a:lnTo>
                  <a:lnTo>
                    <a:pt x="1937" y="411"/>
                  </a:lnTo>
                  <a:lnTo>
                    <a:pt x="1945" y="406"/>
                  </a:lnTo>
                  <a:lnTo>
                    <a:pt x="1951" y="402"/>
                  </a:lnTo>
                  <a:lnTo>
                    <a:pt x="1959" y="400"/>
                  </a:lnTo>
                  <a:lnTo>
                    <a:pt x="1969" y="394"/>
                  </a:lnTo>
                  <a:lnTo>
                    <a:pt x="1977" y="394"/>
                  </a:lnTo>
                  <a:lnTo>
                    <a:pt x="1983" y="400"/>
                  </a:lnTo>
                  <a:lnTo>
                    <a:pt x="1994" y="404"/>
                  </a:lnTo>
                  <a:lnTo>
                    <a:pt x="1998" y="407"/>
                  </a:lnTo>
                  <a:lnTo>
                    <a:pt x="2001" y="411"/>
                  </a:lnTo>
                  <a:lnTo>
                    <a:pt x="2006" y="415"/>
                  </a:lnTo>
                  <a:lnTo>
                    <a:pt x="2016" y="409"/>
                  </a:lnTo>
                  <a:lnTo>
                    <a:pt x="2020" y="404"/>
                  </a:lnTo>
                  <a:lnTo>
                    <a:pt x="2036" y="400"/>
                  </a:lnTo>
                  <a:lnTo>
                    <a:pt x="2041" y="396"/>
                  </a:lnTo>
                  <a:lnTo>
                    <a:pt x="2045" y="394"/>
                  </a:lnTo>
                  <a:lnTo>
                    <a:pt x="2048" y="392"/>
                  </a:lnTo>
                  <a:lnTo>
                    <a:pt x="2050" y="384"/>
                  </a:lnTo>
                  <a:lnTo>
                    <a:pt x="2054" y="383"/>
                  </a:lnTo>
                  <a:lnTo>
                    <a:pt x="2059" y="383"/>
                  </a:lnTo>
                  <a:lnTo>
                    <a:pt x="2064" y="381"/>
                  </a:lnTo>
                  <a:lnTo>
                    <a:pt x="2070" y="379"/>
                  </a:lnTo>
                  <a:lnTo>
                    <a:pt x="2075" y="374"/>
                  </a:lnTo>
                  <a:lnTo>
                    <a:pt x="2076" y="369"/>
                  </a:lnTo>
                  <a:lnTo>
                    <a:pt x="2083" y="365"/>
                  </a:lnTo>
                  <a:lnTo>
                    <a:pt x="2087" y="362"/>
                  </a:lnTo>
                  <a:lnTo>
                    <a:pt x="2094" y="365"/>
                  </a:lnTo>
                  <a:lnTo>
                    <a:pt x="2104" y="362"/>
                  </a:lnTo>
                  <a:lnTo>
                    <a:pt x="2108" y="358"/>
                  </a:lnTo>
                  <a:lnTo>
                    <a:pt x="2111" y="361"/>
                  </a:lnTo>
                  <a:lnTo>
                    <a:pt x="2112" y="358"/>
                  </a:lnTo>
                  <a:lnTo>
                    <a:pt x="2119" y="358"/>
                  </a:lnTo>
                  <a:lnTo>
                    <a:pt x="2125" y="353"/>
                  </a:lnTo>
                  <a:lnTo>
                    <a:pt x="2131" y="353"/>
                  </a:lnTo>
                  <a:lnTo>
                    <a:pt x="2134" y="349"/>
                  </a:lnTo>
                  <a:lnTo>
                    <a:pt x="2136" y="338"/>
                  </a:lnTo>
                  <a:lnTo>
                    <a:pt x="2140" y="336"/>
                  </a:lnTo>
                  <a:lnTo>
                    <a:pt x="2145" y="336"/>
                  </a:lnTo>
                  <a:lnTo>
                    <a:pt x="2148" y="333"/>
                  </a:lnTo>
                  <a:lnTo>
                    <a:pt x="2155" y="333"/>
                  </a:lnTo>
                  <a:lnTo>
                    <a:pt x="2156" y="327"/>
                  </a:lnTo>
                  <a:lnTo>
                    <a:pt x="2159" y="327"/>
                  </a:lnTo>
                  <a:lnTo>
                    <a:pt x="2165" y="325"/>
                  </a:lnTo>
                  <a:lnTo>
                    <a:pt x="2169" y="327"/>
                  </a:lnTo>
                  <a:lnTo>
                    <a:pt x="2178" y="325"/>
                  </a:lnTo>
                  <a:lnTo>
                    <a:pt x="2180" y="322"/>
                  </a:lnTo>
                  <a:lnTo>
                    <a:pt x="2187" y="321"/>
                  </a:lnTo>
                  <a:lnTo>
                    <a:pt x="2194" y="325"/>
                  </a:lnTo>
                  <a:lnTo>
                    <a:pt x="2203" y="325"/>
                  </a:lnTo>
                  <a:lnTo>
                    <a:pt x="2206" y="321"/>
                  </a:lnTo>
                  <a:lnTo>
                    <a:pt x="2206" y="317"/>
                  </a:lnTo>
                  <a:lnTo>
                    <a:pt x="2208" y="316"/>
                  </a:lnTo>
                  <a:lnTo>
                    <a:pt x="2216" y="312"/>
                  </a:lnTo>
                  <a:lnTo>
                    <a:pt x="2219" y="307"/>
                  </a:lnTo>
                  <a:lnTo>
                    <a:pt x="2226" y="304"/>
                  </a:lnTo>
                  <a:lnTo>
                    <a:pt x="2226" y="300"/>
                  </a:lnTo>
                  <a:lnTo>
                    <a:pt x="2230" y="297"/>
                  </a:lnTo>
                  <a:lnTo>
                    <a:pt x="2233" y="290"/>
                  </a:lnTo>
                  <a:lnTo>
                    <a:pt x="2234" y="278"/>
                  </a:lnTo>
                  <a:lnTo>
                    <a:pt x="2240" y="272"/>
                  </a:lnTo>
                  <a:lnTo>
                    <a:pt x="2251" y="267"/>
                  </a:lnTo>
                  <a:lnTo>
                    <a:pt x="2254" y="267"/>
                  </a:lnTo>
                  <a:lnTo>
                    <a:pt x="2254" y="263"/>
                  </a:lnTo>
                  <a:lnTo>
                    <a:pt x="2264" y="259"/>
                  </a:lnTo>
                  <a:lnTo>
                    <a:pt x="2265" y="255"/>
                  </a:lnTo>
                  <a:lnTo>
                    <a:pt x="2268" y="255"/>
                  </a:lnTo>
                  <a:lnTo>
                    <a:pt x="2268" y="251"/>
                  </a:lnTo>
                  <a:lnTo>
                    <a:pt x="2271" y="251"/>
                  </a:lnTo>
                  <a:lnTo>
                    <a:pt x="2279" y="250"/>
                  </a:lnTo>
                  <a:lnTo>
                    <a:pt x="2282" y="249"/>
                  </a:lnTo>
                  <a:lnTo>
                    <a:pt x="2284" y="249"/>
                  </a:lnTo>
                  <a:lnTo>
                    <a:pt x="2289" y="246"/>
                  </a:lnTo>
                  <a:lnTo>
                    <a:pt x="2296" y="249"/>
                  </a:lnTo>
                  <a:lnTo>
                    <a:pt x="2304" y="249"/>
                  </a:lnTo>
                  <a:lnTo>
                    <a:pt x="2305" y="245"/>
                  </a:lnTo>
                  <a:lnTo>
                    <a:pt x="2307" y="245"/>
                  </a:lnTo>
                  <a:lnTo>
                    <a:pt x="2316" y="245"/>
                  </a:lnTo>
                  <a:lnTo>
                    <a:pt x="2321" y="241"/>
                  </a:lnTo>
                  <a:lnTo>
                    <a:pt x="2322" y="237"/>
                  </a:lnTo>
                  <a:lnTo>
                    <a:pt x="2326" y="233"/>
                  </a:lnTo>
                  <a:lnTo>
                    <a:pt x="2328" y="233"/>
                  </a:lnTo>
                  <a:lnTo>
                    <a:pt x="2332" y="229"/>
                  </a:lnTo>
                  <a:lnTo>
                    <a:pt x="2336" y="229"/>
                  </a:lnTo>
                  <a:lnTo>
                    <a:pt x="2344" y="233"/>
                  </a:lnTo>
                  <a:lnTo>
                    <a:pt x="2350" y="232"/>
                  </a:lnTo>
                  <a:lnTo>
                    <a:pt x="2353" y="229"/>
                  </a:lnTo>
                  <a:lnTo>
                    <a:pt x="2357" y="228"/>
                  </a:lnTo>
                  <a:lnTo>
                    <a:pt x="2365" y="229"/>
                  </a:lnTo>
                  <a:lnTo>
                    <a:pt x="2371" y="226"/>
                  </a:lnTo>
                  <a:lnTo>
                    <a:pt x="2375" y="229"/>
                  </a:lnTo>
                  <a:lnTo>
                    <a:pt x="2380" y="228"/>
                  </a:lnTo>
                  <a:lnTo>
                    <a:pt x="2385" y="223"/>
                  </a:lnTo>
                  <a:lnTo>
                    <a:pt x="2388" y="220"/>
                  </a:lnTo>
                  <a:lnTo>
                    <a:pt x="2393" y="218"/>
                  </a:lnTo>
                  <a:lnTo>
                    <a:pt x="2394" y="213"/>
                  </a:lnTo>
                  <a:lnTo>
                    <a:pt x="2399" y="209"/>
                  </a:lnTo>
                  <a:lnTo>
                    <a:pt x="2418" y="205"/>
                  </a:lnTo>
                  <a:lnTo>
                    <a:pt x="2428" y="197"/>
                  </a:lnTo>
                  <a:lnTo>
                    <a:pt x="2432" y="191"/>
                  </a:lnTo>
                  <a:lnTo>
                    <a:pt x="2441" y="188"/>
                  </a:lnTo>
                  <a:lnTo>
                    <a:pt x="2451" y="183"/>
                  </a:lnTo>
                  <a:lnTo>
                    <a:pt x="2453" y="175"/>
                  </a:lnTo>
                  <a:lnTo>
                    <a:pt x="2458" y="173"/>
                  </a:lnTo>
                  <a:lnTo>
                    <a:pt x="2465" y="175"/>
                  </a:lnTo>
                  <a:lnTo>
                    <a:pt x="2471" y="179"/>
                  </a:lnTo>
                  <a:lnTo>
                    <a:pt x="2475" y="179"/>
                  </a:lnTo>
                  <a:lnTo>
                    <a:pt x="2486" y="187"/>
                  </a:lnTo>
                  <a:lnTo>
                    <a:pt x="2490" y="184"/>
                  </a:lnTo>
                  <a:lnTo>
                    <a:pt x="2497" y="187"/>
                  </a:lnTo>
                  <a:lnTo>
                    <a:pt x="2503" y="184"/>
                  </a:lnTo>
                  <a:lnTo>
                    <a:pt x="2507" y="188"/>
                  </a:lnTo>
                  <a:lnTo>
                    <a:pt x="2510" y="188"/>
                  </a:lnTo>
                  <a:lnTo>
                    <a:pt x="2518" y="184"/>
                  </a:lnTo>
                  <a:lnTo>
                    <a:pt x="2521" y="184"/>
                  </a:lnTo>
                  <a:lnTo>
                    <a:pt x="2526" y="187"/>
                  </a:lnTo>
                  <a:lnTo>
                    <a:pt x="2542" y="187"/>
                  </a:lnTo>
                  <a:lnTo>
                    <a:pt x="2546" y="183"/>
                  </a:lnTo>
                  <a:lnTo>
                    <a:pt x="2547" y="179"/>
                  </a:lnTo>
                  <a:lnTo>
                    <a:pt x="2551" y="175"/>
                  </a:lnTo>
                  <a:lnTo>
                    <a:pt x="2558" y="170"/>
                  </a:lnTo>
                  <a:lnTo>
                    <a:pt x="2561" y="168"/>
                  </a:lnTo>
                  <a:lnTo>
                    <a:pt x="2567" y="166"/>
                  </a:lnTo>
                  <a:lnTo>
                    <a:pt x="2571" y="162"/>
                  </a:lnTo>
                  <a:lnTo>
                    <a:pt x="2575" y="156"/>
                  </a:lnTo>
                  <a:lnTo>
                    <a:pt x="2582" y="153"/>
                  </a:lnTo>
                  <a:lnTo>
                    <a:pt x="2590" y="138"/>
                  </a:lnTo>
                  <a:lnTo>
                    <a:pt x="2593" y="138"/>
                  </a:lnTo>
                  <a:lnTo>
                    <a:pt x="2601" y="129"/>
                  </a:lnTo>
                  <a:lnTo>
                    <a:pt x="2604" y="122"/>
                  </a:lnTo>
                  <a:lnTo>
                    <a:pt x="2600" y="120"/>
                  </a:lnTo>
                  <a:lnTo>
                    <a:pt x="2601" y="112"/>
                  </a:lnTo>
                  <a:lnTo>
                    <a:pt x="2613" y="104"/>
                  </a:lnTo>
                  <a:lnTo>
                    <a:pt x="2615" y="103"/>
                  </a:lnTo>
                  <a:lnTo>
                    <a:pt x="2620" y="103"/>
                  </a:lnTo>
                  <a:lnTo>
                    <a:pt x="2624" y="100"/>
                  </a:lnTo>
                  <a:lnTo>
                    <a:pt x="2640" y="91"/>
                  </a:lnTo>
                  <a:lnTo>
                    <a:pt x="2646" y="77"/>
                  </a:lnTo>
                  <a:lnTo>
                    <a:pt x="2649" y="76"/>
                  </a:lnTo>
                  <a:lnTo>
                    <a:pt x="2656" y="64"/>
                  </a:lnTo>
                  <a:lnTo>
                    <a:pt x="2656" y="55"/>
                  </a:lnTo>
                  <a:lnTo>
                    <a:pt x="2656" y="50"/>
                  </a:lnTo>
                  <a:lnTo>
                    <a:pt x="2673" y="48"/>
                  </a:lnTo>
                  <a:lnTo>
                    <a:pt x="2681" y="46"/>
                  </a:lnTo>
                  <a:lnTo>
                    <a:pt x="2686" y="42"/>
                  </a:lnTo>
                  <a:lnTo>
                    <a:pt x="2696" y="41"/>
                  </a:lnTo>
                  <a:lnTo>
                    <a:pt x="2731" y="27"/>
                  </a:lnTo>
                  <a:lnTo>
                    <a:pt x="2743" y="27"/>
                  </a:lnTo>
                  <a:lnTo>
                    <a:pt x="2748" y="23"/>
                  </a:lnTo>
                  <a:lnTo>
                    <a:pt x="2748" y="19"/>
                  </a:lnTo>
                  <a:lnTo>
                    <a:pt x="2746" y="14"/>
                  </a:lnTo>
                  <a:lnTo>
                    <a:pt x="2742" y="6"/>
                  </a:lnTo>
                  <a:lnTo>
                    <a:pt x="2739" y="1"/>
                  </a:lnTo>
                  <a:lnTo>
                    <a:pt x="2742" y="0"/>
                  </a:lnTo>
                  <a:lnTo>
                    <a:pt x="2753" y="0"/>
                  </a:lnTo>
                  <a:lnTo>
                    <a:pt x="2767" y="1"/>
                  </a:lnTo>
                  <a:lnTo>
                    <a:pt x="2771" y="10"/>
                  </a:lnTo>
                  <a:lnTo>
                    <a:pt x="2774" y="14"/>
                  </a:lnTo>
                  <a:lnTo>
                    <a:pt x="2789" y="13"/>
                  </a:lnTo>
                  <a:lnTo>
                    <a:pt x="2803" y="14"/>
                  </a:lnTo>
                  <a:lnTo>
                    <a:pt x="2806" y="23"/>
                  </a:lnTo>
                  <a:lnTo>
                    <a:pt x="2813" y="23"/>
                  </a:lnTo>
                  <a:lnTo>
                    <a:pt x="2816" y="27"/>
                  </a:lnTo>
                  <a:lnTo>
                    <a:pt x="2820" y="31"/>
                  </a:lnTo>
                  <a:lnTo>
                    <a:pt x="2823" y="37"/>
                  </a:lnTo>
                  <a:lnTo>
                    <a:pt x="2827" y="42"/>
                  </a:lnTo>
                  <a:lnTo>
                    <a:pt x="2835" y="42"/>
                  </a:lnTo>
                  <a:lnTo>
                    <a:pt x="2838" y="37"/>
                  </a:lnTo>
                  <a:lnTo>
                    <a:pt x="2845" y="31"/>
                  </a:lnTo>
                  <a:lnTo>
                    <a:pt x="2857" y="31"/>
                  </a:lnTo>
                  <a:lnTo>
                    <a:pt x="2863" y="27"/>
                  </a:lnTo>
                  <a:lnTo>
                    <a:pt x="2869" y="29"/>
                  </a:lnTo>
                  <a:lnTo>
                    <a:pt x="2881" y="26"/>
                  </a:lnTo>
                  <a:lnTo>
                    <a:pt x="2887" y="19"/>
                  </a:lnTo>
                  <a:lnTo>
                    <a:pt x="2895" y="14"/>
                  </a:lnTo>
                  <a:lnTo>
                    <a:pt x="2910" y="22"/>
                  </a:lnTo>
                  <a:lnTo>
                    <a:pt x="2914" y="19"/>
                  </a:lnTo>
                  <a:lnTo>
                    <a:pt x="2920" y="18"/>
                  </a:lnTo>
                  <a:lnTo>
                    <a:pt x="2923" y="14"/>
                  </a:lnTo>
                  <a:lnTo>
                    <a:pt x="2931" y="10"/>
                  </a:lnTo>
                  <a:lnTo>
                    <a:pt x="2935" y="9"/>
                  </a:lnTo>
                  <a:lnTo>
                    <a:pt x="2939" y="9"/>
                  </a:lnTo>
                  <a:lnTo>
                    <a:pt x="2942" y="6"/>
                  </a:lnTo>
                  <a:lnTo>
                    <a:pt x="2952" y="6"/>
                  </a:lnTo>
                  <a:lnTo>
                    <a:pt x="2960" y="10"/>
                  </a:lnTo>
                  <a:lnTo>
                    <a:pt x="2966" y="10"/>
                  </a:lnTo>
                  <a:lnTo>
                    <a:pt x="2973" y="9"/>
                  </a:lnTo>
                  <a:lnTo>
                    <a:pt x="2981" y="10"/>
                  </a:lnTo>
                  <a:lnTo>
                    <a:pt x="2989" y="6"/>
                  </a:lnTo>
                  <a:lnTo>
                    <a:pt x="2992" y="6"/>
                  </a:lnTo>
                  <a:lnTo>
                    <a:pt x="2997" y="10"/>
                  </a:lnTo>
                  <a:lnTo>
                    <a:pt x="3002" y="14"/>
                  </a:lnTo>
                  <a:lnTo>
                    <a:pt x="3005" y="18"/>
                  </a:lnTo>
                  <a:lnTo>
                    <a:pt x="3013" y="18"/>
                  </a:lnTo>
                  <a:lnTo>
                    <a:pt x="3016" y="19"/>
                  </a:lnTo>
                  <a:lnTo>
                    <a:pt x="3017" y="23"/>
                  </a:lnTo>
                  <a:lnTo>
                    <a:pt x="3019" y="33"/>
                  </a:lnTo>
                  <a:lnTo>
                    <a:pt x="3017" y="41"/>
                  </a:lnTo>
                  <a:lnTo>
                    <a:pt x="3020" y="46"/>
                  </a:lnTo>
                  <a:lnTo>
                    <a:pt x="3023" y="50"/>
                  </a:lnTo>
                  <a:lnTo>
                    <a:pt x="3025" y="55"/>
                  </a:lnTo>
                  <a:lnTo>
                    <a:pt x="3033" y="55"/>
                  </a:lnTo>
                  <a:lnTo>
                    <a:pt x="3039" y="62"/>
                  </a:lnTo>
                  <a:lnTo>
                    <a:pt x="3042" y="62"/>
                  </a:lnTo>
                  <a:lnTo>
                    <a:pt x="3049" y="63"/>
                  </a:lnTo>
                  <a:lnTo>
                    <a:pt x="3056" y="62"/>
                  </a:lnTo>
                  <a:lnTo>
                    <a:pt x="3060" y="59"/>
                  </a:lnTo>
                  <a:lnTo>
                    <a:pt x="3063" y="59"/>
                  </a:lnTo>
                  <a:lnTo>
                    <a:pt x="3066" y="58"/>
                  </a:lnTo>
                  <a:lnTo>
                    <a:pt x="3072" y="62"/>
                  </a:lnTo>
                  <a:lnTo>
                    <a:pt x="3080" y="55"/>
                  </a:lnTo>
                  <a:lnTo>
                    <a:pt x="3083" y="64"/>
                  </a:lnTo>
                  <a:lnTo>
                    <a:pt x="3092" y="75"/>
                  </a:lnTo>
                  <a:lnTo>
                    <a:pt x="3088" y="72"/>
                  </a:lnTo>
                  <a:lnTo>
                    <a:pt x="3081" y="76"/>
                  </a:lnTo>
                  <a:lnTo>
                    <a:pt x="3076" y="75"/>
                  </a:lnTo>
                  <a:lnTo>
                    <a:pt x="3074" y="75"/>
                  </a:lnTo>
                  <a:lnTo>
                    <a:pt x="3087" y="80"/>
                  </a:lnTo>
                  <a:lnTo>
                    <a:pt x="3088" y="87"/>
                  </a:lnTo>
                  <a:lnTo>
                    <a:pt x="3094" y="89"/>
                  </a:lnTo>
                  <a:lnTo>
                    <a:pt x="3092" y="93"/>
                  </a:lnTo>
                  <a:lnTo>
                    <a:pt x="3092" y="94"/>
                  </a:lnTo>
                  <a:lnTo>
                    <a:pt x="3095" y="97"/>
                  </a:lnTo>
                  <a:lnTo>
                    <a:pt x="3094" y="93"/>
                  </a:lnTo>
                  <a:lnTo>
                    <a:pt x="3095" y="91"/>
                  </a:lnTo>
                  <a:lnTo>
                    <a:pt x="3095" y="87"/>
                  </a:lnTo>
                  <a:lnTo>
                    <a:pt x="3091" y="84"/>
                  </a:lnTo>
                  <a:lnTo>
                    <a:pt x="3092" y="80"/>
                  </a:lnTo>
                  <a:lnTo>
                    <a:pt x="3091" y="77"/>
                  </a:lnTo>
                  <a:lnTo>
                    <a:pt x="3094" y="77"/>
                  </a:lnTo>
                  <a:lnTo>
                    <a:pt x="3103" y="91"/>
                  </a:lnTo>
                  <a:lnTo>
                    <a:pt x="3115" y="98"/>
                  </a:lnTo>
                  <a:lnTo>
                    <a:pt x="3122" y="100"/>
                  </a:lnTo>
                  <a:lnTo>
                    <a:pt x="3129" y="97"/>
                  </a:lnTo>
                  <a:lnTo>
                    <a:pt x="3131" y="93"/>
                  </a:lnTo>
                  <a:lnTo>
                    <a:pt x="3130" y="89"/>
                  </a:lnTo>
                  <a:lnTo>
                    <a:pt x="3131" y="84"/>
                  </a:lnTo>
                  <a:lnTo>
                    <a:pt x="3134" y="84"/>
                  </a:lnTo>
                  <a:lnTo>
                    <a:pt x="3138" y="87"/>
                  </a:lnTo>
                  <a:lnTo>
                    <a:pt x="3138" y="94"/>
                  </a:lnTo>
                  <a:lnTo>
                    <a:pt x="3135" y="98"/>
                  </a:lnTo>
                  <a:lnTo>
                    <a:pt x="3134" y="104"/>
                  </a:lnTo>
                  <a:lnTo>
                    <a:pt x="3133" y="106"/>
                  </a:lnTo>
                  <a:lnTo>
                    <a:pt x="3129" y="112"/>
                  </a:lnTo>
                  <a:lnTo>
                    <a:pt x="3115" y="116"/>
                  </a:lnTo>
                  <a:lnTo>
                    <a:pt x="3110" y="117"/>
                  </a:lnTo>
                  <a:lnTo>
                    <a:pt x="3108" y="121"/>
                  </a:lnTo>
                  <a:lnTo>
                    <a:pt x="3103" y="126"/>
                  </a:lnTo>
                  <a:lnTo>
                    <a:pt x="3097" y="133"/>
                  </a:lnTo>
                  <a:lnTo>
                    <a:pt x="3092" y="138"/>
                  </a:lnTo>
                  <a:lnTo>
                    <a:pt x="3092" y="143"/>
                  </a:lnTo>
                  <a:lnTo>
                    <a:pt x="3087" y="153"/>
                  </a:lnTo>
                  <a:lnTo>
                    <a:pt x="3088" y="162"/>
                  </a:lnTo>
                  <a:lnTo>
                    <a:pt x="3088" y="164"/>
                  </a:lnTo>
                  <a:lnTo>
                    <a:pt x="3089" y="173"/>
                  </a:lnTo>
                  <a:lnTo>
                    <a:pt x="3091" y="192"/>
                  </a:lnTo>
                  <a:lnTo>
                    <a:pt x="3092" y="193"/>
                  </a:lnTo>
                  <a:lnTo>
                    <a:pt x="3095" y="200"/>
                  </a:lnTo>
                  <a:lnTo>
                    <a:pt x="3103" y="201"/>
                  </a:lnTo>
                  <a:lnTo>
                    <a:pt x="3106" y="204"/>
                  </a:lnTo>
                  <a:lnTo>
                    <a:pt x="3115" y="210"/>
                  </a:lnTo>
                  <a:lnTo>
                    <a:pt x="3117" y="216"/>
                  </a:lnTo>
                  <a:lnTo>
                    <a:pt x="3117" y="259"/>
                  </a:lnTo>
                  <a:lnTo>
                    <a:pt x="3120" y="271"/>
                  </a:lnTo>
                  <a:lnTo>
                    <a:pt x="3126" y="282"/>
                  </a:lnTo>
                  <a:lnTo>
                    <a:pt x="3124" y="294"/>
                  </a:lnTo>
                  <a:lnTo>
                    <a:pt x="3127" y="299"/>
                  </a:lnTo>
                  <a:lnTo>
                    <a:pt x="3127" y="312"/>
                  </a:lnTo>
                  <a:lnTo>
                    <a:pt x="3130" y="333"/>
                  </a:lnTo>
                  <a:lnTo>
                    <a:pt x="3129" y="353"/>
                  </a:lnTo>
                  <a:lnTo>
                    <a:pt x="3133" y="362"/>
                  </a:lnTo>
                  <a:lnTo>
                    <a:pt x="3140" y="370"/>
                  </a:lnTo>
                  <a:lnTo>
                    <a:pt x="3151" y="384"/>
                  </a:lnTo>
                  <a:lnTo>
                    <a:pt x="3154" y="407"/>
                  </a:lnTo>
                  <a:lnTo>
                    <a:pt x="3152" y="419"/>
                  </a:lnTo>
                  <a:lnTo>
                    <a:pt x="3155" y="420"/>
                  </a:lnTo>
                  <a:lnTo>
                    <a:pt x="3157" y="428"/>
                  </a:lnTo>
                  <a:lnTo>
                    <a:pt x="3157" y="432"/>
                  </a:lnTo>
                  <a:lnTo>
                    <a:pt x="3154" y="433"/>
                  </a:lnTo>
                  <a:lnTo>
                    <a:pt x="3148" y="428"/>
                  </a:lnTo>
                  <a:lnTo>
                    <a:pt x="3137" y="432"/>
                  </a:lnTo>
                  <a:lnTo>
                    <a:pt x="3135" y="432"/>
                  </a:lnTo>
                  <a:lnTo>
                    <a:pt x="3137" y="428"/>
                  </a:lnTo>
                  <a:lnTo>
                    <a:pt x="3135" y="427"/>
                  </a:lnTo>
                  <a:lnTo>
                    <a:pt x="3127" y="424"/>
                  </a:lnTo>
                  <a:lnTo>
                    <a:pt x="3122" y="428"/>
                  </a:lnTo>
                  <a:lnTo>
                    <a:pt x="3120" y="432"/>
                  </a:lnTo>
                  <a:lnTo>
                    <a:pt x="3119" y="437"/>
                  </a:lnTo>
                  <a:lnTo>
                    <a:pt x="3119" y="442"/>
                  </a:lnTo>
                  <a:lnTo>
                    <a:pt x="3131" y="451"/>
                  </a:lnTo>
                  <a:lnTo>
                    <a:pt x="3137" y="451"/>
                  </a:lnTo>
                  <a:lnTo>
                    <a:pt x="3141" y="451"/>
                  </a:lnTo>
                  <a:lnTo>
                    <a:pt x="3145" y="451"/>
                  </a:lnTo>
                  <a:lnTo>
                    <a:pt x="3144" y="446"/>
                  </a:lnTo>
                  <a:lnTo>
                    <a:pt x="3147" y="442"/>
                  </a:lnTo>
                  <a:lnTo>
                    <a:pt x="3149" y="442"/>
                  </a:lnTo>
                  <a:lnTo>
                    <a:pt x="3152" y="442"/>
                  </a:lnTo>
                  <a:lnTo>
                    <a:pt x="3154" y="442"/>
                  </a:lnTo>
                  <a:lnTo>
                    <a:pt x="3157" y="442"/>
                  </a:lnTo>
                  <a:lnTo>
                    <a:pt x="3159" y="456"/>
                  </a:lnTo>
                  <a:lnTo>
                    <a:pt x="3163" y="458"/>
                  </a:lnTo>
                  <a:lnTo>
                    <a:pt x="3168" y="459"/>
                  </a:lnTo>
                  <a:lnTo>
                    <a:pt x="3169" y="465"/>
                  </a:lnTo>
                  <a:lnTo>
                    <a:pt x="3166" y="469"/>
                  </a:lnTo>
                  <a:lnTo>
                    <a:pt x="3165" y="482"/>
                  </a:lnTo>
                  <a:lnTo>
                    <a:pt x="3162" y="486"/>
                  </a:lnTo>
                  <a:lnTo>
                    <a:pt x="3163" y="487"/>
                  </a:lnTo>
                  <a:lnTo>
                    <a:pt x="3163" y="491"/>
                  </a:lnTo>
                  <a:lnTo>
                    <a:pt x="3163" y="495"/>
                  </a:lnTo>
                  <a:lnTo>
                    <a:pt x="3160" y="501"/>
                  </a:lnTo>
                  <a:lnTo>
                    <a:pt x="3159" y="507"/>
                  </a:lnTo>
                  <a:lnTo>
                    <a:pt x="3159" y="510"/>
                  </a:lnTo>
                  <a:lnTo>
                    <a:pt x="3157" y="510"/>
                  </a:lnTo>
                  <a:lnTo>
                    <a:pt x="3155" y="510"/>
                  </a:lnTo>
                  <a:lnTo>
                    <a:pt x="3152" y="512"/>
                  </a:lnTo>
                  <a:lnTo>
                    <a:pt x="3148" y="516"/>
                  </a:lnTo>
                  <a:lnTo>
                    <a:pt x="3143" y="516"/>
                  </a:lnTo>
                  <a:lnTo>
                    <a:pt x="3140" y="518"/>
                  </a:lnTo>
                  <a:lnTo>
                    <a:pt x="3134" y="516"/>
                  </a:lnTo>
                  <a:lnTo>
                    <a:pt x="3130" y="518"/>
                  </a:lnTo>
                  <a:lnTo>
                    <a:pt x="3129" y="523"/>
                  </a:lnTo>
                  <a:lnTo>
                    <a:pt x="3130" y="526"/>
                  </a:lnTo>
                  <a:lnTo>
                    <a:pt x="3133" y="527"/>
                  </a:lnTo>
                  <a:lnTo>
                    <a:pt x="3134" y="526"/>
                  </a:lnTo>
                  <a:lnTo>
                    <a:pt x="3137" y="527"/>
                  </a:lnTo>
                  <a:lnTo>
                    <a:pt x="3138" y="527"/>
                  </a:lnTo>
                  <a:lnTo>
                    <a:pt x="3140" y="531"/>
                  </a:lnTo>
                  <a:lnTo>
                    <a:pt x="3143" y="531"/>
                  </a:lnTo>
                  <a:lnTo>
                    <a:pt x="3144" y="531"/>
                  </a:lnTo>
                  <a:lnTo>
                    <a:pt x="3144" y="533"/>
                  </a:lnTo>
                  <a:lnTo>
                    <a:pt x="3143" y="533"/>
                  </a:lnTo>
                  <a:lnTo>
                    <a:pt x="3144" y="543"/>
                  </a:lnTo>
                  <a:lnTo>
                    <a:pt x="3148" y="543"/>
                  </a:lnTo>
                  <a:lnTo>
                    <a:pt x="3143" y="548"/>
                  </a:lnTo>
                  <a:lnTo>
                    <a:pt x="3141" y="553"/>
                  </a:lnTo>
                  <a:lnTo>
                    <a:pt x="3143" y="556"/>
                  </a:lnTo>
                  <a:lnTo>
                    <a:pt x="3147" y="558"/>
                  </a:lnTo>
                  <a:lnTo>
                    <a:pt x="3143" y="558"/>
                  </a:lnTo>
                  <a:lnTo>
                    <a:pt x="3137" y="562"/>
                  </a:lnTo>
                  <a:lnTo>
                    <a:pt x="3130" y="565"/>
                  </a:lnTo>
                  <a:lnTo>
                    <a:pt x="3127" y="568"/>
                  </a:lnTo>
                  <a:lnTo>
                    <a:pt x="3123" y="566"/>
                  </a:lnTo>
                  <a:lnTo>
                    <a:pt x="3108" y="568"/>
                  </a:lnTo>
                  <a:lnTo>
                    <a:pt x="3106" y="566"/>
                  </a:lnTo>
                  <a:lnTo>
                    <a:pt x="3108" y="558"/>
                  </a:lnTo>
                  <a:lnTo>
                    <a:pt x="3105" y="558"/>
                  </a:lnTo>
                  <a:lnTo>
                    <a:pt x="3105" y="562"/>
                  </a:lnTo>
                  <a:lnTo>
                    <a:pt x="3103" y="569"/>
                  </a:lnTo>
                  <a:lnTo>
                    <a:pt x="3098" y="570"/>
                  </a:lnTo>
                  <a:lnTo>
                    <a:pt x="3089" y="570"/>
                  </a:lnTo>
                  <a:lnTo>
                    <a:pt x="3088" y="571"/>
                  </a:lnTo>
                  <a:lnTo>
                    <a:pt x="3087" y="571"/>
                  </a:lnTo>
                  <a:lnTo>
                    <a:pt x="3084" y="574"/>
                  </a:lnTo>
                  <a:lnTo>
                    <a:pt x="3080" y="580"/>
                  </a:lnTo>
                  <a:lnTo>
                    <a:pt x="3077" y="581"/>
                  </a:lnTo>
                  <a:lnTo>
                    <a:pt x="3077" y="585"/>
                  </a:lnTo>
                  <a:lnTo>
                    <a:pt x="3078" y="581"/>
                  </a:lnTo>
                  <a:lnTo>
                    <a:pt x="3080" y="583"/>
                  </a:lnTo>
                  <a:lnTo>
                    <a:pt x="3080" y="589"/>
                  </a:lnTo>
                  <a:lnTo>
                    <a:pt x="3081" y="593"/>
                  </a:lnTo>
                  <a:lnTo>
                    <a:pt x="3083" y="591"/>
                  </a:lnTo>
                  <a:lnTo>
                    <a:pt x="3087" y="605"/>
                  </a:lnTo>
                  <a:lnTo>
                    <a:pt x="3088" y="606"/>
                  </a:lnTo>
                  <a:lnTo>
                    <a:pt x="3094" y="607"/>
                  </a:lnTo>
                  <a:lnTo>
                    <a:pt x="3095" y="611"/>
                  </a:lnTo>
                  <a:lnTo>
                    <a:pt x="3103" y="620"/>
                  </a:lnTo>
                  <a:lnTo>
                    <a:pt x="3101" y="623"/>
                  </a:lnTo>
                  <a:lnTo>
                    <a:pt x="3101" y="627"/>
                  </a:lnTo>
                  <a:lnTo>
                    <a:pt x="3095" y="627"/>
                  </a:lnTo>
                  <a:lnTo>
                    <a:pt x="3094" y="630"/>
                  </a:lnTo>
                  <a:lnTo>
                    <a:pt x="3098" y="632"/>
                  </a:lnTo>
                  <a:lnTo>
                    <a:pt x="3106" y="633"/>
                  </a:lnTo>
                  <a:lnTo>
                    <a:pt x="3106" y="632"/>
                  </a:lnTo>
                  <a:lnTo>
                    <a:pt x="3105" y="627"/>
                  </a:lnTo>
                  <a:lnTo>
                    <a:pt x="3106" y="624"/>
                  </a:lnTo>
                  <a:lnTo>
                    <a:pt x="3112" y="632"/>
                  </a:lnTo>
                  <a:lnTo>
                    <a:pt x="3115" y="632"/>
                  </a:lnTo>
                  <a:lnTo>
                    <a:pt x="3117" y="628"/>
                  </a:lnTo>
                  <a:lnTo>
                    <a:pt x="3113" y="623"/>
                  </a:lnTo>
                  <a:lnTo>
                    <a:pt x="3112" y="623"/>
                  </a:lnTo>
                  <a:lnTo>
                    <a:pt x="3110" y="619"/>
                  </a:lnTo>
                  <a:lnTo>
                    <a:pt x="3113" y="616"/>
                  </a:lnTo>
                  <a:lnTo>
                    <a:pt x="3113" y="615"/>
                  </a:lnTo>
                  <a:lnTo>
                    <a:pt x="3115" y="616"/>
                  </a:lnTo>
                  <a:lnTo>
                    <a:pt x="3116" y="615"/>
                  </a:lnTo>
                  <a:lnTo>
                    <a:pt x="3117" y="615"/>
                  </a:lnTo>
                  <a:lnTo>
                    <a:pt x="3117" y="616"/>
                  </a:lnTo>
                  <a:lnTo>
                    <a:pt x="3119" y="619"/>
                  </a:lnTo>
                  <a:lnTo>
                    <a:pt x="3122" y="619"/>
                  </a:lnTo>
                  <a:lnTo>
                    <a:pt x="3123" y="616"/>
                  </a:lnTo>
                  <a:lnTo>
                    <a:pt x="3122" y="615"/>
                  </a:lnTo>
                  <a:lnTo>
                    <a:pt x="3123" y="611"/>
                  </a:lnTo>
                  <a:lnTo>
                    <a:pt x="3126" y="610"/>
                  </a:lnTo>
                  <a:lnTo>
                    <a:pt x="3127" y="615"/>
                  </a:lnTo>
                  <a:lnTo>
                    <a:pt x="3127" y="616"/>
                  </a:lnTo>
                  <a:lnTo>
                    <a:pt x="3129" y="616"/>
                  </a:lnTo>
                  <a:lnTo>
                    <a:pt x="3135" y="620"/>
                  </a:lnTo>
                  <a:lnTo>
                    <a:pt x="3133" y="623"/>
                  </a:lnTo>
                  <a:lnTo>
                    <a:pt x="3133" y="627"/>
                  </a:lnTo>
                  <a:lnTo>
                    <a:pt x="3131" y="628"/>
                  </a:lnTo>
                  <a:lnTo>
                    <a:pt x="3131" y="630"/>
                  </a:lnTo>
                  <a:lnTo>
                    <a:pt x="3127" y="633"/>
                  </a:lnTo>
                  <a:lnTo>
                    <a:pt x="3129" y="637"/>
                  </a:lnTo>
                  <a:lnTo>
                    <a:pt x="3131" y="640"/>
                  </a:lnTo>
                  <a:lnTo>
                    <a:pt x="3134" y="641"/>
                  </a:lnTo>
                  <a:lnTo>
                    <a:pt x="3138" y="647"/>
                  </a:lnTo>
                  <a:lnTo>
                    <a:pt x="3137" y="649"/>
                  </a:lnTo>
                  <a:lnTo>
                    <a:pt x="3138" y="649"/>
                  </a:lnTo>
                  <a:lnTo>
                    <a:pt x="3138" y="651"/>
                  </a:lnTo>
                  <a:lnTo>
                    <a:pt x="3133" y="655"/>
                  </a:lnTo>
                  <a:lnTo>
                    <a:pt x="3133" y="658"/>
                  </a:lnTo>
                  <a:lnTo>
                    <a:pt x="3134" y="660"/>
                  </a:lnTo>
                  <a:lnTo>
                    <a:pt x="3135" y="662"/>
                  </a:lnTo>
                  <a:lnTo>
                    <a:pt x="3134" y="665"/>
                  </a:lnTo>
                  <a:lnTo>
                    <a:pt x="3137" y="668"/>
                  </a:lnTo>
                  <a:lnTo>
                    <a:pt x="3147" y="662"/>
                  </a:lnTo>
                  <a:lnTo>
                    <a:pt x="3147" y="664"/>
                  </a:lnTo>
                  <a:lnTo>
                    <a:pt x="3145" y="668"/>
                  </a:lnTo>
                  <a:lnTo>
                    <a:pt x="3145" y="669"/>
                  </a:lnTo>
                  <a:lnTo>
                    <a:pt x="3144" y="672"/>
                  </a:lnTo>
                  <a:lnTo>
                    <a:pt x="3147" y="674"/>
                  </a:lnTo>
                  <a:lnTo>
                    <a:pt x="3145" y="672"/>
                  </a:lnTo>
                  <a:lnTo>
                    <a:pt x="3147" y="669"/>
                  </a:lnTo>
                  <a:lnTo>
                    <a:pt x="3147" y="668"/>
                  </a:lnTo>
                  <a:lnTo>
                    <a:pt x="3151" y="660"/>
                  </a:lnTo>
                  <a:lnTo>
                    <a:pt x="3152" y="649"/>
                  </a:lnTo>
                  <a:lnTo>
                    <a:pt x="3152" y="647"/>
                  </a:lnTo>
                  <a:lnTo>
                    <a:pt x="3148" y="641"/>
                  </a:lnTo>
                  <a:lnTo>
                    <a:pt x="3149" y="640"/>
                  </a:lnTo>
                  <a:lnTo>
                    <a:pt x="3149" y="637"/>
                  </a:lnTo>
                  <a:lnTo>
                    <a:pt x="3152" y="633"/>
                  </a:lnTo>
                  <a:lnTo>
                    <a:pt x="3152" y="628"/>
                  </a:lnTo>
                  <a:lnTo>
                    <a:pt x="3151" y="627"/>
                  </a:lnTo>
                  <a:lnTo>
                    <a:pt x="3155" y="624"/>
                  </a:lnTo>
                  <a:lnTo>
                    <a:pt x="3155" y="619"/>
                  </a:lnTo>
                  <a:lnTo>
                    <a:pt x="3162" y="616"/>
                  </a:lnTo>
                  <a:lnTo>
                    <a:pt x="3165" y="619"/>
                  </a:lnTo>
                  <a:lnTo>
                    <a:pt x="3165" y="620"/>
                  </a:lnTo>
                  <a:lnTo>
                    <a:pt x="3168" y="620"/>
                  </a:lnTo>
                  <a:lnTo>
                    <a:pt x="3170" y="616"/>
                  </a:lnTo>
                  <a:lnTo>
                    <a:pt x="3172" y="616"/>
                  </a:lnTo>
                  <a:lnTo>
                    <a:pt x="3172" y="615"/>
                  </a:lnTo>
                  <a:lnTo>
                    <a:pt x="3170" y="615"/>
                  </a:lnTo>
                  <a:lnTo>
                    <a:pt x="3170" y="611"/>
                  </a:lnTo>
                  <a:lnTo>
                    <a:pt x="3174" y="610"/>
                  </a:lnTo>
                  <a:lnTo>
                    <a:pt x="3179" y="605"/>
                  </a:lnTo>
                  <a:lnTo>
                    <a:pt x="3190" y="602"/>
                  </a:lnTo>
                  <a:lnTo>
                    <a:pt x="3191" y="598"/>
                  </a:lnTo>
                  <a:lnTo>
                    <a:pt x="3194" y="605"/>
                  </a:lnTo>
                  <a:lnTo>
                    <a:pt x="3202" y="607"/>
                  </a:lnTo>
                  <a:lnTo>
                    <a:pt x="3205" y="607"/>
                  </a:lnTo>
                  <a:lnTo>
                    <a:pt x="3209" y="603"/>
                  </a:lnTo>
                  <a:lnTo>
                    <a:pt x="3213" y="594"/>
                  </a:lnTo>
                  <a:lnTo>
                    <a:pt x="3218" y="594"/>
                  </a:lnTo>
                  <a:lnTo>
                    <a:pt x="3223" y="597"/>
                  </a:lnTo>
                  <a:lnTo>
                    <a:pt x="3227" y="607"/>
                  </a:lnTo>
                  <a:lnTo>
                    <a:pt x="3233" y="611"/>
                  </a:lnTo>
                  <a:lnTo>
                    <a:pt x="3229" y="628"/>
                  </a:lnTo>
                  <a:lnTo>
                    <a:pt x="3230" y="633"/>
                  </a:lnTo>
                  <a:lnTo>
                    <a:pt x="3229" y="643"/>
                  </a:lnTo>
                  <a:lnTo>
                    <a:pt x="3230" y="651"/>
                  </a:lnTo>
                  <a:lnTo>
                    <a:pt x="3240" y="658"/>
                  </a:lnTo>
                  <a:lnTo>
                    <a:pt x="3247" y="660"/>
                  </a:lnTo>
                  <a:lnTo>
                    <a:pt x="3249" y="665"/>
                  </a:lnTo>
                  <a:lnTo>
                    <a:pt x="3245" y="684"/>
                  </a:lnTo>
                  <a:lnTo>
                    <a:pt x="3244" y="695"/>
                  </a:lnTo>
                  <a:lnTo>
                    <a:pt x="3244" y="699"/>
                  </a:lnTo>
                  <a:lnTo>
                    <a:pt x="3247" y="701"/>
                  </a:lnTo>
                  <a:lnTo>
                    <a:pt x="3244" y="710"/>
                  </a:lnTo>
                  <a:lnTo>
                    <a:pt x="3245" y="710"/>
                  </a:lnTo>
                  <a:lnTo>
                    <a:pt x="3243" y="712"/>
                  </a:lnTo>
                  <a:lnTo>
                    <a:pt x="3241" y="717"/>
                  </a:lnTo>
                  <a:lnTo>
                    <a:pt x="3238" y="718"/>
                  </a:lnTo>
                  <a:lnTo>
                    <a:pt x="3234" y="722"/>
                  </a:lnTo>
                  <a:lnTo>
                    <a:pt x="3230" y="723"/>
                  </a:lnTo>
                  <a:lnTo>
                    <a:pt x="3223" y="723"/>
                  </a:lnTo>
                  <a:lnTo>
                    <a:pt x="3213" y="739"/>
                  </a:lnTo>
                  <a:lnTo>
                    <a:pt x="3207" y="743"/>
                  </a:lnTo>
                  <a:lnTo>
                    <a:pt x="3201" y="754"/>
                  </a:lnTo>
                  <a:lnTo>
                    <a:pt x="3197" y="754"/>
                  </a:lnTo>
                  <a:lnTo>
                    <a:pt x="3190" y="748"/>
                  </a:lnTo>
                  <a:lnTo>
                    <a:pt x="3183" y="736"/>
                  </a:lnTo>
                  <a:lnTo>
                    <a:pt x="3183" y="731"/>
                  </a:lnTo>
                  <a:lnTo>
                    <a:pt x="3174" y="720"/>
                  </a:lnTo>
                  <a:lnTo>
                    <a:pt x="3169" y="710"/>
                  </a:lnTo>
                  <a:lnTo>
                    <a:pt x="3163" y="710"/>
                  </a:lnTo>
                  <a:lnTo>
                    <a:pt x="3162" y="710"/>
                  </a:lnTo>
                  <a:lnTo>
                    <a:pt x="3160" y="709"/>
                  </a:lnTo>
                  <a:lnTo>
                    <a:pt x="3158" y="707"/>
                  </a:lnTo>
                  <a:lnTo>
                    <a:pt x="3155" y="710"/>
                  </a:lnTo>
                  <a:lnTo>
                    <a:pt x="3158" y="714"/>
                  </a:lnTo>
                  <a:lnTo>
                    <a:pt x="3163" y="714"/>
                  </a:lnTo>
                  <a:lnTo>
                    <a:pt x="3165" y="718"/>
                  </a:lnTo>
                  <a:lnTo>
                    <a:pt x="3165" y="723"/>
                  </a:lnTo>
                  <a:lnTo>
                    <a:pt x="3166" y="723"/>
                  </a:lnTo>
                  <a:lnTo>
                    <a:pt x="3163" y="727"/>
                  </a:lnTo>
                  <a:lnTo>
                    <a:pt x="3165" y="731"/>
                  </a:lnTo>
                  <a:lnTo>
                    <a:pt x="3169" y="735"/>
                  </a:lnTo>
                  <a:lnTo>
                    <a:pt x="3168" y="740"/>
                  </a:lnTo>
                  <a:lnTo>
                    <a:pt x="3168" y="743"/>
                  </a:lnTo>
                  <a:lnTo>
                    <a:pt x="3170" y="745"/>
                  </a:lnTo>
                  <a:lnTo>
                    <a:pt x="3169" y="754"/>
                  </a:lnTo>
                  <a:lnTo>
                    <a:pt x="3173" y="754"/>
                  </a:lnTo>
                  <a:lnTo>
                    <a:pt x="3176" y="754"/>
                  </a:lnTo>
                  <a:lnTo>
                    <a:pt x="3177" y="754"/>
                  </a:lnTo>
                  <a:lnTo>
                    <a:pt x="3177" y="759"/>
                  </a:lnTo>
                  <a:lnTo>
                    <a:pt x="3173" y="762"/>
                  </a:lnTo>
                  <a:lnTo>
                    <a:pt x="3170" y="769"/>
                  </a:lnTo>
                  <a:lnTo>
                    <a:pt x="3169" y="776"/>
                  </a:lnTo>
                  <a:lnTo>
                    <a:pt x="3169" y="785"/>
                  </a:lnTo>
                  <a:lnTo>
                    <a:pt x="3172" y="797"/>
                  </a:lnTo>
                  <a:lnTo>
                    <a:pt x="3179" y="810"/>
                  </a:lnTo>
                  <a:lnTo>
                    <a:pt x="3184" y="815"/>
                  </a:lnTo>
                  <a:lnTo>
                    <a:pt x="3194" y="821"/>
                  </a:lnTo>
                  <a:lnTo>
                    <a:pt x="3193" y="823"/>
                  </a:lnTo>
                  <a:lnTo>
                    <a:pt x="3184" y="823"/>
                  </a:lnTo>
                  <a:lnTo>
                    <a:pt x="3173" y="817"/>
                  </a:lnTo>
                  <a:lnTo>
                    <a:pt x="3162" y="814"/>
                  </a:lnTo>
                  <a:lnTo>
                    <a:pt x="3158" y="817"/>
                  </a:lnTo>
                  <a:lnTo>
                    <a:pt x="3157" y="826"/>
                  </a:lnTo>
                  <a:lnTo>
                    <a:pt x="3159" y="834"/>
                  </a:lnTo>
                  <a:lnTo>
                    <a:pt x="3162" y="838"/>
                  </a:lnTo>
                  <a:lnTo>
                    <a:pt x="3168" y="839"/>
                  </a:lnTo>
                  <a:lnTo>
                    <a:pt x="3170" y="839"/>
                  </a:lnTo>
                  <a:lnTo>
                    <a:pt x="3176" y="838"/>
                  </a:lnTo>
                  <a:lnTo>
                    <a:pt x="3179" y="832"/>
                  </a:lnTo>
                  <a:lnTo>
                    <a:pt x="3183" y="832"/>
                  </a:lnTo>
                  <a:lnTo>
                    <a:pt x="3184" y="829"/>
                  </a:lnTo>
                  <a:lnTo>
                    <a:pt x="3187" y="830"/>
                  </a:lnTo>
                  <a:lnTo>
                    <a:pt x="3182" y="839"/>
                  </a:lnTo>
                  <a:lnTo>
                    <a:pt x="3176" y="839"/>
                  </a:lnTo>
                  <a:lnTo>
                    <a:pt x="3173" y="843"/>
                  </a:lnTo>
                  <a:lnTo>
                    <a:pt x="3163" y="846"/>
                  </a:lnTo>
                  <a:lnTo>
                    <a:pt x="3162" y="847"/>
                  </a:lnTo>
                  <a:lnTo>
                    <a:pt x="3163" y="851"/>
                  </a:lnTo>
                  <a:lnTo>
                    <a:pt x="3163" y="855"/>
                  </a:lnTo>
                  <a:lnTo>
                    <a:pt x="3154" y="863"/>
                  </a:lnTo>
                  <a:lnTo>
                    <a:pt x="3155" y="866"/>
                  </a:lnTo>
                  <a:lnTo>
                    <a:pt x="3158" y="864"/>
                  </a:lnTo>
                  <a:lnTo>
                    <a:pt x="3163" y="866"/>
                  </a:lnTo>
                  <a:lnTo>
                    <a:pt x="3169" y="864"/>
                  </a:lnTo>
                  <a:lnTo>
                    <a:pt x="3177" y="868"/>
                  </a:lnTo>
                  <a:lnTo>
                    <a:pt x="3174" y="869"/>
                  </a:lnTo>
                  <a:lnTo>
                    <a:pt x="3169" y="874"/>
                  </a:lnTo>
                  <a:lnTo>
                    <a:pt x="3165" y="879"/>
                  </a:lnTo>
                  <a:lnTo>
                    <a:pt x="3165" y="885"/>
                  </a:lnTo>
                  <a:lnTo>
                    <a:pt x="3159" y="889"/>
                  </a:lnTo>
                  <a:lnTo>
                    <a:pt x="3159" y="892"/>
                  </a:lnTo>
                  <a:lnTo>
                    <a:pt x="3162" y="901"/>
                  </a:lnTo>
                  <a:lnTo>
                    <a:pt x="3160" y="904"/>
                  </a:lnTo>
                  <a:lnTo>
                    <a:pt x="3160" y="898"/>
                  </a:lnTo>
                  <a:lnTo>
                    <a:pt x="3159" y="900"/>
                  </a:lnTo>
                  <a:lnTo>
                    <a:pt x="3159" y="908"/>
                  </a:lnTo>
                  <a:lnTo>
                    <a:pt x="3158" y="909"/>
                  </a:lnTo>
                  <a:lnTo>
                    <a:pt x="3159" y="913"/>
                  </a:lnTo>
                  <a:lnTo>
                    <a:pt x="3159" y="914"/>
                  </a:lnTo>
                  <a:lnTo>
                    <a:pt x="3158" y="914"/>
                  </a:lnTo>
                  <a:lnTo>
                    <a:pt x="3158" y="917"/>
                  </a:lnTo>
                  <a:lnTo>
                    <a:pt x="3157" y="917"/>
                  </a:lnTo>
                  <a:lnTo>
                    <a:pt x="3157" y="918"/>
                  </a:lnTo>
                  <a:lnTo>
                    <a:pt x="3159" y="921"/>
                  </a:lnTo>
                  <a:lnTo>
                    <a:pt x="3152" y="923"/>
                  </a:lnTo>
                  <a:lnTo>
                    <a:pt x="3151" y="933"/>
                  </a:lnTo>
                  <a:lnTo>
                    <a:pt x="3162" y="934"/>
                  </a:lnTo>
                  <a:lnTo>
                    <a:pt x="3162" y="928"/>
                  </a:lnTo>
                  <a:lnTo>
                    <a:pt x="3160" y="928"/>
                  </a:lnTo>
                  <a:lnTo>
                    <a:pt x="3155" y="928"/>
                  </a:lnTo>
                  <a:lnTo>
                    <a:pt x="3160" y="923"/>
                  </a:lnTo>
                  <a:lnTo>
                    <a:pt x="3163" y="922"/>
                  </a:lnTo>
                  <a:lnTo>
                    <a:pt x="3165" y="917"/>
                  </a:lnTo>
                  <a:lnTo>
                    <a:pt x="3169" y="913"/>
                  </a:lnTo>
                  <a:lnTo>
                    <a:pt x="3169" y="909"/>
                  </a:lnTo>
                  <a:lnTo>
                    <a:pt x="3170" y="908"/>
                  </a:lnTo>
                  <a:lnTo>
                    <a:pt x="3179" y="908"/>
                  </a:lnTo>
                  <a:lnTo>
                    <a:pt x="3180" y="905"/>
                  </a:lnTo>
                  <a:lnTo>
                    <a:pt x="3179" y="905"/>
                  </a:lnTo>
                  <a:lnTo>
                    <a:pt x="3184" y="905"/>
                  </a:lnTo>
                  <a:lnTo>
                    <a:pt x="3187" y="900"/>
                  </a:lnTo>
                  <a:lnTo>
                    <a:pt x="3194" y="892"/>
                  </a:lnTo>
                  <a:lnTo>
                    <a:pt x="3195" y="891"/>
                  </a:lnTo>
                  <a:lnTo>
                    <a:pt x="3194" y="888"/>
                  </a:lnTo>
                  <a:lnTo>
                    <a:pt x="3194" y="885"/>
                  </a:lnTo>
                  <a:lnTo>
                    <a:pt x="3190" y="881"/>
                  </a:lnTo>
                  <a:lnTo>
                    <a:pt x="3194" y="877"/>
                  </a:lnTo>
                  <a:lnTo>
                    <a:pt x="3195" y="877"/>
                  </a:lnTo>
                  <a:lnTo>
                    <a:pt x="3198" y="874"/>
                  </a:lnTo>
                  <a:lnTo>
                    <a:pt x="3199" y="867"/>
                  </a:lnTo>
                  <a:lnTo>
                    <a:pt x="3199" y="860"/>
                  </a:lnTo>
                  <a:lnTo>
                    <a:pt x="3195" y="852"/>
                  </a:lnTo>
                  <a:lnTo>
                    <a:pt x="3197" y="849"/>
                  </a:lnTo>
                  <a:lnTo>
                    <a:pt x="3195" y="847"/>
                  </a:lnTo>
                  <a:lnTo>
                    <a:pt x="3201" y="846"/>
                  </a:lnTo>
                  <a:lnTo>
                    <a:pt x="3204" y="830"/>
                  </a:lnTo>
                  <a:lnTo>
                    <a:pt x="3204" y="821"/>
                  </a:lnTo>
                  <a:lnTo>
                    <a:pt x="3202" y="821"/>
                  </a:lnTo>
                  <a:lnTo>
                    <a:pt x="3204" y="819"/>
                  </a:lnTo>
                  <a:lnTo>
                    <a:pt x="3204" y="817"/>
                  </a:lnTo>
                  <a:lnTo>
                    <a:pt x="3198" y="814"/>
                  </a:lnTo>
                  <a:lnTo>
                    <a:pt x="3204" y="811"/>
                  </a:lnTo>
                  <a:lnTo>
                    <a:pt x="3207" y="807"/>
                  </a:lnTo>
                  <a:lnTo>
                    <a:pt x="3219" y="805"/>
                  </a:lnTo>
                  <a:lnTo>
                    <a:pt x="3224" y="801"/>
                  </a:lnTo>
                  <a:lnTo>
                    <a:pt x="3240" y="798"/>
                  </a:lnTo>
                  <a:lnTo>
                    <a:pt x="3245" y="798"/>
                  </a:lnTo>
                  <a:lnTo>
                    <a:pt x="3249" y="794"/>
                  </a:lnTo>
                  <a:lnTo>
                    <a:pt x="3255" y="792"/>
                  </a:lnTo>
                  <a:lnTo>
                    <a:pt x="3257" y="789"/>
                  </a:lnTo>
                  <a:lnTo>
                    <a:pt x="3258" y="789"/>
                  </a:lnTo>
                  <a:lnTo>
                    <a:pt x="3263" y="785"/>
                  </a:lnTo>
                  <a:lnTo>
                    <a:pt x="3263" y="781"/>
                  </a:lnTo>
                  <a:lnTo>
                    <a:pt x="3274" y="784"/>
                  </a:lnTo>
                  <a:lnTo>
                    <a:pt x="3276" y="781"/>
                  </a:lnTo>
                  <a:lnTo>
                    <a:pt x="3280" y="780"/>
                  </a:lnTo>
                  <a:lnTo>
                    <a:pt x="3287" y="781"/>
                  </a:lnTo>
                  <a:lnTo>
                    <a:pt x="3294" y="780"/>
                  </a:lnTo>
                  <a:lnTo>
                    <a:pt x="3299" y="779"/>
                  </a:lnTo>
                  <a:lnTo>
                    <a:pt x="3301" y="776"/>
                  </a:lnTo>
                  <a:lnTo>
                    <a:pt x="3302" y="774"/>
                  </a:lnTo>
                  <a:lnTo>
                    <a:pt x="3305" y="776"/>
                  </a:lnTo>
                  <a:lnTo>
                    <a:pt x="3307" y="781"/>
                  </a:lnTo>
                  <a:lnTo>
                    <a:pt x="3312" y="789"/>
                  </a:lnTo>
                  <a:lnTo>
                    <a:pt x="3319" y="806"/>
                  </a:lnTo>
                  <a:lnTo>
                    <a:pt x="3321" y="814"/>
                  </a:lnTo>
                  <a:lnTo>
                    <a:pt x="3321" y="834"/>
                  </a:lnTo>
                  <a:lnTo>
                    <a:pt x="3323" y="836"/>
                  </a:lnTo>
                  <a:lnTo>
                    <a:pt x="3324" y="846"/>
                  </a:lnTo>
                  <a:lnTo>
                    <a:pt x="3322" y="852"/>
                  </a:lnTo>
                  <a:lnTo>
                    <a:pt x="3318" y="855"/>
                  </a:lnTo>
                  <a:lnTo>
                    <a:pt x="3319" y="863"/>
                  </a:lnTo>
                  <a:lnTo>
                    <a:pt x="3315" y="864"/>
                  </a:lnTo>
                  <a:lnTo>
                    <a:pt x="3307" y="863"/>
                  </a:lnTo>
                  <a:lnTo>
                    <a:pt x="3305" y="866"/>
                  </a:lnTo>
                  <a:lnTo>
                    <a:pt x="3298" y="863"/>
                  </a:lnTo>
                  <a:lnTo>
                    <a:pt x="3286" y="868"/>
                  </a:lnTo>
                  <a:lnTo>
                    <a:pt x="3283" y="873"/>
                  </a:lnTo>
                  <a:lnTo>
                    <a:pt x="3272" y="879"/>
                  </a:lnTo>
                  <a:lnTo>
                    <a:pt x="3272" y="883"/>
                  </a:lnTo>
                  <a:lnTo>
                    <a:pt x="3269" y="883"/>
                  </a:lnTo>
                  <a:lnTo>
                    <a:pt x="3268" y="888"/>
                  </a:lnTo>
                  <a:lnTo>
                    <a:pt x="3266" y="892"/>
                  </a:lnTo>
                  <a:lnTo>
                    <a:pt x="3270" y="896"/>
                  </a:lnTo>
                  <a:lnTo>
                    <a:pt x="3277" y="897"/>
                  </a:lnTo>
                  <a:lnTo>
                    <a:pt x="3282" y="894"/>
                  </a:lnTo>
                  <a:lnTo>
                    <a:pt x="3286" y="896"/>
                  </a:lnTo>
                  <a:lnTo>
                    <a:pt x="3290" y="896"/>
                  </a:lnTo>
                  <a:lnTo>
                    <a:pt x="3293" y="885"/>
                  </a:lnTo>
                  <a:lnTo>
                    <a:pt x="3290" y="879"/>
                  </a:lnTo>
                  <a:lnTo>
                    <a:pt x="3294" y="879"/>
                  </a:lnTo>
                  <a:lnTo>
                    <a:pt x="3298" y="877"/>
                  </a:lnTo>
                  <a:lnTo>
                    <a:pt x="3299" y="873"/>
                  </a:lnTo>
                  <a:lnTo>
                    <a:pt x="3299" y="869"/>
                  </a:lnTo>
                  <a:lnTo>
                    <a:pt x="3299" y="868"/>
                  </a:lnTo>
                  <a:lnTo>
                    <a:pt x="3304" y="869"/>
                  </a:lnTo>
                  <a:lnTo>
                    <a:pt x="3307" y="868"/>
                  </a:lnTo>
                  <a:lnTo>
                    <a:pt x="3309" y="869"/>
                  </a:lnTo>
                  <a:lnTo>
                    <a:pt x="3312" y="869"/>
                  </a:lnTo>
                  <a:lnTo>
                    <a:pt x="3316" y="869"/>
                  </a:lnTo>
                  <a:lnTo>
                    <a:pt x="3319" y="874"/>
                  </a:lnTo>
                  <a:lnTo>
                    <a:pt x="3321" y="883"/>
                  </a:lnTo>
                  <a:lnTo>
                    <a:pt x="3323" y="881"/>
                  </a:lnTo>
                  <a:lnTo>
                    <a:pt x="3327" y="879"/>
                  </a:lnTo>
                  <a:lnTo>
                    <a:pt x="3330" y="879"/>
                  </a:lnTo>
                  <a:lnTo>
                    <a:pt x="3330" y="881"/>
                  </a:lnTo>
                  <a:lnTo>
                    <a:pt x="3330" y="883"/>
                  </a:lnTo>
                  <a:lnTo>
                    <a:pt x="3323" y="892"/>
                  </a:lnTo>
                  <a:close/>
                  <a:moveTo>
                    <a:pt x="2614" y="2304"/>
                  </a:moveTo>
                  <a:lnTo>
                    <a:pt x="2589" y="2337"/>
                  </a:lnTo>
                  <a:lnTo>
                    <a:pt x="2582" y="2348"/>
                  </a:lnTo>
                  <a:lnTo>
                    <a:pt x="2581" y="2357"/>
                  </a:lnTo>
                  <a:lnTo>
                    <a:pt x="2578" y="2364"/>
                  </a:lnTo>
                  <a:lnTo>
                    <a:pt x="2579" y="2368"/>
                  </a:lnTo>
                  <a:lnTo>
                    <a:pt x="2582" y="2368"/>
                  </a:lnTo>
                  <a:lnTo>
                    <a:pt x="2584" y="2368"/>
                  </a:lnTo>
                  <a:lnTo>
                    <a:pt x="2588" y="2374"/>
                  </a:lnTo>
                  <a:lnTo>
                    <a:pt x="2588" y="2376"/>
                  </a:lnTo>
                  <a:lnTo>
                    <a:pt x="2584" y="2382"/>
                  </a:lnTo>
                  <a:lnTo>
                    <a:pt x="2572" y="2393"/>
                  </a:lnTo>
                  <a:lnTo>
                    <a:pt x="2561" y="2390"/>
                  </a:lnTo>
                  <a:lnTo>
                    <a:pt x="2540" y="2394"/>
                  </a:lnTo>
                  <a:lnTo>
                    <a:pt x="2539" y="2393"/>
                  </a:lnTo>
                  <a:lnTo>
                    <a:pt x="2540" y="2390"/>
                  </a:lnTo>
                  <a:lnTo>
                    <a:pt x="2539" y="2386"/>
                  </a:lnTo>
                  <a:lnTo>
                    <a:pt x="2526" y="2379"/>
                  </a:lnTo>
                  <a:lnTo>
                    <a:pt x="2526" y="2376"/>
                  </a:lnTo>
                  <a:lnTo>
                    <a:pt x="2521" y="2364"/>
                  </a:lnTo>
                  <a:lnTo>
                    <a:pt x="2510" y="2349"/>
                  </a:lnTo>
                  <a:lnTo>
                    <a:pt x="2505" y="2345"/>
                  </a:lnTo>
                  <a:lnTo>
                    <a:pt x="2494" y="2340"/>
                  </a:lnTo>
                  <a:lnTo>
                    <a:pt x="2493" y="2335"/>
                  </a:lnTo>
                  <a:lnTo>
                    <a:pt x="2493" y="2327"/>
                  </a:lnTo>
                  <a:lnTo>
                    <a:pt x="2494" y="2323"/>
                  </a:lnTo>
                  <a:lnTo>
                    <a:pt x="2501" y="2316"/>
                  </a:lnTo>
                  <a:lnTo>
                    <a:pt x="2504" y="2303"/>
                  </a:lnTo>
                  <a:lnTo>
                    <a:pt x="2505" y="2303"/>
                  </a:lnTo>
                  <a:lnTo>
                    <a:pt x="2507" y="2304"/>
                  </a:lnTo>
                  <a:lnTo>
                    <a:pt x="2508" y="2303"/>
                  </a:lnTo>
                  <a:lnTo>
                    <a:pt x="2516" y="2290"/>
                  </a:lnTo>
                  <a:lnTo>
                    <a:pt x="2519" y="2286"/>
                  </a:lnTo>
                  <a:lnTo>
                    <a:pt x="2525" y="2286"/>
                  </a:lnTo>
                  <a:lnTo>
                    <a:pt x="2532" y="2282"/>
                  </a:lnTo>
                  <a:lnTo>
                    <a:pt x="2535" y="2282"/>
                  </a:lnTo>
                  <a:lnTo>
                    <a:pt x="2539" y="2282"/>
                  </a:lnTo>
                  <a:lnTo>
                    <a:pt x="2560" y="2274"/>
                  </a:lnTo>
                  <a:lnTo>
                    <a:pt x="2563" y="2274"/>
                  </a:lnTo>
                  <a:lnTo>
                    <a:pt x="2563" y="2277"/>
                  </a:lnTo>
                  <a:lnTo>
                    <a:pt x="2560" y="2278"/>
                  </a:lnTo>
                  <a:lnTo>
                    <a:pt x="2560" y="2282"/>
                  </a:lnTo>
                  <a:lnTo>
                    <a:pt x="2560" y="2285"/>
                  </a:lnTo>
                  <a:lnTo>
                    <a:pt x="2560" y="2289"/>
                  </a:lnTo>
                  <a:lnTo>
                    <a:pt x="2546" y="2297"/>
                  </a:lnTo>
                  <a:lnTo>
                    <a:pt x="2542" y="2300"/>
                  </a:lnTo>
                  <a:lnTo>
                    <a:pt x="2539" y="2300"/>
                  </a:lnTo>
                  <a:lnTo>
                    <a:pt x="2538" y="2304"/>
                  </a:lnTo>
                  <a:lnTo>
                    <a:pt x="2540" y="2308"/>
                  </a:lnTo>
                  <a:lnTo>
                    <a:pt x="2539" y="2311"/>
                  </a:lnTo>
                  <a:lnTo>
                    <a:pt x="2540" y="2312"/>
                  </a:lnTo>
                  <a:lnTo>
                    <a:pt x="2542" y="2312"/>
                  </a:lnTo>
                  <a:lnTo>
                    <a:pt x="2543" y="2311"/>
                  </a:lnTo>
                  <a:lnTo>
                    <a:pt x="2542" y="2304"/>
                  </a:lnTo>
                  <a:lnTo>
                    <a:pt x="2546" y="2300"/>
                  </a:lnTo>
                  <a:lnTo>
                    <a:pt x="2557" y="2295"/>
                  </a:lnTo>
                  <a:lnTo>
                    <a:pt x="2564" y="2289"/>
                  </a:lnTo>
                  <a:lnTo>
                    <a:pt x="2568" y="2289"/>
                  </a:lnTo>
                  <a:lnTo>
                    <a:pt x="2570" y="2289"/>
                  </a:lnTo>
                  <a:lnTo>
                    <a:pt x="2565" y="2285"/>
                  </a:lnTo>
                  <a:lnTo>
                    <a:pt x="2567" y="2278"/>
                  </a:lnTo>
                  <a:lnTo>
                    <a:pt x="2574" y="2274"/>
                  </a:lnTo>
                  <a:lnTo>
                    <a:pt x="2584" y="2274"/>
                  </a:lnTo>
                  <a:lnTo>
                    <a:pt x="2584" y="2277"/>
                  </a:lnTo>
                  <a:lnTo>
                    <a:pt x="2588" y="2282"/>
                  </a:lnTo>
                  <a:lnTo>
                    <a:pt x="2589" y="2286"/>
                  </a:lnTo>
                  <a:lnTo>
                    <a:pt x="2592" y="2286"/>
                  </a:lnTo>
                  <a:lnTo>
                    <a:pt x="2593" y="2289"/>
                  </a:lnTo>
                  <a:lnTo>
                    <a:pt x="2592" y="2293"/>
                  </a:lnTo>
                  <a:lnTo>
                    <a:pt x="2586" y="2297"/>
                  </a:lnTo>
                  <a:lnTo>
                    <a:pt x="2585" y="2300"/>
                  </a:lnTo>
                  <a:lnTo>
                    <a:pt x="2576" y="2307"/>
                  </a:lnTo>
                  <a:lnTo>
                    <a:pt x="2572" y="2311"/>
                  </a:lnTo>
                  <a:lnTo>
                    <a:pt x="2574" y="2312"/>
                  </a:lnTo>
                  <a:lnTo>
                    <a:pt x="2575" y="2312"/>
                  </a:lnTo>
                  <a:lnTo>
                    <a:pt x="2571" y="2316"/>
                  </a:lnTo>
                  <a:lnTo>
                    <a:pt x="2568" y="2319"/>
                  </a:lnTo>
                  <a:lnTo>
                    <a:pt x="2570" y="2319"/>
                  </a:lnTo>
                  <a:lnTo>
                    <a:pt x="2570" y="2318"/>
                  </a:lnTo>
                  <a:lnTo>
                    <a:pt x="2576" y="2316"/>
                  </a:lnTo>
                  <a:lnTo>
                    <a:pt x="2576" y="2312"/>
                  </a:lnTo>
                  <a:lnTo>
                    <a:pt x="2579" y="2308"/>
                  </a:lnTo>
                  <a:lnTo>
                    <a:pt x="2586" y="2308"/>
                  </a:lnTo>
                  <a:lnTo>
                    <a:pt x="2595" y="2300"/>
                  </a:lnTo>
                  <a:lnTo>
                    <a:pt x="2600" y="2297"/>
                  </a:lnTo>
                  <a:lnTo>
                    <a:pt x="2596" y="2304"/>
                  </a:lnTo>
                  <a:lnTo>
                    <a:pt x="2595" y="2308"/>
                  </a:lnTo>
                  <a:lnTo>
                    <a:pt x="2598" y="2312"/>
                  </a:lnTo>
                  <a:lnTo>
                    <a:pt x="2596" y="2312"/>
                  </a:lnTo>
                  <a:lnTo>
                    <a:pt x="2589" y="2312"/>
                  </a:lnTo>
                  <a:lnTo>
                    <a:pt x="2585" y="2316"/>
                  </a:lnTo>
                  <a:lnTo>
                    <a:pt x="2585" y="2323"/>
                  </a:lnTo>
                  <a:lnTo>
                    <a:pt x="2588" y="2327"/>
                  </a:lnTo>
                  <a:lnTo>
                    <a:pt x="2588" y="2331"/>
                  </a:lnTo>
                  <a:lnTo>
                    <a:pt x="2585" y="2335"/>
                  </a:lnTo>
                  <a:lnTo>
                    <a:pt x="2589" y="2331"/>
                  </a:lnTo>
                  <a:lnTo>
                    <a:pt x="2590" y="2327"/>
                  </a:lnTo>
                  <a:lnTo>
                    <a:pt x="2586" y="2319"/>
                  </a:lnTo>
                  <a:lnTo>
                    <a:pt x="2586" y="2318"/>
                  </a:lnTo>
                  <a:lnTo>
                    <a:pt x="2589" y="2316"/>
                  </a:lnTo>
                  <a:lnTo>
                    <a:pt x="2598" y="2318"/>
                  </a:lnTo>
                  <a:lnTo>
                    <a:pt x="2601" y="2316"/>
                  </a:lnTo>
                  <a:lnTo>
                    <a:pt x="2604" y="2312"/>
                  </a:lnTo>
                  <a:lnTo>
                    <a:pt x="2607" y="2299"/>
                  </a:lnTo>
                  <a:lnTo>
                    <a:pt x="2614" y="2295"/>
                  </a:lnTo>
                  <a:lnTo>
                    <a:pt x="2617" y="2295"/>
                  </a:lnTo>
                  <a:lnTo>
                    <a:pt x="2617" y="2299"/>
                  </a:lnTo>
                  <a:lnTo>
                    <a:pt x="2614" y="2304"/>
                  </a:lnTo>
                  <a:close/>
                  <a:moveTo>
                    <a:pt x="2499" y="2300"/>
                  </a:moveTo>
                  <a:lnTo>
                    <a:pt x="2500" y="2304"/>
                  </a:lnTo>
                  <a:lnTo>
                    <a:pt x="2497" y="2312"/>
                  </a:lnTo>
                  <a:lnTo>
                    <a:pt x="2491" y="2322"/>
                  </a:lnTo>
                  <a:lnTo>
                    <a:pt x="2490" y="2327"/>
                  </a:lnTo>
                  <a:lnTo>
                    <a:pt x="2491" y="2333"/>
                  </a:lnTo>
                  <a:lnTo>
                    <a:pt x="2490" y="2333"/>
                  </a:lnTo>
                  <a:lnTo>
                    <a:pt x="2489" y="2327"/>
                  </a:lnTo>
                  <a:lnTo>
                    <a:pt x="2486" y="2323"/>
                  </a:lnTo>
                  <a:lnTo>
                    <a:pt x="2486" y="2316"/>
                  </a:lnTo>
                  <a:lnTo>
                    <a:pt x="2482" y="2308"/>
                  </a:lnTo>
                  <a:lnTo>
                    <a:pt x="2483" y="2304"/>
                  </a:lnTo>
                  <a:lnTo>
                    <a:pt x="2496" y="2299"/>
                  </a:lnTo>
                  <a:lnTo>
                    <a:pt x="2499" y="2300"/>
                  </a:lnTo>
                  <a:close/>
                  <a:moveTo>
                    <a:pt x="3322" y="1128"/>
                  </a:moveTo>
                  <a:lnTo>
                    <a:pt x="3323" y="1128"/>
                  </a:lnTo>
                  <a:lnTo>
                    <a:pt x="3322" y="1137"/>
                  </a:lnTo>
                  <a:lnTo>
                    <a:pt x="3316" y="1145"/>
                  </a:lnTo>
                  <a:lnTo>
                    <a:pt x="3311" y="1149"/>
                  </a:lnTo>
                  <a:lnTo>
                    <a:pt x="3313" y="1141"/>
                  </a:lnTo>
                  <a:lnTo>
                    <a:pt x="3315" y="1141"/>
                  </a:lnTo>
                  <a:lnTo>
                    <a:pt x="3318" y="1140"/>
                  </a:lnTo>
                  <a:lnTo>
                    <a:pt x="3319" y="1134"/>
                  </a:lnTo>
                  <a:lnTo>
                    <a:pt x="3315" y="1135"/>
                  </a:lnTo>
                  <a:lnTo>
                    <a:pt x="3316" y="1133"/>
                  </a:lnTo>
                  <a:lnTo>
                    <a:pt x="3308" y="1128"/>
                  </a:lnTo>
                  <a:lnTo>
                    <a:pt x="3313" y="1132"/>
                  </a:lnTo>
                  <a:lnTo>
                    <a:pt x="3318" y="1132"/>
                  </a:lnTo>
                  <a:lnTo>
                    <a:pt x="3322" y="1128"/>
                  </a:lnTo>
                  <a:close/>
                  <a:moveTo>
                    <a:pt x="3255" y="1270"/>
                  </a:moveTo>
                  <a:lnTo>
                    <a:pt x="3254" y="1274"/>
                  </a:lnTo>
                  <a:lnTo>
                    <a:pt x="3249" y="1275"/>
                  </a:lnTo>
                  <a:lnTo>
                    <a:pt x="3251" y="1275"/>
                  </a:lnTo>
                  <a:lnTo>
                    <a:pt x="3249" y="1278"/>
                  </a:lnTo>
                  <a:lnTo>
                    <a:pt x="3247" y="1278"/>
                  </a:lnTo>
                  <a:lnTo>
                    <a:pt x="3244" y="1282"/>
                  </a:lnTo>
                  <a:lnTo>
                    <a:pt x="3244" y="1284"/>
                  </a:lnTo>
                  <a:lnTo>
                    <a:pt x="3240" y="1286"/>
                  </a:lnTo>
                  <a:lnTo>
                    <a:pt x="3240" y="1284"/>
                  </a:lnTo>
                  <a:lnTo>
                    <a:pt x="3240" y="1279"/>
                  </a:lnTo>
                  <a:lnTo>
                    <a:pt x="3245" y="1274"/>
                  </a:lnTo>
                  <a:lnTo>
                    <a:pt x="3254" y="1270"/>
                  </a:lnTo>
                  <a:lnTo>
                    <a:pt x="3255" y="1270"/>
                  </a:lnTo>
                  <a:close/>
                  <a:moveTo>
                    <a:pt x="3279" y="1308"/>
                  </a:moveTo>
                  <a:lnTo>
                    <a:pt x="3280" y="1308"/>
                  </a:lnTo>
                  <a:lnTo>
                    <a:pt x="3279" y="1315"/>
                  </a:lnTo>
                  <a:lnTo>
                    <a:pt x="3274" y="1321"/>
                  </a:lnTo>
                  <a:lnTo>
                    <a:pt x="3274" y="1319"/>
                  </a:lnTo>
                  <a:lnTo>
                    <a:pt x="3276" y="1315"/>
                  </a:lnTo>
                  <a:lnTo>
                    <a:pt x="3270" y="1311"/>
                  </a:lnTo>
                  <a:lnTo>
                    <a:pt x="3274" y="1311"/>
                  </a:lnTo>
                  <a:lnTo>
                    <a:pt x="3277" y="1308"/>
                  </a:lnTo>
                  <a:lnTo>
                    <a:pt x="3279" y="1311"/>
                  </a:lnTo>
                  <a:lnTo>
                    <a:pt x="3279" y="1308"/>
                  </a:lnTo>
                  <a:close/>
                  <a:moveTo>
                    <a:pt x="3290" y="1286"/>
                  </a:moveTo>
                  <a:lnTo>
                    <a:pt x="3291" y="1287"/>
                  </a:lnTo>
                  <a:lnTo>
                    <a:pt x="3288" y="1291"/>
                  </a:lnTo>
                  <a:lnTo>
                    <a:pt x="3288" y="1292"/>
                  </a:lnTo>
                  <a:lnTo>
                    <a:pt x="3287" y="1295"/>
                  </a:lnTo>
                  <a:lnTo>
                    <a:pt x="3284" y="1295"/>
                  </a:lnTo>
                  <a:lnTo>
                    <a:pt x="3283" y="1288"/>
                  </a:lnTo>
                  <a:lnTo>
                    <a:pt x="3286" y="1287"/>
                  </a:lnTo>
                  <a:lnTo>
                    <a:pt x="3286" y="1288"/>
                  </a:lnTo>
                  <a:lnTo>
                    <a:pt x="3288" y="1288"/>
                  </a:lnTo>
                  <a:lnTo>
                    <a:pt x="3290" y="1286"/>
                  </a:lnTo>
                  <a:close/>
                  <a:moveTo>
                    <a:pt x="3324" y="1088"/>
                  </a:moveTo>
                  <a:lnTo>
                    <a:pt x="3323" y="1087"/>
                  </a:lnTo>
                  <a:lnTo>
                    <a:pt x="3324" y="1084"/>
                  </a:lnTo>
                  <a:lnTo>
                    <a:pt x="3324" y="1087"/>
                  </a:lnTo>
                  <a:lnTo>
                    <a:pt x="3326" y="1087"/>
                  </a:lnTo>
                  <a:lnTo>
                    <a:pt x="3326" y="1079"/>
                  </a:lnTo>
                  <a:lnTo>
                    <a:pt x="3322" y="1083"/>
                  </a:lnTo>
                  <a:lnTo>
                    <a:pt x="3324" y="1079"/>
                  </a:lnTo>
                  <a:lnTo>
                    <a:pt x="3326" y="1079"/>
                  </a:lnTo>
                  <a:lnTo>
                    <a:pt x="3327" y="1079"/>
                  </a:lnTo>
                  <a:lnTo>
                    <a:pt x="3326" y="1088"/>
                  </a:lnTo>
                  <a:lnTo>
                    <a:pt x="3324" y="1088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53" name="Freeform 152"/>
            <p:cNvSpPr>
              <a:spLocks noEditPoints="1"/>
            </p:cNvSpPr>
            <p:nvPr/>
          </p:nvSpPr>
          <p:spPr bwMode="auto">
            <a:xfrm>
              <a:off x="1398326" y="2556155"/>
              <a:ext cx="639562" cy="846336"/>
            </a:xfrm>
            <a:custGeom>
              <a:avLst/>
              <a:gdLst>
                <a:gd name="T0" fmla="*/ 3171 w 3208"/>
                <a:gd name="T1" fmla="*/ 1568 h 3136"/>
                <a:gd name="T2" fmla="*/ 2844 w 3208"/>
                <a:gd name="T3" fmla="*/ 1629 h 3136"/>
                <a:gd name="T4" fmla="*/ 2772 w 3208"/>
                <a:gd name="T5" fmla="*/ 1694 h 3136"/>
                <a:gd name="T6" fmla="*/ 2698 w 3208"/>
                <a:gd name="T7" fmla="*/ 1688 h 3136"/>
                <a:gd name="T8" fmla="*/ 2492 w 3208"/>
                <a:gd name="T9" fmla="*/ 1796 h 3136"/>
                <a:gd name="T10" fmla="*/ 2389 w 3208"/>
                <a:gd name="T11" fmla="*/ 1747 h 3136"/>
                <a:gd name="T12" fmla="*/ 2349 w 3208"/>
                <a:gd name="T13" fmla="*/ 1834 h 3136"/>
                <a:gd name="T14" fmla="*/ 2331 w 3208"/>
                <a:gd name="T15" fmla="*/ 1871 h 3136"/>
                <a:gd name="T16" fmla="*/ 2040 w 3208"/>
                <a:gd name="T17" fmla="*/ 1998 h 3136"/>
                <a:gd name="T18" fmla="*/ 1829 w 3208"/>
                <a:gd name="T19" fmla="*/ 2111 h 3136"/>
                <a:gd name="T20" fmla="*/ 1626 w 3208"/>
                <a:gd name="T21" fmla="*/ 2170 h 3136"/>
                <a:gd name="T22" fmla="*/ 1460 w 3208"/>
                <a:gd name="T23" fmla="*/ 2413 h 3136"/>
                <a:gd name="T24" fmla="*/ 1412 w 3208"/>
                <a:gd name="T25" fmla="*/ 2395 h 3136"/>
                <a:gd name="T26" fmla="*/ 1337 w 3208"/>
                <a:gd name="T27" fmla="*/ 2560 h 3136"/>
                <a:gd name="T28" fmla="*/ 1271 w 3208"/>
                <a:gd name="T29" fmla="*/ 2668 h 3136"/>
                <a:gd name="T30" fmla="*/ 1084 w 3208"/>
                <a:gd name="T31" fmla="*/ 2836 h 3136"/>
                <a:gd name="T32" fmla="*/ 1021 w 3208"/>
                <a:gd name="T33" fmla="*/ 2945 h 3136"/>
                <a:gd name="T34" fmla="*/ 908 w 3208"/>
                <a:gd name="T35" fmla="*/ 3036 h 3136"/>
                <a:gd name="T36" fmla="*/ 910 w 3208"/>
                <a:gd name="T37" fmla="*/ 3111 h 3136"/>
                <a:gd name="T38" fmla="*/ 807 w 3208"/>
                <a:gd name="T39" fmla="*/ 2998 h 3136"/>
                <a:gd name="T40" fmla="*/ 799 w 3208"/>
                <a:gd name="T41" fmla="*/ 2884 h 3136"/>
                <a:gd name="T42" fmla="*/ 623 w 3208"/>
                <a:gd name="T43" fmla="*/ 2613 h 3136"/>
                <a:gd name="T44" fmla="*/ 340 w 3208"/>
                <a:gd name="T45" fmla="*/ 2413 h 3136"/>
                <a:gd name="T46" fmla="*/ 172 w 3208"/>
                <a:gd name="T47" fmla="*/ 2222 h 3136"/>
                <a:gd name="T48" fmla="*/ 145 w 3208"/>
                <a:gd name="T49" fmla="*/ 2050 h 3136"/>
                <a:gd name="T50" fmla="*/ 156 w 3208"/>
                <a:gd name="T51" fmla="*/ 1879 h 3136"/>
                <a:gd name="T52" fmla="*/ 132 w 3208"/>
                <a:gd name="T53" fmla="*/ 1766 h 3136"/>
                <a:gd name="T54" fmla="*/ 127 w 3208"/>
                <a:gd name="T55" fmla="*/ 1605 h 3136"/>
                <a:gd name="T56" fmla="*/ 71 w 3208"/>
                <a:gd name="T57" fmla="*/ 1332 h 3136"/>
                <a:gd name="T58" fmla="*/ 122 w 3208"/>
                <a:gd name="T59" fmla="*/ 1091 h 3136"/>
                <a:gd name="T60" fmla="*/ 317 w 3208"/>
                <a:gd name="T61" fmla="*/ 932 h 3136"/>
                <a:gd name="T62" fmla="*/ 566 w 3208"/>
                <a:gd name="T63" fmla="*/ 368 h 3136"/>
                <a:gd name="T64" fmla="*/ 797 w 3208"/>
                <a:gd name="T65" fmla="*/ 355 h 3136"/>
                <a:gd name="T66" fmla="*/ 829 w 3208"/>
                <a:gd name="T67" fmla="*/ 366 h 3136"/>
                <a:gd name="T68" fmla="*/ 907 w 3208"/>
                <a:gd name="T69" fmla="*/ 352 h 3136"/>
                <a:gd name="T70" fmla="*/ 905 w 3208"/>
                <a:gd name="T71" fmla="*/ 315 h 3136"/>
                <a:gd name="T72" fmla="*/ 928 w 3208"/>
                <a:gd name="T73" fmla="*/ 295 h 3136"/>
                <a:gd name="T74" fmla="*/ 946 w 3208"/>
                <a:gd name="T75" fmla="*/ 275 h 3136"/>
                <a:gd name="T76" fmla="*/ 963 w 3208"/>
                <a:gd name="T77" fmla="*/ 251 h 3136"/>
                <a:gd name="T78" fmla="*/ 974 w 3208"/>
                <a:gd name="T79" fmla="*/ 233 h 3136"/>
                <a:gd name="T80" fmla="*/ 1010 w 3208"/>
                <a:gd name="T81" fmla="*/ 224 h 3136"/>
                <a:gd name="T82" fmla="*/ 1065 w 3208"/>
                <a:gd name="T83" fmla="*/ 201 h 3136"/>
                <a:gd name="T84" fmla="*/ 1181 w 3208"/>
                <a:gd name="T85" fmla="*/ 124 h 3136"/>
                <a:gd name="T86" fmla="*/ 1248 w 3208"/>
                <a:gd name="T87" fmla="*/ 14 h 3136"/>
                <a:gd name="T88" fmla="*/ 1722 w 3208"/>
                <a:gd name="T89" fmla="*/ 88 h 3136"/>
                <a:gd name="T90" fmla="*/ 1859 w 3208"/>
                <a:gd name="T91" fmla="*/ 142 h 3136"/>
                <a:gd name="T92" fmla="*/ 1961 w 3208"/>
                <a:gd name="T93" fmla="*/ 150 h 3136"/>
                <a:gd name="T94" fmla="*/ 2029 w 3208"/>
                <a:gd name="T95" fmla="*/ 195 h 3136"/>
                <a:gd name="T96" fmla="*/ 2186 w 3208"/>
                <a:gd name="T97" fmla="*/ 184 h 3136"/>
                <a:gd name="T98" fmla="*/ 2336 w 3208"/>
                <a:gd name="T99" fmla="*/ 253 h 3136"/>
                <a:gd name="T100" fmla="*/ 2435 w 3208"/>
                <a:gd name="T101" fmla="*/ 337 h 3136"/>
                <a:gd name="T102" fmla="*/ 2640 w 3208"/>
                <a:gd name="T103" fmla="*/ 412 h 3136"/>
                <a:gd name="T104" fmla="*/ 2776 w 3208"/>
                <a:gd name="T105" fmla="*/ 543 h 3136"/>
                <a:gd name="T106" fmla="*/ 2942 w 3208"/>
                <a:gd name="T107" fmla="*/ 640 h 3136"/>
                <a:gd name="T108" fmla="*/ 2994 w 3208"/>
                <a:gd name="T109" fmla="*/ 804 h 3136"/>
                <a:gd name="T110" fmla="*/ 3033 w 3208"/>
                <a:gd name="T111" fmla="*/ 970 h 3136"/>
                <a:gd name="T112" fmla="*/ 3130 w 3208"/>
                <a:gd name="T113" fmla="*/ 1175 h 3136"/>
                <a:gd name="T114" fmla="*/ 3096 w 3208"/>
                <a:gd name="T115" fmla="*/ 1326 h 3136"/>
                <a:gd name="T116" fmla="*/ 3174 w 3208"/>
                <a:gd name="T117" fmla="*/ 1436 h 3136"/>
                <a:gd name="T118" fmla="*/ 1416 w 3208"/>
                <a:gd name="T119" fmla="*/ 2392 h 3136"/>
                <a:gd name="T120" fmla="*/ 1388 w 3208"/>
                <a:gd name="T121" fmla="*/ 2319 h 3136"/>
                <a:gd name="T122" fmla="*/ 1848 w 3208"/>
                <a:gd name="T123" fmla="*/ 2102 h 31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208"/>
                <a:gd name="T187" fmla="*/ 0 h 3136"/>
                <a:gd name="T188" fmla="*/ 3208 w 3208"/>
                <a:gd name="T189" fmla="*/ 3136 h 31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208" h="3136">
                  <a:moveTo>
                    <a:pt x="3208" y="1522"/>
                  </a:moveTo>
                  <a:lnTo>
                    <a:pt x="3208" y="1526"/>
                  </a:lnTo>
                  <a:lnTo>
                    <a:pt x="3204" y="1531"/>
                  </a:lnTo>
                  <a:lnTo>
                    <a:pt x="3200" y="1535"/>
                  </a:lnTo>
                  <a:lnTo>
                    <a:pt x="3199" y="1534"/>
                  </a:lnTo>
                  <a:lnTo>
                    <a:pt x="3201" y="1527"/>
                  </a:lnTo>
                  <a:lnTo>
                    <a:pt x="3201" y="1526"/>
                  </a:lnTo>
                  <a:lnTo>
                    <a:pt x="3197" y="1527"/>
                  </a:lnTo>
                  <a:lnTo>
                    <a:pt x="3194" y="1534"/>
                  </a:lnTo>
                  <a:lnTo>
                    <a:pt x="3191" y="1534"/>
                  </a:lnTo>
                  <a:lnTo>
                    <a:pt x="3193" y="1535"/>
                  </a:lnTo>
                  <a:lnTo>
                    <a:pt x="3187" y="1538"/>
                  </a:lnTo>
                  <a:lnTo>
                    <a:pt x="3183" y="1538"/>
                  </a:lnTo>
                  <a:lnTo>
                    <a:pt x="3176" y="1542"/>
                  </a:lnTo>
                  <a:lnTo>
                    <a:pt x="3171" y="1542"/>
                  </a:lnTo>
                  <a:lnTo>
                    <a:pt x="3166" y="1548"/>
                  </a:lnTo>
                  <a:lnTo>
                    <a:pt x="3162" y="1550"/>
                  </a:lnTo>
                  <a:lnTo>
                    <a:pt x="3155" y="1548"/>
                  </a:lnTo>
                  <a:lnTo>
                    <a:pt x="3157" y="1552"/>
                  </a:lnTo>
                  <a:lnTo>
                    <a:pt x="3149" y="1553"/>
                  </a:lnTo>
                  <a:lnTo>
                    <a:pt x="3147" y="1558"/>
                  </a:lnTo>
                  <a:lnTo>
                    <a:pt x="3149" y="1561"/>
                  </a:lnTo>
                  <a:lnTo>
                    <a:pt x="3146" y="1564"/>
                  </a:lnTo>
                  <a:lnTo>
                    <a:pt x="3144" y="1567"/>
                  </a:lnTo>
                  <a:lnTo>
                    <a:pt x="3137" y="1568"/>
                  </a:lnTo>
                  <a:lnTo>
                    <a:pt x="3133" y="1568"/>
                  </a:lnTo>
                  <a:lnTo>
                    <a:pt x="3126" y="1571"/>
                  </a:lnTo>
                  <a:lnTo>
                    <a:pt x="3130" y="1572"/>
                  </a:lnTo>
                  <a:lnTo>
                    <a:pt x="3141" y="1571"/>
                  </a:lnTo>
                  <a:lnTo>
                    <a:pt x="3151" y="1572"/>
                  </a:lnTo>
                  <a:lnTo>
                    <a:pt x="3164" y="1575"/>
                  </a:lnTo>
                  <a:lnTo>
                    <a:pt x="3166" y="1572"/>
                  </a:lnTo>
                  <a:lnTo>
                    <a:pt x="3171" y="1568"/>
                  </a:lnTo>
                  <a:lnTo>
                    <a:pt x="3171" y="1556"/>
                  </a:lnTo>
                  <a:lnTo>
                    <a:pt x="3175" y="1550"/>
                  </a:lnTo>
                  <a:lnTo>
                    <a:pt x="3177" y="1550"/>
                  </a:lnTo>
                  <a:lnTo>
                    <a:pt x="3186" y="1550"/>
                  </a:lnTo>
                  <a:lnTo>
                    <a:pt x="3191" y="1553"/>
                  </a:lnTo>
                  <a:lnTo>
                    <a:pt x="3197" y="1553"/>
                  </a:lnTo>
                  <a:lnTo>
                    <a:pt x="3196" y="1563"/>
                  </a:lnTo>
                  <a:lnTo>
                    <a:pt x="3186" y="1575"/>
                  </a:lnTo>
                  <a:lnTo>
                    <a:pt x="3161" y="1612"/>
                  </a:lnTo>
                  <a:lnTo>
                    <a:pt x="3157" y="1615"/>
                  </a:lnTo>
                  <a:lnTo>
                    <a:pt x="3152" y="1617"/>
                  </a:lnTo>
                  <a:lnTo>
                    <a:pt x="3149" y="1617"/>
                  </a:lnTo>
                  <a:lnTo>
                    <a:pt x="3121" y="1613"/>
                  </a:lnTo>
                  <a:lnTo>
                    <a:pt x="3083" y="1617"/>
                  </a:lnTo>
                  <a:lnTo>
                    <a:pt x="3057" y="1623"/>
                  </a:lnTo>
                  <a:lnTo>
                    <a:pt x="3001" y="1646"/>
                  </a:lnTo>
                  <a:lnTo>
                    <a:pt x="2968" y="1655"/>
                  </a:lnTo>
                  <a:lnTo>
                    <a:pt x="2956" y="1656"/>
                  </a:lnTo>
                  <a:lnTo>
                    <a:pt x="2950" y="1658"/>
                  </a:lnTo>
                  <a:lnTo>
                    <a:pt x="2933" y="1662"/>
                  </a:lnTo>
                  <a:lnTo>
                    <a:pt x="2911" y="1664"/>
                  </a:lnTo>
                  <a:lnTo>
                    <a:pt x="2886" y="1665"/>
                  </a:lnTo>
                  <a:lnTo>
                    <a:pt x="2866" y="1674"/>
                  </a:lnTo>
                  <a:lnTo>
                    <a:pt x="2856" y="1672"/>
                  </a:lnTo>
                  <a:lnTo>
                    <a:pt x="2847" y="1665"/>
                  </a:lnTo>
                  <a:lnTo>
                    <a:pt x="2842" y="1656"/>
                  </a:lnTo>
                  <a:lnTo>
                    <a:pt x="2841" y="1646"/>
                  </a:lnTo>
                  <a:lnTo>
                    <a:pt x="2837" y="1646"/>
                  </a:lnTo>
                  <a:lnTo>
                    <a:pt x="2833" y="1642"/>
                  </a:lnTo>
                  <a:lnTo>
                    <a:pt x="2833" y="1638"/>
                  </a:lnTo>
                  <a:lnTo>
                    <a:pt x="2834" y="1635"/>
                  </a:lnTo>
                  <a:lnTo>
                    <a:pt x="2845" y="1631"/>
                  </a:lnTo>
                  <a:lnTo>
                    <a:pt x="2844" y="1629"/>
                  </a:lnTo>
                  <a:lnTo>
                    <a:pt x="2839" y="1625"/>
                  </a:lnTo>
                  <a:lnTo>
                    <a:pt x="2840" y="1629"/>
                  </a:lnTo>
                  <a:lnTo>
                    <a:pt x="2840" y="1631"/>
                  </a:lnTo>
                  <a:lnTo>
                    <a:pt x="2833" y="1631"/>
                  </a:lnTo>
                  <a:lnTo>
                    <a:pt x="2830" y="1634"/>
                  </a:lnTo>
                  <a:lnTo>
                    <a:pt x="2826" y="1643"/>
                  </a:lnTo>
                  <a:lnTo>
                    <a:pt x="2823" y="1639"/>
                  </a:lnTo>
                  <a:lnTo>
                    <a:pt x="2822" y="1643"/>
                  </a:lnTo>
                  <a:lnTo>
                    <a:pt x="2823" y="1647"/>
                  </a:lnTo>
                  <a:lnTo>
                    <a:pt x="2829" y="1647"/>
                  </a:lnTo>
                  <a:lnTo>
                    <a:pt x="2833" y="1651"/>
                  </a:lnTo>
                  <a:lnTo>
                    <a:pt x="2834" y="1656"/>
                  </a:lnTo>
                  <a:lnTo>
                    <a:pt x="2833" y="1660"/>
                  </a:lnTo>
                  <a:lnTo>
                    <a:pt x="2829" y="1665"/>
                  </a:lnTo>
                  <a:lnTo>
                    <a:pt x="2826" y="1665"/>
                  </a:lnTo>
                  <a:lnTo>
                    <a:pt x="2826" y="1664"/>
                  </a:lnTo>
                  <a:lnTo>
                    <a:pt x="2823" y="1665"/>
                  </a:lnTo>
                  <a:lnTo>
                    <a:pt x="2819" y="1669"/>
                  </a:lnTo>
                  <a:lnTo>
                    <a:pt x="2816" y="1676"/>
                  </a:lnTo>
                  <a:lnTo>
                    <a:pt x="2812" y="1680"/>
                  </a:lnTo>
                  <a:lnTo>
                    <a:pt x="2817" y="1680"/>
                  </a:lnTo>
                  <a:lnTo>
                    <a:pt x="2825" y="1674"/>
                  </a:lnTo>
                  <a:lnTo>
                    <a:pt x="2833" y="1674"/>
                  </a:lnTo>
                  <a:lnTo>
                    <a:pt x="2836" y="1669"/>
                  </a:lnTo>
                  <a:lnTo>
                    <a:pt x="2839" y="1669"/>
                  </a:lnTo>
                  <a:lnTo>
                    <a:pt x="2842" y="1669"/>
                  </a:lnTo>
                  <a:lnTo>
                    <a:pt x="2844" y="1672"/>
                  </a:lnTo>
                  <a:lnTo>
                    <a:pt x="2842" y="1676"/>
                  </a:lnTo>
                  <a:lnTo>
                    <a:pt x="2840" y="1677"/>
                  </a:lnTo>
                  <a:lnTo>
                    <a:pt x="2809" y="1688"/>
                  </a:lnTo>
                  <a:lnTo>
                    <a:pt x="2763" y="1699"/>
                  </a:lnTo>
                  <a:lnTo>
                    <a:pt x="2765" y="1696"/>
                  </a:lnTo>
                  <a:lnTo>
                    <a:pt x="2772" y="1694"/>
                  </a:lnTo>
                  <a:lnTo>
                    <a:pt x="2775" y="1692"/>
                  </a:lnTo>
                  <a:lnTo>
                    <a:pt x="2777" y="1688"/>
                  </a:lnTo>
                  <a:lnTo>
                    <a:pt x="2777" y="1684"/>
                  </a:lnTo>
                  <a:lnTo>
                    <a:pt x="2775" y="1684"/>
                  </a:lnTo>
                  <a:lnTo>
                    <a:pt x="2775" y="1688"/>
                  </a:lnTo>
                  <a:lnTo>
                    <a:pt x="2773" y="1691"/>
                  </a:lnTo>
                  <a:lnTo>
                    <a:pt x="2770" y="1691"/>
                  </a:lnTo>
                  <a:lnTo>
                    <a:pt x="2770" y="1676"/>
                  </a:lnTo>
                  <a:lnTo>
                    <a:pt x="2769" y="1674"/>
                  </a:lnTo>
                  <a:lnTo>
                    <a:pt x="2767" y="1680"/>
                  </a:lnTo>
                  <a:lnTo>
                    <a:pt x="2765" y="1680"/>
                  </a:lnTo>
                  <a:lnTo>
                    <a:pt x="2756" y="1662"/>
                  </a:lnTo>
                  <a:lnTo>
                    <a:pt x="2754" y="1665"/>
                  </a:lnTo>
                  <a:lnTo>
                    <a:pt x="2759" y="1679"/>
                  </a:lnTo>
                  <a:lnTo>
                    <a:pt x="2759" y="1684"/>
                  </a:lnTo>
                  <a:lnTo>
                    <a:pt x="2762" y="1688"/>
                  </a:lnTo>
                  <a:lnTo>
                    <a:pt x="2762" y="1691"/>
                  </a:lnTo>
                  <a:lnTo>
                    <a:pt x="2761" y="1692"/>
                  </a:lnTo>
                  <a:lnTo>
                    <a:pt x="2744" y="1699"/>
                  </a:lnTo>
                  <a:lnTo>
                    <a:pt x="2742" y="1702"/>
                  </a:lnTo>
                  <a:lnTo>
                    <a:pt x="2745" y="1702"/>
                  </a:lnTo>
                  <a:lnTo>
                    <a:pt x="2747" y="1706"/>
                  </a:lnTo>
                  <a:lnTo>
                    <a:pt x="2744" y="1709"/>
                  </a:lnTo>
                  <a:lnTo>
                    <a:pt x="2720" y="1714"/>
                  </a:lnTo>
                  <a:lnTo>
                    <a:pt x="2716" y="1714"/>
                  </a:lnTo>
                  <a:lnTo>
                    <a:pt x="2715" y="1710"/>
                  </a:lnTo>
                  <a:lnTo>
                    <a:pt x="2716" y="1706"/>
                  </a:lnTo>
                  <a:lnTo>
                    <a:pt x="2715" y="1702"/>
                  </a:lnTo>
                  <a:lnTo>
                    <a:pt x="2710" y="1705"/>
                  </a:lnTo>
                  <a:lnTo>
                    <a:pt x="2702" y="1701"/>
                  </a:lnTo>
                  <a:lnTo>
                    <a:pt x="2701" y="1694"/>
                  </a:lnTo>
                  <a:lnTo>
                    <a:pt x="2697" y="1691"/>
                  </a:lnTo>
                  <a:lnTo>
                    <a:pt x="2698" y="1688"/>
                  </a:lnTo>
                  <a:lnTo>
                    <a:pt x="2701" y="1688"/>
                  </a:lnTo>
                  <a:lnTo>
                    <a:pt x="2701" y="1684"/>
                  </a:lnTo>
                  <a:lnTo>
                    <a:pt x="2697" y="1688"/>
                  </a:lnTo>
                  <a:lnTo>
                    <a:pt x="2697" y="1694"/>
                  </a:lnTo>
                  <a:lnTo>
                    <a:pt x="2695" y="1696"/>
                  </a:lnTo>
                  <a:lnTo>
                    <a:pt x="2694" y="1699"/>
                  </a:lnTo>
                  <a:lnTo>
                    <a:pt x="2688" y="1694"/>
                  </a:lnTo>
                  <a:lnTo>
                    <a:pt x="2687" y="1694"/>
                  </a:lnTo>
                  <a:lnTo>
                    <a:pt x="2687" y="1701"/>
                  </a:lnTo>
                  <a:lnTo>
                    <a:pt x="2690" y="1702"/>
                  </a:lnTo>
                  <a:lnTo>
                    <a:pt x="2690" y="1705"/>
                  </a:lnTo>
                  <a:lnTo>
                    <a:pt x="2678" y="1714"/>
                  </a:lnTo>
                  <a:lnTo>
                    <a:pt x="2673" y="1718"/>
                  </a:lnTo>
                  <a:lnTo>
                    <a:pt x="2665" y="1721"/>
                  </a:lnTo>
                  <a:lnTo>
                    <a:pt x="2656" y="1721"/>
                  </a:lnTo>
                  <a:lnTo>
                    <a:pt x="2656" y="1722"/>
                  </a:lnTo>
                  <a:lnTo>
                    <a:pt x="2653" y="1725"/>
                  </a:lnTo>
                  <a:lnTo>
                    <a:pt x="2653" y="1726"/>
                  </a:lnTo>
                  <a:lnTo>
                    <a:pt x="2663" y="1727"/>
                  </a:lnTo>
                  <a:lnTo>
                    <a:pt x="2673" y="1726"/>
                  </a:lnTo>
                  <a:lnTo>
                    <a:pt x="2677" y="1725"/>
                  </a:lnTo>
                  <a:lnTo>
                    <a:pt x="2684" y="1717"/>
                  </a:lnTo>
                  <a:lnTo>
                    <a:pt x="2695" y="1713"/>
                  </a:lnTo>
                  <a:lnTo>
                    <a:pt x="2701" y="1714"/>
                  </a:lnTo>
                  <a:lnTo>
                    <a:pt x="2699" y="1718"/>
                  </a:lnTo>
                  <a:lnTo>
                    <a:pt x="2697" y="1721"/>
                  </a:lnTo>
                  <a:lnTo>
                    <a:pt x="2670" y="1729"/>
                  </a:lnTo>
                  <a:lnTo>
                    <a:pt x="2652" y="1733"/>
                  </a:lnTo>
                  <a:lnTo>
                    <a:pt x="2623" y="1747"/>
                  </a:lnTo>
                  <a:lnTo>
                    <a:pt x="2605" y="1751"/>
                  </a:lnTo>
                  <a:lnTo>
                    <a:pt x="2541" y="1778"/>
                  </a:lnTo>
                  <a:lnTo>
                    <a:pt x="2495" y="1794"/>
                  </a:lnTo>
                  <a:lnTo>
                    <a:pt x="2492" y="1796"/>
                  </a:lnTo>
                  <a:lnTo>
                    <a:pt x="2470" y="1804"/>
                  </a:lnTo>
                  <a:lnTo>
                    <a:pt x="2448" y="1816"/>
                  </a:lnTo>
                  <a:lnTo>
                    <a:pt x="2446" y="1818"/>
                  </a:lnTo>
                  <a:lnTo>
                    <a:pt x="2443" y="1825"/>
                  </a:lnTo>
                  <a:lnTo>
                    <a:pt x="2443" y="1830"/>
                  </a:lnTo>
                  <a:lnTo>
                    <a:pt x="2441" y="1833"/>
                  </a:lnTo>
                  <a:lnTo>
                    <a:pt x="2432" y="1834"/>
                  </a:lnTo>
                  <a:lnTo>
                    <a:pt x="2421" y="1843"/>
                  </a:lnTo>
                  <a:lnTo>
                    <a:pt x="2407" y="1845"/>
                  </a:lnTo>
                  <a:lnTo>
                    <a:pt x="2405" y="1845"/>
                  </a:lnTo>
                  <a:lnTo>
                    <a:pt x="2403" y="1843"/>
                  </a:lnTo>
                  <a:lnTo>
                    <a:pt x="2399" y="1838"/>
                  </a:lnTo>
                  <a:lnTo>
                    <a:pt x="2397" y="1829"/>
                  </a:lnTo>
                  <a:lnTo>
                    <a:pt x="2396" y="1812"/>
                  </a:lnTo>
                  <a:lnTo>
                    <a:pt x="2393" y="1792"/>
                  </a:lnTo>
                  <a:lnTo>
                    <a:pt x="2395" y="1789"/>
                  </a:lnTo>
                  <a:lnTo>
                    <a:pt x="2405" y="1781"/>
                  </a:lnTo>
                  <a:lnTo>
                    <a:pt x="2403" y="1781"/>
                  </a:lnTo>
                  <a:lnTo>
                    <a:pt x="2393" y="1786"/>
                  </a:lnTo>
                  <a:lnTo>
                    <a:pt x="2389" y="1778"/>
                  </a:lnTo>
                  <a:lnTo>
                    <a:pt x="2389" y="1776"/>
                  </a:lnTo>
                  <a:lnTo>
                    <a:pt x="2395" y="1763"/>
                  </a:lnTo>
                  <a:lnTo>
                    <a:pt x="2396" y="1754"/>
                  </a:lnTo>
                  <a:lnTo>
                    <a:pt x="2395" y="1751"/>
                  </a:lnTo>
                  <a:lnTo>
                    <a:pt x="2392" y="1754"/>
                  </a:lnTo>
                  <a:lnTo>
                    <a:pt x="2391" y="1751"/>
                  </a:lnTo>
                  <a:lnTo>
                    <a:pt x="2393" y="1744"/>
                  </a:lnTo>
                  <a:lnTo>
                    <a:pt x="2392" y="1741"/>
                  </a:lnTo>
                  <a:lnTo>
                    <a:pt x="2389" y="1741"/>
                  </a:lnTo>
                  <a:lnTo>
                    <a:pt x="2385" y="1741"/>
                  </a:lnTo>
                  <a:lnTo>
                    <a:pt x="2386" y="1743"/>
                  </a:lnTo>
                  <a:lnTo>
                    <a:pt x="2389" y="1744"/>
                  </a:lnTo>
                  <a:lnTo>
                    <a:pt x="2389" y="1747"/>
                  </a:lnTo>
                  <a:lnTo>
                    <a:pt x="2386" y="1749"/>
                  </a:lnTo>
                  <a:lnTo>
                    <a:pt x="2386" y="1750"/>
                  </a:lnTo>
                  <a:lnTo>
                    <a:pt x="2392" y="1759"/>
                  </a:lnTo>
                  <a:lnTo>
                    <a:pt x="2391" y="1767"/>
                  </a:lnTo>
                  <a:lnTo>
                    <a:pt x="2386" y="1769"/>
                  </a:lnTo>
                  <a:lnTo>
                    <a:pt x="2386" y="1776"/>
                  </a:lnTo>
                  <a:lnTo>
                    <a:pt x="2382" y="1778"/>
                  </a:lnTo>
                  <a:lnTo>
                    <a:pt x="2378" y="1780"/>
                  </a:lnTo>
                  <a:lnTo>
                    <a:pt x="2375" y="1778"/>
                  </a:lnTo>
                  <a:lnTo>
                    <a:pt x="2370" y="1772"/>
                  </a:lnTo>
                  <a:lnTo>
                    <a:pt x="2363" y="1767"/>
                  </a:lnTo>
                  <a:lnTo>
                    <a:pt x="2356" y="1766"/>
                  </a:lnTo>
                  <a:lnTo>
                    <a:pt x="2352" y="1767"/>
                  </a:lnTo>
                  <a:lnTo>
                    <a:pt x="2349" y="1767"/>
                  </a:lnTo>
                  <a:lnTo>
                    <a:pt x="2349" y="1771"/>
                  </a:lnTo>
                  <a:lnTo>
                    <a:pt x="2347" y="1772"/>
                  </a:lnTo>
                  <a:lnTo>
                    <a:pt x="2357" y="1784"/>
                  </a:lnTo>
                  <a:lnTo>
                    <a:pt x="2366" y="1792"/>
                  </a:lnTo>
                  <a:lnTo>
                    <a:pt x="2385" y="1803"/>
                  </a:lnTo>
                  <a:lnTo>
                    <a:pt x="2386" y="1808"/>
                  </a:lnTo>
                  <a:lnTo>
                    <a:pt x="2386" y="1820"/>
                  </a:lnTo>
                  <a:lnTo>
                    <a:pt x="2381" y="1822"/>
                  </a:lnTo>
                  <a:lnTo>
                    <a:pt x="2377" y="1834"/>
                  </a:lnTo>
                  <a:lnTo>
                    <a:pt x="2372" y="1834"/>
                  </a:lnTo>
                  <a:lnTo>
                    <a:pt x="2357" y="1826"/>
                  </a:lnTo>
                  <a:lnTo>
                    <a:pt x="2346" y="1826"/>
                  </a:lnTo>
                  <a:lnTo>
                    <a:pt x="2343" y="1826"/>
                  </a:lnTo>
                  <a:lnTo>
                    <a:pt x="2342" y="1816"/>
                  </a:lnTo>
                  <a:lnTo>
                    <a:pt x="2339" y="1816"/>
                  </a:lnTo>
                  <a:lnTo>
                    <a:pt x="2339" y="1822"/>
                  </a:lnTo>
                  <a:lnTo>
                    <a:pt x="2338" y="1825"/>
                  </a:lnTo>
                  <a:lnTo>
                    <a:pt x="2342" y="1830"/>
                  </a:lnTo>
                  <a:lnTo>
                    <a:pt x="2349" y="1834"/>
                  </a:lnTo>
                  <a:lnTo>
                    <a:pt x="2356" y="1833"/>
                  </a:lnTo>
                  <a:lnTo>
                    <a:pt x="2370" y="1838"/>
                  </a:lnTo>
                  <a:lnTo>
                    <a:pt x="2370" y="1842"/>
                  </a:lnTo>
                  <a:lnTo>
                    <a:pt x="2361" y="1841"/>
                  </a:lnTo>
                  <a:lnTo>
                    <a:pt x="2360" y="1841"/>
                  </a:lnTo>
                  <a:lnTo>
                    <a:pt x="2360" y="1842"/>
                  </a:lnTo>
                  <a:lnTo>
                    <a:pt x="2368" y="1845"/>
                  </a:lnTo>
                  <a:lnTo>
                    <a:pt x="2381" y="1843"/>
                  </a:lnTo>
                  <a:lnTo>
                    <a:pt x="2385" y="1845"/>
                  </a:lnTo>
                  <a:lnTo>
                    <a:pt x="2383" y="1848"/>
                  </a:lnTo>
                  <a:lnTo>
                    <a:pt x="2381" y="1849"/>
                  </a:lnTo>
                  <a:lnTo>
                    <a:pt x="2363" y="1856"/>
                  </a:lnTo>
                  <a:lnTo>
                    <a:pt x="2361" y="1865"/>
                  </a:lnTo>
                  <a:lnTo>
                    <a:pt x="2349" y="1866"/>
                  </a:lnTo>
                  <a:lnTo>
                    <a:pt x="2339" y="1867"/>
                  </a:lnTo>
                  <a:lnTo>
                    <a:pt x="2338" y="1867"/>
                  </a:lnTo>
                  <a:lnTo>
                    <a:pt x="2336" y="1866"/>
                  </a:lnTo>
                  <a:lnTo>
                    <a:pt x="2333" y="1867"/>
                  </a:lnTo>
                  <a:lnTo>
                    <a:pt x="2330" y="1856"/>
                  </a:lnTo>
                  <a:lnTo>
                    <a:pt x="2325" y="1853"/>
                  </a:lnTo>
                  <a:lnTo>
                    <a:pt x="2311" y="1845"/>
                  </a:lnTo>
                  <a:lnTo>
                    <a:pt x="2303" y="1830"/>
                  </a:lnTo>
                  <a:lnTo>
                    <a:pt x="2302" y="1830"/>
                  </a:lnTo>
                  <a:lnTo>
                    <a:pt x="2302" y="1833"/>
                  </a:lnTo>
                  <a:lnTo>
                    <a:pt x="2302" y="1838"/>
                  </a:lnTo>
                  <a:lnTo>
                    <a:pt x="2300" y="1838"/>
                  </a:lnTo>
                  <a:lnTo>
                    <a:pt x="2293" y="1834"/>
                  </a:lnTo>
                  <a:lnTo>
                    <a:pt x="2300" y="1842"/>
                  </a:lnTo>
                  <a:lnTo>
                    <a:pt x="2311" y="1851"/>
                  </a:lnTo>
                  <a:lnTo>
                    <a:pt x="2318" y="1853"/>
                  </a:lnTo>
                  <a:lnTo>
                    <a:pt x="2322" y="1856"/>
                  </a:lnTo>
                  <a:lnTo>
                    <a:pt x="2332" y="1871"/>
                  </a:lnTo>
                  <a:lnTo>
                    <a:pt x="2331" y="1871"/>
                  </a:lnTo>
                  <a:lnTo>
                    <a:pt x="2310" y="1878"/>
                  </a:lnTo>
                  <a:lnTo>
                    <a:pt x="2300" y="1881"/>
                  </a:lnTo>
                  <a:lnTo>
                    <a:pt x="2285" y="1883"/>
                  </a:lnTo>
                  <a:lnTo>
                    <a:pt x="2246" y="1898"/>
                  </a:lnTo>
                  <a:lnTo>
                    <a:pt x="2235" y="1904"/>
                  </a:lnTo>
                  <a:lnTo>
                    <a:pt x="2214" y="1913"/>
                  </a:lnTo>
                  <a:lnTo>
                    <a:pt x="2202" y="1920"/>
                  </a:lnTo>
                  <a:lnTo>
                    <a:pt x="2161" y="1937"/>
                  </a:lnTo>
                  <a:lnTo>
                    <a:pt x="2115" y="1961"/>
                  </a:lnTo>
                  <a:lnTo>
                    <a:pt x="2073" y="1986"/>
                  </a:lnTo>
                  <a:lnTo>
                    <a:pt x="2057" y="1991"/>
                  </a:lnTo>
                  <a:lnTo>
                    <a:pt x="2053" y="1991"/>
                  </a:lnTo>
                  <a:lnTo>
                    <a:pt x="2053" y="1987"/>
                  </a:lnTo>
                  <a:lnTo>
                    <a:pt x="2053" y="1986"/>
                  </a:lnTo>
                  <a:lnTo>
                    <a:pt x="2060" y="1983"/>
                  </a:lnTo>
                  <a:lnTo>
                    <a:pt x="2076" y="1968"/>
                  </a:lnTo>
                  <a:lnTo>
                    <a:pt x="2082" y="1968"/>
                  </a:lnTo>
                  <a:lnTo>
                    <a:pt x="2089" y="1968"/>
                  </a:lnTo>
                  <a:lnTo>
                    <a:pt x="2097" y="1968"/>
                  </a:lnTo>
                  <a:lnTo>
                    <a:pt x="2098" y="1968"/>
                  </a:lnTo>
                  <a:lnTo>
                    <a:pt x="2098" y="1965"/>
                  </a:lnTo>
                  <a:lnTo>
                    <a:pt x="2098" y="1968"/>
                  </a:lnTo>
                  <a:lnTo>
                    <a:pt x="2096" y="1968"/>
                  </a:lnTo>
                  <a:lnTo>
                    <a:pt x="2087" y="1967"/>
                  </a:lnTo>
                  <a:lnTo>
                    <a:pt x="2082" y="1965"/>
                  </a:lnTo>
                  <a:lnTo>
                    <a:pt x="2076" y="1965"/>
                  </a:lnTo>
                  <a:lnTo>
                    <a:pt x="2068" y="1968"/>
                  </a:lnTo>
                  <a:lnTo>
                    <a:pt x="2060" y="1977"/>
                  </a:lnTo>
                  <a:lnTo>
                    <a:pt x="2051" y="1980"/>
                  </a:lnTo>
                  <a:lnTo>
                    <a:pt x="2047" y="1983"/>
                  </a:lnTo>
                  <a:lnTo>
                    <a:pt x="2044" y="1983"/>
                  </a:lnTo>
                  <a:lnTo>
                    <a:pt x="2040" y="1987"/>
                  </a:lnTo>
                  <a:lnTo>
                    <a:pt x="2040" y="1998"/>
                  </a:lnTo>
                  <a:lnTo>
                    <a:pt x="2037" y="2003"/>
                  </a:lnTo>
                  <a:lnTo>
                    <a:pt x="2001" y="2022"/>
                  </a:lnTo>
                  <a:lnTo>
                    <a:pt x="1978" y="2036"/>
                  </a:lnTo>
                  <a:lnTo>
                    <a:pt x="1972" y="2036"/>
                  </a:lnTo>
                  <a:lnTo>
                    <a:pt x="1965" y="2032"/>
                  </a:lnTo>
                  <a:lnTo>
                    <a:pt x="1950" y="2032"/>
                  </a:lnTo>
                  <a:lnTo>
                    <a:pt x="1944" y="2028"/>
                  </a:lnTo>
                  <a:lnTo>
                    <a:pt x="1942" y="2028"/>
                  </a:lnTo>
                  <a:lnTo>
                    <a:pt x="1933" y="2030"/>
                  </a:lnTo>
                  <a:lnTo>
                    <a:pt x="1932" y="2036"/>
                  </a:lnTo>
                  <a:lnTo>
                    <a:pt x="1934" y="2042"/>
                  </a:lnTo>
                  <a:lnTo>
                    <a:pt x="1936" y="2036"/>
                  </a:lnTo>
                  <a:lnTo>
                    <a:pt x="1940" y="2032"/>
                  </a:lnTo>
                  <a:lnTo>
                    <a:pt x="1953" y="2036"/>
                  </a:lnTo>
                  <a:lnTo>
                    <a:pt x="1954" y="2039"/>
                  </a:lnTo>
                  <a:lnTo>
                    <a:pt x="1956" y="2042"/>
                  </a:lnTo>
                  <a:lnTo>
                    <a:pt x="1956" y="2044"/>
                  </a:lnTo>
                  <a:lnTo>
                    <a:pt x="1946" y="2052"/>
                  </a:lnTo>
                  <a:lnTo>
                    <a:pt x="1921" y="2065"/>
                  </a:lnTo>
                  <a:lnTo>
                    <a:pt x="1879" y="2083"/>
                  </a:lnTo>
                  <a:lnTo>
                    <a:pt x="1854" y="2097"/>
                  </a:lnTo>
                  <a:lnTo>
                    <a:pt x="1852" y="2097"/>
                  </a:lnTo>
                  <a:lnTo>
                    <a:pt x="1852" y="2091"/>
                  </a:lnTo>
                  <a:lnTo>
                    <a:pt x="1851" y="2089"/>
                  </a:lnTo>
                  <a:lnTo>
                    <a:pt x="1847" y="2085"/>
                  </a:lnTo>
                  <a:lnTo>
                    <a:pt x="1850" y="2091"/>
                  </a:lnTo>
                  <a:lnTo>
                    <a:pt x="1847" y="2097"/>
                  </a:lnTo>
                  <a:lnTo>
                    <a:pt x="1843" y="2097"/>
                  </a:lnTo>
                  <a:lnTo>
                    <a:pt x="1836" y="2097"/>
                  </a:lnTo>
                  <a:lnTo>
                    <a:pt x="1832" y="2097"/>
                  </a:lnTo>
                  <a:lnTo>
                    <a:pt x="1830" y="2100"/>
                  </a:lnTo>
                  <a:lnTo>
                    <a:pt x="1830" y="2107"/>
                  </a:lnTo>
                  <a:lnTo>
                    <a:pt x="1829" y="2111"/>
                  </a:lnTo>
                  <a:lnTo>
                    <a:pt x="1776" y="2141"/>
                  </a:lnTo>
                  <a:lnTo>
                    <a:pt x="1771" y="2145"/>
                  </a:lnTo>
                  <a:lnTo>
                    <a:pt x="1769" y="2145"/>
                  </a:lnTo>
                  <a:lnTo>
                    <a:pt x="1769" y="2144"/>
                  </a:lnTo>
                  <a:lnTo>
                    <a:pt x="1782" y="2137"/>
                  </a:lnTo>
                  <a:lnTo>
                    <a:pt x="1786" y="2133"/>
                  </a:lnTo>
                  <a:lnTo>
                    <a:pt x="1779" y="2136"/>
                  </a:lnTo>
                  <a:lnTo>
                    <a:pt x="1779" y="2128"/>
                  </a:lnTo>
                  <a:lnTo>
                    <a:pt x="1772" y="2136"/>
                  </a:lnTo>
                  <a:lnTo>
                    <a:pt x="1755" y="2145"/>
                  </a:lnTo>
                  <a:lnTo>
                    <a:pt x="1754" y="2154"/>
                  </a:lnTo>
                  <a:lnTo>
                    <a:pt x="1749" y="2160"/>
                  </a:lnTo>
                  <a:lnTo>
                    <a:pt x="1743" y="2160"/>
                  </a:lnTo>
                  <a:lnTo>
                    <a:pt x="1737" y="2160"/>
                  </a:lnTo>
                  <a:lnTo>
                    <a:pt x="1729" y="2158"/>
                  </a:lnTo>
                  <a:lnTo>
                    <a:pt x="1724" y="2160"/>
                  </a:lnTo>
                  <a:lnTo>
                    <a:pt x="1723" y="2162"/>
                  </a:lnTo>
                  <a:lnTo>
                    <a:pt x="1723" y="2166"/>
                  </a:lnTo>
                  <a:lnTo>
                    <a:pt x="1729" y="2164"/>
                  </a:lnTo>
                  <a:lnTo>
                    <a:pt x="1729" y="2166"/>
                  </a:lnTo>
                  <a:lnTo>
                    <a:pt x="1727" y="2168"/>
                  </a:lnTo>
                  <a:lnTo>
                    <a:pt x="1688" y="2195"/>
                  </a:lnTo>
                  <a:lnTo>
                    <a:pt x="1674" y="2208"/>
                  </a:lnTo>
                  <a:lnTo>
                    <a:pt x="1669" y="2215"/>
                  </a:lnTo>
                  <a:lnTo>
                    <a:pt x="1663" y="2219"/>
                  </a:lnTo>
                  <a:lnTo>
                    <a:pt x="1659" y="2219"/>
                  </a:lnTo>
                  <a:lnTo>
                    <a:pt x="1657" y="2216"/>
                  </a:lnTo>
                  <a:lnTo>
                    <a:pt x="1649" y="2201"/>
                  </a:lnTo>
                  <a:lnTo>
                    <a:pt x="1643" y="2189"/>
                  </a:lnTo>
                  <a:lnTo>
                    <a:pt x="1641" y="2181"/>
                  </a:lnTo>
                  <a:lnTo>
                    <a:pt x="1638" y="2174"/>
                  </a:lnTo>
                  <a:lnTo>
                    <a:pt x="1630" y="2170"/>
                  </a:lnTo>
                  <a:lnTo>
                    <a:pt x="1626" y="2170"/>
                  </a:lnTo>
                  <a:lnTo>
                    <a:pt x="1613" y="2177"/>
                  </a:lnTo>
                  <a:lnTo>
                    <a:pt x="1611" y="2177"/>
                  </a:lnTo>
                  <a:lnTo>
                    <a:pt x="1608" y="2174"/>
                  </a:lnTo>
                  <a:lnTo>
                    <a:pt x="1611" y="2178"/>
                  </a:lnTo>
                  <a:lnTo>
                    <a:pt x="1613" y="2181"/>
                  </a:lnTo>
                  <a:lnTo>
                    <a:pt x="1627" y="2174"/>
                  </a:lnTo>
                  <a:lnTo>
                    <a:pt x="1632" y="2178"/>
                  </a:lnTo>
                  <a:lnTo>
                    <a:pt x="1633" y="2182"/>
                  </a:lnTo>
                  <a:lnTo>
                    <a:pt x="1636" y="2194"/>
                  </a:lnTo>
                  <a:lnTo>
                    <a:pt x="1634" y="2201"/>
                  </a:lnTo>
                  <a:lnTo>
                    <a:pt x="1636" y="2204"/>
                  </a:lnTo>
                  <a:lnTo>
                    <a:pt x="1638" y="2201"/>
                  </a:lnTo>
                  <a:lnTo>
                    <a:pt x="1640" y="2201"/>
                  </a:lnTo>
                  <a:lnTo>
                    <a:pt x="1641" y="2208"/>
                  </a:lnTo>
                  <a:lnTo>
                    <a:pt x="1648" y="2216"/>
                  </a:lnTo>
                  <a:lnTo>
                    <a:pt x="1648" y="2219"/>
                  </a:lnTo>
                  <a:lnTo>
                    <a:pt x="1646" y="2226"/>
                  </a:lnTo>
                  <a:lnTo>
                    <a:pt x="1638" y="2235"/>
                  </a:lnTo>
                  <a:lnTo>
                    <a:pt x="1622" y="2245"/>
                  </a:lnTo>
                  <a:lnTo>
                    <a:pt x="1612" y="2257"/>
                  </a:lnTo>
                  <a:lnTo>
                    <a:pt x="1602" y="2265"/>
                  </a:lnTo>
                  <a:lnTo>
                    <a:pt x="1576" y="2294"/>
                  </a:lnTo>
                  <a:lnTo>
                    <a:pt x="1531" y="2355"/>
                  </a:lnTo>
                  <a:lnTo>
                    <a:pt x="1520" y="2365"/>
                  </a:lnTo>
                  <a:lnTo>
                    <a:pt x="1506" y="2388"/>
                  </a:lnTo>
                  <a:lnTo>
                    <a:pt x="1491" y="2407"/>
                  </a:lnTo>
                  <a:lnTo>
                    <a:pt x="1489" y="2410"/>
                  </a:lnTo>
                  <a:lnTo>
                    <a:pt x="1480" y="2425"/>
                  </a:lnTo>
                  <a:lnTo>
                    <a:pt x="1474" y="2429"/>
                  </a:lnTo>
                  <a:lnTo>
                    <a:pt x="1470" y="2429"/>
                  </a:lnTo>
                  <a:lnTo>
                    <a:pt x="1464" y="2420"/>
                  </a:lnTo>
                  <a:lnTo>
                    <a:pt x="1463" y="2417"/>
                  </a:lnTo>
                  <a:lnTo>
                    <a:pt x="1460" y="2413"/>
                  </a:lnTo>
                  <a:lnTo>
                    <a:pt x="1462" y="2410"/>
                  </a:lnTo>
                  <a:lnTo>
                    <a:pt x="1453" y="2395"/>
                  </a:lnTo>
                  <a:lnTo>
                    <a:pt x="1439" y="2385"/>
                  </a:lnTo>
                  <a:lnTo>
                    <a:pt x="1428" y="2380"/>
                  </a:lnTo>
                  <a:lnTo>
                    <a:pt x="1427" y="2377"/>
                  </a:lnTo>
                  <a:lnTo>
                    <a:pt x="1425" y="2373"/>
                  </a:lnTo>
                  <a:lnTo>
                    <a:pt x="1423" y="2368"/>
                  </a:lnTo>
                  <a:lnTo>
                    <a:pt x="1423" y="2369"/>
                  </a:lnTo>
                  <a:lnTo>
                    <a:pt x="1423" y="2372"/>
                  </a:lnTo>
                  <a:lnTo>
                    <a:pt x="1422" y="2372"/>
                  </a:lnTo>
                  <a:lnTo>
                    <a:pt x="1419" y="2361"/>
                  </a:lnTo>
                  <a:lnTo>
                    <a:pt x="1417" y="2357"/>
                  </a:lnTo>
                  <a:lnTo>
                    <a:pt x="1420" y="2350"/>
                  </a:lnTo>
                  <a:lnTo>
                    <a:pt x="1420" y="2339"/>
                  </a:lnTo>
                  <a:lnTo>
                    <a:pt x="1417" y="2328"/>
                  </a:lnTo>
                  <a:lnTo>
                    <a:pt x="1412" y="2320"/>
                  </a:lnTo>
                  <a:lnTo>
                    <a:pt x="1403" y="2320"/>
                  </a:lnTo>
                  <a:lnTo>
                    <a:pt x="1394" y="2314"/>
                  </a:lnTo>
                  <a:lnTo>
                    <a:pt x="1387" y="2313"/>
                  </a:lnTo>
                  <a:lnTo>
                    <a:pt x="1375" y="2315"/>
                  </a:lnTo>
                  <a:lnTo>
                    <a:pt x="1369" y="2323"/>
                  </a:lnTo>
                  <a:lnTo>
                    <a:pt x="1364" y="2325"/>
                  </a:lnTo>
                  <a:lnTo>
                    <a:pt x="1356" y="2327"/>
                  </a:lnTo>
                  <a:lnTo>
                    <a:pt x="1344" y="2332"/>
                  </a:lnTo>
                  <a:lnTo>
                    <a:pt x="1339" y="2338"/>
                  </a:lnTo>
                  <a:lnTo>
                    <a:pt x="1348" y="2338"/>
                  </a:lnTo>
                  <a:lnTo>
                    <a:pt x="1369" y="2331"/>
                  </a:lnTo>
                  <a:lnTo>
                    <a:pt x="1394" y="2325"/>
                  </a:lnTo>
                  <a:lnTo>
                    <a:pt x="1398" y="2325"/>
                  </a:lnTo>
                  <a:lnTo>
                    <a:pt x="1399" y="2336"/>
                  </a:lnTo>
                  <a:lnTo>
                    <a:pt x="1405" y="2360"/>
                  </a:lnTo>
                  <a:lnTo>
                    <a:pt x="1405" y="2373"/>
                  </a:lnTo>
                  <a:lnTo>
                    <a:pt x="1412" y="2395"/>
                  </a:lnTo>
                  <a:lnTo>
                    <a:pt x="1413" y="2410"/>
                  </a:lnTo>
                  <a:lnTo>
                    <a:pt x="1413" y="2417"/>
                  </a:lnTo>
                  <a:lnTo>
                    <a:pt x="1416" y="2426"/>
                  </a:lnTo>
                  <a:lnTo>
                    <a:pt x="1420" y="2431"/>
                  </a:lnTo>
                  <a:lnTo>
                    <a:pt x="1425" y="2435"/>
                  </a:lnTo>
                  <a:lnTo>
                    <a:pt x="1442" y="2435"/>
                  </a:lnTo>
                  <a:lnTo>
                    <a:pt x="1447" y="2440"/>
                  </a:lnTo>
                  <a:lnTo>
                    <a:pt x="1453" y="2440"/>
                  </a:lnTo>
                  <a:lnTo>
                    <a:pt x="1455" y="2444"/>
                  </a:lnTo>
                  <a:lnTo>
                    <a:pt x="1460" y="2440"/>
                  </a:lnTo>
                  <a:lnTo>
                    <a:pt x="1462" y="2443"/>
                  </a:lnTo>
                  <a:lnTo>
                    <a:pt x="1463" y="2444"/>
                  </a:lnTo>
                  <a:lnTo>
                    <a:pt x="1460" y="2452"/>
                  </a:lnTo>
                  <a:lnTo>
                    <a:pt x="1462" y="2459"/>
                  </a:lnTo>
                  <a:lnTo>
                    <a:pt x="1460" y="2463"/>
                  </a:lnTo>
                  <a:lnTo>
                    <a:pt x="1419" y="2506"/>
                  </a:lnTo>
                  <a:lnTo>
                    <a:pt x="1408" y="2519"/>
                  </a:lnTo>
                  <a:lnTo>
                    <a:pt x="1394" y="2538"/>
                  </a:lnTo>
                  <a:lnTo>
                    <a:pt x="1391" y="2549"/>
                  </a:lnTo>
                  <a:lnTo>
                    <a:pt x="1391" y="2560"/>
                  </a:lnTo>
                  <a:lnTo>
                    <a:pt x="1388" y="2563"/>
                  </a:lnTo>
                  <a:lnTo>
                    <a:pt x="1378" y="2559"/>
                  </a:lnTo>
                  <a:lnTo>
                    <a:pt x="1367" y="2556"/>
                  </a:lnTo>
                  <a:lnTo>
                    <a:pt x="1359" y="2552"/>
                  </a:lnTo>
                  <a:lnTo>
                    <a:pt x="1359" y="2551"/>
                  </a:lnTo>
                  <a:lnTo>
                    <a:pt x="1362" y="2550"/>
                  </a:lnTo>
                  <a:lnTo>
                    <a:pt x="1369" y="2550"/>
                  </a:lnTo>
                  <a:lnTo>
                    <a:pt x="1374" y="2547"/>
                  </a:lnTo>
                  <a:lnTo>
                    <a:pt x="1364" y="2544"/>
                  </a:lnTo>
                  <a:lnTo>
                    <a:pt x="1359" y="2546"/>
                  </a:lnTo>
                  <a:lnTo>
                    <a:pt x="1352" y="2552"/>
                  </a:lnTo>
                  <a:lnTo>
                    <a:pt x="1345" y="2552"/>
                  </a:lnTo>
                  <a:lnTo>
                    <a:pt x="1337" y="2560"/>
                  </a:lnTo>
                  <a:lnTo>
                    <a:pt x="1321" y="2568"/>
                  </a:lnTo>
                  <a:lnTo>
                    <a:pt x="1316" y="2577"/>
                  </a:lnTo>
                  <a:lnTo>
                    <a:pt x="1309" y="2579"/>
                  </a:lnTo>
                  <a:lnTo>
                    <a:pt x="1310" y="2581"/>
                  </a:lnTo>
                  <a:lnTo>
                    <a:pt x="1316" y="2581"/>
                  </a:lnTo>
                  <a:lnTo>
                    <a:pt x="1317" y="2583"/>
                  </a:lnTo>
                  <a:lnTo>
                    <a:pt x="1306" y="2591"/>
                  </a:lnTo>
                  <a:lnTo>
                    <a:pt x="1298" y="2605"/>
                  </a:lnTo>
                  <a:lnTo>
                    <a:pt x="1292" y="2609"/>
                  </a:lnTo>
                  <a:lnTo>
                    <a:pt x="1289" y="2605"/>
                  </a:lnTo>
                  <a:lnTo>
                    <a:pt x="1279" y="2591"/>
                  </a:lnTo>
                  <a:lnTo>
                    <a:pt x="1264" y="2575"/>
                  </a:lnTo>
                  <a:lnTo>
                    <a:pt x="1264" y="2559"/>
                  </a:lnTo>
                  <a:lnTo>
                    <a:pt x="1262" y="2552"/>
                  </a:lnTo>
                  <a:lnTo>
                    <a:pt x="1260" y="2549"/>
                  </a:lnTo>
                  <a:lnTo>
                    <a:pt x="1260" y="2567"/>
                  </a:lnTo>
                  <a:lnTo>
                    <a:pt x="1263" y="2579"/>
                  </a:lnTo>
                  <a:lnTo>
                    <a:pt x="1270" y="2587"/>
                  </a:lnTo>
                  <a:lnTo>
                    <a:pt x="1278" y="2605"/>
                  </a:lnTo>
                  <a:lnTo>
                    <a:pt x="1288" y="2612"/>
                  </a:lnTo>
                  <a:lnTo>
                    <a:pt x="1296" y="2612"/>
                  </a:lnTo>
                  <a:lnTo>
                    <a:pt x="1305" y="2605"/>
                  </a:lnTo>
                  <a:lnTo>
                    <a:pt x="1325" y="2597"/>
                  </a:lnTo>
                  <a:lnTo>
                    <a:pt x="1339" y="2583"/>
                  </a:lnTo>
                  <a:lnTo>
                    <a:pt x="1345" y="2579"/>
                  </a:lnTo>
                  <a:lnTo>
                    <a:pt x="1353" y="2579"/>
                  </a:lnTo>
                  <a:lnTo>
                    <a:pt x="1353" y="2583"/>
                  </a:lnTo>
                  <a:lnTo>
                    <a:pt x="1350" y="2587"/>
                  </a:lnTo>
                  <a:lnTo>
                    <a:pt x="1331" y="2609"/>
                  </a:lnTo>
                  <a:lnTo>
                    <a:pt x="1307" y="2634"/>
                  </a:lnTo>
                  <a:lnTo>
                    <a:pt x="1298" y="2642"/>
                  </a:lnTo>
                  <a:lnTo>
                    <a:pt x="1293" y="2649"/>
                  </a:lnTo>
                  <a:lnTo>
                    <a:pt x="1271" y="2668"/>
                  </a:lnTo>
                  <a:lnTo>
                    <a:pt x="1262" y="2680"/>
                  </a:lnTo>
                  <a:lnTo>
                    <a:pt x="1239" y="2703"/>
                  </a:lnTo>
                  <a:lnTo>
                    <a:pt x="1237" y="2703"/>
                  </a:lnTo>
                  <a:lnTo>
                    <a:pt x="1232" y="2703"/>
                  </a:lnTo>
                  <a:lnTo>
                    <a:pt x="1232" y="2705"/>
                  </a:lnTo>
                  <a:lnTo>
                    <a:pt x="1234" y="2706"/>
                  </a:lnTo>
                  <a:lnTo>
                    <a:pt x="1232" y="2711"/>
                  </a:lnTo>
                  <a:lnTo>
                    <a:pt x="1220" y="2720"/>
                  </a:lnTo>
                  <a:lnTo>
                    <a:pt x="1217" y="2717"/>
                  </a:lnTo>
                  <a:lnTo>
                    <a:pt x="1214" y="2720"/>
                  </a:lnTo>
                  <a:lnTo>
                    <a:pt x="1210" y="2721"/>
                  </a:lnTo>
                  <a:lnTo>
                    <a:pt x="1212" y="2725"/>
                  </a:lnTo>
                  <a:lnTo>
                    <a:pt x="1210" y="2729"/>
                  </a:lnTo>
                  <a:lnTo>
                    <a:pt x="1193" y="2743"/>
                  </a:lnTo>
                  <a:lnTo>
                    <a:pt x="1189" y="2743"/>
                  </a:lnTo>
                  <a:lnTo>
                    <a:pt x="1185" y="2742"/>
                  </a:lnTo>
                  <a:lnTo>
                    <a:pt x="1184" y="2751"/>
                  </a:lnTo>
                  <a:lnTo>
                    <a:pt x="1168" y="2766"/>
                  </a:lnTo>
                  <a:lnTo>
                    <a:pt x="1128" y="2807"/>
                  </a:lnTo>
                  <a:lnTo>
                    <a:pt x="1123" y="2811"/>
                  </a:lnTo>
                  <a:lnTo>
                    <a:pt x="1118" y="2807"/>
                  </a:lnTo>
                  <a:lnTo>
                    <a:pt x="1117" y="2807"/>
                  </a:lnTo>
                  <a:lnTo>
                    <a:pt x="1115" y="2811"/>
                  </a:lnTo>
                  <a:lnTo>
                    <a:pt x="1117" y="2819"/>
                  </a:lnTo>
                  <a:lnTo>
                    <a:pt x="1117" y="2822"/>
                  </a:lnTo>
                  <a:lnTo>
                    <a:pt x="1106" y="2837"/>
                  </a:lnTo>
                  <a:lnTo>
                    <a:pt x="1103" y="2837"/>
                  </a:lnTo>
                  <a:lnTo>
                    <a:pt x="1096" y="2837"/>
                  </a:lnTo>
                  <a:lnTo>
                    <a:pt x="1093" y="2837"/>
                  </a:lnTo>
                  <a:lnTo>
                    <a:pt x="1093" y="2832"/>
                  </a:lnTo>
                  <a:lnTo>
                    <a:pt x="1096" y="2825"/>
                  </a:lnTo>
                  <a:lnTo>
                    <a:pt x="1088" y="2830"/>
                  </a:lnTo>
                  <a:lnTo>
                    <a:pt x="1084" y="2836"/>
                  </a:lnTo>
                  <a:lnTo>
                    <a:pt x="1082" y="2841"/>
                  </a:lnTo>
                  <a:lnTo>
                    <a:pt x="1085" y="2844"/>
                  </a:lnTo>
                  <a:lnTo>
                    <a:pt x="1090" y="2845"/>
                  </a:lnTo>
                  <a:lnTo>
                    <a:pt x="1092" y="2847"/>
                  </a:lnTo>
                  <a:lnTo>
                    <a:pt x="1084" y="2866"/>
                  </a:lnTo>
                  <a:lnTo>
                    <a:pt x="1081" y="2867"/>
                  </a:lnTo>
                  <a:lnTo>
                    <a:pt x="1074" y="2867"/>
                  </a:lnTo>
                  <a:lnTo>
                    <a:pt x="1061" y="2862"/>
                  </a:lnTo>
                  <a:lnTo>
                    <a:pt x="1056" y="2859"/>
                  </a:lnTo>
                  <a:lnTo>
                    <a:pt x="1043" y="2863"/>
                  </a:lnTo>
                  <a:lnTo>
                    <a:pt x="1029" y="2863"/>
                  </a:lnTo>
                  <a:lnTo>
                    <a:pt x="1028" y="2858"/>
                  </a:lnTo>
                  <a:lnTo>
                    <a:pt x="1029" y="2841"/>
                  </a:lnTo>
                  <a:lnTo>
                    <a:pt x="1027" y="2845"/>
                  </a:lnTo>
                  <a:lnTo>
                    <a:pt x="1024" y="2854"/>
                  </a:lnTo>
                  <a:lnTo>
                    <a:pt x="1025" y="2863"/>
                  </a:lnTo>
                  <a:lnTo>
                    <a:pt x="1018" y="2871"/>
                  </a:lnTo>
                  <a:lnTo>
                    <a:pt x="1022" y="2874"/>
                  </a:lnTo>
                  <a:lnTo>
                    <a:pt x="1028" y="2870"/>
                  </a:lnTo>
                  <a:lnTo>
                    <a:pt x="1035" y="2870"/>
                  </a:lnTo>
                  <a:lnTo>
                    <a:pt x="1056" y="2874"/>
                  </a:lnTo>
                  <a:lnTo>
                    <a:pt x="1063" y="2878"/>
                  </a:lnTo>
                  <a:lnTo>
                    <a:pt x="1063" y="2886"/>
                  </a:lnTo>
                  <a:lnTo>
                    <a:pt x="1067" y="2890"/>
                  </a:lnTo>
                  <a:lnTo>
                    <a:pt x="1064" y="2896"/>
                  </a:lnTo>
                  <a:lnTo>
                    <a:pt x="1056" y="2900"/>
                  </a:lnTo>
                  <a:lnTo>
                    <a:pt x="1050" y="2904"/>
                  </a:lnTo>
                  <a:lnTo>
                    <a:pt x="1043" y="2908"/>
                  </a:lnTo>
                  <a:lnTo>
                    <a:pt x="1031" y="2919"/>
                  </a:lnTo>
                  <a:lnTo>
                    <a:pt x="1028" y="2925"/>
                  </a:lnTo>
                  <a:lnTo>
                    <a:pt x="1019" y="2933"/>
                  </a:lnTo>
                  <a:lnTo>
                    <a:pt x="1022" y="2941"/>
                  </a:lnTo>
                  <a:lnTo>
                    <a:pt x="1021" y="2945"/>
                  </a:lnTo>
                  <a:lnTo>
                    <a:pt x="1018" y="2957"/>
                  </a:lnTo>
                  <a:lnTo>
                    <a:pt x="1014" y="2961"/>
                  </a:lnTo>
                  <a:lnTo>
                    <a:pt x="1008" y="2965"/>
                  </a:lnTo>
                  <a:lnTo>
                    <a:pt x="1000" y="2967"/>
                  </a:lnTo>
                  <a:lnTo>
                    <a:pt x="992" y="2959"/>
                  </a:lnTo>
                  <a:lnTo>
                    <a:pt x="990" y="2971"/>
                  </a:lnTo>
                  <a:lnTo>
                    <a:pt x="985" y="2979"/>
                  </a:lnTo>
                  <a:lnTo>
                    <a:pt x="982" y="2991"/>
                  </a:lnTo>
                  <a:lnTo>
                    <a:pt x="974" y="3009"/>
                  </a:lnTo>
                  <a:lnTo>
                    <a:pt x="982" y="3002"/>
                  </a:lnTo>
                  <a:lnTo>
                    <a:pt x="983" y="3004"/>
                  </a:lnTo>
                  <a:lnTo>
                    <a:pt x="986" y="3006"/>
                  </a:lnTo>
                  <a:lnTo>
                    <a:pt x="990" y="2998"/>
                  </a:lnTo>
                  <a:lnTo>
                    <a:pt x="993" y="2998"/>
                  </a:lnTo>
                  <a:lnTo>
                    <a:pt x="996" y="2998"/>
                  </a:lnTo>
                  <a:lnTo>
                    <a:pt x="1000" y="2994"/>
                  </a:lnTo>
                  <a:lnTo>
                    <a:pt x="1002" y="2994"/>
                  </a:lnTo>
                  <a:lnTo>
                    <a:pt x="996" y="3018"/>
                  </a:lnTo>
                  <a:lnTo>
                    <a:pt x="996" y="3028"/>
                  </a:lnTo>
                  <a:lnTo>
                    <a:pt x="997" y="3036"/>
                  </a:lnTo>
                  <a:lnTo>
                    <a:pt x="996" y="3043"/>
                  </a:lnTo>
                  <a:lnTo>
                    <a:pt x="992" y="3045"/>
                  </a:lnTo>
                  <a:lnTo>
                    <a:pt x="989" y="3041"/>
                  </a:lnTo>
                  <a:lnTo>
                    <a:pt x="985" y="3043"/>
                  </a:lnTo>
                  <a:lnTo>
                    <a:pt x="980" y="3045"/>
                  </a:lnTo>
                  <a:lnTo>
                    <a:pt x="977" y="3051"/>
                  </a:lnTo>
                  <a:lnTo>
                    <a:pt x="969" y="3054"/>
                  </a:lnTo>
                  <a:lnTo>
                    <a:pt x="963" y="3057"/>
                  </a:lnTo>
                  <a:lnTo>
                    <a:pt x="958" y="3057"/>
                  </a:lnTo>
                  <a:lnTo>
                    <a:pt x="949" y="3054"/>
                  </a:lnTo>
                  <a:lnTo>
                    <a:pt x="940" y="3051"/>
                  </a:lnTo>
                  <a:lnTo>
                    <a:pt x="922" y="3049"/>
                  </a:lnTo>
                  <a:lnTo>
                    <a:pt x="908" y="3036"/>
                  </a:lnTo>
                  <a:lnTo>
                    <a:pt x="899" y="3032"/>
                  </a:lnTo>
                  <a:lnTo>
                    <a:pt x="903" y="3043"/>
                  </a:lnTo>
                  <a:lnTo>
                    <a:pt x="914" y="3049"/>
                  </a:lnTo>
                  <a:lnTo>
                    <a:pt x="933" y="3054"/>
                  </a:lnTo>
                  <a:lnTo>
                    <a:pt x="947" y="3064"/>
                  </a:lnTo>
                  <a:lnTo>
                    <a:pt x="963" y="3068"/>
                  </a:lnTo>
                  <a:lnTo>
                    <a:pt x="972" y="3066"/>
                  </a:lnTo>
                  <a:lnTo>
                    <a:pt x="974" y="3068"/>
                  </a:lnTo>
                  <a:lnTo>
                    <a:pt x="974" y="3069"/>
                  </a:lnTo>
                  <a:lnTo>
                    <a:pt x="971" y="3073"/>
                  </a:lnTo>
                  <a:lnTo>
                    <a:pt x="936" y="3106"/>
                  </a:lnTo>
                  <a:lnTo>
                    <a:pt x="933" y="3107"/>
                  </a:lnTo>
                  <a:lnTo>
                    <a:pt x="930" y="3103"/>
                  </a:lnTo>
                  <a:lnTo>
                    <a:pt x="926" y="3085"/>
                  </a:lnTo>
                  <a:lnTo>
                    <a:pt x="922" y="3081"/>
                  </a:lnTo>
                  <a:lnTo>
                    <a:pt x="900" y="3064"/>
                  </a:lnTo>
                  <a:lnTo>
                    <a:pt x="885" y="3044"/>
                  </a:lnTo>
                  <a:lnTo>
                    <a:pt x="883" y="3041"/>
                  </a:lnTo>
                  <a:lnTo>
                    <a:pt x="883" y="3036"/>
                  </a:lnTo>
                  <a:lnTo>
                    <a:pt x="878" y="3036"/>
                  </a:lnTo>
                  <a:lnTo>
                    <a:pt x="871" y="3045"/>
                  </a:lnTo>
                  <a:lnTo>
                    <a:pt x="871" y="3049"/>
                  </a:lnTo>
                  <a:lnTo>
                    <a:pt x="883" y="3054"/>
                  </a:lnTo>
                  <a:lnTo>
                    <a:pt x="900" y="3083"/>
                  </a:lnTo>
                  <a:lnTo>
                    <a:pt x="907" y="3090"/>
                  </a:lnTo>
                  <a:lnTo>
                    <a:pt x="914" y="3099"/>
                  </a:lnTo>
                  <a:lnTo>
                    <a:pt x="919" y="3099"/>
                  </a:lnTo>
                  <a:lnTo>
                    <a:pt x="919" y="3102"/>
                  </a:lnTo>
                  <a:lnTo>
                    <a:pt x="921" y="3106"/>
                  </a:lnTo>
                  <a:lnTo>
                    <a:pt x="915" y="3113"/>
                  </a:lnTo>
                  <a:lnTo>
                    <a:pt x="914" y="3113"/>
                  </a:lnTo>
                  <a:lnTo>
                    <a:pt x="913" y="3111"/>
                  </a:lnTo>
                  <a:lnTo>
                    <a:pt x="910" y="3111"/>
                  </a:lnTo>
                  <a:lnTo>
                    <a:pt x="904" y="3114"/>
                  </a:lnTo>
                  <a:lnTo>
                    <a:pt x="905" y="3114"/>
                  </a:lnTo>
                  <a:lnTo>
                    <a:pt x="910" y="3118"/>
                  </a:lnTo>
                  <a:lnTo>
                    <a:pt x="911" y="3118"/>
                  </a:lnTo>
                  <a:lnTo>
                    <a:pt x="904" y="3122"/>
                  </a:lnTo>
                  <a:lnTo>
                    <a:pt x="854" y="3128"/>
                  </a:lnTo>
                  <a:lnTo>
                    <a:pt x="816" y="3136"/>
                  </a:lnTo>
                  <a:lnTo>
                    <a:pt x="804" y="3136"/>
                  </a:lnTo>
                  <a:lnTo>
                    <a:pt x="801" y="3132"/>
                  </a:lnTo>
                  <a:lnTo>
                    <a:pt x="810" y="3128"/>
                  </a:lnTo>
                  <a:lnTo>
                    <a:pt x="805" y="3124"/>
                  </a:lnTo>
                  <a:lnTo>
                    <a:pt x="797" y="3111"/>
                  </a:lnTo>
                  <a:lnTo>
                    <a:pt x="793" y="3095"/>
                  </a:lnTo>
                  <a:lnTo>
                    <a:pt x="787" y="3089"/>
                  </a:lnTo>
                  <a:lnTo>
                    <a:pt x="787" y="3085"/>
                  </a:lnTo>
                  <a:lnTo>
                    <a:pt x="790" y="3073"/>
                  </a:lnTo>
                  <a:lnTo>
                    <a:pt x="796" y="3063"/>
                  </a:lnTo>
                  <a:lnTo>
                    <a:pt x="813" y="3051"/>
                  </a:lnTo>
                  <a:lnTo>
                    <a:pt x="814" y="3049"/>
                  </a:lnTo>
                  <a:lnTo>
                    <a:pt x="813" y="3036"/>
                  </a:lnTo>
                  <a:lnTo>
                    <a:pt x="815" y="3032"/>
                  </a:lnTo>
                  <a:lnTo>
                    <a:pt x="818" y="3031"/>
                  </a:lnTo>
                  <a:lnTo>
                    <a:pt x="835" y="3031"/>
                  </a:lnTo>
                  <a:lnTo>
                    <a:pt x="838" y="3028"/>
                  </a:lnTo>
                  <a:lnTo>
                    <a:pt x="839" y="3027"/>
                  </a:lnTo>
                  <a:lnTo>
                    <a:pt x="836" y="3020"/>
                  </a:lnTo>
                  <a:lnTo>
                    <a:pt x="828" y="3014"/>
                  </a:lnTo>
                  <a:lnTo>
                    <a:pt x="824" y="3008"/>
                  </a:lnTo>
                  <a:lnTo>
                    <a:pt x="819" y="2996"/>
                  </a:lnTo>
                  <a:lnTo>
                    <a:pt x="816" y="2996"/>
                  </a:lnTo>
                  <a:lnTo>
                    <a:pt x="813" y="3002"/>
                  </a:lnTo>
                  <a:lnTo>
                    <a:pt x="810" y="3002"/>
                  </a:lnTo>
                  <a:lnTo>
                    <a:pt x="807" y="2998"/>
                  </a:lnTo>
                  <a:lnTo>
                    <a:pt x="805" y="2990"/>
                  </a:lnTo>
                  <a:lnTo>
                    <a:pt x="804" y="2987"/>
                  </a:lnTo>
                  <a:lnTo>
                    <a:pt x="794" y="2986"/>
                  </a:lnTo>
                  <a:lnTo>
                    <a:pt x="787" y="2987"/>
                  </a:lnTo>
                  <a:lnTo>
                    <a:pt x="776" y="2995"/>
                  </a:lnTo>
                  <a:lnTo>
                    <a:pt x="773" y="2995"/>
                  </a:lnTo>
                  <a:lnTo>
                    <a:pt x="769" y="2990"/>
                  </a:lnTo>
                  <a:lnTo>
                    <a:pt x="761" y="2987"/>
                  </a:lnTo>
                  <a:lnTo>
                    <a:pt x="761" y="2983"/>
                  </a:lnTo>
                  <a:lnTo>
                    <a:pt x="762" y="2976"/>
                  </a:lnTo>
                  <a:lnTo>
                    <a:pt x="778" y="2976"/>
                  </a:lnTo>
                  <a:lnTo>
                    <a:pt x="779" y="2976"/>
                  </a:lnTo>
                  <a:lnTo>
                    <a:pt x="780" y="2973"/>
                  </a:lnTo>
                  <a:lnTo>
                    <a:pt x="779" y="2969"/>
                  </a:lnTo>
                  <a:lnTo>
                    <a:pt x="772" y="2964"/>
                  </a:lnTo>
                  <a:lnTo>
                    <a:pt x="769" y="2961"/>
                  </a:lnTo>
                  <a:lnTo>
                    <a:pt x="769" y="2953"/>
                  </a:lnTo>
                  <a:lnTo>
                    <a:pt x="775" y="2945"/>
                  </a:lnTo>
                  <a:lnTo>
                    <a:pt x="776" y="2939"/>
                  </a:lnTo>
                  <a:lnTo>
                    <a:pt x="773" y="2927"/>
                  </a:lnTo>
                  <a:lnTo>
                    <a:pt x="766" y="2920"/>
                  </a:lnTo>
                  <a:lnTo>
                    <a:pt x="766" y="2915"/>
                  </a:lnTo>
                  <a:lnTo>
                    <a:pt x="768" y="2912"/>
                  </a:lnTo>
                  <a:lnTo>
                    <a:pt x="772" y="2908"/>
                  </a:lnTo>
                  <a:lnTo>
                    <a:pt x="789" y="2904"/>
                  </a:lnTo>
                  <a:lnTo>
                    <a:pt x="789" y="2903"/>
                  </a:lnTo>
                  <a:lnTo>
                    <a:pt x="785" y="2897"/>
                  </a:lnTo>
                  <a:lnTo>
                    <a:pt x="787" y="2892"/>
                  </a:lnTo>
                  <a:lnTo>
                    <a:pt x="805" y="2892"/>
                  </a:lnTo>
                  <a:lnTo>
                    <a:pt x="810" y="2890"/>
                  </a:lnTo>
                  <a:lnTo>
                    <a:pt x="813" y="2886"/>
                  </a:lnTo>
                  <a:lnTo>
                    <a:pt x="810" y="2882"/>
                  </a:lnTo>
                  <a:lnTo>
                    <a:pt x="799" y="2884"/>
                  </a:lnTo>
                  <a:lnTo>
                    <a:pt x="796" y="2882"/>
                  </a:lnTo>
                  <a:lnTo>
                    <a:pt x="800" y="2875"/>
                  </a:lnTo>
                  <a:lnTo>
                    <a:pt x="797" y="2866"/>
                  </a:lnTo>
                  <a:lnTo>
                    <a:pt x="800" y="2862"/>
                  </a:lnTo>
                  <a:lnTo>
                    <a:pt x="799" y="2855"/>
                  </a:lnTo>
                  <a:lnTo>
                    <a:pt x="800" y="2849"/>
                  </a:lnTo>
                  <a:lnTo>
                    <a:pt x="799" y="2845"/>
                  </a:lnTo>
                  <a:lnTo>
                    <a:pt x="787" y="2832"/>
                  </a:lnTo>
                  <a:lnTo>
                    <a:pt x="789" y="2825"/>
                  </a:lnTo>
                  <a:lnTo>
                    <a:pt x="791" y="2821"/>
                  </a:lnTo>
                  <a:lnTo>
                    <a:pt x="791" y="2817"/>
                  </a:lnTo>
                  <a:lnTo>
                    <a:pt x="783" y="2799"/>
                  </a:lnTo>
                  <a:lnTo>
                    <a:pt x="780" y="2784"/>
                  </a:lnTo>
                  <a:lnTo>
                    <a:pt x="769" y="2759"/>
                  </a:lnTo>
                  <a:lnTo>
                    <a:pt x="762" y="2747"/>
                  </a:lnTo>
                  <a:lnTo>
                    <a:pt x="759" y="2743"/>
                  </a:lnTo>
                  <a:lnTo>
                    <a:pt x="747" y="2706"/>
                  </a:lnTo>
                  <a:lnTo>
                    <a:pt x="734" y="2703"/>
                  </a:lnTo>
                  <a:lnTo>
                    <a:pt x="723" y="2691"/>
                  </a:lnTo>
                  <a:lnTo>
                    <a:pt x="706" y="2688"/>
                  </a:lnTo>
                  <a:lnTo>
                    <a:pt x="700" y="2675"/>
                  </a:lnTo>
                  <a:lnTo>
                    <a:pt x="695" y="2668"/>
                  </a:lnTo>
                  <a:lnTo>
                    <a:pt x="687" y="2663"/>
                  </a:lnTo>
                  <a:lnTo>
                    <a:pt x="686" y="2658"/>
                  </a:lnTo>
                  <a:lnTo>
                    <a:pt x="680" y="2653"/>
                  </a:lnTo>
                  <a:lnTo>
                    <a:pt x="673" y="2650"/>
                  </a:lnTo>
                  <a:lnTo>
                    <a:pt x="665" y="2645"/>
                  </a:lnTo>
                  <a:lnTo>
                    <a:pt x="655" y="2643"/>
                  </a:lnTo>
                  <a:lnTo>
                    <a:pt x="651" y="2642"/>
                  </a:lnTo>
                  <a:lnTo>
                    <a:pt x="648" y="2631"/>
                  </a:lnTo>
                  <a:lnTo>
                    <a:pt x="643" y="2626"/>
                  </a:lnTo>
                  <a:lnTo>
                    <a:pt x="634" y="2619"/>
                  </a:lnTo>
                  <a:lnTo>
                    <a:pt x="623" y="2613"/>
                  </a:lnTo>
                  <a:lnTo>
                    <a:pt x="606" y="2613"/>
                  </a:lnTo>
                  <a:lnTo>
                    <a:pt x="604" y="2609"/>
                  </a:lnTo>
                  <a:lnTo>
                    <a:pt x="600" y="2605"/>
                  </a:lnTo>
                  <a:lnTo>
                    <a:pt x="597" y="2597"/>
                  </a:lnTo>
                  <a:lnTo>
                    <a:pt x="597" y="2583"/>
                  </a:lnTo>
                  <a:lnTo>
                    <a:pt x="595" y="2579"/>
                  </a:lnTo>
                  <a:lnTo>
                    <a:pt x="586" y="2568"/>
                  </a:lnTo>
                  <a:lnTo>
                    <a:pt x="572" y="2559"/>
                  </a:lnTo>
                  <a:lnTo>
                    <a:pt x="566" y="2551"/>
                  </a:lnTo>
                  <a:lnTo>
                    <a:pt x="562" y="2537"/>
                  </a:lnTo>
                  <a:lnTo>
                    <a:pt x="562" y="2530"/>
                  </a:lnTo>
                  <a:lnTo>
                    <a:pt x="565" y="2519"/>
                  </a:lnTo>
                  <a:lnTo>
                    <a:pt x="565" y="2514"/>
                  </a:lnTo>
                  <a:lnTo>
                    <a:pt x="555" y="2504"/>
                  </a:lnTo>
                  <a:lnTo>
                    <a:pt x="547" y="2497"/>
                  </a:lnTo>
                  <a:lnTo>
                    <a:pt x="541" y="2493"/>
                  </a:lnTo>
                  <a:lnTo>
                    <a:pt x="527" y="2492"/>
                  </a:lnTo>
                  <a:lnTo>
                    <a:pt x="513" y="2479"/>
                  </a:lnTo>
                  <a:lnTo>
                    <a:pt x="508" y="2475"/>
                  </a:lnTo>
                  <a:lnTo>
                    <a:pt x="490" y="2471"/>
                  </a:lnTo>
                  <a:lnTo>
                    <a:pt x="477" y="2462"/>
                  </a:lnTo>
                  <a:lnTo>
                    <a:pt x="468" y="2457"/>
                  </a:lnTo>
                  <a:lnTo>
                    <a:pt x="460" y="2451"/>
                  </a:lnTo>
                  <a:lnTo>
                    <a:pt x="451" y="2444"/>
                  </a:lnTo>
                  <a:lnTo>
                    <a:pt x="431" y="2440"/>
                  </a:lnTo>
                  <a:lnTo>
                    <a:pt x="410" y="2439"/>
                  </a:lnTo>
                  <a:lnTo>
                    <a:pt x="388" y="2431"/>
                  </a:lnTo>
                  <a:lnTo>
                    <a:pt x="369" y="2431"/>
                  </a:lnTo>
                  <a:lnTo>
                    <a:pt x="358" y="2430"/>
                  </a:lnTo>
                  <a:lnTo>
                    <a:pt x="354" y="2426"/>
                  </a:lnTo>
                  <a:lnTo>
                    <a:pt x="349" y="2418"/>
                  </a:lnTo>
                  <a:lnTo>
                    <a:pt x="345" y="2413"/>
                  </a:lnTo>
                  <a:lnTo>
                    <a:pt x="340" y="2413"/>
                  </a:lnTo>
                  <a:lnTo>
                    <a:pt x="331" y="2414"/>
                  </a:lnTo>
                  <a:lnTo>
                    <a:pt x="324" y="2414"/>
                  </a:lnTo>
                  <a:lnTo>
                    <a:pt x="301" y="2406"/>
                  </a:lnTo>
                  <a:lnTo>
                    <a:pt x="277" y="2392"/>
                  </a:lnTo>
                  <a:lnTo>
                    <a:pt x="276" y="2384"/>
                  </a:lnTo>
                  <a:lnTo>
                    <a:pt x="274" y="2382"/>
                  </a:lnTo>
                  <a:lnTo>
                    <a:pt x="263" y="2380"/>
                  </a:lnTo>
                  <a:lnTo>
                    <a:pt x="262" y="2376"/>
                  </a:lnTo>
                  <a:lnTo>
                    <a:pt x="262" y="2369"/>
                  </a:lnTo>
                  <a:lnTo>
                    <a:pt x="259" y="2365"/>
                  </a:lnTo>
                  <a:lnTo>
                    <a:pt x="245" y="2357"/>
                  </a:lnTo>
                  <a:lnTo>
                    <a:pt x="244" y="2355"/>
                  </a:lnTo>
                  <a:lnTo>
                    <a:pt x="244" y="2351"/>
                  </a:lnTo>
                  <a:lnTo>
                    <a:pt x="248" y="2347"/>
                  </a:lnTo>
                  <a:lnTo>
                    <a:pt x="249" y="2343"/>
                  </a:lnTo>
                  <a:lnTo>
                    <a:pt x="251" y="2338"/>
                  </a:lnTo>
                  <a:lnTo>
                    <a:pt x="255" y="2328"/>
                  </a:lnTo>
                  <a:lnTo>
                    <a:pt x="254" y="2327"/>
                  </a:lnTo>
                  <a:lnTo>
                    <a:pt x="252" y="2319"/>
                  </a:lnTo>
                  <a:lnTo>
                    <a:pt x="242" y="2294"/>
                  </a:lnTo>
                  <a:lnTo>
                    <a:pt x="244" y="2288"/>
                  </a:lnTo>
                  <a:lnTo>
                    <a:pt x="242" y="2280"/>
                  </a:lnTo>
                  <a:lnTo>
                    <a:pt x="234" y="2274"/>
                  </a:lnTo>
                  <a:lnTo>
                    <a:pt x="226" y="2265"/>
                  </a:lnTo>
                  <a:lnTo>
                    <a:pt x="221" y="2261"/>
                  </a:lnTo>
                  <a:lnTo>
                    <a:pt x="206" y="2257"/>
                  </a:lnTo>
                  <a:lnTo>
                    <a:pt x="203" y="2257"/>
                  </a:lnTo>
                  <a:lnTo>
                    <a:pt x="199" y="2245"/>
                  </a:lnTo>
                  <a:lnTo>
                    <a:pt x="195" y="2244"/>
                  </a:lnTo>
                  <a:lnTo>
                    <a:pt x="184" y="2243"/>
                  </a:lnTo>
                  <a:lnTo>
                    <a:pt x="177" y="2238"/>
                  </a:lnTo>
                  <a:lnTo>
                    <a:pt x="174" y="2231"/>
                  </a:lnTo>
                  <a:lnTo>
                    <a:pt x="172" y="2222"/>
                  </a:lnTo>
                  <a:lnTo>
                    <a:pt x="180" y="2211"/>
                  </a:lnTo>
                  <a:lnTo>
                    <a:pt x="180" y="2204"/>
                  </a:lnTo>
                  <a:lnTo>
                    <a:pt x="178" y="2197"/>
                  </a:lnTo>
                  <a:lnTo>
                    <a:pt x="169" y="2177"/>
                  </a:lnTo>
                  <a:lnTo>
                    <a:pt x="163" y="2166"/>
                  </a:lnTo>
                  <a:lnTo>
                    <a:pt x="160" y="2164"/>
                  </a:lnTo>
                  <a:lnTo>
                    <a:pt x="156" y="2162"/>
                  </a:lnTo>
                  <a:lnTo>
                    <a:pt x="149" y="2162"/>
                  </a:lnTo>
                  <a:lnTo>
                    <a:pt x="142" y="2166"/>
                  </a:lnTo>
                  <a:lnTo>
                    <a:pt x="138" y="2164"/>
                  </a:lnTo>
                  <a:lnTo>
                    <a:pt x="135" y="2162"/>
                  </a:lnTo>
                  <a:lnTo>
                    <a:pt x="135" y="2156"/>
                  </a:lnTo>
                  <a:lnTo>
                    <a:pt x="138" y="2154"/>
                  </a:lnTo>
                  <a:lnTo>
                    <a:pt x="145" y="2156"/>
                  </a:lnTo>
                  <a:lnTo>
                    <a:pt x="149" y="2156"/>
                  </a:lnTo>
                  <a:lnTo>
                    <a:pt x="153" y="2152"/>
                  </a:lnTo>
                  <a:lnTo>
                    <a:pt x="155" y="2149"/>
                  </a:lnTo>
                  <a:lnTo>
                    <a:pt x="153" y="2140"/>
                  </a:lnTo>
                  <a:lnTo>
                    <a:pt x="149" y="2133"/>
                  </a:lnTo>
                  <a:lnTo>
                    <a:pt x="146" y="2124"/>
                  </a:lnTo>
                  <a:lnTo>
                    <a:pt x="139" y="2107"/>
                  </a:lnTo>
                  <a:lnTo>
                    <a:pt x="139" y="2103"/>
                  </a:lnTo>
                  <a:lnTo>
                    <a:pt x="145" y="2099"/>
                  </a:lnTo>
                  <a:lnTo>
                    <a:pt x="146" y="2095"/>
                  </a:lnTo>
                  <a:lnTo>
                    <a:pt x="146" y="2092"/>
                  </a:lnTo>
                  <a:lnTo>
                    <a:pt x="142" y="2089"/>
                  </a:lnTo>
                  <a:lnTo>
                    <a:pt x="139" y="2085"/>
                  </a:lnTo>
                  <a:lnTo>
                    <a:pt x="139" y="2079"/>
                  </a:lnTo>
                  <a:lnTo>
                    <a:pt x="147" y="2066"/>
                  </a:lnTo>
                  <a:lnTo>
                    <a:pt x="150" y="2062"/>
                  </a:lnTo>
                  <a:lnTo>
                    <a:pt x="147" y="2057"/>
                  </a:lnTo>
                  <a:lnTo>
                    <a:pt x="145" y="2054"/>
                  </a:lnTo>
                  <a:lnTo>
                    <a:pt x="145" y="2050"/>
                  </a:lnTo>
                  <a:lnTo>
                    <a:pt x="147" y="2044"/>
                  </a:lnTo>
                  <a:lnTo>
                    <a:pt x="149" y="2036"/>
                  </a:lnTo>
                  <a:lnTo>
                    <a:pt x="152" y="2030"/>
                  </a:lnTo>
                  <a:lnTo>
                    <a:pt x="153" y="2022"/>
                  </a:lnTo>
                  <a:lnTo>
                    <a:pt x="160" y="2010"/>
                  </a:lnTo>
                  <a:lnTo>
                    <a:pt x="160" y="2003"/>
                  </a:lnTo>
                  <a:lnTo>
                    <a:pt x="153" y="1998"/>
                  </a:lnTo>
                  <a:lnTo>
                    <a:pt x="150" y="1995"/>
                  </a:lnTo>
                  <a:lnTo>
                    <a:pt x="150" y="1987"/>
                  </a:lnTo>
                  <a:lnTo>
                    <a:pt x="155" y="1977"/>
                  </a:lnTo>
                  <a:lnTo>
                    <a:pt x="155" y="1973"/>
                  </a:lnTo>
                  <a:lnTo>
                    <a:pt x="150" y="1968"/>
                  </a:lnTo>
                  <a:lnTo>
                    <a:pt x="156" y="1965"/>
                  </a:lnTo>
                  <a:lnTo>
                    <a:pt x="160" y="1953"/>
                  </a:lnTo>
                  <a:lnTo>
                    <a:pt x="159" y="1950"/>
                  </a:lnTo>
                  <a:lnTo>
                    <a:pt x="156" y="1953"/>
                  </a:lnTo>
                  <a:lnTo>
                    <a:pt x="153" y="1953"/>
                  </a:lnTo>
                  <a:lnTo>
                    <a:pt x="149" y="1945"/>
                  </a:lnTo>
                  <a:lnTo>
                    <a:pt x="142" y="1945"/>
                  </a:lnTo>
                  <a:lnTo>
                    <a:pt x="139" y="1942"/>
                  </a:lnTo>
                  <a:lnTo>
                    <a:pt x="138" y="1938"/>
                  </a:lnTo>
                  <a:lnTo>
                    <a:pt x="141" y="1926"/>
                  </a:lnTo>
                  <a:lnTo>
                    <a:pt x="139" y="1924"/>
                  </a:lnTo>
                  <a:lnTo>
                    <a:pt x="136" y="1924"/>
                  </a:lnTo>
                  <a:lnTo>
                    <a:pt x="135" y="1924"/>
                  </a:lnTo>
                  <a:lnTo>
                    <a:pt x="139" y="1920"/>
                  </a:lnTo>
                  <a:lnTo>
                    <a:pt x="142" y="1909"/>
                  </a:lnTo>
                  <a:lnTo>
                    <a:pt x="149" y="1905"/>
                  </a:lnTo>
                  <a:lnTo>
                    <a:pt x="156" y="1904"/>
                  </a:lnTo>
                  <a:lnTo>
                    <a:pt x="160" y="1898"/>
                  </a:lnTo>
                  <a:lnTo>
                    <a:pt x="160" y="1893"/>
                  </a:lnTo>
                  <a:lnTo>
                    <a:pt x="157" y="1883"/>
                  </a:lnTo>
                  <a:lnTo>
                    <a:pt x="156" y="1879"/>
                  </a:lnTo>
                  <a:lnTo>
                    <a:pt x="155" y="1875"/>
                  </a:lnTo>
                  <a:lnTo>
                    <a:pt x="153" y="1871"/>
                  </a:lnTo>
                  <a:lnTo>
                    <a:pt x="149" y="1871"/>
                  </a:lnTo>
                  <a:lnTo>
                    <a:pt x="145" y="1866"/>
                  </a:lnTo>
                  <a:lnTo>
                    <a:pt x="145" y="1863"/>
                  </a:lnTo>
                  <a:lnTo>
                    <a:pt x="146" y="1856"/>
                  </a:lnTo>
                  <a:lnTo>
                    <a:pt x="142" y="1853"/>
                  </a:lnTo>
                  <a:lnTo>
                    <a:pt x="142" y="1848"/>
                  </a:lnTo>
                  <a:lnTo>
                    <a:pt x="136" y="1841"/>
                  </a:lnTo>
                  <a:lnTo>
                    <a:pt x="136" y="1830"/>
                  </a:lnTo>
                  <a:lnTo>
                    <a:pt x="127" y="1825"/>
                  </a:lnTo>
                  <a:lnTo>
                    <a:pt x="120" y="1826"/>
                  </a:lnTo>
                  <a:lnTo>
                    <a:pt x="120" y="1825"/>
                  </a:lnTo>
                  <a:lnTo>
                    <a:pt x="122" y="1816"/>
                  </a:lnTo>
                  <a:lnTo>
                    <a:pt x="119" y="1811"/>
                  </a:lnTo>
                  <a:lnTo>
                    <a:pt x="125" y="1808"/>
                  </a:lnTo>
                  <a:lnTo>
                    <a:pt x="121" y="1800"/>
                  </a:lnTo>
                  <a:lnTo>
                    <a:pt x="128" y="1800"/>
                  </a:lnTo>
                  <a:lnTo>
                    <a:pt x="128" y="1799"/>
                  </a:lnTo>
                  <a:lnTo>
                    <a:pt x="127" y="1796"/>
                  </a:lnTo>
                  <a:lnTo>
                    <a:pt x="121" y="1796"/>
                  </a:lnTo>
                  <a:lnTo>
                    <a:pt x="120" y="1793"/>
                  </a:lnTo>
                  <a:lnTo>
                    <a:pt x="125" y="1792"/>
                  </a:lnTo>
                  <a:lnTo>
                    <a:pt x="124" y="1788"/>
                  </a:lnTo>
                  <a:lnTo>
                    <a:pt x="128" y="1786"/>
                  </a:lnTo>
                  <a:lnTo>
                    <a:pt x="128" y="1780"/>
                  </a:lnTo>
                  <a:lnTo>
                    <a:pt x="134" y="1776"/>
                  </a:lnTo>
                  <a:lnTo>
                    <a:pt x="135" y="1774"/>
                  </a:lnTo>
                  <a:lnTo>
                    <a:pt x="134" y="1772"/>
                  </a:lnTo>
                  <a:lnTo>
                    <a:pt x="130" y="1772"/>
                  </a:lnTo>
                  <a:lnTo>
                    <a:pt x="128" y="1771"/>
                  </a:lnTo>
                  <a:lnTo>
                    <a:pt x="128" y="1769"/>
                  </a:lnTo>
                  <a:lnTo>
                    <a:pt x="132" y="1766"/>
                  </a:lnTo>
                  <a:lnTo>
                    <a:pt x="132" y="1763"/>
                  </a:lnTo>
                  <a:lnTo>
                    <a:pt x="125" y="1759"/>
                  </a:lnTo>
                  <a:lnTo>
                    <a:pt x="124" y="1749"/>
                  </a:lnTo>
                  <a:lnTo>
                    <a:pt x="122" y="1747"/>
                  </a:lnTo>
                  <a:lnTo>
                    <a:pt x="119" y="1747"/>
                  </a:lnTo>
                  <a:lnTo>
                    <a:pt x="117" y="1744"/>
                  </a:lnTo>
                  <a:lnTo>
                    <a:pt x="117" y="1743"/>
                  </a:lnTo>
                  <a:lnTo>
                    <a:pt x="125" y="1741"/>
                  </a:lnTo>
                  <a:lnTo>
                    <a:pt x="128" y="1737"/>
                  </a:lnTo>
                  <a:lnTo>
                    <a:pt x="125" y="1729"/>
                  </a:lnTo>
                  <a:lnTo>
                    <a:pt x="130" y="1722"/>
                  </a:lnTo>
                  <a:lnTo>
                    <a:pt x="128" y="1718"/>
                  </a:lnTo>
                  <a:lnTo>
                    <a:pt x="127" y="1718"/>
                  </a:lnTo>
                  <a:lnTo>
                    <a:pt x="121" y="1721"/>
                  </a:lnTo>
                  <a:lnTo>
                    <a:pt x="119" y="1721"/>
                  </a:lnTo>
                  <a:lnTo>
                    <a:pt x="116" y="1718"/>
                  </a:lnTo>
                  <a:lnTo>
                    <a:pt x="121" y="1713"/>
                  </a:lnTo>
                  <a:lnTo>
                    <a:pt x="121" y="1710"/>
                  </a:lnTo>
                  <a:lnTo>
                    <a:pt x="132" y="1706"/>
                  </a:lnTo>
                  <a:lnTo>
                    <a:pt x="128" y="1700"/>
                  </a:lnTo>
                  <a:lnTo>
                    <a:pt x="130" y="1692"/>
                  </a:lnTo>
                  <a:lnTo>
                    <a:pt x="125" y="1684"/>
                  </a:lnTo>
                  <a:lnTo>
                    <a:pt x="132" y="1669"/>
                  </a:lnTo>
                  <a:lnTo>
                    <a:pt x="131" y="1662"/>
                  </a:lnTo>
                  <a:lnTo>
                    <a:pt x="136" y="1658"/>
                  </a:lnTo>
                  <a:lnTo>
                    <a:pt x="134" y="1655"/>
                  </a:lnTo>
                  <a:lnTo>
                    <a:pt x="134" y="1654"/>
                  </a:lnTo>
                  <a:lnTo>
                    <a:pt x="122" y="1655"/>
                  </a:lnTo>
                  <a:lnTo>
                    <a:pt x="125" y="1643"/>
                  </a:lnTo>
                  <a:lnTo>
                    <a:pt x="119" y="1634"/>
                  </a:lnTo>
                  <a:lnTo>
                    <a:pt x="122" y="1621"/>
                  </a:lnTo>
                  <a:lnTo>
                    <a:pt x="119" y="1612"/>
                  </a:lnTo>
                  <a:lnTo>
                    <a:pt x="127" y="1605"/>
                  </a:lnTo>
                  <a:lnTo>
                    <a:pt x="128" y="1594"/>
                  </a:lnTo>
                  <a:lnTo>
                    <a:pt x="121" y="1587"/>
                  </a:lnTo>
                  <a:lnTo>
                    <a:pt x="122" y="1584"/>
                  </a:lnTo>
                  <a:lnTo>
                    <a:pt x="120" y="1576"/>
                  </a:lnTo>
                  <a:lnTo>
                    <a:pt x="110" y="1580"/>
                  </a:lnTo>
                  <a:lnTo>
                    <a:pt x="99" y="1575"/>
                  </a:lnTo>
                  <a:lnTo>
                    <a:pt x="102" y="1568"/>
                  </a:lnTo>
                  <a:lnTo>
                    <a:pt x="94" y="1558"/>
                  </a:lnTo>
                  <a:lnTo>
                    <a:pt x="100" y="1558"/>
                  </a:lnTo>
                  <a:lnTo>
                    <a:pt x="99" y="1550"/>
                  </a:lnTo>
                  <a:lnTo>
                    <a:pt x="111" y="1526"/>
                  </a:lnTo>
                  <a:lnTo>
                    <a:pt x="110" y="1523"/>
                  </a:lnTo>
                  <a:lnTo>
                    <a:pt x="103" y="1523"/>
                  </a:lnTo>
                  <a:lnTo>
                    <a:pt x="102" y="1519"/>
                  </a:lnTo>
                  <a:lnTo>
                    <a:pt x="110" y="1515"/>
                  </a:lnTo>
                  <a:lnTo>
                    <a:pt x="109" y="1505"/>
                  </a:lnTo>
                  <a:lnTo>
                    <a:pt x="125" y="1493"/>
                  </a:lnTo>
                  <a:lnTo>
                    <a:pt x="130" y="1481"/>
                  </a:lnTo>
                  <a:lnTo>
                    <a:pt x="135" y="1471"/>
                  </a:lnTo>
                  <a:lnTo>
                    <a:pt x="128" y="1452"/>
                  </a:lnTo>
                  <a:lnTo>
                    <a:pt x="116" y="1441"/>
                  </a:lnTo>
                  <a:lnTo>
                    <a:pt x="116" y="1426"/>
                  </a:lnTo>
                  <a:lnTo>
                    <a:pt x="122" y="1419"/>
                  </a:lnTo>
                  <a:lnTo>
                    <a:pt x="113" y="1403"/>
                  </a:lnTo>
                  <a:lnTo>
                    <a:pt x="119" y="1397"/>
                  </a:lnTo>
                  <a:lnTo>
                    <a:pt x="109" y="1391"/>
                  </a:lnTo>
                  <a:lnTo>
                    <a:pt x="116" y="1376"/>
                  </a:lnTo>
                  <a:lnTo>
                    <a:pt x="97" y="1361"/>
                  </a:lnTo>
                  <a:lnTo>
                    <a:pt x="92" y="1349"/>
                  </a:lnTo>
                  <a:lnTo>
                    <a:pt x="82" y="1349"/>
                  </a:lnTo>
                  <a:lnTo>
                    <a:pt x="74" y="1343"/>
                  </a:lnTo>
                  <a:lnTo>
                    <a:pt x="70" y="1336"/>
                  </a:lnTo>
                  <a:lnTo>
                    <a:pt x="71" y="1332"/>
                  </a:lnTo>
                  <a:lnTo>
                    <a:pt x="67" y="1322"/>
                  </a:lnTo>
                  <a:lnTo>
                    <a:pt x="57" y="1328"/>
                  </a:lnTo>
                  <a:lnTo>
                    <a:pt x="50" y="1316"/>
                  </a:lnTo>
                  <a:lnTo>
                    <a:pt x="44" y="1314"/>
                  </a:lnTo>
                  <a:lnTo>
                    <a:pt x="35" y="1309"/>
                  </a:lnTo>
                  <a:lnTo>
                    <a:pt x="20" y="1302"/>
                  </a:lnTo>
                  <a:lnTo>
                    <a:pt x="19" y="1299"/>
                  </a:lnTo>
                  <a:lnTo>
                    <a:pt x="22" y="1291"/>
                  </a:lnTo>
                  <a:lnTo>
                    <a:pt x="13" y="1291"/>
                  </a:lnTo>
                  <a:lnTo>
                    <a:pt x="9" y="1284"/>
                  </a:lnTo>
                  <a:lnTo>
                    <a:pt x="10" y="1277"/>
                  </a:lnTo>
                  <a:lnTo>
                    <a:pt x="2" y="1265"/>
                  </a:lnTo>
                  <a:lnTo>
                    <a:pt x="6" y="1261"/>
                  </a:lnTo>
                  <a:lnTo>
                    <a:pt x="0" y="1254"/>
                  </a:lnTo>
                  <a:lnTo>
                    <a:pt x="21" y="1239"/>
                  </a:lnTo>
                  <a:lnTo>
                    <a:pt x="30" y="1223"/>
                  </a:lnTo>
                  <a:lnTo>
                    <a:pt x="36" y="1219"/>
                  </a:lnTo>
                  <a:lnTo>
                    <a:pt x="52" y="1216"/>
                  </a:lnTo>
                  <a:lnTo>
                    <a:pt x="52" y="1212"/>
                  </a:lnTo>
                  <a:lnTo>
                    <a:pt x="49" y="1208"/>
                  </a:lnTo>
                  <a:lnTo>
                    <a:pt x="57" y="1200"/>
                  </a:lnTo>
                  <a:lnTo>
                    <a:pt x="78" y="1198"/>
                  </a:lnTo>
                  <a:lnTo>
                    <a:pt x="91" y="1190"/>
                  </a:lnTo>
                  <a:lnTo>
                    <a:pt x="96" y="1167"/>
                  </a:lnTo>
                  <a:lnTo>
                    <a:pt x="94" y="1162"/>
                  </a:lnTo>
                  <a:lnTo>
                    <a:pt x="99" y="1153"/>
                  </a:lnTo>
                  <a:lnTo>
                    <a:pt x="92" y="1144"/>
                  </a:lnTo>
                  <a:lnTo>
                    <a:pt x="91" y="1137"/>
                  </a:lnTo>
                  <a:lnTo>
                    <a:pt x="95" y="1130"/>
                  </a:lnTo>
                  <a:lnTo>
                    <a:pt x="94" y="1127"/>
                  </a:lnTo>
                  <a:lnTo>
                    <a:pt x="102" y="1108"/>
                  </a:lnTo>
                  <a:lnTo>
                    <a:pt x="119" y="1095"/>
                  </a:lnTo>
                  <a:lnTo>
                    <a:pt x="122" y="1091"/>
                  </a:lnTo>
                  <a:lnTo>
                    <a:pt x="125" y="1078"/>
                  </a:lnTo>
                  <a:lnTo>
                    <a:pt x="106" y="1063"/>
                  </a:lnTo>
                  <a:lnTo>
                    <a:pt x="114" y="1037"/>
                  </a:lnTo>
                  <a:lnTo>
                    <a:pt x="119" y="1033"/>
                  </a:lnTo>
                  <a:lnTo>
                    <a:pt x="119" y="1024"/>
                  </a:lnTo>
                  <a:lnTo>
                    <a:pt x="122" y="1017"/>
                  </a:lnTo>
                  <a:lnTo>
                    <a:pt x="119" y="1001"/>
                  </a:lnTo>
                  <a:lnTo>
                    <a:pt x="120" y="988"/>
                  </a:lnTo>
                  <a:lnTo>
                    <a:pt x="130" y="984"/>
                  </a:lnTo>
                  <a:lnTo>
                    <a:pt x="130" y="979"/>
                  </a:lnTo>
                  <a:lnTo>
                    <a:pt x="131" y="972"/>
                  </a:lnTo>
                  <a:lnTo>
                    <a:pt x="160" y="954"/>
                  </a:lnTo>
                  <a:lnTo>
                    <a:pt x="164" y="944"/>
                  </a:lnTo>
                  <a:lnTo>
                    <a:pt x="175" y="936"/>
                  </a:lnTo>
                  <a:lnTo>
                    <a:pt x="185" y="927"/>
                  </a:lnTo>
                  <a:lnTo>
                    <a:pt x="192" y="926"/>
                  </a:lnTo>
                  <a:lnTo>
                    <a:pt x="200" y="921"/>
                  </a:lnTo>
                  <a:lnTo>
                    <a:pt x="209" y="902"/>
                  </a:lnTo>
                  <a:lnTo>
                    <a:pt x="234" y="895"/>
                  </a:lnTo>
                  <a:lnTo>
                    <a:pt x="244" y="895"/>
                  </a:lnTo>
                  <a:lnTo>
                    <a:pt x="256" y="901"/>
                  </a:lnTo>
                  <a:lnTo>
                    <a:pt x="269" y="899"/>
                  </a:lnTo>
                  <a:lnTo>
                    <a:pt x="270" y="902"/>
                  </a:lnTo>
                  <a:lnTo>
                    <a:pt x="274" y="901"/>
                  </a:lnTo>
                  <a:lnTo>
                    <a:pt x="274" y="916"/>
                  </a:lnTo>
                  <a:lnTo>
                    <a:pt x="285" y="924"/>
                  </a:lnTo>
                  <a:lnTo>
                    <a:pt x="283" y="927"/>
                  </a:lnTo>
                  <a:lnTo>
                    <a:pt x="301" y="932"/>
                  </a:lnTo>
                  <a:lnTo>
                    <a:pt x="302" y="938"/>
                  </a:lnTo>
                  <a:lnTo>
                    <a:pt x="310" y="934"/>
                  </a:lnTo>
                  <a:lnTo>
                    <a:pt x="312" y="927"/>
                  </a:lnTo>
                  <a:lnTo>
                    <a:pt x="315" y="932"/>
                  </a:lnTo>
                  <a:lnTo>
                    <a:pt x="317" y="932"/>
                  </a:lnTo>
                  <a:lnTo>
                    <a:pt x="319" y="921"/>
                  </a:lnTo>
                  <a:lnTo>
                    <a:pt x="321" y="913"/>
                  </a:lnTo>
                  <a:lnTo>
                    <a:pt x="330" y="909"/>
                  </a:lnTo>
                  <a:lnTo>
                    <a:pt x="330" y="901"/>
                  </a:lnTo>
                  <a:lnTo>
                    <a:pt x="341" y="909"/>
                  </a:lnTo>
                  <a:lnTo>
                    <a:pt x="344" y="909"/>
                  </a:lnTo>
                  <a:lnTo>
                    <a:pt x="341" y="905"/>
                  </a:lnTo>
                  <a:lnTo>
                    <a:pt x="349" y="904"/>
                  </a:lnTo>
                  <a:lnTo>
                    <a:pt x="360" y="909"/>
                  </a:lnTo>
                  <a:lnTo>
                    <a:pt x="362" y="905"/>
                  </a:lnTo>
                  <a:lnTo>
                    <a:pt x="387" y="902"/>
                  </a:lnTo>
                  <a:lnTo>
                    <a:pt x="387" y="895"/>
                  </a:lnTo>
                  <a:lnTo>
                    <a:pt x="419" y="882"/>
                  </a:lnTo>
                  <a:lnTo>
                    <a:pt x="429" y="882"/>
                  </a:lnTo>
                  <a:lnTo>
                    <a:pt x="430" y="887"/>
                  </a:lnTo>
                  <a:lnTo>
                    <a:pt x="441" y="883"/>
                  </a:lnTo>
                  <a:lnTo>
                    <a:pt x="451" y="885"/>
                  </a:lnTo>
                  <a:lnTo>
                    <a:pt x="454" y="879"/>
                  </a:lnTo>
                  <a:lnTo>
                    <a:pt x="472" y="868"/>
                  </a:lnTo>
                  <a:lnTo>
                    <a:pt x="474" y="864"/>
                  </a:lnTo>
                  <a:lnTo>
                    <a:pt x="495" y="859"/>
                  </a:lnTo>
                  <a:lnTo>
                    <a:pt x="500" y="846"/>
                  </a:lnTo>
                  <a:lnTo>
                    <a:pt x="509" y="846"/>
                  </a:lnTo>
                  <a:lnTo>
                    <a:pt x="537" y="830"/>
                  </a:lnTo>
                  <a:lnTo>
                    <a:pt x="541" y="815"/>
                  </a:lnTo>
                  <a:lnTo>
                    <a:pt x="541" y="804"/>
                  </a:lnTo>
                  <a:lnTo>
                    <a:pt x="531" y="797"/>
                  </a:lnTo>
                  <a:lnTo>
                    <a:pt x="531" y="773"/>
                  </a:lnTo>
                  <a:lnTo>
                    <a:pt x="536" y="750"/>
                  </a:lnTo>
                  <a:lnTo>
                    <a:pt x="537" y="742"/>
                  </a:lnTo>
                  <a:lnTo>
                    <a:pt x="543" y="676"/>
                  </a:lnTo>
                  <a:lnTo>
                    <a:pt x="544" y="663"/>
                  </a:lnTo>
                  <a:lnTo>
                    <a:pt x="566" y="368"/>
                  </a:lnTo>
                  <a:lnTo>
                    <a:pt x="566" y="360"/>
                  </a:lnTo>
                  <a:lnTo>
                    <a:pt x="568" y="355"/>
                  </a:lnTo>
                  <a:lnTo>
                    <a:pt x="686" y="358"/>
                  </a:lnTo>
                  <a:lnTo>
                    <a:pt x="712" y="360"/>
                  </a:lnTo>
                  <a:lnTo>
                    <a:pt x="726" y="360"/>
                  </a:lnTo>
                  <a:lnTo>
                    <a:pt x="757" y="360"/>
                  </a:lnTo>
                  <a:lnTo>
                    <a:pt x="773" y="347"/>
                  </a:lnTo>
                  <a:lnTo>
                    <a:pt x="775" y="347"/>
                  </a:lnTo>
                  <a:lnTo>
                    <a:pt x="776" y="347"/>
                  </a:lnTo>
                  <a:lnTo>
                    <a:pt x="778" y="347"/>
                  </a:lnTo>
                  <a:lnTo>
                    <a:pt x="779" y="345"/>
                  </a:lnTo>
                  <a:lnTo>
                    <a:pt x="780" y="345"/>
                  </a:lnTo>
                  <a:lnTo>
                    <a:pt x="782" y="345"/>
                  </a:lnTo>
                  <a:lnTo>
                    <a:pt x="783" y="345"/>
                  </a:lnTo>
                  <a:lnTo>
                    <a:pt x="785" y="345"/>
                  </a:lnTo>
                  <a:lnTo>
                    <a:pt x="786" y="345"/>
                  </a:lnTo>
                  <a:lnTo>
                    <a:pt x="786" y="347"/>
                  </a:lnTo>
                  <a:lnTo>
                    <a:pt x="787" y="347"/>
                  </a:lnTo>
                  <a:lnTo>
                    <a:pt x="786" y="347"/>
                  </a:lnTo>
                  <a:lnTo>
                    <a:pt x="786" y="349"/>
                  </a:lnTo>
                  <a:lnTo>
                    <a:pt x="787" y="349"/>
                  </a:lnTo>
                  <a:lnTo>
                    <a:pt x="789" y="347"/>
                  </a:lnTo>
                  <a:lnTo>
                    <a:pt x="789" y="349"/>
                  </a:lnTo>
                  <a:lnTo>
                    <a:pt x="790" y="349"/>
                  </a:lnTo>
                  <a:lnTo>
                    <a:pt x="791" y="349"/>
                  </a:lnTo>
                  <a:lnTo>
                    <a:pt x="791" y="350"/>
                  </a:lnTo>
                  <a:lnTo>
                    <a:pt x="791" y="352"/>
                  </a:lnTo>
                  <a:lnTo>
                    <a:pt x="793" y="352"/>
                  </a:lnTo>
                  <a:lnTo>
                    <a:pt x="794" y="352"/>
                  </a:lnTo>
                  <a:lnTo>
                    <a:pt x="796" y="352"/>
                  </a:lnTo>
                  <a:lnTo>
                    <a:pt x="796" y="353"/>
                  </a:lnTo>
                  <a:lnTo>
                    <a:pt x="797" y="353"/>
                  </a:lnTo>
                  <a:lnTo>
                    <a:pt x="797" y="355"/>
                  </a:lnTo>
                  <a:lnTo>
                    <a:pt x="799" y="355"/>
                  </a:lnTo>
                  <a:lnTo>
                    <a:pt x="799" y="356"/>
                  </a:lnTo>
                  <a:lnTo>
                    <a:pt x="800" y="356"/>
                  </a:lnTo>
                  <a:lnTo>
                    <a:pt x="801" y="356"/>
                  </a:lnTo>
                  <a:lnTo>
                    <a:pt x="801" y="355"/>
                  </a:lnTo>
                  <a:lnTo>
                    <a:pt x="803" y="355"/>
                  </a:lnTo>
                  <a:lnTo>
                    <a:pt x="804" y="355"/>
                  </a:lnTo>
                  <a:lnTo>
                    <a:pt x="805" y="355"/>
                  </a:lnTo>
                  <a:lnTo>
                    <a:pt x="807" y="355"/>
                  </a:lnTo>
                  <a:lnTo>
                    <a:pt x="808" y="355"/>
                  </a:lnTo>
                  <a:lnTo>
                    <a:pt x="810" y="355"/>
                  </a:lnTo>
                  <a:lnTo>
                    <a:pt x="811" y="355"/>
                  </a:lnTo>
                  <a:lnTo>
                    <a:pt x="813" y="355"/>
                  </a:lnTo>
                  <a:lnTo>
                    <a:pt x="814" y="355"/>
                  </a:lnTo>
                  <a:lnTo>
                    <a:pt x="814" y="356"/>
                  </a:lnTo>
                  <a:lnTo>
                    <a:pt x="815" y="356"/>
                  </a:lnTo>
                  <a:lnTo>
                    <a:pt x="816" y="356"/>
                  </a:lnTo>
                  <a:lnTo>
                    <a:pt x="816" y="358"/>
                  </a:lnTo>
                  <a:lnTo>
                    <a:pt x="818" y="358"/>
                  </a:lnTo>
                  <a:lnTo>
                    <a:pt x="819" y="358"/>
                  </a:lnTo>
                  <a:lnTo>
                    <a:pt x="818" y="360"/>
                  </a:lnTo>
                  <a:lnTo>
                    <a:pt x="819" y="360"/>
                  </a:lnTo>
                  <a:lnTo>
                    <a:pt x="821" y="360"/>
                  </a:lnTo>
                  <a:lnTo>
                    <a:pt x="822" y="360"/>
                  </a:lnTo>
                  <a:lnTo>
                    <a:pt x="822" y="362"/>
                  </a:lnTo>
                  <a:lnTo>
                    <a:pt x="824" y="362"/>
                  </a:lnTo>
                  <a:lnTo>
                    <a:pt x="824" y="363"/>
                  </a:lnTo>
                  <a:lnTo>
                    <a:pt x="825" y="363"/>
                  </a:lnTo>
                  <a:lnTo>
                    <a:pt x="825" y="365"/>
                  </a:lnTo>
                  <a:lnTo>
                    <a:pt x="826" y="365"/>
                  </a:lnTo>
                  <a:lnTo>
                    <a:pt x="828" y="365"/>
                  </a:lnTo>
                  <a:lnTo>
                    <a:pt x="829" y="365"/>
                  </a:lnTo>
                  <a:lnTo>
                    <a:pt x="829" y="366"/>
                  </a:lnTo>
                  <a:lnTo>
                    <a:pt x="830" y="366"/>
                  </a:lnTo>
                  <a:lnTo>
                    <a:pt x="832" y="366"/>
                  </a:lnTo>
                  <a:lnTo>
                    <a:pt x="832" y="365"/>
                  </a:lnTo>
                  <a:lnTo>
                    <a:pt x="833" y="365"/>
                  </a:lnTo>
                  <a:lnTo>
                    <a:pt x="835" y="365"/>
                  </a:lnTo>
                  <a:lnTo>
                    <a:pt x="836" y="363"/>
                  </a:lnTo>
                  <a:lnTo>
                    <a:pt x="838" y="363"/>
                  </a:lnTo>
                  <a:lnTo>
                    <a:pt x="886" y="381"/>
                  </a:lnTo>
                  <a:lnTo>
                    <a:pt x="908" y="385"/>
                  </a:lnTo>
                  <a:lnTo>
                    <a:pt x="911" y="381"/>
                  </a:lnTo>
                  <a:lnTo>
                    <a:pt x="915" y="373"/>
                  </a:lnTo>
                  <a:lnTo>
                    <a:pt x="915" y="372"/>
                  </a:lnTo>
                  <a:lnTo>
                    <a:pt x="915" y="369"/>
                  </a:lnTo>
                  <a:lnTo>
                    <a:pt x="917" y="369"/>
                  </a:lnTo>
                  <a:lnTo>
                    <a:pt x="918" y="369"/>
                  </a:lnTo>
                  <a:lnTo>
                    <a:pt x="918" y="368"/>
                  </a:lnTo>
                  <a:lnTo>
                    <a:pt x="919" y="366"/>
                  </a:lnTo>
                  <a:lnTo>
                    <a:pt x="919" y="365"/>
                  </a:lnTo>
                  <a:lnTo>
                    <a:pt x="918" y="365"/>
                  </a:lnTo>
                  <a:lnTo>
                    <a:pt x="918" y="363"/>
                  </a:lnTo>
                  <a:lnTo>
                    <a:pt x="919" y="362"/>
                  </a:lnTo>
                  <a:lnTo>
                    <a:pt x="918" y="360"/>
                  </a:lnTo>
                  <a:lnTo>
                    <a:pt x="917" y="360"/>
                  </a:lnTo>
                  <a:lnTo>
                    <a:pt x="915" y="360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3" y="358"/>
                  </a:lnTo>
                  <a:lnTo>
                    <a:pt x="913" y="356"/>
                  </a:lnTo>
                  <a:lnTo>
                    <a:pt x="911" y="356"/>
                  </a:lnTo>
                  <a:lnTo>
                    <a:pt x="910" y="356"/>
                  </a:lnTo>
                  <a:lnTo>
                    <a:pt x="910" y="353"/>
                  </a:lnTo>
                  <a:lnTo>
                    <a:pt x="908" y="353"/>
                  </a:lnTo>
                  <a:lnTo>
                    <a:pt x="907" y="352"/>
                  </a:lnTo>
                  <a:lnTo>
                    <a:pt x="905" y="352"/>
                  </a:lnTo>
                  <a:lnTo>
                    <a:pt x="904" y="350"/>
                  </a:lnTo>
                  <a:lnTo>
                    <a:pt x="903" y="347"/>
                  </a:lnTo>
                  <a:lnTo>
                    <a:pt x="901" y="345"/>
                  </a:lnTo>
                  <a:lnTo>
                    <a:pt x="903" y="345"/>
                  </a:lnTo>
                  <a:lnTo>
                    <a:pt x="903" y="344"/>
                  </a:lnTo>
                  <a:lnTo>
                    <a:pt x="903" y="343"/>
                  </a:lnTo>
                  <a:lnTo>
                    <a:pt x="904" y="343"/>
                  </a:lnTo>
                  <a:lnTo>
                    <a:pt x="904" y="341"/>
                  </a:lnTo>
                  <a:lnTo>
                    <a:pt x="904" y="340"/>
                  </a:lnTo>
                  <a:lnTo>
                    <a:pt x="903" y="340"/>
                  </a:lnTo>
                  <a:lnTo>
                    <a:pt x="903" y="337"/>
                  </a:lnTo>
                  <a:lnTo>
                    <a:pt x="901" y="337"/>
                  </a:lnTo>
                  <a:lnTo>
                    <a:pt x="901" y="336"/>
                  </a:lnTo>
                  <a:lnTo>
                    <a:pt x="901" y="333"/>
                  </a:lnTo>
                  <a:lnTo>
                    <a:pt x="903" y="333"/>
                  </a:lnTo>
                  <a:lnTo>
                    <a:pt x="903" y="332"/>
                  </a:lnTo>
                  <a:lnTo>
                    <a:pt x="901" y="332"/>
                  </a:lnTo>
                  <a:lnTo>
                    <a:pt x="901" y="331"/>
                  </a:lnTo>
                  <a:lnTo>
                    <a:pt x="901" y="330"/>
                  </a:lnTo>
                  <a:lnTo>
                    <a:pt x="901" y="328"/>
                  </a:lnTo>
                  <a:lnTo>
                    <a:pt x="901" y="327"/>
                  </a:lnTo>
                  <a:lnTo>
                    <a:pt x="901" y="324"/>
                  </a:lnTo>
                  <a:lnTo>
                    <a:pt x="901" y="323"/>
                  </a:lnTo>
                  <a:lnTo>
                    <a:pt x="901" y="320"/>
                  </a:lnTo>
                  <a:lnTo>
                    <a:pt x="901" y="319"/>
                  </a:lnTo>
                  <a:lnTo>
                    <a:pt x="901" y="316"/>
                  </a:lnTo>
                  <a:lnTo>
                    <a:pt x="901" y="315"/>
                  </a:lnTo>
                  <a:lnTo>
                    <a:pt x="901" y="316"/>
                  </a:lnTo>
                  <a:lnTo>
                    <a:pt x="903" y="316"/>
                  </a:lnTo>
                  <a:lnTo>
                    <a:pt x="903" y="315"/>
                  </a:lnTo>
                  <a:lnTo>
                    <a:pt x="904" y="315"/>
                  </a:lnTo>
                  <a:lnTo>
                    <a:pt x="905" y="315"/>
                  </a:lnTo>
                  <a:lnTo>
                    <a:pt x="907" y="315"/>
                  </a:lnTo>
                  <a:lnTo>
                    <a:pt x="907" y="316"/>
                  </a:lnTo>
                  <a:lnTo>
                    <a:pt x="908" y="316"/>
                  </a:lnTo>
                  <a:lnTo>
                    <a:pt x="910" y="316"/>
                  </a:lnTo>
                  <a:lnTo>
                    <a:pt x="910" y="315"/>
                  </a:lnTo>
                  <a:lnTo>
                    <a:pt x="911" y="315"/>
                  </a:lnTo>
                  <a:lnTo>
                    <a:pt x="913" y="315"/>
                  </a:lnTo>
                  <a:lnTo>
                    <a:pt x="914" y="315"/>
                  </a:lnTo>
                  <a:lnTo>
                    <a:pt x="915" y="315"/>
                  </a:lnTo>
                  <a:lnTo>
                    <a:pt x="915" y="313"/>
                  </a:lnTo>
                  <a:lnTo>
                    <a:pt x="917" y="313"/>
                  </a:lnTo>
                  <a:lnTo>
                    <a:pt x="917" y="311"/>
                  </a:lnTo>
                  <a:lnTo>
                    <a:pt x="917" y="310"/>
                  </a:lnTo>
                  <a:lnTo>
                    <a:pt x="918" y="310"/>
                  </a:lnTo>
                  <a:lnTo>
                    <a:pt x="918" y="308"/>
                  </a:lnTo>
                  <a:lnTo>
                    <a:pt x="919" y="307"/>
                  </a:lnTo>
                  <a:lnTo>
                    <a:pt x="919" y="306"/>
                  </a:lnTo>
                  <a:lnTo>
                    <a:pt x="921" y="304"/>
                  </a:lnTo>
                  <a:lnTo>
                    <a:pt x="922" y="302"/>
                  </a:lnTo>
                  <a:lnTo>
                    <a:pt x="924" y="302"/>
                  </a:lnTo>
                  <a:lnTo>
                    <a:pt x="925" y="302"/>
                  </a:lnTo>
                  <a:lnTo>
                    <a:pt x="925" y="300"/>
                  </a:lnTo>
                  <a:lnTo>
                    <a:pt x="925" y="298"/>
                  </a:lnTo>
                  <a:lnTo>
                    <a:pt x="926" y="298"/>
                  </a:lnTo>
                  <a:lnTo>
                    <a:pt x="928" y="298"/>
                  </a:lnTo>
                  <a:lnTo>
                    <a:pt x="928" y="296"/>
                  </a:lnTo>
                  <a:lnTo>
                    <a:pt x="928" y="295"/>
                  </a:lnTo>
                  <a:lnTo>
                    <a:pt x="928" y="296"/>
                  </a:lnTo>
                  <a:lnTo>
                    <a:pt x="929" y="296"/>
                  </a:lnTo>
                  <a:lnTo>
                    <a:pt x="929" y="295"/>
                  </a:lnTo>
                  <a:lnTo>
                    <a:pt x="928" y="295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9" y="295"/>
                  </a:lnTo>
                  <a:lnTo>
                    <a:pt x="929" y="294"/>
                  </a:lnTo>
                  <a:lnTo>
                    <a:pt x="929" y="293"/>
                  </a:lnTo>
                  <a:lnTo>
                    <a:pt x="930" y="293"/>
                  </a:lnTo>
                  <a:lnTo>
                    <a:pt x="932" y="293"/>
                  </a:lnTo>
                  <a:lnTo>
                    <a:pt x="933" y="293"/>
                  </a:lnTo>
                  <a:lnTo>
                    <a:pt x="935" y="293"/>
                  </a:lnTo>
                  <a:lnTo>
                    <a:pt x="935" y="291"/>
                  </a:lnTo>
                  <a:lnTo>
                    <a:pt x="936" y="291"/>
                  </a:lnTo>
                  <a:lnTo>
                    <a:pt x="936" y="288"/>
                  </a:lnTo>
                  <a:lnTo>
                    <a:pt x="935" y="288"/>
                  </a:lnTo>
                  <a:lnTo>
                    <a:pt x="936" y="288"/>
                  </a:lnTo>
                  <a:lnTo>
                    <a:pt x="938" y="288"/>
                  </a:lnTo>
                  <a:lnTo>
                    <a:pt x="938" y="287"/>
                  </a:lnTo>
                  <a:lnTo>
                    <a:pt x="936" y="287"/>
                  </a:lnTo>
                  <a:lnTo>
                    <a:pt x="938" y="287"/>
                  </a:lnTo>
                  <a:lnTo>
                    <a:pt x="938" y="285"/>
                  </a:lnTo>
                  <a:lnTo>
                    <a:pt x="939" y="285"/>
                  </a:lnTo>
                  <a:lnTo>
                    <a:pt x="940" y="285"/>
                  </a:lnTo>
                  <a:lnTo>
                    <a:pt x="940" y="283"/>
                  </a:lnTo>
                  <a:lnTo>
                    <a:pt x="942" y="283"/>
                  </a:lnTo>
                  <a:lnTo>
                    <a:pt x="942" y="282"/>
                  </a:lnTo>
                  <a:lnTo>
                    <a:pt x="940" y="282"/>
                  </a:lnTo>
                  <a:lnTo>
                    <a:pt x="940" y="279"/>
                  </a:lnTo>
                  <a:lnTo>
                    <a:pt x="942" y="279"/>
                  </a:lnTo>
                  <a:lnTo>
                    <a:pt x="943" y="279"/>
                  </a:lnTo>
                  <a:lnTo>
                    <a:pt x="942" y="279"/>
                  </a:lnTo>
                  <a:lnTo>
                    <a:pt x="940" y="278"/>
                  </a:lnTo>
                  <a:lnTo>
                    <a:pt x="942" y="278"/>
                  </a:lnTo>
                  <a:lnTo>
                    <a:pt x="942" y="275"/>
                  </a:lnTo>
                  <a:lnTo>
                    <a:pt x="943" y="275"/>
                  </a:lnTo>
                  <a:lnTo>
                    <a:pt x="944" y="275"/>
                  </a:lnTo>
                  <a:lnTo>
                    <a:pt x="946" y="275"/>
                  </a:lnTo>
                  <a:lnTo>
                    <a:pt x="947" y="275"/>
                  </a:lnTo>
                  <a:lnTo>
                    <a:pt x="949" y="275"/>
                  </a:lnTo>
                  <a:lnTo>
                    <a:pt x="949" y="274"/>
                  </a:lnTo>
                  <a:lnTo>
                    <a:pt x="950" y="274"/>
                  </a:lnTo>
                  <a:lnTo>
                    <a:pt x="949" y="274"/>
                  </a:lnTo>
                  <a:lnTo>
                    <a:pt x="949" y="273"/>
                  </a:lnTo>
                  <a:lnTo>
                    <a:pt x="950" y="271"/>
                  </a:lnTo>
                  <a:lnTo>
                    <a:pt x="949" y="271"/>
                  </a:lnTo>
                  <a:lnTo>
                    <a:pt x="949" y="270"/>
                  </a:lnTo>
                  <a:lnTo>
                    <a:pt x="950" y="270"/>
                  </a:lnTo>
                  <a:lnTo>
                    <a:pt x="949" y="269"/>
                  </a:lnTo>
                  <a:lnTo>
                    <a:pt x="950" y="269"/>
                  </a:lnTo>
                  <a:lnTo>
                    <a:pt x="951" y="269"/>
                  </a:lnTo>
                  <a:lnTo>
                    <a:pt x="951" y="266"/>
                  </a:lnTo>
                  <a:lnTo>
                    <a:pt x="953" y="266"/>
                  </a:lnTo>
                  <a:lnTo>
                    <a:pt x="953" y="265"/>
                  </a:lnTo>
                  <a:lnTo>
                    <a:pt x="954" y="265"/>
                  </a:lnTo>
                  <a:lnTo>
                    <a:pt x="953" y="265"/>
                  </a:lnTo>
                  <a:lnTo>
                    <a:pt x="953" y="262"/>
                  </a:lnTo>
                  <a:lnTo>
                    <a:pt x="954" y="262"/>
                  </a:lnTo>
                  <a:lnTo>
                    <a:pt x="955" y="262"/>
                  </a:lnTo>
                  <a:lnTo>
                    <a:pt x="955" y="260"/>
                  </a:lnTo>
                  <a:lnTo>
                    <a:pt x="954" y="260"/>
                  </a:lnTo>
                  <a:lnTo>
                    <a:pt x="955" y="260"/>
                  </a:lnTo>
                  <a:lnTo>
                    <a:pt x="957" y="258"/>
                  </a:lnTo>
                  <a:lnTo>
                    <a:pt x="958" y="257"/>
                  </a:lnTo>
                  <a:lnTo>
                    <a:pt x="958" y="256"/>
                  </a:lnTo>
                  <a:lnTo>
                    <a:pt x="960" y="256"/>
                  </a:lnTo>
                  <a:lnTo>
                    <a:pt x="960" y="253"/>
                  </a:lnTo>
                  <a:lnTo>
                    <a:pt x="963" y="253"/>
                  </a:lnTo>
                  <a:lnTo>
                    <a:pt x="961" y="253"/>
                  </a:lnTo>
                  <a:lnTo>
                    <a:pt x="961" y="251"/>
                  </a:lnTo>
                  <a:lnTo>
                    <a:pt x="963" y="251"/>
                  </a:lnTo>
                  <a:lnTo>
                    <a:pt x="964" y="253"/>
                  </a:lnTo>
                  <a:lnTo>
                    <a:pt x="964" y="251"/>
                  </a:lnTo>
                  <a:lnTo>
                    <a:pt x="964" y="249"/>
                  </a:lnTo>
                  <a:lnTo>
                    <a:pt x="965" y="249"/>
                  </a:lnTo>
                  <a:lnTo>
                    <a:pt x="965" y="251"/>
                  </a:lnTo>
                  <a:lnTo>
                    <a:pt x="965" y="249"/>
                  </a:lnTo>
                  <a:lnTo>
                    <a:pt x="967" y="249"/>
                  </a:lnTo>
                  <a:lnTo>
                    <a:pt x="968" y="249"/>
                  </a:lnTo>
                  <a:lnTo>
                    <a:pt x="968" y="248"/>
                  </a:lnTo>
                  <a:lnTo>
                    <a:pt x="968" y="246"/>
                  </a:lnTo>
                  <a:lnTo>
                    <a:pt x="967" y="246"/>
                  </a:lnTo>
                  <a:lnTo>
                    <a:pt x="968" y="246"/>
                  </a:lnTo>
                  <a:lnTo>
                    <a:pt x="968" y="244"/>
                  </a:lnTo>
                  <a:lnTo>
                    <a:pt x="968" y="243"/>
                  </a:lnTo>
                  <a:lnTo>
                    <a:pt x="968" y="240"/>
                  </a:lnTo>
                  <a:lnTo>
                    <a:pt x="968" y="237"/>
                  </a:lnTo>
                  <a:lnTo>
                    <a:pt x="969" y="237"/>
                  </a:lnTo>
                  <a:lnTo>
                    <a:pt x="971" y="237"/>
                  </a:lnTo>
                  <a:lnTo>
                    <a:pt x="969" y="237"/>
                  </a:lnTo>
                  <a:lnTo>
                    <a:pt x="968" y="237"/>
                  </a:lnTo>
                  <a:lnTo>
                    <a:pt x="969" y="237"/>
                  </a:lnTo>
                  <a:lnTo>
                    <a:pt x="969" y="236"/>
                  </a:lnTo>
                  <a:lnTo>
                    <a:pt x="969" y="237"/>
                  </a:lnTo>
                  <a:lnTo>
                    <a:pt x="971" y="237"/>
                  </a:lnTo>
                  <a:lnTo>
                    <a:pt x="971" y="236"/>
                  </a:lnTo>
                  <a:lnTo>
                    <a:pt x="971" y="234"/>
                  </a:lnTo>
                  <a:lnTo>
                    <a:pt x="972" y="234"/>
                  </a:lnTo>
                  <a:lnTo>
                    <a:pt x="972" y="236"/>
                  </a:lnTo>
                  <a:lnTo>
                    <a:pt x="974" y="236"/>
                  </a:lnTo>
                  <a:lnTo>
                    <a:pt x="974" y="234"/>
                  </a:lnTo>
                  <a:lnTo>
                    <a:pt x="972" y="234"/>
                  </a:lnTo>
                  <a:lnTo>
                    <a:pt x="974" y="234"/>
                  </a:lnTo>
                  <a:lnTo>
                    <a:pt x="974" y="233"/>
                  </a:lnTo>
                  <a:lnTo>
                    <a:pt x="972" y="233"/>
                  </a:lnTo>
                  <a:lnTo>
                    <a:pt x="972" y="231"/>
                  </a:lnTo>
                  <a:lnTo>
                    <a:pt x="974" y="231"/>
                  </a:lnTo>
                  <a:lnTo>
                    <a:pt x="975" y="231"/>
                  </a:lnTo>
                  <a:lnTo>
                    <a:pt x="977" y="231"/>
                  </a:lnTo>
                  <a:lnTo>
                    <a:pt x="978" y="231"/>
                  </a:lnTo>
                  <a:lnTo>
                    <a:pt x="980" y="231"/>
                  </a:lnTo>
                  <a:lnTo>
                    <a:pt x="982" y="231"/>
                  </a:lnTo>
                  <a:lnTo>
                    <a:pt x="983" y="231"/>
                  </a:lnTo>
                  <a:lnTo>
                    <a:pt x="985" y="231"/>
                  </a:lnTo>
                  <a:lnTo>
                    <a:pt x="985" y="229"/>
                  </a:lnTo>
                  <a:lnTo>
                    <a:pt x="986" y="229"/>
                  </a:lnTo>
                  <a:lnTo>
                    <a:pt x="988" y="229"/>
                  </a:lnTo>
                  <a:lnTo>
                    <a:pt x="989" y="229"/>
                  </a:lnTo>
                  <a:lnTo>
                    <a:pt x="990" y="229"/>
                  </a:lnTo>
                  <a:lnTo>
                    <a:pt x="990" y="226"/>
                  </a:lnTo>
                  <a:lnTo>
                    <a:pt x="992" y="229"/>
                  </a:lnTo>
                  <a:lnTo>
                    <a:pt x="992" y="226"/>
                  </a:lnTo>
                  <a:lnTo>
                    <a:pt x="993" y="226"/>
                  </a:lnTo>
                  <a:lnTo>
                    <a:pt x="994" y="226"/>
                  </a:lnTo>
                  <a:lnTo>
                    <a:pt x="996" y="226"/>
                  </a:lnTo>
                  <a:lnTo>
                    <a:pt x="997" y="226"/>
                  </a:lnTo>
                  <a:lnTo>
                    <a:pt x="999" y="226"/>
                  </a:lnTo>
                  <a:lnTo>
                    <a:pt x="999" y="225"/>
                  </a:lnTo>
                  <a:lnTo>
                    <a:pt x="1000" y="225"/>
                  </a:lnTo>
                  <a:lnTo>
                    <a:pt x="1002" y="225"/>
                  </a:lnTo>
                  <a:lnTo>
                    <a:pt x="1003" y="225"/>
                  </a:lnTo>
                  <a:lnTo>
                    <a:pt x="1004" y="224"/>
                  </a:lnTo>
                  <a:lnTo>
                    <a:pt x="1005" y="224"/>
                  </a:lnTo>
                  <a:lnTo>
                    <a:pt x="1008" y="224"/>
                  </a:lnTo>
                  <a:lnTo>
                    <a:pt x="1008" y="225"/>
                  </a:lnTo>
                  <a:lnTo>
                    <a:pt x="1010" y="225"/>
                  </a:lnTo>
                  <a:lnTo>
                    <a:pt x="1010" y="224"/>
                  </a:lnTo>
                  <a:lnTo>
                    <a:pt x="1010" y="223"/>
                  </a:lnTo>
                  <a:lnTo>
                    <a:pt x="1011" y="223"/>
                  </a:lnTo>
                  <a:lnTo>
                    <a:pt x="1013" y="223"/>
                  </a:lnTo>
                  <a:lnTo>
                    <a:pt x="1014" y="223"/>
                  </a:lnTo>
                  <a:lnTo>
                    <a:pt x="1015" y="223"/>
                  </a:lnTo>
                  <a:lnTo>
                    <a:pt x="1017" y="223"/>
                  </a:lnTo>
                  <a:lnTo>
                    <a:pt x="1018" y="223"/>
                  </a:lnTo>
                  <a:lnTo>
                    <a:pt x="1018" y="221"/>
                  </a:lnTo>
                  <a:lnTo>
                    <a:pt x="1019" y="221"/>
                  </a:lnTo>
                  <a:lnTo>
                    <a:pt x="1021" y="221"/>
                  </a:lnTo>
                  <a:lnTo>
                    <a:pt x="1022" y="221"/>
                  </a:lnTo>
                  <a:lnTo>
                    <a:pt x="1024" y="223"/>
                  </a:lnTo>
                  <a:lnTo>
                    <a:pt x="1025" y="223"/>
                  </a:lnTo>
                  <a:lnTo>
                    <a:pt x="1027" y="221"/>
                  </a:lnTo>
                  <a:lnTo>
                    <a:pt x="1027" y="220"/>
                  </a:lnTo>
                  <a:lnTo>
                    <a:pt x="1028" y="220"/>
                  </a:lnTo>
                  <a:lnTo>
                    <a:pt x="1029" y="220"/>
                  </a:lnTo>
                  <a:lnTo>
                    <a:pt x="1031" y="220"/>
                  </a:lnTo>
                  <a:lnTo>
                    <a:pt x="1031" y="217"/>
                  </a:lnTo>
                  <a:lnTo>
                    <a:pt x="1032" y="217"/>
                  </a:lnTo>
                  <a:lnTo>
                    <a:pt x="1033" y="217"/>
                  </a:lnTo>
                  <a:lnTo>
                    <a:pt x="1035" y="217"/>
                  </a:lnTo>
                  <a:lnTo>
                    <a:pt x="1033" y="217"/>
                  </a:lnTo>
                  <a:lnTo>
                    <a:pt x="1035" y="217"/>
                  </a:lnTo>
                  <a:lnTo>
                    <a:pt x="1035" y="215"/>
                  </a:lnTo>
                  <a:lnTo>
                    <a:pt x="1036" y="217"/>
                  </a:lnTo>
                  <a:lnTo>
                    <a:pt x="1042" y="215"/>
                  </a:lnTo>
                  <a:lnTo>
                    <a:pt x="1049" y="217"/>
                  </a:lnTo>
                  <a:lnTo>
                    <a:pt x="1054" y="215"/>
                  </a:lnTo>
                  <a:lnTo>
                    <a:pt x="1060" y="213"/>
                  </a:lnTo>
                  <a:lnTo>
                    <a:pt x="1061" y="208"/>
                  </a:lnTo>
                  <a:lnTo>
                    <a:pt x="1063" y="203"/>
                  </a:lnTo>
                  <a:lnTo>
                    <a:pt x="1065" y="201"/>
                  </a:lnTo>
                  <a:lnTo>
                    <a:pt x="1071" y="200"/>
                  </a:lnTo>
                  <a:lnTo>
                    <a:pt x="1078" y="203"/>
                  </a:lnTo>
                  <a:lnTo>
                    <a:pt x="1086" y="198"/>
                  </a:lnTo>
                  <a:lnTo>
                    <a:pt x="1088" y="199"/>
                  </a:lnTo>
                  <a:lnTo>
                    <a:pt x="1096" y="198"/>
                  </a:lnTo>
                  <a:lnTo>
                    <a:pt x="1098" y="195"/>
                  </a:lnTo>
                  <a:lnTo>
                    <a:pt x="1096" y="191"/>
                  </a:lnTo>
                  <a:lnTo>
                    <a:pt x="1100" y="189"/>
                  </a:lnTo>
                  <a:lnTo>
                    <a:pt x="1100" y="184"/>
                  </a:lnTo>
                  <a:lnTo>
                    <a:pt x="1107" y="182"/>
                  </a:lnTo>
                  <a:lnTo>
                    <a:pt x="1112" y="182"/>
                  </a:lnTo>
                  <a:lnTo>
                    <a:pt x="1117" y="182"/>
                  </a:lnTo>
                  <a:lnTo>
                    <a:pt x="1120" y="179"/>
                  </a:lnTo>
                  <a:lnTo>
                    <a:pt x="1120" y="173"/>
                  </a:lnTo>
                  <a:lnTo>
                    <a:pt x="1124" y="169"/>
                  </a:lnTo>
                  <a:lnTo>
                    <a:pt x="1124" y="173"/>
                  </a:lnTo>
                  <a:lnTo>
                    <a:pt x="1127" y="171"/>
                  </a:lnTo>
                  <a:lnTo>
                    <a:pt x="1128" y="171"/>
                  </a:lnTo>
                  <a:lnTo>
                    <a:pt x="1132" y="171"/>
                  </a:lnTo>
                  <a:lnTo>
                    <a:pt x="1135" y="166"/>
                  </a:lnTo>
                  <a:lnTo>
                    <a:pt x="1143" y="162"/>
                  </a:lnTo>
                  <a:lnTo>
                    <a:pt x="1145" y="153"/>
                  </a:lnTo>
                  <a:lnTo>
                    <a:pt x="1148" y="150"/>
                  </a:lnTo>
                  <a:lnTo>
                    <a:pt x="1152" y="142"/>
                  </a:lnTo>
                  <a:lnTo>
                    <a:pt x="1157" y="141"/>
                  </a:lnTo>
                  <a:lnTo>
                    <a:pt x="1156" y="137"/>
                  </a:lnTo>
                  <a:lnTo>
                    <a:pt x="1163" y="137"/>
                  </a:lnTo>
                  <a:lnTo>
                    <a:pt x="1167" y="137"/>
                  </a:lnTo>
                  <a:lnTo>
                    <a:pt x="1168" y="137"/>
                  </a:lnTo>
                  <a:lnTo>
                    <a:pt x="1173" y="129"/>
                  </a:lnTo>
                  <a:lnTo>
                    <a:pt x="1179" y="128"/>
                  </a:lnTo>
                  <a:lnTo>
                    <a:pt x="1182" y="126"/>
                  </a:lnTo>
                  <a:lnTo>
                    <a:pt x="1181" y="124"/>
                  </a:lnTo>
                  <a:lnTo>
                    <a:pt x="1182" y="122"/>
                  </a:lnTo>
                  <a:lnTo>
                    <a:pt x="1185" y="122"/>
                  </a:lnTo>
                  <a:lnTo>
                    <a:pt x="1184" y="119"/>
                  </a:lnTo>
                  <a:lnTo>
                    <a:pt x="1187" y="117"/>
                  </a:lnTo>
                  <a:lnTo>
                    <a:pt x="1188" y="113"/>
                  </a:lnTo>
                  <a:lnTo>
                    <a:pt x="1188" y="105"/>
                  </a:lnTo>
                  <a:lnTo>
                    <a:pt x="1190" y="96"/>
                  </a:lnTo>
                  <a:lnTo>
                    <a:pt x="1193" y="94"/>
                  </a:lnTo>
                  <a:lnTo>
                    <a:pt x="1199" y="84"/>
                  </a:lnTo>
                  <a:lnTo>
                    <a:pt x="1200" y="84"/>
                  </a:lnTo>
                  <a:lnTo>
                    <a:pt x="1202" y="84"/>
                  </a:lnTo>
                  <a:lnTo>
                    <a:pt x="1206" y="84"/>
                  </a:lnTo>
                  <a:lnTo>
                    <a:pt x="1212" y="88"/>
                  </a:lnTo>
                  <a:lnTo>
                    <a:pt x="1217" y="87"/>
                  </a:lnTo>
                  <a:lnTo>
                    <a:pt x="1218" y="75"/>
                  </a:lnTo>
                  <a:lnTo>
                    <a:pt x="1221" y="75"/>
                  </a:lnTo>
                  <a:lnTo>
                    <a:pt x="1220" y="74"/>
                  </a:lnTo>
                  <a:lnTo>
                    <a:pt x="1221" y="74"/>
                  </a:lnTo>
                  <a:lnTo>
                    <a:pt x="1221" y="71"/>
                  </a:lnTo>
                  <a:lnTo>
                    <a:pt x="1220" y="70"/>
                  </a:lnTo>
                  <a:lnTo>
                    <a:pt x="1221" y="62"/>
                  </a:lnTo>
                  <a:lnTo>
                    <a:pt x="1225" y="60"/>
                  </a:lnTo>
                  <a:lnTo>
                    <a:pt x="1227" y="62"/>
                  </a:lnTo>
                  <a:lnTo>
                    <a:pt x="1232" y="59"/>
                  </a:lnTo>
                  <a:lnTo>
                    <a:pt x="1232" y="52"/>
                  </a:lnTo>
                  <a:lnTo>
                    <a:pt x="1240" y="49"/>
                  </a:lnTo>
                  <a:lnTo>
                    <a:pt x="1239" y="46"/>
                  </a:lnTo>
                  <a:lnTo>
                    <a:pt x="1240" y="39"/>
                  </a:lnTo>
                  <a:lnTo>
                    <a:pt x="1248" y="37"/>
                  </a:lnTo>
                  <a:lnTo>
                    <a:pt x="1249" y="34"/>
                  </a:lnTo>
                  <a:lnTo>
                    <a:pt x="1246" y="20"/>
                  </a:lnTo>
                  <a:lnTo>
                    <a:pt x="1250" y="17"/>
                  </a:lnTo>
                  <a:lnTo>
                    <a:pt x="1248" y="14"/>
                  </a:lnTo>
                  <a:lnTo>
                    <a:pt x="1252" y="8"/>
                  </a:lnTo>
                  <a:lnTo>
                    <a:pt x="1252" y="4"/>
                  </a:lnTo>
                  <a:lnTo>
                    <a:pt x="1250" y="4"/>
                  </a:lnTo>
                  <a:lnTo>
                    <a:pt x="1248" y="2"/>
                  </a:lnTo>
                  <a:lnTo>
                    <a:pt x="1245" y="0"/>
                  </a:lnTo>
                  <a:lnTo>
                    <a:pt x="1289" y="0"/>
                  </a:lnTo>
                  <a:lnTo>
                    <a:pt x="1640" y="0"/>
                  </a:lnTo>
                  <a:lnTo>
                    <a:pt x="1649" y="2"/>
                  </a:lnTo>
                  <a:lnTo>
                    <a:pt x="1655" y="13"/>
                  </a:lnTo>
                  <a:lnTo>
                    <a:pt x="1655" y="17"/>
                  </a:lnTo>
                  <a:lnTo>
                    <a:pt x="1659" y="21"/>
                  </a:lnTo>
                  <a:lnTo>
                    <a:pt x="1668" y="24"/>
                  </a:lnTo>
                  <a:lnTo>
                    <a:pt x="1672" y="26"/>
                  </a:lnTo>
                  <a:lnTo>
                    <a:pt x="1677" y="25"/>
                  </a:lnTo>
                  <a:lnTo>
                    <a:pt x="1680" y="26"/>
                  </a:lnTo>
                  <a:lnTo>
                    <a:pt x="1680" y="24"/>
                  </a:lnTo>
                  <a:lnTo>
                    <a:pt x="1679" y="21"/>
                  </a:lnTo>
                  <a:lnTo>
                    <a:pt x="1683" y="16"/>
                  </a:lnTo>
                  <a:lnTo>
                    <a:pt x="1683" y="17"/>
                  </a:lnTo>
                  <a:lnTo>
                    <a:pt x="1684" y="20"/>
                  </a:lnTo>
                  <a:lnTo>
                    <a:pt x="1686" y="24"/>
                  </a:lnTo>
                  <a:lnTo>
                    <a:pt x="1684" y="25"/>
                  </a:lnTo>
                  <a:lnTo>
                    <a:pt x="1686" y="26"/>
                  </a:lnTo>
                  <a:lnTo>
                    <a:pt x="1686" y="29"/>
                  </a:lnTo>
                  <a:lnTo>
                    <a:pt x="1687" y="30"/>
                  </a:lnTo>
                  <a:lnTo>
                    <a:pt x="1691" y="38"/>
                  </a:lnTo>
                  <a:lnTo>
                    <a:pt x="1704" y="74"/>
                  </a:lnTo>
                  <a:lnTo>
                    <a:pt x="1705" y="75"/>
                  </a:lnTo>
                  <a:lnTo>
                    <a:pt x="1708" y="79"/>
                  </a:lnTo>
                  <a:lnTo>
                    <a:pt x="1712" y="75"/>
                  </a:lnTo>
                  <a:lnTo>
                    <a:pt x="1718" y="75"/>
                  </a:lnTo>
                  <a:lnTo>
                    <a:pt x="1722" y="84"/>
                  </a:lnTo>
                  <a:lnTo>
                    <a:pt x="1722" y="88"/>
                  </a:lnTo>
                  <a:lnTo>
                    <a:pt x="1724" y="95"/>
                  </a:lnTo>
                  <a:lnTo>
                    <a:pt x="1736" y="97"/>
                  </a:lnTo>
                  <a:lnTo>
                    <a:pt x="1738" y="97"/>
                  </a:lnTo>
                  <a:lnTo>
                    <a:pt x="1738" y="101"/>
                  </a:lnTo>
                  <a:lnTo>
                    <a:pt x="1743" y="101"/>
                  </a:lnTo>
                  <a:lnTo>
                    <a:pt x="1746" y="107"/>
                  </a:lnTo>
                  <a:lnTo>
                    <a:pt x="1751" y="108"/>
                  </a:lnTo>
                  <a:lnTo>
                    <a:pt x="1754" y="107"/>
                  </a:lnTo>
                  <a:lnTo>
                    <a:pt x="1758" y="109"/>
                  </a:lnTo>
                  <a:lnTo>
                    <a:pt x="1772" y="95"/>
                  </a:lnTo>
                  <a:lnTo>
                    <a:pt x="1776" y="92"/>
                  </a:lnTo>
                  <a:lnTo>
                    <a:pt x="1782" y="84"/>
                  </a:lnTo>
                  <a:lnTo>
                    <a:pt x="1787" y="82"/>
                  </a:lnTo>
                  <a:lnTo>
                    <a:pt x="1812" y="108"/>
                  </a:lnTo>
                  <a:lnTo>
                    <a:pt x="1815" y="111"/>
                  </a:lnTo>
                  <a:lnTo>
                    <a:pt x="1813" y="120"/>
                  </a:lnTo>
                  <a:lnTo>
                    <a:pt x="1816" y="128"/>
                  </a:lnTo>
                  <a:lnTo>
                    <a:pt x="1816" y="136"/>
                  </a:lnTo>
                  <a:lnTo>
                    <a:pt x="1813" y="145"/>
                  </a:lnTo>
                  <a:lnTo>
                    <a:pt x="1815" y="146"/>
                  </a:lnTo>
                  <a:lnTo>
                    <a:pt x="1815" y="150"/>
                  </a:lnTo>
                  <a:lnTo>
                    <a:pt x="1816" y="153"/>
                  </a:lnTo>
                  <a:lnTo>
                    <a:pt x="1826" y="149"/>
                  </a:lnTo>
                  <a:lnTo>
                    <a:pt x="1829" y="150"/>
                  </a:lnTo>
                  <a:lnTo>
                    <a:pt x="1830" y="149"/>
                  </a:lnTo>
                  <a:lnTo>
                    <a:pt x="1833" y="150"/>
                  </a:lnTo>
                  <a:lnTo>
                    <a:pt x="1836" y="150"/>
                  </a:lnTo>
                  <a:lnTo>
                    <a:pt x="1838" y="149"/>
                  </a:lnTo>
                  <a:lnTo>
                    <a:pt x="1840" y="150"/>
                  </a:lnTo>
                  <a:lnTo>
                    <a:pt x="1843" y="146"/>
                  </a:lnTo>
                  <a:lnTo>
                    <a:pt x="1847" y="146"/>
                  </a:lnTo>
                  <a:lnTo>
                    <a:pt x="1855" y="142"/>
                  </a:lnTo>
                  <a:lnTo>
                    <a:pt x="1859" y="142"/>
                  </a:lnTo>
                  <a:lnTo>
                    <a:pt x="1859" y="139"/>
                  </a:lnTo>
                  <a:lnTo>
                    <a:pt x="1866" y="133"/>
                  </a:lnTo>
                  <a:lnTo>
                    <a:pt x="1872" y="130"/>
                  </a:lnTo>
                  <a:lnTo>
                    <a:pt x="1875" y="124"/>
                  </a:lnTo>
                  <a:lnTo>
                    <a:pt x="1879" y="120"/>
                  </a:lnTo>
                  <a:lnTo>
                    <a:pt x="1882" y="117"/>
                  </a:lnTo>
                  <a:lnTo>
                    <a:pt x="1886" y="113"/>
                  </a:lnTo>
                  <a:lnTo>
                    <a:pt x="1892" y="105"/>
                  </a:lnTo>
                  <a:lnTo>
                    <a:pt x="1892" y="107"/>
                  </a:lnTo>
                  <a:lnTo>
                    <a:pt x="1896" y="101"/>
                  </a:lnTo>
                  <a:lnTo>
                    <a:pt x="1897" y="104"/>
                  </a:lnTo>
                  <a:lnTo>
                    <a:pt x="1901" y="101"/>
                  </a:lnTo>
                  <a:lnTo>
                    <a:pt x="1904" y="104"/>
                  </a:lnTo>
                  <a:lnTo>
                    <a:pt x="1905" y="109"/>
                  </a:lnTo>
                  <a:lnTo>
                    <a:pt x="1908" y="109"/>
                  </a:lnTo>
                  <a:lnTo>
                    <a:pt x="1908" y="111"/>
                  </a:lnTo>
                  <a:lnTo>
                    <a:pt x="1912" y="119"/>
                  </a:lnTo>
                  <a:lnTo>
                    <a:pt x="1915" y="117"/>
                  </a:lnTo>
                  <a:lnTo>
                    <a:pt x="1917" y="114"/>
                  </a:lnTo>
                  <a:lnTo>
                    <a:pt x="1919" y="114"/>
                  </a:lnTo>
                  <a:lnTo>
                    <a:pt x="1921" y="113"/>
                  </a:lnTo>
                  <a:lnTo>
                    <a:pt x="1921" y="114"/>
                  </a:lnTo>
                  <a:lnTo>
                    <a:pt x="1922" y="114"/>
                  </a:lnTo>
                  <a:lnTo>
                    <a:pt x="1931" y="122"/>
                  </a:lnTo>
                  <a:lnTo>
                    <a:pt x="1931" y="124"/>
                  </a:lnTo>
                  <a:lnTo>
                    <a:pt x="1933" y="126"/>
                  </a:lnTo>
                  <a:lnTo>
                    <a:pt x="1933" y="129"/>
                  </a:lnTo>
                  <a:lnTo>
                    <a:pt x="1939" y="133"/>
                  </a:lnTo>
                  <a:lnTo>
                    <a:pt x="1943" y="133"/>
                  </a:lnTo>
                  <a:lnTo>
                    <a:pt x="1946" y="137"/>
                  </a:lnTo>
                  <a:lnTo>
                    <a:pt x="1950" y="139"/>
                  </a:lnTo>
                  <a:lnTo>
                    <a:pt x="1958" y="150"/>
                  </a:lnTo>
                  <a:lnTo>
                    <a:pt x="1961" y="150"/>
                  </a:lnTo>
                  <a:lnTo>
                    <a:pt x="1962" y="156"/>
                  </a:lnTo>
                  <a:lnTo>
                    <a:pt x="1965" y="156"/>
                  </a:lnTo>
                  <a:lnTo>
                    <a:pt x="1969" y="153"/>
                  </a:lnTo>
                  <a:lnTo>
                    <a:pt x="1973" y="156"/>
                  </a:lnTo>
                  <a:lnTo>
                    <a:pt x="1975" y="159"/>
                  </a:lnTo>
                  <a:lnTo>
                    <a:pt x="1978" y="162"/>
                  </a:lnTo>
                  <a:lnTo>
                    <a:pt x="1979" y="159"/>
                  </a:lnTo>
                  <a:lnTo>
                    <a:pt x="1981" y="163"/>
                  </a:lnTo>
                  <a:lnTo>
                    <a:pt x="1984" y="162"/>
                  </a:lnTo>
                  <a:lnTo>
                    <a:pt x="1986" y="166"/>
                  </a:lnTo>
                  <a:lnTo>
                    <a:pt x="1986" y="169"/>
                  </a:lnTo>
                  <a:lnTo>
                    <a:pt x="1987" y="169"/>
                  </a:lnTo>
                  <a:lnTo>
                    <a:pt x="1984" y="173"/>
                  </a:lnTo>
                  <a:lnTo>
                    <a:pt x="1987" y="175"/>
                  </a:lnTo>
                  <a:lnTo>
                    <a:pt x="1987" y="178"/>
                  </a:lnTo>
                  <a:lnTo>
                    <a:pt x="1986" y="179"/>
                  </a:lnTo>
                  <a:lnTo>
                    <a:pt x="1986" y="181"/>
                  </a:lnTo>
                  <a:lnTo>
                    <a:pt x="1984" y="181"/>
                  </a:lnTo>
                  <a:lnTo>
                    <a:pt x="1984" y="182"/>
                  </a:lnTo>
                  <a:lnTo>
                    <a:pt x="1987" y="184"/>
                  </a:lnTo>
                  <a:lnTo>
                    <a:pt x="1989" y="188"/>
                  </a:lnTo>
                  <a:lnTo>
                    <a:pt x="1992" y="191"/>
                  </a:lnTo>
                  <a:lnTo>
                    <a:pt x="1994" y="189"/>
                  </a:lnTo>
                  <a:lnTo>
                    <a:pt x="1997" y="189"/>
                  </a:lnTo>
                  <a:lnTo>
                    <a:pt x="2000" y="188"/>
                  </a:lnTo>
                  <a:lnTo>
                    <a:pt x="2003" y="191"/>
                  </a:lnTo>
                  <a:lnTo>
                    <a:pt x="2006" y="189"/>
                  </a:lnTo>
                  <a:lnTo>
                    <a:pt x="2008" y="191"/>
                  </a:lnTo>
                  <a:lnTo>
                    <a:pt x="2011" y="191"/>
                  </a:lnTo>
                  <a:lnTo>
                    <a:pt x="2017" y="191"/>
                  </a:lnTo>
                  <a:lnTo>
                    <a:pt x="2021" y="191"/>
                  </a:lnTo>
                  <a:lnTo>
                    <a:pt x="2028" y="191"/>
                  </a:lnTo>
                  <a:lnTo>
                    <a:pt x="2029" y="195"/>
                  </a:lnTo>
                  <a:lnTo>
                    <a:pt x="2031" y="195"/>
                  </a:lnTo>
                  <a:lnTo>
                    <a:pt x="2033" y="191"/>
                  </a:lnTo>
                  <a:lnTo>
                    <a:pt x="2039" y="198"/>
                  </a:lnTo>
                  <a:lnTo>
                    <a:pt x="2042" y="195"/>
                  </a:lnTo>
                  <a:lnTo>
                    <a:pt x="2042" y="194"/>
                  </a:lnTo>
                  <a:lnTo>
                    <a:pt x="2043" y="195"/>
                  </a:lnTo>
                  <a:lnTo>
                    <a:pt x="2048" y="198"/>
                  </a:lnTo>
                  <a:lnTo>
                    <a:pt x="2064" y="194"/>
                  </a:lnTo>
                  <a:lnTo>
                    <a:pt x="2067" y="191"/>
                  </a:lnTo>
                  <a:lnTo>
                    <a:pt x="2069" y="191"/>
                  </a:lnTo>
                  <a:lnTo>
                    <a:pt x="2075" y="187"/>
                  </a:lnTo>
                  <a:lnTo>
                    <a:pt x="2082" y="178"/>
                  </a:lnTo>
                  <a:lnTo>
                    <a:pt x="2086" y="178"/>
                  </a:lnTo>
                  <a:lnTo>
                    <a:pt x="2101" y="169"/>
                  </a:lnTo>
                  <a:lnTo>
                    <a:pt x="2112" y="173"/>
                  </a:lnTo>
                  <a:lnTo>
                    <a:pt x="2114" y="173"/>
                  </a:lnTo>
                  <a:lnTo>
                    <a:pt x="2125" y="173"/>
                  </a:lnTo>
                  <a:lnTo>
                    <a:pt x="2129" y="173"/>
                  </a:lnTo>
                  <a:lnTo>
                    <a:pt x="2136" y="173"/>
                  </a:lnTo>
                  <a:lnTo>
                    <a:pt x="2137" y="169"/>
                  </a:lnTo>
                  <a:lnTo>
                    <a:pt x="2142" y="169"/>
                  </a:lnTo>
                  <a:lnTo>
                    <a:pt x="2145" y="169"/>
                  </a:lnTo>
                  <a:lnTo>
                    <a:pt x="2150" y="167"/>
                  </a:lnTo>
                  <a:lnTo>
                    <a:pt x="2154" y="166"/>
                  </a:lnTo>
                  <a:lnTo>
                    <a:pt x="2157" y="163"/>
                  </a:lnTo>
                  <a:lnTo>
                    <a:pt x="2160" y="164"/>
                  </a:lnTo>
                  <a:lnTo>
                    <a:pt x="2165" y="164"/>
                  </a:lnTo>
                  <a:lnTo>
                    <a:pt x="2167" y="169"/>
                  </a:lnTo>
                  <a:lnTo>
                    <a:pt x="2174" y="173"/>
                  </a:lnTo>
                  <a:lnTo>
                    <a:pt x="2175" y="178"/>
                  </a:lnTo>
                  <a:lnTo>
                    <a:pt x="2181" y="176"/>
                  </a:lnTo>
                  <a:lnTo>
                    <a:pt x="2182" y="179"/>
                  </a:lnTo>
                  <a:lnTo>
                    <a:pt x="2186" y="184"/>
                  </a:lnTo>
                  <a:lnTo>
                    <a:pt x="2191" y="184"/>
                  </a:lnTo>
                  <a:lnTo>
                    <a:pt x="2196" y="191"/>
                  </a:lnTo>
                  <a:lnTo>
                    <a:pt x="2200" y="191"/>
                  </a:lnTo>
                  <a:lnTo>
                    <a:pt x="2203" y="187"/>
                  </a:lnTo>
                  <a:lnTo>
                    <a:pt x="2208" y="184"/>
                  </a:lnTo>
                  <a:lnTo>
                    <a:pt x="2213" y="181"/>
                  </a:lnTo>
                  <a:lnTo>
                    <a:pt x="2217" y="186"/>
                  </a:lnTo>
                  <a:lnTo>
                    <a:pt x="2220" y="184"/>
                  </a:lnTo>
                  <a:lnTo>
                    <a:pt x="2232" y="184"/>
                  </a:lnTo>
                  <a:lnTo>
                    <a:pt x="2243" y="187"/>
                  </a:lnTo>
                  <a:lnTo>
                    <a:pt x="2250" y="188"/>
                  </a:lnTo>
                  <a:lnTo>
                    <a:pt x="2261" y="195"/>
                  </a:lnTo>
                  <a:lnTo>
                    <a:pt x="2263" y="194"/>
                  </a:lnTo>
                  <a:lnTo>
                    <a:pt x="2271" y="195"/>
                  </a:lnTo>
                  <a:lnTo>
                    <a:pt x="2274" y="198"/>
                  </a:lnTo>
                  <a:lnTo>
                    <a:pt x="2272" y="199"/>
                  </a:lnTo>
                  <a:lnTo>
                    <a:pt x="2274" y="200"/>
                  </a:lnTo>
                  <a:lnTo>
                    <a:pt x="2286" y="208"/>
                  </a:lnTo>
                  <a:lnTo>
                    <a:pt x="2297" y="208"/>
                  </a:lnTo>
                  <a:lnTo>
                    <a:pt x="2299" y="211"/>
                  </a:lnTo>
                  <a:lnTo>
                    <a:pt x="2296" y="215"/>
                  </a:lnTo>
                  <a:lnTo>
                    <a:pt x="2299" y="225"/>
                  </a:lnTo>
                  <a:lnTo>
                    <a:pt x="2295" y="226"/>
                  </a:lnTo>
                  <a:lnTo>
                    <a:pt x="2299" y="240"/>
                  </a:lnTo>
                  <a:lnTo>
                    <a:pt x="2303" y="244"/>
                  </a:lnTo>
                  <a:lnTo>
                    <a:pt x="2310" y="246"/>
                  </a:lnTo>
                  <a:lnTo>
                    <a:pt x="2318" y="256"/>
                  </a:lnTo>
                  <a:lnTo>
                    <a:pt x="2327" y="260"/>
                  </a:lnTo>
                  <a:lnTo>
                    <a:pt x="2328" y="258"/>
                  </a:lnTo>
                  <a:lnTo>
                    <a:pt x="2328" y="251"/>
                  </a:lnTo>
                  <a:lnTo>
                    <a:pt x="2331" y="249"/>
                  </a:lnTo>
                  <a:lnTo>
                    <a:pt x="2335" y="249"/>
                  </a:lnTo>
                  <a:lnTo>
                    <a:pt x="2336" y="253"/>
                  </a:lnTo>
                  <a:lnTo>
                    <a:pt x="2335" y="258"/>
                  </a:lnTo>
                  <a:lnTo>
                    <a:pt x="2341" y="262"/>
                  </a:lnTo>
                  <a:lnTo>
                    <a:pt x="2345" y="262"/>
                  </a:lnTo>
                  <a:lnTo>
                    <a:pt x="2350" y="266"/>
                  </a:lnTo>
                  <a:lnTo>
                    <a:pt x="2355" y="266"/>
                  </a:lnTo>
                  <a:lnTo>
                    <a:pt x="2360" y="260"/>
                  </a:lnTo>
                  <a:lnTo>
                    <a:pt x="2364" y="262"/>
                  </a:lnTo>
                  <a:lnTo>
                    <a:pt x="2371" y="258"/>
                  </a:lnTo>
                  <a:lnTo>
                    <a:pt x="2371" y="260"/>
                  </a:lnTo>
                  <a:lnTo>
                    <a:pt x="2377" y="262"/>
                  </a:lnTo>
                  <a:lnTo>
                    <a:pt x="2377" y="266"/>
                  </a:lnTo>
                  <a:lnTo>
                    <a:pt x="2372" y="269"/>
                  </a:lnTo>
                  <a:lnTo>
                    <a:pt x="2372" y="270"/>
                  </a:lnTo>
                  <a:lnTo>
                    <a:pt x="2380" y="273"/>
                  </a:lnTo>
                  <a:lnTo>
                    <a:pt x="2383" y="279"/>
                  </a:lnTo>
                  <a:lnTo>
                    <a:pt x="2388" y="279"/>
                  </a:lnTo>
                  <a:lnTo>
                    <a:pt x="2399" y="275"/>
                  </a:lnTo>
                  <a:lnTo>
                    <a:pt x="2407" y="274"/>
                  </a:lnTo>
                  <a:lnTo>
                    <a:pt x="2409" y="275"/>
                  </a:lnTo>
                  <a:lnTo>
                    <a:pt x="2405" y="287"/>
                  </a:lnTo>
                  <a:lnTo>
                    <a:pt x="2399" y="293"/>
                  </a:lnTo>
                  <a:lnTo>
                    <a:pt x="2399" y="300"/>
                  </a:lnTo>
                  <a:lnTo>
                    <a:pt x="2399" y="307"/>
                  </a:lnTo>
                  <a:lnTo>
                    <a:pt x="2403" y="308"/>
                  </a:lnTo>
                  <a:lnTo>
                    <a:pt x="2407" y="307"/>
                  </a:lnTo>
                  <a:lnTo>
                    <a:pt x="2417" y="315"/>
                  </a:lnTo>
                  <a:lnTo>
                    <a:pt x="2421" y="316"/>
                  </a:lnTo>
                  <a:lnTo>
                    <a:pt x="2425" y="315"/>
                  </a:lnTo>
                  <a:lnTo>
                    <a:pt x="2431" y="320"/>
                  </a:lnTo>
                  <a:lnTo>
                    <a:pt x="2431" y="323"/>
                  </a:lnTo>
                  <a:lnTo>
                    <a:pt x="2428" y="324"/>
                  </a:lnTo>
                  <a:lnTo>
                    <a:pt x="2428" y="330"/>
                  </a:lnTo>
                  <a:lnTo>
                    <a:pt x="2435" y="337"/>
                  </a:lnTo>
                  <a:lnTo>
                    <a:pt x="2437" y="344"/>
                  </a:lnTo>
                  <a:lnTo>
                    <a:pt x="2441" y="347"/>
                  </a:lnTo>
                  <a:lnTo>
                    <a:pt x="2449" y="355"/>
                  </a:lnTo>
                  <a:lnTo>
                    <a:pt x="2459" y="356"/>
                  </a:lnTo>
                  <a:lnTo>
                    <a:pt x="2462" y="360"/>
                  </a:lnTo>
                  <a:lnTo>
                    <a:pt x="2470" y="363"/>
                  </a:lnTo>
                  <a:lnTo>
                    <a:pt x="2476" y="365"/>
                  </a:lnTo>
                  <a:lnTo>
                    <a:pt x="2488" y="360"/>
                  </a:lnTo>
                  <a:lnTo>
                    <a:pt x="2496" y="352"/>
                  </a:lnTo>
                  <a:lnTo>
                    <a:pt x="2501" y="353"/>
                  </a:lnTo>
                  <a:lnTo>
                    <a:pt x="2506" y="362"/>
                  </a:lnTo>
                  <a:lnTo>
                    <a:pt x="2521" y="368"/>
                  </a:lnTo>
                  <a:lnTo>
                    <a:pt x="2535" y="365"/>
                  </a:lnTo>
                  <a:lnTo>
                    <a:pt x="2548" y="360"/>
                  </a:lnTo>
                  <a:lnTo>
                    <a:pt x="2553" y="362"/>
                  </a:lnTo>
                  <a:lnTo>
                    <a:pt x="2553" y="369"/>
                  </a:lnTo>
                  <a:lnTo>
                    <a:pt x="2556" y="372"/>
                  </a:lnTo>
                  <a:lnTo>
                    <a:pt x="2571" y="373"/>
                  </a:lnTo>
                  <a:lnTo>
                    <a:pt x="2587" y="372"/>
                  </a:lnTo>
                  <a:lnTo>
                    <a:pt x="2591" y="375"/>
                  </a:lnTo>
                  <a:lnTo>
                    <a:pt x="2591" y="381"/>
                  </a:lnTo>
                  <a:lnTo>
                    <a:pt x="2593" y="382"/>
                  </a:lnTo>
                  <a:lnTo>
                    <a:pt x="2599" y="387"/>
                  </a:lnTo>
                  <a:lnTo>
                    <a:pt x="2603" y="395"/>
                  </a:lnTo>
                  <a:lnTo>
                    <a:pt x="2607" y="395"/>
                  </a:lnTo>
                  <a:lnTo>
                    <a:pt x="2615" y="405"/>
                  </a:lnTo>
                  <a:lnTo>
                    <a:pt x="2616" y="407"/>
                  </a:lnTo>
                  <a:lnTo>
                    <a:pt x="2620" y="407"/>
                  </a:lnTo>
                  <a:lnTo>
                    <a:pt x="2626" y="408"/>
                  </a:lnTo>
                  <a:lnTo>
                    <a:pt x="2634" y="405"/>
                  </a:lnTo>
                  <a:lnTo>
                    <a:pt x="2637" y="407"/>
                  </a:lnTo>
                  <a:lnTo>
                    <a:pt x="2638" y="408"/>
                  </a:lnTo>
                  <a:lnTo>
                    <a:pt x="2640" y="412"/>
                  </a:lnTo>
                  <a:lnTo>
                    <a:pt x="2642" y="414"/>
                  </a:lnTo>
                  <a:lnTo>
                    <a:pt x="2644" y="416"/>
                  </a:lnTo>
                  <a:lnTo>
                    <a:pt x="2644" y="423"/>
                  </a:lnTo>
                  <a:lnTo>
                    <a:pt x="2648" y="427"/>
                  </a:lnTo>
                  <a:lnTo>
                    <a:pt x="2648" y="437"/>
                  </a:lnTo>
                  <a:lnTo>
                    <a:pt x="2651" y="440"/>
                  </a:lnTo>
                  <a:lnTo>
                    <a:pt x="2657" y="447"/>
                  </a:lnTo>
                  <a:lnTo>
                    <a:pt x="2669" y="448"/>
                  </a:lnTo>
                  <a:lnTo>
                    <a:pt x="2671" y="449"/>
                  </a:lnTo>
                  <a:lnTo>
                    <a:pt x="2673" y="456"/>
                  </a:lnTo>
                  <a:lnTo>
                    <a:pt x="2677" y="459"/>
                  </a:lnTo>
                  <a:lnTo>
                    <a:pt x="2684" y="459"/>
                  </a:lnTo>
                  <a:lnTo>
                    <a:pt x="2690" y="457"/>
                  </a:lnTo>
                  <a:lnTo>
                    <a:pt x="2695" y="457"/>
                  </a:lnTo>
                  <a:lnTo>
                    <a:pt x="2708" y="466"/>
                  </a:lnTo>
                  <a:lnTo>
                    <a:pt x="2715" y="474"/>
                  </a:lnTo>
                  <a:lnTo>
                    <a:pt x="2716" y="474"/>
                  </a:lnTo>
                  <a:lnTo>
                    <a:pt x="2717" y="476"/>
                  </a:lnTo>
                  <a:lnTo>
                    <a:pt x="2723" y="484"/>
                  </a:lnTo>
                  <a:lnTo>
                    <a:pt x="2724" y="494"/>
                  </a:lnTo>
                  <a:lnTo>
                    <a:pt x="2730" y="498"/>
                  </a:lnTo>
                  <a:lnTo>
                    <a:pt x="2740" y="511"/>
                  </a:lnTo>
                  <a:lnTo>
                    <a:pt x="2744" y="516"/>
                  </a:lnTo>
                  <a:lnTo>
                    <a:pt x="2750" y="523"/>
                  </a:lnTo>
                  <a:lnTo>
                    <a:pt x="2752" y="524"/>
                  </a:lnTo>
                  <a:lnTo>
                    <a:pt x="2756" y="524"/>
                  </a:lnTo>
                  <a:lnTo>
                    <a:pt x="2762" y="528"/>
                  </a:lnTo>
                  <a:lnTo>
                    <a:pt x="2765" y="531"/>
                  </a:lnTo>
                  <a:lnTo>
                    <a:pt x="2765" y="534"/>
                  </a:lnTo>
                  <a:lnTo>
                    <a:pt x="2769" y="534"/>
                  </a:lnTo>
                  <a:lnTo>
                    <a:pt x="2770" y="537"/>
                  </a:lnTo>
                  <a:lnTo>
                    <a:pt x="2773" y="541"/>
                  </a:lnTo>
                  <a:lnTo>
                    <a:pt x="2776" y="543"/>
                  </a:lnTo>
                  <a:lnTo>
                    <a:pt x="2780" y="543"/>
                  </a:lnTo>
                  <a:lnTo>
                    <a:pt x="2791" y="540"/>
                  </a:lnTo>
                  <a:lnTo>
                    <a:pt x="2794" y="544"/>
                  </a:lnTo>
                  <a:lnTo>
                    <a:pt x="2804" y="547"/>
                  </a:lnTo>
                  <a:lnTo>
                    <a:pt x="2815" y="547"/>
                  </a:lnTo>
                  <a:lnTo>
                    <a:pt x="2827" y="546"/>
                  </a:lnTo>
                  <a:lnTo>
                    <a:pt x="2833" y="543"/>
                  </a:lnTo>
                  <a:lnTo>
                    <a:pt x="2844" y="544"/>
                  </a:lnTo>
                  <a:lnTo>
                    <a:pt x="2848" y="553"/>
                  </a:lnTo>
                  <a:lnTo>
                    <a:pt x="2851" y="556"/>
                  </a:lnTo>
                  <a:lnTo>
                    <a:pt x="2854" y="565"/>
                  </a:lnTo>
                  <a:lnTo>
                    <a:pt x="2852" y="568"/>
                  </a:lnTo>
                  <a:lnTo>
                    <a:pt x="2855" y="573"/>
                  </a:lnTo>
                  <a:lnTo>
                    <a:pt x="2855" y="581"/>
                  </a:lnTo>
                  <a:lnTo>
                    <a:pt x="2861" y="591"/>
                  </a:lnTo>
                  <a:lnTo>
                    <a:pt x="2867" y="591"/>
                  </a:lnTo>
                  <a:lnTo>
                    <a:pt x="2876" y="598"/>
                  </a:lnTo>
                  <a:lnTo>
                    <a:pt x="2879" y="603"/>
                  </a:lnTo>
                  <a:lnTo>
                    <a:pt x="2886" y="603"/>
                  </a:lnTo>
                  <a:lnTo>
                    <a:pt x="2889" y="610"/>
                  </a:lnTo>
                  <a:lnTo>
                    <a:pt x="2889" y="616"/>
                  </a:lnTo>
                  <a:lnTo>
                    <a:pt x="2894" y="618"/>
                  </a:lnTo>
                  <a:lnTo>
                    <a:pt x="2898" y="621"/>
                  </a:lnTo>
                  <a:lnTo>
                    <a:pt x="2904" y="621"/>
                  </a:lnTo>
                  <a:lnTo>
                    <a:pt x="2912" y="622"/>
                  </a:lnTo>
                  <a:lnTo>
                    <a:pt x="2920" y="614"/>
                  </a:lnTo>
                  <a:lnTo>
                    <a:pt x="2925" y="614"/>
                  </a:lnTo>
                  <a:lnTo>
                    <a:pt x="2926" y="616"/>
                  </a:lnTo>
                  <a:lnTo>
                    <a:pt x="2926" y="622"/>
                  </a:lnTo>
                  <a:lnTo>
                    <a:pt x="2930" y="627"/>
                  </a:lnTo>
                  <a:lnTo>
                    <a:pt x="2930" y="631"/>
                  </a:lnTo>
                  <a:lnTo>
                    <a:pt x="2936" y="636"/>
                  </a:lnTo>
                  <a:lnTo>
                    <a:pt x="2942" y="640"/>
                  </a:lnTo>
                  <a:lnTo>
                    <a:pt x="2941" y="659"/>
                  </a:lnTo>
                  <a:lnTo>
                    <a:pt x="2947" y="671"/>
                  </a:lnTo>
                  <a:lnTo>
                    <a:pt x="2955" y="675"/>
                  </a:lnTo>
                  <a:lnTo>
                    <a:pt x="2955" y="676"/>
                  </a:lnTo>
                  <a:lnTo>
                    <a:pt x="2952" y="683"/>
                  </a:lnTo>
                  <a:lnTo>
                    <a:pt x="2954" y="685"/>
                  </a:lnTo>
                  <a:lnTo>
                    <a:pt x="2954" y="689"/>
                  </a:lnTo>
                  <a:lnTo>
                    <a:pt x="2955" y="709"/>
                  </a:lnTo>
                  <a:lnTo>
                    <a:pt x="2958" y="711"/>
                  </a:lnTo>
                  <a:lnTo>
                    <a:pt x="2968" y="711"/>
                  </a:lnTo>
                  <a:lnTo>
                    <a:pt x="2975" y="714"/>
                  </a:lnTo>
                  <a:lnTo>
                    <a:pt x="2977" y="717"/>
                  </a:lnTo>
                  <a:lnTo>
                    <a:pt x="2977" y="727"/>
                  </a:lnTo>
                  <a:lnTo>
                    <a:pt x="2975" y="731"/>
                  </a:lnTo>
                  <a:lnTo>
                    <a:pt x="2975" y="734"/>
                  </a:lnTo>
                  <a:lnTo>
                    <a:pt x="2972" y="739"/>
                  </a:lnTo>
                  <a:lnTo>
                    <a:pt x="2973" y="742"/>
                  </a:lnTo>
                  <a:lnTo>
                    <a:pt x="2975" y="742"/>
                  </a:lnTo>
                  <a:lnTo>
                    <a:pt x="2982" y="742"/>
                  </a:lnTo>
                  <a:lnTo>
                    <a:pt x="2987" y="746"/>
                  </a:lnTo>
                  <a:lnTo>
                    <a:pt x="2991" y="752"/>
                  </a:lnTo>
                  <a:lnTo>
                    <a:pt x="2997" y="756"/>
                  </a:lnTo>
                  <a:lnTo>
                    <a:pt x="2997" y="760"/>
                  </a:lnTo>
                  <a:lnTo>
                    <a:pt x="2996" y="764"/>
                  </a:lnTo>
                  <a:lnTo>
                    <a:pt x="2997" y="770"/>
                  </a:lnTo>
                  <a:lnTo>
                    <a:pt x="2996" y="776"/>
                  </a:lnTo>
                  <a:lnTo>
                    <a:pt x="2998" y="779"/>
                  </a:lnTo>
                  <a:lnTo>
                    <a:pt x="2997" y="783"/>
                  </a:lnTo>
                  <a:lnTo>
                    <a:pt x="2994" y="783"/>
                  </a:lnTo>
                  <a:lnTo>
                    <a:pt x="2993" y="785"/>
                  </a:lnTo>
                  <a:lnTo>
                    <a:pt x="2996" y="792"/>
                  </a:lnTo>
                  <a:lnTo>
                    <a:pt x="2994" y="797"/>
                  </a:lnTo>
                  <a:lnTo>
                    <a:pt x="2994" y="804"/>
                  </a:lnTo>
                  <a:lnTo>
                    <a:pt x="3014" y="810"/>
                  </a:lnTo>
                  <a:lnTo>
                    <a:pt x="3015" y="814"/>
                  </a:lnTo>
                  <a:lnTo>
                    <a:pt x="3016" y="820"/>
                  </a:lnTo>
                  <a:lnTo>
                    <a:pt x="3014" y="827"/>
                  </a:lnTo>
                  <a:lnTo>
                    <a:pt x="3021" y="830"/>
                  </a:lnTo>
                  <a:lnTo>
                    <a:pt x="3022" y="833"/>
                  </a:lnTo>
                  <a:lnTo>
                    <a:pt x="3030" y="834"/>
                  </a:lnTo>
                  <a:lnTo>
                    <a:pt x="3032" y="842"/>
                  </a:lnTo>
                  <a:lnTo>
                    <a:pt x="3032" y="845"/>
                  </a:lnTo>
                  <a:lnTo>
                    <a:pt x="3026" y="859"/>
                  </a:lnTo>
                  <a:lnTo>
                    <a:pt x="3026" y="860"/>
                  </a:lnTo>
                  <a:lnTo>
                    <a:pt x="3029" y="864"/>
                  </a:lnTo>
                  <a:lnTo>
                    <a:pt x="3033" y="868"/>
                  </a:lnTo>
                  <a:lnTo>
                    <a:pt x="3036" y="875"/>
                  </a:lnTo>
                  <a:lnTo>
                    <a:pt x="3039" y="876"/>
                  </a:lnTo>
                  <a:lnTo>
                    <a:pt x="3040" y="891"/>
                  </a:lnTo>
                  <a:lnTo>
                    <a:pt x="3043" y="895"/>
                  </a:lnTo>
                  <a:lnTo>
                    <a:pt x="3044" y="897"/>
                  </a:lnTo>
                  <a:lnTo>
                    <a:pt x="3050" y="897"/>
                  </a:lnTo>
                  <a:lnTo>
                    <a:pt x="3051" y="899"/>
                  </a:lnTo>
                  <a:lnTo>
                    <a:pt x="3050" y="902"/>
                  </a:lnTo>
                  <a:lnTo>
                    <a:pt x="3043" y="904"/>
                  </a:lnTo>
                  <a:lnTo>
                    <a:pt x="3036" y="913"/>
                  </a:lnTo>
                  <a:lnTo>
                    <a:pt x="3032" y="917"/>
                  </a:lnTo>
                  <a:lnTo>
                    <a:pt x="3030" y="920"/>
                  </a:lnTo>
                  <a:lnTo>
                    <a:pt x="3032" y="925"/>
                  </a:lnTo>
                  <a:lnTo>
                    <a:pt x="3039" y="934"/>
                  </a:lnTo>
                  <a:lnTo>
                    <a:pt x="3037" y="936"/>
                  </a:lnTo>
                  <a:lnTo>
                    <a:pt x="3033" y="938"/>
                  </a:lnTo>
                  <a:lnTo>
                    <a:pt x="3030" y="939"/>
                  </a:lnTo>
                  <a:lnTo>
                    <a:pt x="3030" y="950"/>
                  </a:lnTo>
                  <a:lnTo>
                    <a:pt x="3033" y="957"/>
                  </a:lnTo>
                  <a:lnTo>
                    <a:pt x="3033" y="970"/>
                  </a:lnTo>
                  <a:lnTo>
                    <a:pt x="3041" y="980"/>
                  </a:lnTo>
                  <a:lnTo>
                    <a:pt x="3044" y="988"/>
                  </a:lnTo>
                  <a:lnTo>
                    <a:pt x="3044" y="992"/>
                  </a:lnTo>
                  <a:lnTo>
                    <a:pt x="3046" y="999"/>
                  </a:lnTo>
                  <a:lnTo>
                    <a:pt x="3052" y="1003"/>
                  </a:lnTo>
                  <a:lnTo>
                    <a:pt x="3052" y="1013"/>
                  </a:lnTo>
                  <a:lnTo>
                    <a:pt x="3065" y="1024"/>
                  </a:lnTo>
                  <a:lnTo>
                    <a:pt x="3076" y="1025"/>
                  </a:lnTo>
                  <a:lnTo>
                    <a:pt x="3082" y="1024"/>
                  </a:lnTo>
                  <a:lnTo>
                    <a:pt x="3083" y="1025"/>
                  </a:lnTo>
                  <a:lnTo>
                    <a:pt x="3091" y="1041"/>
                  </a:lnTo>
                  <a:lnTo>
                    <a:pt x="3091" y="1048"/>
                  </a:lnTo>
                  <a:lnTo>
                    <a:pt x="3090" y="1055"/>
                  </a:lnTo>
                  <a:lnTo>
                    <a:pt x="3101" y="1069"/>
                  </a:lnTo>
                  <a:lnTo>
                    <a:pt x="3102" y="1070"/>
                  </a:lnTo>
                  <a:lnTo>
                    <a:pt x="3104" y="1073"/>
                  </a:lnTo>
                  <a:lnTo>
                    <a:pt x="3099" y="1078"/>
                  </a:lnTo>
                  <a:lnTo>
                    <a:pt x="3100" y="1086"/>
                  </a:lnTo>
                  <a:lnTo>
                    <a:pt x="3100" y="1092"/>
                  </a:lnTo>
                  <a:lnTo>
                    <a:pt x="3105" y="1100"/>
                  </a:lnTo>
                  <a:lnTo>
                    <a:pt x="3105" y="1104"/>
                  </a:lnTo>
                  <a:lnTo>
                    <a:pt x="3110" y="1107"/>
                  </a:lnTo>
                  <a:lnTo>
                    <a:pt x="3111" y="1111"/>
                  </a:lnTo>
                  <a:lnTo>
                    <a:pt x="3111" y="1115"/>
                  </a:lnTo>
                  <a:lnTo>
                    <a:pt x="3108" y="1119"/>
                  </a:lnTo>
                  <a:lnTo>
                    <a:pt x="3108" y="1121"/>
                  </a:lnTo>
                  <a:lnTo>
                    <a:pt x="3119" y="1130"/>
                  </a:lnTo>
                  <a:lnTo>
                    <a:pt x="3121" y="1140"/>
                  </a:lnTo>
                  <a:lnTo>
                    <a:pt x="3129" y="1144"/>
                  </a:lnTo>
                  <a:lnTo>
                    <a:pt x="3130" y="1145"/>
                  </a:lnTo>
                  <a:lnTo>
                    <a:pt x="3132" y="1163"/>
                  </a:lnTo>
                  <a:lnTo>
                    <a:pt x="3129" y="1170"/>
                  </a:lnTo>
                  <a:lnTo>
                    <a:pt x="3130" y="1175"/>
                  </a:lnTo>
                  <a:lnTo>
                    <a:pt x="3126" y="1182"/>
                  </a:lnTo>
                  <a:lnTo>
                    <a:pt x="3118" y="1185"/>
                  </a:lnTo>
                  <a:lnTo>
                    <a:pt x="3118" y="1186"/>
                  </a:lnTo>
                  <a:lnTo>
                    <a:pt x="3114" y="1190"/>
                  </a:lnTo>
                  <a:lnTo>
                    <a:pt x="3115" y="1202"/>
                  </a:lnTo>
                  <a:lnTo>
                    <a:pt x="3122" y="1205"/>
                  </a:lnTo>
                  <a:lnTo>
                    <a:pt x="3125" y="1212"/>
                  </a:lnTo>
                  <a:lnTo>
                    <a:pt x="3130" y="1219"/>
                  </a:lnTo>
                  <a:lnTo>
                    <a:pt x="3130" y="1227"/>
                  </a:lnTo>
                  <a:lnTo>
                    <a:pt x="3129" y="1228"/>
                  </a:lnTo>
                  <a:lnTo>
                    <a:pt x="3121" y="1228"/>
                  </a:lnTo>
                  <a:lnTo>
                    <a:pt x="3118" y="1228"/>
                  </a:lnTo>
                  <a:lnTo>
                    <a:pt x="3114" y="1228"/>
                  </a:lnTo>
                  <a:lnTo>
                    <a:pt x="3112" y="1230"/>
                  </a:lnTo>
                  <a:lnTo>
                    <a:pt x="3108" y="1228"/>
                  </a:lnTo>
                  <a:lnTo>
                    <a:pt x="3105" y="1233"/>
                  </a:lnTo>
                  <a:lnTo>
                    <a:pt x="3097" y="1239"/>
                  </a:lnTo>
                  <a:lnTo>
                    <a:pt x="3096" y="1245"/>
                  </a:lnTo>
                  <a:lnTo>
                    <a:pt x="3099" y="1250"/>
                  </a:lnTo>
                  <a:lnTo>
                    <a:pt x="3094" y="1261"/>
                  </a:lnTo>
                  <a:lnTo>
                    <a:pt x="3096" y="1265"/>
                  </a:lnTo>
                  <a:lnTo>
                    <a:pt x="3094" y="1269"/>
                  </a:lnTo>
                  <a:lnTo>
                    <a:pt x="3096" y="1277"/>
                  </a:lnTo>
                  <a:lnTo>
                    <a:pt x="3090" y="1286"/>
                  </a:lnTo>
                  <a:lnTo>
                    <a:pt x="3089" y="1291"/>
                  </a:lnTo>
                  <a:lnTo>
                    <a:pt x="3086" y="1295"/>
                  </a:lnTo>
                  <a:lnTo>
                    <a:pt x="3089" y="1304"/>
                  </a:lnTo>
                  <a:lnTo>
                    <a:pt x="3086" y="1310"/>
                  </a:lnTo>
                  <a:lnTo>
                    <a:pt x="3087" y="1312"/>
                  </a:lnTo>
                  <a:lnTo>
                    <a:pt x="3090" y="1314"/>
                  </a:lnTo>
                  <a:lnTo>
                    <a:pt x="3090" y="1320"/>
                  </a:lnTo>
                  <a:lnTo>
                    <a:pt x="3096" y="1322"/>
                  </a:lnTo>
                  <a:lnTo>
                    <a:pt x="3096" y="1326"/>
                  </a:lnTo>
                  <a:lnTo>
                    <a:pt x="3100" y="1328"/>
                  </a:lnTo>
                  <a:lnTo>
                    <a:pt x="3101" y="1328"/>
                  </a:lnTo>
                  <a:lnTo>
                    <a:pt x="3104" y="1331"/>
                  </a:lnTo>
                  <a:lnTo>
                    <a:pt x="3107" y="1328"/>
                  </a:lnTo>
                  <a:lnTo>
                    <a:pt x="3108" y="1332"/>
                  </a:lnTo>
                  <a:lnTo>
                    <a:pt x="3112" y="1332"/>
                  </a:lnTo>
                  <a:lnTo>
                    <a:pt x="3115" y="1331"/>
                  </a:lnTo>
                  <a:lnTo>
                    <a:pt x="3119" y="1335"/>
                  </a:lnTo>
                  <a:lnTo>
                    <a:pt x="3125" y="1336"/>
                  </a:lnTo>
                  <a:lnTo>
                    <a:pt x="3127" y="1336"/>
                  </a:lnTo>
                  <a:lnTo>
                    <a:pt x="3129" y="1339"/>
                  </a:lnTo>
                  <a:lnTo>
                    <a:pt x="3130" y="1343"/>
                  </a:lnTo>
                  <a:lnTo>
                    <a:pt x="3135" y="1344"/>
                  </a:lnTo>
                  <a:lnTo>
                    <a:pt x="3135" y="1351"/>
                  </a:lnTo>
                  <a:lnTo>
                    <a:pt x="3137" y="1361"/>
                  </a:lnTo>
                  <a:lnTo>
                    <a:pt x="3135" y="1369"/>
                  </a:lnTo>
                  <a:lnTo>
                    <a:pt x="3136" y="1373"/>
                  </a:lnTo>
                  <a:lnTo>
                    <a:pt x="3135" y="1379"/>
                  </a:lnTo>
                  <a:lnTo>
                    <a:pt x="3139" y="1381"/>
                  </a:lnTo>
                  <a:lnTo>
                    <a:pt x="3144" y="1389"/>
                  </a:lnTo>
                  <a:lnTo>
                    <a:pt x="3149" y="1389"/>
                  </a:lnTo>
                  <a:lnTo>
                    <a:pt x="3155" y="1396"/>
                  </a:lnTo>
                  <a:lnTo>
                    <a:pt x="3155" y="1397"/>
                  </a:lnTo>
                  <a:lnTo>
                    <a:pt x="3157" y="1399"/>
                  </a:lnTo>
                  <a:lnTo>
                    <a:pt x="3157" y="1403"/>
                  </a:lnTo>
                  <a:lnTo>
                    <a:pt x="3158" y="1407"/>
                  </a:lnTo>
                  <a:lnTo>
                    <a:pt x="3157" y="1414"/>
                  </a:lnTo>
                  <a:lnTo>
                    <a:pt x="3160" y="1419"/>
                  </a:lnTo>
                  <a:lnTo>
                    <a:pt x="3161" y="1424"/>
                  </a:lnTo>
                  <a:lnTo>
                    <a:pt x="3164" y="1426"/>
                  </a:lnTo>
                  <a:lnTo>
                    <a:pt x="3166" y="1432"/>
                  </a:lnTo>
                  <a:lnTo>
                    <a:pt x="3171" y="1432"/>
                  </a:lnTo>
                  <a:lnTo>
                    <a:pt x="3174" y="1436"/>
                  </a:lnTo>
                  <a:lnTo>
                    <a:pt x="3179" y="1434"/>
                  </a:lnTo>
                  <a:lnTo>
                    <a:pt x="3180" y="1440"/>
                  </a:lnTo>
                  <a:lnTo>
                    <a:pt x="3187" y="1441"/>
                  </a:lnTo>
                  <a:lnTo>
                    <a:pt x="3191" y="1452"/>
                  </a:lnTo>
                  <a:lnTo>
                    <a:pt x="3191" y="1459"/>
                  </a:lnTo>
                  <a:lnTo>
                    <a:pt x="3193" y="1464"/>
                  </a:lnTo>
                  <a:lnTo>
                    <a:pt x="3196" y="1466"/>
                  </a:lnTo>
                  <a:lnTo>
                    <a:pt x="3207" y="1475"/>
                  </a:lnTo>
                  <a:lnTo>
                    <a:pt x="3208" y="1477"/>
                  </a:lnTo>
                  <a:lnTo>
                    <a:pt x="3207" y="1483"/>
                  </a:lnTo>
                  <a:lnTo>
                    <a:pt x="3205" y="1486"/>
                  </a:lnTo>
                  <a:lnTo>
                    <a:pt x="3201" y="1489"/>
                  </a:lnTo>
                  <a:lnTo>
                    <a:pt x="3201" y="1493"/>
                  </a:lnTo>
                  <a:lnTo>
                    <a:pt x="3197" y="1493"/>
                  </a:lnTo>
                  <a:lnTo>
                    <a:pt x="3196" y="1501"/>
                  </a:lnTo>
                  <a:lnTo>
                    <a:pt x="3197" y="1505"/>
                  </a:lnTo>
                  <a:lnTo>
                    <a:pt x="3200" y="1508"/>
                  </a:lnTo>
                  <a:lnTo>
                    <a:pt x="3201" y="1513"/>
                  </a:lnTo>
                  <a:lnTo>
                    <a:pt x="3208" y="1522"/>
                  </a:lnTo>
                  <a:close/>
                  <a:moveTo>
                    <a:pt x="1444" y="2400"/>
                  </a:moveTo>
                  <a:lnTo>
                    <a:pt x="1447" y="2406"/>
                  </a:lnTo>
                  <a:lnTo>
                    <a:pt x="1438" y="2418"/>
                  </a:lnTo>
                  <a:lnTo>
                    <a:pt x="1437" y="2418"/>
                  </a:lnTo>
                  <a:lnTo>
                    <a:pt x="1435" y="2425"/>
                  </a:lnTo>
                  <a:lnTo>
                    <a:pt x="1428" y="2432"/>
                  </a:lnTo>
                  <a:lnTo>
                    <a:pt x="1424" y="2431"/>
                  </a:lnTo>
                  <a:lnTo>
                    <a:pt x="1422" y="2426"/>
                  </a:lnTo>
                  <a:lnTo>
                    <a:pt x="1417" y="2414"/>
                  </a:lnTo>
                  <a:lnTo>
                    <a:pt x="1417" y="2413"/>
                  </a:lnTo>
                  <a:lnTo>
                    <a:pt x="1417" y="2410"/>
                  </a:lnTo>
                  <a:lnTo>
                    <a:pt x="1417" y="2403"/>
                  </a:lnTo>
                  <a:lnTo>
                    <a:pt x="1414" y="2395"/>
                  </a:lnTo>
                  <a:lnTo>
                    <a:pt x="1416" y="2392"/>
                  </a:lnTo>
                  <a:lnTo>
                    <a:pt x="1430" y="2392"/>
                  </a:lnTo>
                  <a:lnTo>
                    <a:pt x="1437" y="2392"/>
                  </a:lnTo>
                  <a:lnTo>
                    <a:pt x="1444" y="2400"/>
                  </a:lnTo>
                  <a:close/>
                  <a:moveTo>
                    <a:pt x="1416" y="2339"/>
                  </a:moveTo>
                  <a:lnTo>
                    <a:pt x="1414" y="2351"/>
                  </a:lnTo>
                  <a:lnTo>
                    <a:pt x="1412" y="2355"/>
                  </a:lnTo>
                  <a:lnTo>
                    <a:pt x="1409" y="2355"/>
                  </a:lnTo>
                  <a:lnTo>
                    <a:pt x="1403" y="2343"/>
                  </a:lnTo>
                  <a:lnTo>
                    <a:pt x="1400" y="2332"/>
                  </a:lnTo>
                  <a:lnTo>
                    <a:pt x="1400" y="2325"/>
                  </a:lnTo>
                  <a:lnTo>
                    <a:pt x="1408" y="2325"/>
                  </a:lnTo>
                  <a:lnTo>
                    <a:pt x="1413" y="2328"/>
                  </a:lnTo>
                  <a:lnTo>
                    <a:pt x="1414" y="2331"/>
                  </a:lnTo>
                  <a:lnTo>
                    <a:pt x="1416" y="2339"/>
                  </a:lnTo>
                  <a:close/>
                  <a:moveTo>
                    <a:pt x="1348" y="2564"/>
                  </a:moveTo>
                  <a:lnTo>
                    <a:pt x="1348" y="2567"/>
                  </a:lnTo>
                  <a:lnTo>
                    <a:pt x="1345" y="2571"/>
                  </a:lnTo>
                  <a:lnTo>
                    <a:pt x="1325" y="2579"/>
                  </a:lnTo>
                  <a:lnTo>
                    <a:pt x="1323" y="2577"/>
                  </a:lnTo>
                  <a:lnTo>
                    <a:pt x="1323" y="2572"/>
                  </a:lnTo>
                  <a:lnTo>
                    <a:pt x="1335" y="2569"/>
                  </a:lnTo>
                  <a:lnTo>
                    <a:pt x="1346" y="2564"/>
                  </a:lnTo>
                  <a:lnTo>
                    <a:pt x="1348" y="2564"/>
                  </a:lnTo>
                  <a:close/>
                  <a:moveTo>
                    <a:pt x="1420" y="2381"/>
                  </a:moveTo>
                  <a:lnTo>
                    <a:pt x="1420" y="2382"/>
                  </a:lnTo>
                  <a:lnTo>
                    <a:pt x="1412" y="2377"/>
                  </a:lnTo>
                  <a:lnTo>
                    <a:pt x="1410" y="2368"/>
                  </a:lnTo>
                  <a:lnTo>
                    <a:pt x="1410" y="2364"/>
                  </a:lnTo>
                  <a:lnTo>
                    <a:pt x="1412" y="2360"/>
                  </a:lnTo>
                  <a:lnTo>
                    <a:pt x="1414" y="2358"/>
                  </a:lnTo>
                  <a:lnTo>
                    <a:pt x="1419" y="2368"/>
                  </a:lnTo>
                  <a:lnTo>
                    <a:pt x="1420" y="2381"/>
                  </a:lnTo>
                  <a:close/>
                  <a:moveTo>
                    <a:pt x="1388" y="2319"/>
                  </a:moveTo>
                  <a:lnTo>
                    <a:pt x="1381" y="2325"/>
                  </a:lnTo>
                  <a:lnTo>
                    <a:pt x="1370" y="2325"/>
                  </a:lnTo>
                  <a:lnTo>
                    <a:pt x="1375" y="2316"/>
                  </a:lnTo>
                  <a:lnTo>
                    <a:pt x="1377" y="2316"/>
                  </a:lnTo>
                  <a:lnTo>
                    <a:pt x="1380" y="2316"/>
                  </a:lnTo>
                  <a:lnTo>
                    <a:pt x="1388" y="2319"/>
                  </a:lnTo>
                  <a:close/>
                  <a:moveTo>
                    <a:pt x="2367" y="1778"/>
                  </a:moveTo>
                  <a:lnTo>
                    <a:pt x="2367" y="1780"/>
                  </a:lnTo>
                  <a:lnTo>
                    <a:pt x="2363" y="1781"/>
                  </a:lnTo>
                  <a:lnTo>
                    <a:pt x="2361" y="1781"/>
                  </a:lnTo>
                  <a:lnTo>
                    <a:pt x="2360" y="1778"/>
                  </a:lnTo>
                  <a:lnTo>
                    <a:pt x="2360" y="1776"/>
                  </a:lnTo>
                  <a:lnTo>
                    <a:pt x="2357" y="1769"/>
                  </a:lnTo>
                  <a:lnTo>
                    <a:pt x="2357" y="1767"/>
                  </a:lnTo>
                  <a:lnTo>
                    <a:pt x="2364" y="1771"/>
                  </a:lnTo>
                  <a:lnTo>
                    <a:pt x="2367" y="1778"/>
                  </a:lnTo>
                  <a:close/>
                  <a:moveTo>
                    <a:pt x="1330" y="2587"/>
                  </a:moveTo>
                  <a:lnTo>
                    <a:pt x="1331" y="2587"/>
                  </a:lnTo>
                  <a:lnTo>
                    <a:pt x="1324" y="2594"/>
                  </a:lnTo>
                  <a:lnTo>
                    <a:pt x="1317" y="2597"/>
                  </a:lnTo>
                  <a:lnTo>
                    <a:pt x="1313" y="2597"/>
                  </a:lnTo>
                  <a:lnTo>
                    <a:pt x="1317" y="2593"/>
                  </a:lnTo>
                  <a:lnTo>
                    <a:pt x="1330" y="2587"/>
                  </a:lnTo>
                  <a:close/>
                  <a:moveTo>
                    <a:pt x="961" y="3058"/>
                  </a:moveTo>
                  <a:lnTo>
                    <a:pt x="963" y="3058"/>
                  </a:lnTo>
                  <a:lnTo>
                    <a:pt x="949" y="3058"/>
                  </a:lnTo>
                  <a:lnTo>
                    <a:pt x="938" y="3053"/>
                  </a:lnTo>
                  <a:lnTo>
                    <a:pt x="936" y="3051"/>
                  </a:lnTo>
                  <a:lnTo>
                    <a:pt x="942" y="3053"/>
                  </a:lnTo>
                  <a:lnTo>
                    <a:pt x="947" y="3057"/>
                  </a:lnTo>
                  <a:lnTo>
                    <a:pt x="961" y="3058"/>
                  </a:lnTo>
                  <a:close/>
                  <a:moveTo>
                    <a:pt x="1847" y="2102"/>
                  </a:moveTo>
                  <a:lnTo>
                    <a:pt x="1848" y="2102"/>
                  </a:lnTo>
                  <a:lnTo>
                    <a:pt x="1840" y="2103"/>
                  </a:lnTo>
                  <a:lnTo>
                    <a:pt x="1836" y="2102"/>
                  </a:lnTo>
                  <a:lnTo>
                    <a:pt x="1843" y="2100"/>
                  </a:lnTo>
                  <a:lnTo>
                    <a:pt x="1846" y="2100"/>
                  </a:lnTo>
                  <a:lnTo>
                    <a:pt x="1847" y="2102"/>
                  </a:lnTo>
                  <a:close/>
                  <a:moveTo>
                    <a:pt x="1424" y="2388"/>
                  </a:moveTo>
                  <a:lnTo>
                    <a:pt x="1423" y="2388"/>
                  </a:lnTo>
                  <a:lnTo>
                    <a:pt x="1419" y="2388"/>
                  </a:lnTo>
                  <a:lnTo>
                    <a:pt x="1417" y="2388"/>
                  </a:lnTo>
                  <a:lnTo>
                    <a:pt x="1414" y="2385"/>
                  </a:lnTo>
                  <a:lnTo>
                    <a:pt x="1417" y="2384"/>
                  </a:lnTo>
                  <a:lnTo>
                    <a:pt x="1424" y="2388"/>
                  </a:lnTo>
                  <a:close/>
                </a:path>
              </a:pathLst>
            </a:custGeom>
            <a:solidFill>
              <a:srgbClr val="00206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56" name="Freeform 155"/>
            <p:cNvSpPr>
              <a:spLocks noEditPoints="1"/>
            </p:cNvSpPr>
            <p:nvPr/>
          </p:nvSpPr>
          <p:spPr bwMode="auto">
            <a:xfrm>
              <a:off x="1080339" y="3847787"/>
              <a:ext cx="391552" cy="847416"/>
            </a:xfrm>
            <a:custGeom>
              <a:avLst/>
              <a:gdLst>
                <a:gd name="T0" fmla="*/ 1825 w 1964"/>
                <a:gd name="T1" fmla="*/ 2031 h 3140"/>
                <a:gd name="T2" fmla="*/ 1791 w 1964"/>
                <a:gd name="T3" fmla="*/ 2178 h 3140"/>
                <a:gd name="T4" fmla="*/ 1745 w 1964"/>
                <a:gd name="T5" fmla="*/ 2218 h 3140"/>
                <a:gd name="T6" fmla="*/ 1752 w 1964"/>
                <a:gd name="T7" fmla="*/ 2379 h 3140"/>
                <a:gd name="T8" fmla="*/ 1795 w 1964"/>
                <a:gd name="T9" fmla="*/ 2379 h 3140"/>
                <a:gd name="T10" fmla="*/ 1836 w 1964"/>
                <a:gd name="T11" fmla="*/ 2334 h 3140"/>
                <a:gd name="T12" fmla="*/ 1869 w 1964"/>
                <a:gd name="T13" fmla="*/ 2327 h 3140"/>
                <a:gd name="T14" fmla="*/ 1911 w 1964"/>
                <a:gd name="T15" fmla="*/ 2280 h 3140"/>
                <a:gd name="T16" fmla="*/ 1821 w 1964"/>
                <a:gd name="T17" fmla="*/ 2630 h 3140"/>
                <a:gd name="T18" fmla="*/ 1086 w 1964"/>
                <a:gd name="T19" fmla="*/ 3131 h 3140"/>
                <a:gd name="T20" fmla="*/ 921 w 1964"/>
                <a:gd name="T21" fmla="*/ 2834 h 3140"/>
                <a:gd name="T22" fmla="*/ 708 w 1964"/>
                <a:gd name="T23" fmla="*/ 2775 h 3140"/>
                <a:gd name="T24" fmla="*/ 619 w 1964"/>
                <a:gd name="T25" fmla="*/ 2444 h 3140"/>
                <a:gd name="T26" fmla="*/ 607 w 1964"/>
                <a:gd name="T27" fmla="*/ 2351 h 3140"/>
                <a:gd name="T28" fmla="*/ 619 w 1964"/>
                <a:gd name="T29" fmla="*/ 2289 h 3140"/>
                <a:gd name="T30" fmla="*/ 630 w 1964"/>
                <a:gd name="T31" fmla="*/ 2205 h 3140"/>
                <a:gd name="T32" fmla="*/ 608 w 1964"/>
                <a:gd name="T33" fmla="*/ 2149 h 3140"/>
                <a:gd name="T34" fmla="*/ 622 w 1964"/>
                <a:gd name="T35" fmla="*/ 2074 h 3140"/>
                <a:gd name="T36" fmla="*/ 586 w 1964"/>
                <a:gd name="T37" fmla="*/ 2026 h 3140"/>
                <a:gd name="T38" fmla="*/ 552 w 1964"/>
                <a:gd name="T39" fmla="*/ 1946 h 3140"/>
                <a:gd name="T40" fmla="*/ 574 w 1964"/>
                <a:gd name="T41" fmla="*/ 1900 h 3140"/>
                <a:gd name="T42" fmla="*/ 549 w 1964"/>
                <a:gd name="T43" fmla="*/ 1795 h 3140"/>
                <a:gd name="T44" fmla="*/ 474 w 1964"/>
                <a:gd name="T45" fmla="*/ 1712 h 3140"/>
                <a:gd name="T46" fmla="*/ 423 w 1964"/>
                <a:gd name="T47" fmla="*/ 1616 h 3140"/>
                <a:gd name="T48" fmla="*/ 274 w 1964"/>
                <a:gd name="T49" fmla="*/ 1478 h 3140"/>
                <a:gd name="T50" fmla="*/ 134 w 1964"/>
                <a:gd name="T51" fmla="*/ 1375 h 3140"/>
                <a:gd name="T52" fmla="*/ 93 w 1964"/>
                <a:gd name="T53" fmla="*/ 1269 h 3140"/>
                <a:gd name="T54" fmla="*/ 129 w 1964"/>
                <a:gd name="T55" fmla="*/ 1145 h 3140"/>
                <a:gd name="T56" fmla="*/ 170 w 1964"/>
                <a:gd name="T57" fmla="*/ 1055 h 3140"/>
                <a:gd name="T58" fmla="*/ 157 w 1964"/>
                <a:gd name="T59" fmla="*/ 921 h 3140"/>
                <a:gd name="T60" fmla="*/ 39 w 1964"/>
                <a:gd name="T61" fmla="*/ 507 h 3140"/>
                <a:gd name="T62" fmla="*/ 219 w 1964"/>
                <a:gd name="T63" fmla="*/ 397 h 3140"/>
                <a:gd name="T64" fmla="*/ 364 w 1964"/>
                <a:gd name="T65" fmla="*/ 348 h 3140"/>
                <a:gd name="T66" fmla="*/ 507 w 1964"/>
                <a:gd name="T67" fmla="*/ 344 h 3140"/>
                <a:gd name="T68" fmla="*/ 613 w 1964"/>
                <a:gd name="T69" fmla="*/ 335 h 3140"/>
                <a:gd name="T70" fmla="*/ 746 w 1964"/>
                <a:gd name="T71" fmla="*/ 272 h 3140"/>
                <a:gd name="T72" fmla="*/ 854 w 1964"/>
                <a:gd name="T73" fmla="*/ 250 h 3140"/>
                <a:gd name="T74" fmla="*/ 964 w 1964"/>
                <a:gd name="T75" fmla="*/ 263 h 3140"/>
                <a:gd name="T76" fmla="*/ 1066 w 1964"/>
                <a:gd name="T77" fmla="*/ 166 h 3140"/>
                <a:gd name="T78" fmla="*/ 1193 w 1964"/>
                <a:gd name="T79" fmla="*/ 115 h 3140"/>
                <a:gd name="T80" fmla="*/ 1331 w 1964"/>
                <a:gd name="T81" fmla="*/ 98 h 3140"/>
                <a:gd name="T82" fmla="*/ 1451 w 1964"/>
                <a:gd name="T83" fmla="*/ 28 h 3140"/>
                <a:gd name="T84" fmla="*/ 1558 w 1964"/>
                <a:gd name="T85" fmla="*/ 66 h 3140"/>
                <a:gd name="T86" fmla="*/ 1534 w 1964"/>
                <a:gd name="T87" fmla="*/ 101 h 3140"/>
                <a:gd name="T88" fmla="*/ 1494 w 1964"/>
                <a:gd name="T89" fmla="*/ 121 h 3140"/>
                <a:gd name="T90" fmla="*/ 1531 w 1964"/>
                <a:gd name="T91" fmla="*/ 144 h 3140"/>
                <a:gd name="T92" fmla="*/ 1547 w 1964"/>
                <a:gd name="T93" fmla="*/ 202 h 3140"/>
                <a:gd name="T94" fmla="*/ 1527 w 1964"/>
                <a:gd name="T95" fmla="*/ 227 h 3140"/>
                <a:gd name="T96" fmla="*/ 1541 w 1964"/>
                <a:gd name="T97" fmla="*/ 290 h 3140"/>
                <a:gd name="T98" fmla="*/ 1701 w 1964"/>
                <a:gd name="T99" fmla="*/ 551 h 3140"/>
                <a:gd name="T100" fmla="*/ 1736 w 1964"/>
                <a:gd name="T101" fmla="*/ 767 h 3140"/>
                <a:gd name="T102" fmla="*/ 1750 w 1964"/>
                <a:gd name="T103" fmla="*/ 993 h 3140"/>
                <a:gd name="T104" fmla="*/ 1767 w 1964"/>
                <a:gd name="T105" fmla="*/ 1005 h 3140"/>
                <a:gd name="T106" fmla="*/ 1814 w 1964"/>
                <a:gd name="T107" fmla="*/ 979 h 3140"/>
                <a:gd name="T108" fmla="*/ 1904 w 1964"/>
                <a:gd name="T109" fmla="*/ 1000 h 3140"/>
                <a:gd name="T110" fmla="*/ 1904 w 1964"/>
                <a:gd name="T111" fmla="*/ 1048 h 3140"/>
                <a:gd name="T112" fmla="*/ 1900 w 1964"/>
                <a:gd name="T113" fmla="*/ 1523 h 3140"/>
                <a:gd name="T114" fmla="*/ 1955 w 1964"/>
                <a:gd name="T115" fmla="*/ 1580 h 3140"/>
                <a:gd name="T116" fmla="*/ 1825 w 1964"/>
                <a:gd name="T117" fmla="*/ 625 h 3140"/>
                <a:gd name="T118" fmla="*/ 1837 w 1964"/>
                <a:gd name="T119" fmla="*/ 440 h 3140"/>
                <a:gd name="T120" fmla="*/ 1832 w 1964"/>
                <a:gd name="T121" fmla="*/ 713 h 3140"/>
                <a:gd name="T122" fmla="*/ 1823 w 1964"/>
                <a:gd name="T123" fmla="*/ 818 h 3140"/>
                <a:gd name="T124" fmla="*/ 1752 w 1964"/>
                <a:gd name="T125" fmla="*/ 539 h 31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964"/>
                <a:gd name="T190" fmla="*/ 0 h 3140"/>
                <a:gd name="T191" fmla="*/ 1964 w 1964"/>
                <a:gd name="T192" fmla="*/ 3140 h 31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964" h="3140">
                  <a:moveTo>
                    <a:pt x="1962" y="1581"/>
                  </a:moveTo>
                  <a:lnTo>
                    <a:pt x="1964" y="1581"/>
                  </a:lnTo>
                  <a:lnTo>
                    <a:pt x="1961" y="1599"/>
                  </a:lnTo>
                  <a:lnTo>
                    <a:pt x="1957" y="1614"/>
                  </a:lnTo>
                  <a:lnTo>
                    <a:pt x="1940" y="1643"/>
                  </a:lnTo>
                  <a:lnTo>
                    <a:pt x="1914" y="1680"/>
                  </a:lnTo>
                  <a:lnTo>
                    <a:pt x="1907" y="1693"/>
                  </a:lnTo>
                  <a:lnTo>
                    <a:pt x="1899" y="1705"/>
                  </a:lnTo>
                  <a:lnTo>
                    <a:pt x="1889" y="1722"/>
                  </a:lnTo>
                  <a:lnTo>
                    <a:pt x="1885" y="1733"/>
                  </a:lnTo>
                  <a:lnTo>
                    <a:pt x="1878" y="1763"/>
                  </a:lnTo>
                  <a:lnTo>
                    <a:pt x="1869" y="1781"/>
                  </a:lnTo>
                  <a:lnTo>
                    <a:pt x="1869" y="1790"/>
                  </a:lnTo>
                  <a:lnTo>
                    <a:pt x="1872" y="1811"/>
                  </a:lnTo>
                  <a:lnTo>
                    <a:pt x="1872" y="1823"/>
                  </a:lnTo>
                  <a:lnTo>
                    <a:pt x="1874" y="1826"/>
                  </a:lnTo>
                  <a:lnTo>
                    <a:pt x="1876" y="1832"/>
                  </a:lnTo>
                  <a:lnTo>
                    <a:pt x="1878" y="1842"/>
                  </a:lnTo>
                  <a:lnTo>
                    <a:pt x="1875" y="1858"/>
                  </a:lnTo>
                  <a:lnTo>
                    <a:pt x="1876" y="1878"/>
                  </a:lnTo>
                  <a:lnTo>
                    <a:pt x="1875" y="1887"/>
                  </a:lnTo>
                  <a:lnTo>
                    <a:pt x="1871" y="1902"/>
                  </a:lnTo>
                  <a:lnTo>
                    <a:pt x="1871" y="1907"/>
                  </a:lnTo>
                  <a:lnTo>
                    <a:pt x="1858" y="1936"/>
                  </a:lnTo>
                  <a:lnTo>
                    <a:pt x="1841" y="1978"/>
                  </a:lnTo>
                  <a:lnTo>
                    <a:pt x="1839" y="1989"/>
                  </a:lnTo>
                  <a:lnTo>
                    <a:pt x="1839" y="1995"/>
                  </a:lnTo>
                  <a:lnTo>
                    <a:pt x="1836" y="2008"/>
                  </a:lnTo>
                  <a:lnTo>
                    <a:pt x="1829" y="2023"/>
                  </a:lnTo>
                  <a:lnTo>
                    <a:pt x="1825" y="2031"/>
                  </a:lnTo>
                  <a:lnTo>
                    <a:pt x="1821" y="2042"/>
                  </a:lnTo>
                  <a:lnTo>
                    <a:pt x="1819" y="2049"/>
                  </a:lnTo>
                  <a:lnTo>
                    <a:pt x="1821" y="2061"/>
                  </a:lnTo>
                  <a:lnTo>
                    <a:pt x="1818" y="2098"/>
                  </a:lnTo>
                  <a:lnTo>
                    <a:pt x="1818" y="2114"/>
                  </a:lnTo>
                  <a:lnTo>
                    <a:pt x="1816" y="2123"/>
                  </a:lnTo>
                  <a:lnTo>
                    <a:pt x="1818" y="2139"/>
                  </a:lnTo>
                  <a:lnTo>
                    <a:pt x="1821" y="2145"/>
                  </a:lnTo>
                  <a:lnTo>
                    <a:pt x="1825" y="2152"/>
                  </a:lnTo>
                  <a:lnTo>
                    <a:pt x="1827" y="2163"/>
                  </a:lnTo>
                  <a:lnTo>
                    <a:pt x="1825" y="2177"/>
                  </a:lnTo>
                  <a:lnTo>
                    <a:pt x="1825" y="2181"/>
                  </a:lnTo>
                  <a:lnTo>
                    <a:pt x="1818" y="2188"/>
                  </a:lnTo>
                  <a:lnTo>
                    <a:pt x="1814" y="2199"/>
                  </a:lnTo>
                  <a:lnTo>
                    <a:pt x="1811" y="2219"/>
                  </a:lnTo>
                  <a:lnTo>
                    <a:pt x="1807" y="2230"/>
                  </a:lnTo>
                  <a:lnTo>
                    <a:pt x="1802" y="2235"/>
                  </a:lnTo>
                  <a:lnTo>
                    <a:pt x="1800" y="2236"/>
                  </a:lnTo>
                  <a:lnTo>
                    <a:pt x="1797" y="2235"/>
                  </a:lnTo>
                  <a:lnTo>
                    <a:pt x="1795" y="2232"/>
                  </a:lnTo>
                  <a:lnTo>
                    <a:pt x="1797" y="2231"/>
                  </a:lnTo>
                  <a:lnTo>
                    <a:pt x="1801" y="2231"/>
                  </a:lnTo>
                  <a:lnTo>
                    <a:pt x="1797" y="2228"/>
                  </a:lnTo>
                  <a:lnTo>
                    <a:pt x="1795" y="2223"/>
                  </a:lnTo>
                  <a:lnTo>
                    <a:pt x="1797" y="2197"/>
                  </a:lnTo>
                  <a:lnTo>
                    <a:pt x="1793" y="2188"/>
                  </a:lnTo>
                  <a:lnTo>
                    <a:pt x="1797" y="2185"/>
                  </a:lnTo>
                  <a:lnTo>
                    <a:pt x="1797" y="2182"/>
                  </a:lnTo>
                  <a:lnTo>
                    <a:pt x="1791" y="2177"/>
                  </a:lnTo>
                  <a:lnTo>
                    <a:pt x="1791" y="2178"/>
                  </a:lnTo>
                  <a:lnTo>
                    <a:pt x="1795" y="2182"/>
                  </a:lnTo>
                  <a:lnTo>
                    <a:pt x="1795" y="2183"/>
                  </a:lnTo>
                  <a:lnTo>
                    <a:pt x="1787" y="2185"/>
                  </a:lnTo>
                  <a:lnTo>
                    <a:pt x="1783" y="2183"/>
                  </a:lnTo>
                  <a:lnTo>
                    <a:pt x="1781" y="2183"/>
                  </a:lnTo>
                  <a:lnTo>
                    <a:pt x="1780" y="2182"/>
                  </a:lnTo>
                  <a:lnTo>
                    <a:pt x="1775" y="2183"/>
                  </a:lnTo>
                  <a:lnTo>
                    <a:pt x="1772" y="2182"/>
                  </a:lnTo>
                  <a:lnTo>
                    <a:pt x="1769" y="2180"/>
                  </a:lnTo>
                  <a:lnTo>
                    <a:pt x="1770" y="2183"/>
                  </a:lnTo>
                  <a:lnTo>
                    <a:pt x="1769" y="2185"/>
                  </a:lnTo>
                  <a:lnTo>
                    <a:pt x="1766" y="2185"/>
                  </a:lnTo>
                  <a:lnTo>
                    <a:pt x="1762" y="2183"/>
                  </a:lnTo>
                  <a:lnTo>
                    <a:pt x="1761" y="2183"/>
                  </a:lnTo>
                  <a:lnTo>
                    <a:pt x="1761" y="2185"/>
                  </a:lnTo>
                  <a:lnTo>
                    <a:pt x="1759" y="2185"/>
                  </a:lnTo>
                  <a:lnTo>
                    <a:pt x="1759" y="2188"/>
                  </a:lnTo>
                  <a:lnTo>
                    <a:pt x="1761" y="2191"/>
                  </a:lnTo>
                  <a:lnTo>
                    <a:pt x="1759" y="2194"/>
                  </a:lnTo>
                  <a:lnTo>
                    <a:pt x="1754" y="2194"/>
                  </a:lnTo>
                  <a:lnTo>
                    <a:pt x="1751" y="2191"/>
                  </a:lnTo>
                  <a:lnTo>
                    <a:pt x="1750" y="2191"/>
                  </a:lnTo>
                  <a:lnTo>
                    <a:pt x="1747" y="2191"/>
                  </a:lnTo>
                  <a:lnTo>
                    <a:pt x="1747" y="2194"/>
                  </a:lnTo>
                  <a:lnTo>
                    <a:pt x="1750" y="2195"/>
                  </a:lnTo>
                  <a:lnTo>
                    <a:pt x="1750" y="2202"/>
                  </a:lnTo>
                  <a:lnTo>
                    <a:pt x="1752" y="2206"/>
                  </a:lnTo>
                  <a:lnTo>
                    <a:pt x="1752" y="2208"/>
                  </a:lnTo>
                  <a:lnTo>
                    <a:pt x="1750" y="2211"/>
                  </a:lnTo>
                  <a:lnTo>
                    <a:pt x="1745" y="2218"/>
                  </a:lnTo>
                  <a:lnTo>
                    <a:pt x="1748" y="2216"/>
                  </a:lnTo>
                  <a:lnTo>
                    <a:pt x="1755" y="2207"/>
                  </a:lnTo>
                  <a:lnTo>
                    <a:pt x="1755" y="2199"/>
                  </a:lnTo>
                  <a:lnTo>
                    <a:pt x="1762" y="2201"/>
                  </a:lnTo>
                  <a:lnTo>
                    <a:pt x="1767" y="2197"/>
                  </a:lnTo>
                  <a:lnTo>
                    <a:pt x="1776" y="2195"/>
                  </a:lnTo>
                  <a:lnTo>
                    <a:pt x="1777" y="2197"/>
                  </a:lnTo>
                  <a:lnTo>
                    <a:pt x="1781" y="2203"/>
                  </a:lnTo>
                  <a:lnTo>
                    <a:pt x="1773" y="2226"/>
                  </a:lnTo>
                  <a:lnTo>
                    <a:pt x="1773" y="2236"/>
                  </a:lnTo>
                  <a:lnTo>
                    <a:pt x="1769" y="2245"/>
                  </a:lnTo>
                  <a:lnTo>
                    <a:pt x="1772" y="2261"/>
                  </a:lnTo>
                  <a:lnTo>
                    <a:pt x="1770" y="2269"/>
                  </a:lnTo>
                  <a:lnTo>
                    <a:pt x="1767" y="2276"/>
                  </a:lnTo>
                  <a:lnTo>
                    <a:pt x="1767" y="2280"/>
                  </a:lnTo>
                  <a:lnTo>
                    <a:pt x="1762" y="2285"/>
                  </a:lnTo>
                  <a:lnTo>
                    <a:pt x="1759" y="2293"/>
                  </a:lnTo>
                  <a:lnTo>
                    <a:pt x="1759" y="2303"/>
                  </a:lnTo>
                  <a:lnTo>
                    <a:pt x="1762" y="2313"/>
                  </a:lnTo>
                  <a:lnTo>
                    <a:pt x="1759" y="2315"/>
                  </a:lnTo>
                  <a:lnTo>
                    <a:pt x="1761" y="2319"/>
                  </a:lnTo>
                  <a:lnTo>
                    <a:pt x="1759" y="2325"/>
                  </a:lnTo>
                  <a:lnTo>
                    <a:pt x="1761" y="2338"/>
                  </a:lnTo>
                  <a:lnTo>
                    <a:pt x="1751" y="2350"/>
                  </a:lnTo>
                  <a:lnTo>
                    <a:pt x="1750" y="2356"/>
                  </a:lnTo>
                  <a:lnTo>
                    <a:pt x="1752" y="2368"/>
                  </a:lnTo>
                  <a:lnTo>
                    <a:pt x="1756" y="2373"/>
                  </a:lnTo>
                  <a:lnTo>
                    <a:pt x="1754" y="2375"/>
                  </a:lnTo>
                  <a:lnTo>
                    <a:pt x="1754" y="2379"/>
                  </a:lnTo>
                  <a:lnTo>
                    <a:pt x="1752" y="2379"/>
                  </a:lnTo>
                  <a:lnTo>
                    <a:pt x="1752" y="2381"/>
                  </a:lnTo>
                  <a:lnTo>
                    <a:pt x="1751" y="2387"/>
                  </a:lnTo>
                  <a:lnTo>
                    <a:pt x="1747" y="2390"/>
                  </a:lnTo>
                  <a:lnTo>
                    <a:pt x="1748" y="2400"/>
                  </a:lnTo>
                  <a:lnTo>
                    <a:pt x="1742" y="2401"/>
                  </a:lnTo>
                  <a:lnTo>
                    <a:pt x="1739" y="2409"/>
                  </a:lnTo>
                  <a:lnTo>
                    <a:pt x="1739" y="2413"/>
                  </a:lnTo>
                  <a:lnTo>
                    <a:pt x="1745" y="2427"/>
                  </a:lnTo>
                  <a:lnTo>
                    <a:pt x="1747" y="2432"/>
                  </a:lnTo>
                  <a:lnTo>
                    <a:pt x="1745" y="2435"/>
                  </a:lnTo>
                  <a:lnTo>
                    <a:pt x="1747" y="2438"/>
                  </a:lnTo>
                  <a:lnTo>
                    <a:pt x="1744" y="2441"/>
                  </a:lnTo>
                  <a:lnTo>
                    <a:pt x="1742" y="2450"/>
                  </a:lnTo>
                  <a:lnTo>
                    <a:pt x="1747" y="2446"/>
                  </a:lnTo>
                  <a:lnTo>
                    <a:pt x="1754" y="2442"/>
                  </a:lnTo>
                  <a:lnTo>
                    <a:pt x="1755" y="2439"/>
                  </a:lnTo>
                  <a:lnTo>
                    <a:pt x="1754" y="2437"/>
                  </a:lnTo>
                  <a:lnTo>
                    <a:pt x="1761" y="2435"/>
                  </a:lnTo>
                  <a:lnTo>
                    <a:pt x="1764" y="2432"/>
                  </a:lnTo>
                  <a:lnTo>
                    <a:pt x="1765" y="2426"/>
                  </a:lnTo>
                  <a:lnTo>
                    <a:pt x="1759" y="2421"/>
                  </a:lnTo>
                  <a:lnTo>
                    <a:pt x="1764" y="2419"/>
                  </a:lnTo>
                  <a:lnTo>
                    <a:pt x="1767" y="2412"/>
                  </a:lnTo>
                  <a:lnTo>
                    <a:pt x="1780" y="2405"/>
                  </a:lnTo>
                  <a:lnTo>
                    <a:pt x="1780" y="2401"/>
                  </a:lnTo>
                  <a:lnTo>
                    <a:pt x="1776" y="2396"/>
                  </a:lnTo>
                  <a:lnTo>
                    <a:pt x="1786" y="2392"/>
                  </a:lnTo>
                  <a:lnTo>
                    <a:pt x="1790" y="2388"/>
                  </a:lnTo>
                  <a:lnTo>
                    <a:pt x="1791" y="2382"/>
                  </a:lnTo>
                  <a:lnTo>
                    <a:pt x="1795" y="2379"/>
                  </a:lnTo>
                  <a:lnTo>
                    <a:pt x="1795" y="2371"/>
                  </a:lnTo>
                  <a:lnTo>
                    <a:pt x="1790" y="2359"/>
                  </a:lnTo>
                  <a:lnTo>
                    <a:pt x="1784" y="2352"/>
                  </a:lnTo>
                  <a:lnTo>
                    <a:pt x="1784" y="2344"/>
                  </a:lnTo>
                  <a:lnTo>
                    <a:pt x="1781" y="2337"/>
                  </a:lnTo>
                  <a:lnTo>
                    <a:pt x="1791" y="2337"/>
                  </a:lnTo>
                  <a:lnTo>
                    <a:pt x="1793" y="2340"/>
                  </a:lnTo>
                  <a:lnTo>
                    <a:pt x="1795" y="2340"/>
                  </a:lnTo>
                  <a:lnTo>
                    <a:pt x="1795" y="2338"/>
                  </a:lnTo>
                  <a:lnTo>
                    <a:pt x="1795" y="2327"/>
                  </a:lnTo>
                  <a:lnTo>
                    <a:pt x="1794" y="2326"/>
                  </a:lnTo>
                  <a:lnTo>
                    <a:pt x="1794" y="2330"/>
                  </a:lnTo>
                  <a:lnTo>
                    <a:pt x="1790" y="2329"/>
                  </a:lnTo>
                  <a:lnTo>
                    <a:pt x="1787" y="2319"/>
                  </a:lnTo>
                  <a:lnTo>
                    <a:pt x="1789" y="2318"/>
                  </a:lnTo>
                  <a:lnTo>
                    <a:pt x="1791" y="2318"/>
                  </a:lnTo>
                  <a:lnTo>
                    <a:pt x="1791" y="2315"/>
                  </a:lnTo>
                  <a:lnTo>
                    <a:pt x="1798" y="2314"/>
                  </a:lnTo>
                  <a:lnTo>
                    <a:pt x="1801" y="2315"/>
                  </a:lnTo>
                  <a:lnTo>
                    <a:pt x="1805" y="2320"/>
                  </a:lnTo>
                  <a:lnTo>
                    <a:pt x="1808" y="2320"/>
                  </a:lnTo>
                  <a:lnTo>
                    <a:pt x="1812" y="2326"/>
                  </a:lnTo>
                  <a:lnTo>
                    <a:pt x="1821" y="2330"/>
                  </a:lnTo>
                  <a:lnTo>
                    <a:pt x="1826" y="2338"/>
                  </a:lnTo>
                  <a:lnTo>
                    <a:pt x="1833" y="2340"/>
                  </a:lnTo>
                  <a:lnTo>
                    <a:pt x="1837" y="2340"/>
                  </a:lnTo>
                  <a:lnTo>
                    <a:pt x="1839" y="2337"/>
                  </a:lnTo>
                  <a:lnTo>
                    <a:pt x="1837" y="2334"/>
                  </a:lnTo>
                  <a:lnTo>
                    <a:pt x="1835" y="2334"/>
                  </a:lnTo>
                  <a:lnTo>
                    <a:pt x="1836" y="2334"/>
                  </a:lnTo>
                  <a:lnTo>
                    <a:pt x="1835" y="2332"/>
                  </a:lnTo>
                  <a:lnTo>
                    <a:pt x="1832" y="2334"/>
                  </a:lnTo>
                  <a:lnTo>
                    <a:pt x="1830" y="2334"/>
                  </a:lnTo>
                  <a:lnTo>
                    <a:pt x="1832" y="2330"/>
                  </a:lnTo>
                  <a:lnTo>
                    <a:pt x="1830" y="2330"/>
                  </a:lnTo>
                  <a:lnTo>
                    <a:pt x="1830" y="2327"/>
                  </a:lnTo>
                  <a:lnTo>
                    <a:pt x="1826" y="2326"/>
                  </a:lnTo>
                  <a:lnTo>
                    <a:pt x="1827" y="2325"/>
                  </a:lnTo>
                  <a:lnTo>
                    <a:pt x="1827" y="2322"/>
                  </a:lnTo>
                  <a:lnTo>
                    <a:pt x="1835" y="2327"/>
                  </a:lnTo>
                  <a:lnTo>
                    <a:pt x="1836" y="2330"/>
                  </a:lnTo>
                  <a:lnTo>
                    <a:pt x="1837" y="2330"/>
                  </a:lnTo>
                  <a:lnTo>
                    <a:pt x="1837" y="2334"/>
                  </a:lnTo>
                  <a:lnTo>
                    <a:pt x="1840" y="2337"/>
                  </a:lnTo>
                  <a:lnTo>
                    <a:pt x="1840" y="2344"/>
                  </a:lnTo>
                  <a:lnTo>
                    <a:pt x="1847" y="2348"/>
                  </a:lnTo>
                  <a:lnTo>
                    <a:pt x="1847" y="2351"/>
                  </a:lnTo>
                  <a:lnTo>
                    <a:pt x="1849" y="2351"/>
                  </a:lnTo>
                  <a:lnTo>
                    <a:pt x="1860" y="2352"/>
                  </a:lnTo>
                  <a:lnTo>
                    <a:pt x="1864" y="2351"/>
                  </a:lnTo>
                  <a:lnTo>
                    <a:pt x="1860" y="2339"/>
                  </a:lnTo>
                  <a:lnTo>
                    <a:pt x="1860" y="2334"/>
                  </a:lnTo>
                  <a:lnTo>
                    <a:pt x="1857" y="2332"/>
                  </a:lnTo>
                  <a:lnTo>
                    <a:pt x="1854" y="2334"/>
                  </a:lnTo>
                  <a:lnTo>
                    <a:pt x="1854" y="2330"/>
                  </a:lnTo>
                  <a:lnTo>
                    <a:pt x="1858" y="2327"/>
                  </a:lnTo>
                  <a:lnTo>
                    <a:pt x="1860" y="2326"/>
                  </a:lnTo>
                  <a:lnTo>
                    <a:pt x="1866" y="2327"/>
                  </a:lnTo>
                  <a:lnTo>
                    <a:pt x="1869" y="2326"/>
                  </a:lnTo>
                  <a:lnTo>
                    <a:pt x="1869" y="2327"/>
                  </a:lnTo>
                  <a:lnTo>
                    <a:pt x="1871" y="2327"/>
                  </a:lnTo>
                  <a:lnTo>
                    <a:pt x="1878" y="2326"/>
                  </a:lnTo>
                  <a:lnTo>
                    <a:pt x="1878" y="2325"/>
                  </a:lnTo>
                  <a:lnTo>
                    <a:pt x="1876" y="2323"/>
                  </a:lnTo>
                  <a:lnTo>
                    <a:pt x="1876" y="2315"/>
                  </a:lnTo>
                  <a:lnTo>
                    <a:pt x="1875" y="2310"/>
                  </a:lnTo>
                  <a:lnTo>
                    <a:pt x="1875" y="2305"/>
                  </a:lnTo>
                  <a:lnTo>
                    <a:pt x="1874" y="2301"/>
                  </a:lnTo>
                  <a:lnTo>
                    <a:pt x="1872" y="2301"/>
                  </a:lnTo>
                  <a:lnTo>
                    <a:pt x="1871" y="2302"/>
                  </a:lnTo>
                  <a:lnTo>
                    <a:pt x="1868" y="2293"/>
                  </a:lnTo>
                  <a:lnTo>
                    <a:pt x="1876" y="2284"/>
                  </a:lnTo>
                  <a:lnTo>
                    <a:pt x="1880" y="2284"/>
                  </a:lnTo>
                  <a:lnTo>
                    <a:pt x="1887" y="2281"/>
                  </a:lnTo>
                  <a:lnTo>
                    <a:pt x="1883" y="2281"/>
                  </a:lnTo>
                  <a:lnTo>
                    <a:pt x="1882" y="2280"/>
                  </a:lnTo>
                  <a:lnTo>
                    <a:pt x="1875" y="2277"/>
                  </a:lnTo>
                  <a:lnTo>
                    <a:pt x="1876" y="2275"/>
                  </a:lnTo>
                  <a:lnTo>
                    <a:pt x="1876" y="2273"/>
                  </a:lnTo>
                  <a:lnTo>
                    <a:pt x="1874" y="2272"/>
                  </a:lnTo>
                  <a:lnTo>
                    <a:pt x="1872" y="2275"/>
                  </a:lnTo>
                  <a:lnTo>
                    <a:pt x="1866" y="2272"/>
                  </a:lnTo>
                  <a:lnTo>
                    <a:pt x="1865" y="2273"/>
                  </a:lnTo>
                  <a:lnTo>
                    <a:pt x="1864" y="2269"/>
                  </a:lnTo>
                  <a:lnTo>
                    <a:pt x="1865" y="2269"/>
                  </a:lnTo>
                  <a:lnTo>
                    <a:pt x="1868" y="2270"/>
                  </a:lnTo>
                  <a:lnTo>
                    <a:pt x="1879" y="2270"/>
                  </a:lnTo>
                  <a:lnTo>
                    <a:pt x="1893" y="2278"/>
                  </a:lnTo>
                  <a:lnTo>
                    <a:pt x="1901" y="2278"/>
                  </a:lnTo>
                  <a:lnTo>
                    <a:pt x="1911" y="2280"/>
                  </a:lnTo>
                  <a:lnTo>
                    <a:pt x="1910" y="2307"/>
                  </a:lnTo>
                  <a:lnTo>
                    <a:pt x="1912" y="2322"/>
                  </a:lnTo>
                  <a:lnTo>
                    <a:pt x="1919" y="2329"/>
                  </a:lnTo>
                  <a:lnTo>
                    <a:pt x="1922" y="2329"/>
                  </a:lnTo>
                  <a:lnTo>
                    <a:pt x="1922" y="2338"/>
                  </a:lnTo>
                  <a:lnTo>
                    <a:pt x="1925" y="2340"/>
                  </a:lnTo>
                  <a:lnTo>
                    <a:pt x="1921" y="2348"/>
                  </a:lnTo>
                  <a:lnTo>
                    <a:pt x="1907" y="2369"/>
                  </a:lnTo>
                  <a:lnTo>
                    <a:pt x="1901" y="2384"/>
                  </a:lnTo>
                  <a:lnTo>
                    <a:pt x="1901" y="2387"/>
                  </a:lnTo>
                  <a:lnTo>
                    <a:pt x="1904" y="2387"/>
                  </a:lnTo>
                  <a:lnTo>
                    <a:pt x="1905" y="2388"/>
                  </a:lnTo>
                  <a:lnTo>
                    <a:pt x="1897" y="2400"/>
                  </a:lnTo>
                  <a:lnTo>
                    <a:pt x="1885" y="2427"/>
                  </a:lnTo>
                  <a:lnTo>
                    <a:pt x="1879" y="2446"/>
                  </a:lnTo>
                  <a:lnTo>
                    <a:pt x="1880" y="2455"/>
                  </a:lnTo>
                  <a:lnTo>
                    <a:pt x="1883" y="2462"/>
                  </a:lnTo>
                  <a:lnTo>
                    <a:pt x="1879" y="2472"/>
                  </a:lnTo>
                  <a:lnTo>
                    <a:pt x="1875" y="2493"/>
                  </a:lnTo>
                  <a:lnTo>
                    <a:pt x="1876" y="2503"/>
                  </a:lnTo>
                  <a:lnTo>
                    <a:pt x="1880" y="2505"/>
                  </a:lnTo>
                  <a:lnTo>
                    <a:pt x="1879" y="2521"/>
                  </a:lnTo>
                  <a:lnTo>
                    <a:pt x="1880" y="2528"/>
                  </a:lnTo>
                  <a:lnTo>
                    <a:pt x="1880" y="2534"/>
                  </a:lnTo>
                  <a:lnTo>
                    <a:pt x="1871" y="2550"/>
                  </a:lnTo>
                  <a:lnTo>
                    <a:pt x="1862" y="2571"/>
                  </a:lnTo>
                  <a:lnTo>
                    <a:pt x="1854" y="2584"/>
                  </a:lnTo>
                  <a:lnTo>
                    <a:pt x="1826" y="2613"/>
                  </a:lnTo>
                  <a:lnTo>
                    <a:pt x="1822" y="2621"/>
                  </a:lnTo>
                  <a:lnTo>
                    <a:pt x="1821" y="2630"/>
                  </a:lnTo>
                  <a:lnTo>
                    <a:pt x="1818" y="2634"/>
                  </a:lnTo>
                  <a:lnTo>
                    <a:pt x="1808" y="2648"/>
                  </a:lnTo>
                  <a:lnTo>
                    <a:pt x="1790" y="2671"/>
                  </a:lnTo>
                  <a:lnTo>
                    <a:pt x="1754" y="2712"/>
                  </a:lnTo>
                  <a:lnTo>
                    <a:pt x="1744" y="2724"/>
                  </a:lnTo>
                  <a:lnTo>
                    <a:pt x="1705" y="2770"/>
                  </a:lnTo>
                  <a:lnTo>
                    <a:pt x="1692" y="2787"/>
                  </a:lnTo>
                  <a:lnTo>
                    <a:pt x="1661" y="2816"/>
                  </a:lnTo>
                  <a:lnTo>
                    <a:pt x="1654" y="2827"/>
                  </a:lnTo>
                  <a:lnTo>
                    <a:pt x="1644" y="2840"/>
                  </a:lnTo>
                  <a:lnTo>
                    <a:pt x="1641" y="2846"/>
                  </a:lnTo>
                  <a:lnTo>
                    <a:pt x="1640" y="2857"/>
                  </a:lnTo>
                  <a:lnTo>
                    <a:pt x="1641" y="2865"/>
                  </a:lnTo>
                  <a:lnTo>
                    <a:pt x="1640" y="2869"/>
                  </a:lnTo>
                  <a:lnTo>
                    <a:pt x="1614" y="2891"/>
                  </a:lnTo>
                  <a:lnTo>
                    <a:pt x="1605" y="2903"/>
                  </a:lnTo>
                  <a:lnTo>
                    <a:pt x="1598" y="2914"/>
                  </a:lnTo>
                  <a:lnTo>
                    <a:pt x="1580" y="2928"/>
                  </a:lnTo>
                  <a:lnTo>
                    <a:pt x="1563" y="2937"/>
                  </a:lnTo>
                  <a:lnTo>
                    <a:pt x="1533" y="2956"/>
                  </a:lnTo>
                  <a:lnTo>
                    <a:pt x="1479" y="2983"/>
                  </a:lnTo>
                  <a:lnTo>
                    <a:pt x="1406" y="3011"/>
                  </a:lnTo>
                  <a:lnTo>
                    <a:pt x="1341" y="3043"/>
                  </a:lnTo>
                  <a:lnTo>
                    <a:pt x="1287" y="3062"/>
                  </a:lnTo>
                  <a:lnTo>
                    <a:pt x="1209" y="3087"/>
                  </a:lnTo>
                  <a:lnTo>
                    <a:pt x="1118" y="3117"/>
                  </a:lnTo>
                  <a:lnTo>
                    <a:pt x="1108" y="3119"/>
                  </a:lnTo>
                  <a:lnTo>
                    <a:pt x="1105" y="3123"/>
                  </a:lnTo>
                  <a:lnTo>
                    <a:pt x="1089" y="3128"/>
                  </a:lnTo>
                  <a:lnTo>
                    <a:pt x="1086" y="3131"/>
                  </a:lnTo>
                  <a:lnTo>
                    <a:pt x="1081" y="3134"/>
                  </a:lnTo>
                  <a:lnTo>
                    <a:pt x="1055" y="3140"/>
                  </a:lnTo>
                  <a:lnTo>
                    <a:pt x="1024" y="3095"/>
                  </a:lnTo>
                  <a:lnTo>
                    <a:pt x="915" y="3086"/>
                  </a:lnTo>
                  <a:lnTo>
                    <a:pt x="915" y="3043"/>
                  </a:lnTo>
                  <a:lnTo>
                    <a:pt x="914" y="3018"/>
                  </a:lnTo>
                  <a:lnTo>
                    <a:pt x="1035" y="2957"/>
                  </a:lnTo>
                  <a:lnTo>
                    <a:pt x="1006" y="2923"/>
                  </a:lnTo>
                  <a:lnTo>
                    <a:pt x="996" y="2915"/>
                  </a:lnTo>
                  <a:lnTo>
                    <a:pt x="985" y="2902"/>
                  </a:lnTo>
                  <a:lnTo>
                    <a:pt x="981" y="2895"/>
                  </a:lnTo>
                  <a:lnTo>
                    <a:pt x="976" y="2886"/>
                  </a:lnTo>
                  <a:lnTo>
                    <a:pt x="972" y="2882"/>
                  </a:lnTo>
                  <a:lnTo>
                    <a:pt x="957" y="2881"/>
                  </a:lnTo>
                  <a:lnTo>
                    <a:pt x="957" y="2879"/>
                  </a:lnTo>
                  <a:lnTo>
                    <a:pt x="1018" y="2817"/>
                  </a:lnTo>
                  <a:lnTo>
                    <a:pt x="1018" y="2815"/>
                  </a:lnTo>
                  <a:lnTo>
                    <a:pt x="1016" y="2812"/>
                  </a:lnTo>
                  <a:lnTo>
                    <a:pt x="1007" y="2811"/>
                  </a:lnTo>
                  <a:lnTo>
                    <a:pt x="993" y="2817"/>
                  </a:lnTo>
                  <a:lnTo>
                    <a:pt x="982" y="2817"/>
                  </a:lnTo>
                  <a:lnTo>
                    <a:pt x="972" y="2821"/>
                  </a:lnTo>
                  <a:lnTo>
                    <a:pt x="965" y="2821"/>
                  </a:lnTo>
                  <a:lnTo>
                    <a:pt x="953" y="2822"/>
                  </a:lnTo>
                  <a:lnTo>
                    <a:pt x="942" y="2828"/>
                  </a:lnTo>
                  <a:lnTo>
                    <a:pt x="939" y="2832"/>
                  </a:lnTo>
                  <a:lnTo>
                    <a:pt x="937" y="2834"/>
                  </a:lnTo>
                  <a:lnTo>
                    <a:pt x="926" y="2837"/>
                  </a:lnTo>
                  <a:lnTo>
                    <a:pt x="925" y="2837"/>
                  </a:lnTo>
                  <a:lnTo>
                    <a:pt x="921" y="2834"/>
                  </a:lnTo>
                  <a:lnTo>
                    <a:pt x="917" y="2834"/>
                  </a:lnTo>
                  <a:lnTo>
                    <a:pt x="910" y="2836"/>
                  </a:lnTo>
                  <a:lnTo>
                    <a:pt x="901" y="2841"/>
                  </a:lnTo>
                  <a:lnTo>
                    <a:pt x="898" y="2841"/>
                  </a:lnTo>
                  <a:lnTo>
                    <a:pt x="893" y="2839"/>
                  </a:lnTo>
                  <a:lnTo>
                    <a:pt x="889" y="2839"/>
                  </a:lnTo>
                  <a:lnTo>
                    <a:pt x="879" y="2845"/>
                  </a:lnTo>
                  <a:lnTo>
                    <a:pt x="872" y="2846"/>
                  </a:lnTo>
                  <a:lnTo>
                    <a:pt x="851" y="2853"/>
                  </a:lnTo>
                  <a:lnTo>
                    <a:pt x="848" y="2856"/>
                  </a:lnTo>
                  <a:lnTo>
                    <a:pt x="847" y="2861"/>
                  </a:lnTo>
                  <a:lnTo>
                    <a:pt x="839" y="2862"/>
                  </a:lnTo>
                  <a:lnTo>
                    <a:pt x="837" y="2865"/>
                  </a:lnTo>
                  <a:lnTo>
                    <a:pt x="833" y="2865"/>
                  </a:lnTo>
                  <a:lnTo>
                    <a:pt x="831" y="2862"/>
                  </a:lnTo>
                  <a:lnTo>
                    <a:pt x="825" y="2864"/>
                  </a:lnTo>
                  <a:lnTo>
                    <a:pt x="823" y="2865"/>
                  </a:lnTo>
                  <a:lnTo>
                    <a:pt x="815" y="2865"/>
                  </a:lnTo>
                  <a:lnTo>
                    <a:pt x="812" y="2869"/>
                  </a:lnTo>
                  <a:lnTo>
                    <a:pt x="806" y="2873"/>
                  </a:lnTo>
                  <a:lnTo>
                    <a:pt x="798" y="2873"/>
                  </a:lnTo>
                  <a:lnTo>
                    <a:pt x="794" y="2876"/>
                  </a:lnTo>
                  <a:lnTo>
                    <a:pt x="790" y="2879"/>
                  </a:lnTo>
                  <a:lnTo>
                    <a:pt x="789" y="2878"/>
                  </a:lnTo>
                  <a:lnTo>
                    <a:pt x="751" y="2824"/>
                  </a:lnTo>
                  <a:lnTo>
                    <a:pt x="735" y="2809"/>
                  </a:lnTo>
                  <a:lnTo>
                    <a:pt x="722" y="2794"/>
                  </a:lnTo>
                  <a:lnTo>
                    <a:pt x="716" y="2787"/>
                  </a:lnTo>
                  <a:lnTo>
                    <a:pt x="715" y="2782"/>
                  </a:lnTo>
                  <a:lnTo>
                    <a:pt x="708" y="2775"/>
                  </a:lnTo>
                  <a:lnTo>
                    <a:pt x="690" y="2749"/>
                  </a:lnTo>
                  <a:lnTo>
                    <a:pt x="673" y="2730"/>
                  </a:lnTo>
                  <a:lnTo>
                    <a:pt x="675" y="2647"/>
                  </a:lnTo>
                  <a:lnTo>
                    <a:pt x="673" y="2605"/>
                  </a:lnTo>
                  <a:lnTo>
                    <a:pt x="671" y="2519"/>
                  </a:lnTo>
                  <a:lnTo>
                    <a:pt x="663" y="2517"/>
                  </a:lnTo>
                  <a:lnTo>
                    <a:pt x="661" y="2509"/>
                  </a:lnTo>
                  <a:lnTo>
                    <a:pt x="652" y="2504"/>
                  </a:lnTo>
                  <a:lnTo>
                    <a:pt x="644" y="2508"/>
                  </a:lnTo>
                  <a:lnTo>
                    <a:pt x="637" y="2505"/>
                  </a:lnTo>
                  <a:lnTo>
                    <a:pt x="632" y="2509"/>
                  </a:lnTo>
                  <a:lnTo>
                    <a:pt x="626" y="2509"/>
                  </a:lnTo>
                  <a:lnTo>
                    <a:pt x="625" y="2506"/>
                  </a:lnTo>
                  <a:lnTo>
                    <a:pt x="625" y="2498"/>
                  </a:lnTo>
                  <a:lnTo>
                    <a:pt x="623" y="2498"/>
                  </a:lnTo>
                  <a:lnTo>
                    <a:pt x="623" y="2494"/>
                  </a:lnTo>
                  <a:lnTo>
                    <a:pt x="621" y="2493"/>
                  </a:lnTo>
                  <a:lnTo>
                    <a:pt x="622" y="2491"/>
                  </a:lnTo>
                  <a:lnTo>
                    <a:pt x="616" y="2480"/>
                  </a:lnTo>
                  <a:lnTo>
                    <a:pt x="615" y="2472"/>
                  </a:lnTo>
                  <a:lnTo>
                    <a:pt x="612" y="2468"/>
                  </a:lnTo>
                  <a:lnTo>
                    <a:pt x="612" y="2464"/>
                  </a:lnTo>
                  <a:lnTo>
                    <a:pt x="618" y="2464"/>
                  </a:lnTo>
                  <a:lnTo>
                    <a:pt x="621" y="2459"/>
                  </a:lnTo>
                  <a:lnTo>
                    <a:pt x="619" y="2455"/>
                  </a:lnTo>
                  <a:lnTo>
                    <a:pt x="615" y="2454"/>
                  </a:lnTo>
                  <a:lnTo>
                    <a:pt x="613" y="2450"/>
                  </a:lnTo>
                  <a:lnTo>
                    <a:pt x="612" y="2448"/>
                  </a:lnTo>
                  <a:lnTo>
                    <a:pt x="615" y="2446"/>
                  </a:lnTo>
                  <a:lnTo>
                    <a:pt x="619" y="2444"/>
                  </a:lnTo>
                  <a:lnTo>
                    <a:pt x="621" y="2443"/>
                  </a:lnTo>
                  <a:lnTo>
                    <a:pt x="625" y="2437"/>
                  </a:lnTo>
                  <a:lnTo>
                    <a:pt x="622" y="2434"/>
                  </a:lnTo>
                  <a:lnTo>
                    <a:pt x="619" y="2435"/>
                  </a:lnTo>
                  <a:lnTo>
                    <a:pt x="616" y="2435"/>
                  </a:lnTo>
                  <a:lnTo>
                    <a:pt x="613" y="2434"/>
                  </a:lnTo>
                  <a:lnTo>
                    <a:pt x="612" y="2430"/>
                  </a:lnTo>
                  <a:lnTo>
                    <a:pt x="613" y="2427"/>
                  </a:lnTo>
                  <a:lnTo>
                    <a:pt x="618" y="2423"/>
                  </a:lnTo>
                  <a:lnTo>
                    <a:pt x="621" y="2417"/>
                  </a:lnTo>
                  <a:lnTo>
                    <a:pt x="618" y="2409"/>
                  </a:lnTo>
                  <a:lnTo>
                    <a:pt x="618" y="2401"/>
                  </a:lnTo>
                  <a:lnTo>
                    <a:pt x="615" y="2400"/>
                  </a:lnTo>
                  <a:lnTo>
                    <a:pt x="611" y="2397"/>
                  </a:lnTo>
                  <a:lnTo>
                    <a:pt x="613" y="2394"/>
                  </a:lnTo>
                  <a:lnTo>
                    <a:pt x="612" y="2392"/>
                  </a:lnTo>
                  <a:lnTo>
                    <a:pt x="615" y="2389"/>
                  </a:lnTo>
                  <a:lnTo>
                    <a:pt x="616" y="2388"/>
                  </a:lnTo>
                  <a:lnTo>
                    <a:pt x="619" y="2384"/>
                  </a:lnTo>
                  <a:lnTo>
                    <a:pt x="611" y="2377"/>
                  </a:lnTo>
                  <a:lnTo>
                    <a:pt x="608" y="2372"/>
                  </a:lnTo>
                  <a:lnTo>
                    <a:pt x="611" y="2368"/>
                  </a:lnTo>
                  <a:lnTo>
                    <a:pt x="612" y="2364"/>
                  </a:lnTo>
                  <a:lnTo>
                    <a:pt x="609" y="2364"/>
                  </a:lnTo>
                  <a:lnTo>
                    <a:pt x="605" y="2362"/>
                  </a:lnTo>
                  <a:lnTo>
                    <a:pt x="605" y="2356"/>
                  </a:lnTo>
                  <a:lnTo>
                    <a:pt x="602" y="2352"/>
                  </a:lnTo>
                  <a:lnTo>
                    <a:pt x="604" y="2352"/>
                  </a:lnTo>
                  <a:lnTo>
                    <a:pt x="605" y="2352"/>
                  </a:lnTo>
                  <a:lnTo>
                    <a:pt x="607" y="2351"/>
                  </a:lnTo>
                  <a:lnTo>
                    <a:pt x="605" y="2350"/>
                  </a:lnTo>
                  <a:lnTo>
                    <a:pt x="607" y="2348"/>
                  </a:lnTo>
                  <a:lnTo>
                    <a:pt x="611" y="2350"/>
                  </a:lnTo>
                  <a:lnTo>
                    <a:pt x="611" y="2347"/>
                  </a:lnTo>
                  <a:lnTo>
                    <a:pt x="621" y="2344"/>
                  </a:lnTo>
                  <a:lnTo>
                    <a:pt x="626" y="2342"/>
                  </a:lnTo>
                  <a:lnTo>
                    <a:pt x="629" y="2339"/>
                  </a:lnTo>
                  <a:lnTo>
                    <a:pt x="627" y="2334"/>
                  </a:lnTo>
                  <a:lnTo>
                    <a:pt x="622" y="2334"/>
                  </a:lnTo>
                  <a:lnTo>
                    <a:pt x="622" y="2332"/>
                  </a:lnTo>
                  <a:lnTo>
                    <a:pt x="618" y="2330"/>
                  </a:lnTo>
                  <a:lnTo>
                    <a:pt x="616" y="2329"/>
                  </a:lnTo>
                  <a:lnTo>
                    <a:pt x="612" y="2329"/>
                  </a:lnTo>
                  <a:lnTo>
                    <a:pt x="612" y="2325"/>
                  </a:lnTo>
                  <a:lnTo>
                    <a:pt x="615" y="2322"/>
                  </a:lnTo>
                  <a:lnTo>
                    <a:pt x="612" y="2319"/>
                  </a:lnTo>
                  <a:lnTo>
                    <a:pt x="611" y="2319"/>
                  </a:lnTo>
                  <a:lnTo>
                    <a:pt x="607" y="2314"/>
                  </a:lnTo>
                  <a:lnTo>
                    <a:pt x="609" y="2310"/>
                  </a:lnTo>
                  <a:lnTo>
                    <a:pt x="611" y="2312"/>
                  </a:lnTo>
                  <a:lnTo>
                    <a:pt x="613" y="2310"/>
                  </a:lnTo>
                  <a:lnTo>
                    <a:pt x="615" y="2305"/>
                  </a:lnTo>
                  <a:lnTo>
                    <a:pt x="619" y="2303"/>
                  </a:lnTo>
                  <a:lnTo>
                    <a:pt x="618" y="2302"/>
                  </a:lnTo>
                  <a:lnTo>
                    <a:pt x="618" y="2300"/>
                  </a:lnTo>
                  <a:lnTo>
                    <a:pt x="616" y="2301"/>
                  </a:lnTo>
                  <a:lnTo>
                    <a:pt x="613" y="2298"/>
                  </a:lnTo>
                  <a:lnTo>
                    <a:pt x="616" y="2295"/>
                  </a:lnTo>
                  <a:lnTo>
                    <a:pt x="616" y="2293"/>
                  </a:lnTo>
                  <a:lnTo>
                    <a:pt x="619" y="2289"/>
                  </a:lnTo>
                  <a:lnTo>
                    <a:pt x="616" y="2285"/>
                  </a:lnTo>
                  <a:lnTo>
                    <a:pt x="618" y="2281"/>
                  </a:lnTo>
                  <a:lnTo>
                    <a:pt x="615" y="2278"/>
                  </a:lnTo>
                  <a:lnTo>
                    <a:pt x="615" y="2276"/>
                  </a:lnTo>
                  <a:lnTo>
                    <a:pt x="613" y="2275"/>
                  </a:lnTo>
                  <a:lnTo>
                    <a:pt x="612" y="2270"/>
                  </a:lnTo>
                  <a:lnTo>
                    <a:pt x="608" y="2269"/>
                  </a:lnTo>
                  <a:lnTo>
                    <a:pt x="608" y="2267"/>
                  </a:lnTo>
                  <a:lnTo>
                    <a:pt x="608" y="2265"/>
                  </a:lnTo>
                  <a:lnTo>
                    <a:pt x="615" y="2258"/>
                  </a:lnTo>
                  <a:lnTo>
                    <a:pt x="615" y="2253"/>
                  </a:lnTo>
                  <a:lnTo>
                    <a:pt x="618" y="2251"/>
                  </a:lnTo>
                  <a:lnTo>
                    <a:pt x="618" y="2248"/>
                  </a:lnTo>
                  <a:lnTo>
                    <a:pt x="616" y="2245"/>
                  </a:lnTo>
                  <a:lnTo>
                    <a:pt x="618" y="2240"/>
                  </a:lnTo>
                  <a:lnTo>
                    <a:pt x="623" y="2235"/>
                  </a:lnTo>
                  <a:lnTo>
                    <a:pt x="621" y="2231"/>
                  </a:lnTo>
                  <a:lnTo>
                    <a:pt x="622" y="2225"/>
                  </a:lnTo>
                  <a:lnTo>
                    <a:pt x="618" y="2222"/>
                  </a:lnTo>
                  <a:lnTo>
                    <a:pt x="621" y="2219"/>
                  </a:lnTo>
                  <a:lnTo>
                    <a:pt x="626" y="2218"/>
                  </a:lnTo>
                  <a:lnTo>
                    <a:pt x="626" y="2214"/>
                  </a:lnTo>
                  <a:lnTo>
                    <a:pt x="629" y="2213"/>
                  </a:lnTo>
                  <a:lnTo>
                    <a:pt x="636" y="2213"/>
                  </a:lnTo>
                  <a:lnTo>
                    <a:pt x="638" y="2211"/>
                  </a:lnTo>
                  <a:lnTo>
                    <a:pt x="638" y="2208"/>
                  </a:lnTo>
                  <a:lnTo>
                    <a:pt x="637" y="2207"/>
                  </a:lnTo>
                  <a:lnTo>
                    <a:pt x="633" y="2206"/>
                  </a:lnTo>
                  <a:lnTo>
                    <a:pt x="632" y="2205"/>
                  </a:lnTo>
                  <a:lnTo>
                    <a:pt x="630" y="2205"/>
                  </a:lnTo>
                  <a:lnTo>
                    <a:pt x="632" y="2202"/>
                  </a:lnTo>
                  <a:lnTo>
                    <a:pt x="633" y="2202"/>
                  </a:lnTo>
                  <a:lnTo>
                    <a:pt x="634" y="2199"/>
                  </a:lnTo>
                  <a:lnTo>
                    <a:pt x="634" y="2194"/>
                  </a:lnTo>
                  <a:lnTo>
                    <a:pt x="629" y="2195"/>
                  </a:lnTo>
                  <a:lnTo>
                    <a:pt x="625" y="2194"/>
                  </a:lnTo>
                  <a:lnTo>
                    <a:pt x="626" y="2188"/>
                  </a:lnTo>
                  <a:lnTo>
                    <a:pt x="627" y="2186"/>
                  </a:lnTo>
                  <a:lnTo>
                    <a:pt x="622" y="2180"/>
                  </a:lnTo>
                  <a:lnTo>
                    <a:pt x="621" y="2169"/>
                  </a:lnTo>
                  <a:lnTo>
                    <a:pt x="615" y="2169"/>
                  </a:lnTo>
                  <a:lnTo>
                    <a:pt x="609" y="2177"/>
                  </a:lnTo>
                  <a:lnTo>
                    <a:pt x="599" y="2181"/>
                  </a:lnTo>
                  <a:lnTo>
                    <a:pt x="596" y="2181"/>
                  </a:lnTo>
                  <a:lnTo>
                    <a:pt x="594" y="2178"/>
                  </a:lnTo>
                  <a:lnTo>
                    <a:pt x="587" y="2177"/>
                  </a:lnTo>
                  <a:lnTo>
                    <a:pt x="587" y="2174"/>
                  </a:lnTo>
                  <a:lnTo>
                    <a:pt x="593" y="2173"/>
                  </a:lnTo>
                  <a:lnTo>
                    <a:pt x="594" y="2171"/>
                  </a:lnTo>
                  <a:lnTo>
                    <a:pt x="597" y="2169"/>
                  </a:lnTo>
                  <a:lnTo>
                    <a:pt x="597" y="2165"/>
                  </a:lnTo>
                  <a:lnTo>
                    <a:pt x="598" y="2165"/>
                  </a:lnTo>
                  <a:lnTo>
                    <a:pt x="601" y="2165"/>
                  </a:lnTo>
                  <a:lnTo>
                    <a:pt x="604" y="2165"/>
                  </a:lnTo>
                  <a:lnTo>
                    <a:pt x="604" y="2161"/>
                  </a:lnTo>
                  <a:lnTo>
                    <a:pt x="601" y="2161"/>
                  </a:lnTo>
                  <a:lnTo>
                    <a:pt x="604" y="2157"/>
                  </a:lnTo>
                  <a:lnTo>
                    <a:pt x="602" y="2155"/>
                  </a:lnTo>
                  <a:lnTo>
                    <a:pt x="607" y="2152"/>
                  </a:lnTo>
                  <a:lnTo>
                    <a:pt x="608" y="2149"/>
                  </a:lnTo>
                  <a:lnTo>
                    <a:pt x="609" y="2151"/>
                  </a:lnTo>
                  <a:lnTo>
                    <a:pt x="611" y="2149"/>
                  </a:lnTo>
                  <a:lnTo>
                    <a:pt x="613" y="2146"/>
                  </a:lnTo>
                  <a:lnTo>
                    <a:pt x="618" y="2145"/>
                  </a:lnTo>
                  <a:lnTo>
                    <a:pt x="618" y="2141"/>
                  </a:lnTo>
                  <a:lnTo>
                    <a:pt x="621" y="2140"/>
                  </a:lnTo>
                  <a:lnTo>
                    <a:pt x="616" y="2136"/>
                  </a:lnTo>
                  <a:lnTo>
                    <a:pt x="616" y="2129"/>
                  </a:lnTo>
                  <a:lnTo>
                    <a:pt x="618" y="2126"/>
                  </a:lnTo>
                  <a:lnTo>
                    <a:pt x="625" y="2123"/>
                  </a:lnTo>
                  <a:lnTo>
                    <a:pt x="630" y="2116"/>
                  </a:lnTo>
                  <a:lnTo>
                    <a:pt x="632" y="2112"/>
                  </a:lnTo>
                  <a:lnTo>
                    <a:pt x="629" y="2112"/>
                  </a:lnTo>
                  <a:lnTo>
                    <a:pt x="622" y="2112"/>
                  </a:lnTo>
                  <a:lnTo>
                    <a:pt x="619" y="2108"/>
                  </a:lnTo>
                  <a:lnTo>
                    <a:pt x="615" y="2108"/>
                  </a:lnTo>
                  <a:lnTo>
                    <a:pt x="616" y="2103"/>
                  </a:lnTo>
                  <a:lnTo>
                    <a:pt x="622" y="2098"/>
                  </a:lnTo>
                  <a:lnTo>
                    <a:pt x="622" y="2096"/>
                  </a:lnTo>
                  <a:lnTo>
                    <a:pt x="623" y="2096"/>
                  </a:lnTo>
                  <a:lnTo>
                    <a:pt x="627" y="2094"/>
                  </a:lnTo>
                  <a:lnTo>
                    <a:pt x="630" y="2093"/>
                  </a:lnTo>
                  <a:lnTo>
                    <a:pt x="630" y="2089"/>
                  </a:lnTo>
                  <a:lnTo>
                    <a:pt x="634" y="2086"/>
                  </a:lnTo>
                  <a:lnTo>
                    <a:pt x="634" y="2084"/>
                  </a:lnTo>
                  <a:lnTo>
                    <a:pt x="633" y="2082"/>
                  </a:lnTo>
                  <a:lnTo>
                    <a:pt x="629" y="2082"/>
                  </a:lnTo>
                  <a:lnTo>
                    <a:pt x="625" y="2076"/>
                  </a:lnTo>
                  <a:lnTo>
                    <a:pt x="622" y="2076"/>
                  </a:lnTo>
                  <a:lnTo>
                    <a:pt x="622" y="2074"/>
                  </a:lnTo>
                  <a:lnTo>
                    <a:pt x="621" y="2071"/>
                  </a:lnTo>
                  <a:lnTo>
                    <a:pt x="619" y="2071"/>
                  </a:lnTo>
                  <a:lnTo>
                    <a:pt x="618" y="2070"/>
                  </a:lnTo>
                  <a:lnTo>
                    <a:pt x="619" y="2068"/>
                  </a:lnTo>
                  <a:lnTo>
                    <a:pt x="621" y="2069"/>
                  </a:lnTo>
                  <a:lnTo>
                    <a:pt x="622" y="2069"/>
                  </a:lnTo>
                  <a:lnTo>
                    <a:pt x="623" y="2069"/>
                  </a:lnTo>
                  <a:lnTo>
                    <a:pt x="625" y="2065"/>
                  </a:lnTo>
                  <a:lnTo>
                    <a:pt x="623" y="2064"/>
                  </a:lnTo>
                  <a:lnTo>
                    <a:pt x="623" y="2061"/>
                  </a:lnTo>
                  <a:lnTo>
                    <a:pt x="621" y="2062"/>
                  </a:lnTo>
                  <a:lnTo>
                    <a:pt x="619" y="2062"/>
                  </a:lnTo>
                  <a:lnTo>
                    <a:pt x="621" y="2059"/>
                  </a:lnTo>
                  <a:lnTo>
                    <a:pt x="619" y="2053"/>
                  </a:lnTo>
                  <a:lnTo>
                    <a:pt x="615" y="2052"/>
                  </a:lnTo>
                  <a:lnTo>
                    <a:pt x="613" y="2049"/>
                  </a:lnTo>
                  <a:lnTo>
                    <a:pt x="613" y="2045"/>
                  </a:lnTo>
                  <a:lnTo>
                    <a:pt x="616" y="2044"/>
                  </a:lnTo>
                  <a:lnTo>
                    <a:pt x="618" y="2042"/>
                  </a:lnTo>
                  <a:lnTo>
                    <a:pt x="615" y="2033"/>
                  </a:lnTo>
                  <a:lnTo>
                    <a:pt x="609" y="2031"/>
                  </a:lnTo>
                  <a:lnTo>
                    <a:pt x="605" y="2032"/>
                  </a:lnTo>
                  <a:lnTo>
                    <a:pt x="601" y="2029"/>
                  </a:lnTo>
                  <a:lnTo>
                    <a:pt x="598" y="2031"/>
                  </a:lnTo>
                  <a:lnTo>
                    <a:pt x="598" y="2032"/>
                  </a:lnTo>
                  <a:lnTo>
                    <a:pt x="598" y="2033"/>
                  </a:lnTo>
                  <a:lnTo>
                    <a:pt x="591" y="2034"/>
                  </a:lnTo>
                  <a:lnTo>
                    <a:pt x="586" y="2033"/>
                  </a:lnTo>
                  <a:lnTo>
                    <a:pt x="584" y="2027"/>
                  </a:lnTo>
                  <a:lnTo>
                    <a:pt x="586" y="2026"/>
                  </a:lnTo>
                  <a:lnTo>
                    <a:pt x="584" y="2023"/>
                  </a:lnTo>
                  <a:lnTo>
                    <a:pt x="583" y="2016"/>
                  </a:lnTo>
                  <a:lnTo>
                    <a:pt x="586" y="2014"/>
                  </a:lnTo>
                  <a:lnTo>
                    <a:pt x="586" y="2011"/>
                  </a:lnTo>
                  <a:lnTo>
                    <a:pt x="582" y="2004"/>
                  </a:lnTo>
                  <a:lnTo>
                    <a:pt x="583" y="2000"/>
                  </a:lnTo>
                  <a:lnTo>
                    <a:pt x="580" y="2000"/>
                  </a:lnTo>
                  <a:lnTo>
                    <a:pt x="580" y="1996"/>
                  </a:lnTo>
                  <a:lnTo>
                    <a:pt x="577" y="1994"/>
                  </a:lnTo>
                  <a:lnTo>
                    <a:pt x="574" y="1996"/>
                  </a:lnTo>
                  <a:lnTo>
                    <a:pt x="573" y="1996"/>
                  </a:lnTo>
                  <a:lnTo>
                    <a:pt x="572" y="1994"/>
                  </a:lnTo>
                  <a:lnTo>
                    <a:pt x="568" y="1994"/>
                  </a:lnTo>
                  <a:lnTo>
                    <a:pt x="565" y="1990"/>
                  </a:lnTo>
                  <a:lnTo>
                    <a:pt x="565" y="1989"/>
                  </a:lnTo>
                  <a:lnTo>
                    <a:pt x="566" y="1984"/>
                  </a:lnTo>
                  <a:lnTo>
                    <a:pt x="563" y="1982"/>
                  </a:lnTo>
                  <a:lnTo>
                    <a:pt x="563" y="1978"/>
                  </a:lnTo>
                  <a:lnTo>
                    <a:pt x="568" y="1975"/>
                  </a:lnTo>
                  <a:lnTo>
                    <a:pt x="566" y="1973"/>
                  </a:lnTo>
                  <a:lnTo>
                    <a:pt x="566" y="1971"/>
                  </a:lnTo>
                  <a:lnTo>
                    <a:pt x="569" y="1970"/>
                  </a:lnTo>
                  <a:lnTo>
                    <a:pt x="569" y="1969"/>
                  </a:lnTo>
                  <a:lnTo>
                    <a:pt x="569" y="1967"/>
                  </a:lnTo>
                  <a:lnTo>
                    <a:pt x="562" y="1965"/>
                  </a:lnTo>
                  <a:lnTo>
                    <a:pt x="559" y="1962"/>
                  </a:lnTo>
                  <a:lnTo>
                    <a:pt x="549" y="1962"/>
                  </a:lnTo>
                  <a:lnTo>
                    <a:pt x="547" y="1959"/>
                  </a:lnTo>
                  <a:lnTo>
                    <a:pt x="548" y="1955"/>
                  </a:lnTo>
                  <a:lnTo>
                    <a:pt x="552" y="1946"/>
                  </a:lnTo>
                  <a:lnTo>
                    <a:pt x="551" y="1944"/>
                  </a:lnTo>
                  <a:lnTo>
                    <a:pt x="552" y="1941"/>
                  </a:lnTo>
                  <a:lnTo>
                    <a:pt x="549" y="1939"/>
                  </a:lnTo>
                  <a:lnTo>
                    <a:pt x="548" y="1933"/>
                  </a:lnTo>
                  <a:lnTo>
                    <a:pt x="548" y="1929"/>
                  </a:lnTo>
                  <a:lnTo>
                    <a:pt x="549" y="1928"/>
                  </a:lnTo>
                  <a:lnTo>
                    <a:pt x="552" y="1925"/>
                  </a:lnTo>
                  <a:lnTo>
                    <a:pt x="558" y="1925"/>
                  </a:lnTo>
                  <a:lnTo>
                    <a:pt x="561" y="1928"/>
                  </a:lnTo>
                  <a:lnTo>
                    <a:pt x="562" y="1933"/>
                  </a:lnTo>
                  <a:lnTo>
                    <a:pt x="569" y="1933"/>
                  </a:lnTo>
                  <a:lnTo>
                    <a:pt x="571" y="1932"/>
                  </a:lnTo>
                  <a:lnTo>
                    <a:pt x="572" y="1928"/>
                  </a:lnTo>
                  <a:lnTo>
                    <a:pt x="574" y="1927"/>
                  </a:lnTo>
                  <a:lnTo>
                    <a:pt x="574" y="1925"/>
                  </a:lnTo>
                  <a:lnTo>
                    <a:pt x="569" y="1923"/>
                  </a:lnTo>
                  <a:lnTo>
                    <a:pt x="572" y="1917"/>
                  </a:lnTo>
                  <a:lnTo>
                    <a:pt x="573" y="1917"/>
                  </a:lnTo>
                  <a:lnTo>
                    <a:pt x="576" y="1919"/>
                  </a:lnTo>
                  <a:lnTo>
                    <a:pt x="583" y="1921"/>
                  </a:lnTo>
                  <a:lnTo>
                    <a:pt x="587" y="1920"/>
                  </a:lnTo>
                  <a:lnTo>
                    <a:pt x="594" y="1915"/>
                  </a:lnTo>
                  <a:lnTo>
                    <a:pt x="596" y="1905"/>
                  </a:lnTo>
                  <a:lnTo>
                    <a:pt x="594" y="1904"/>
                  </a:lnTo>
                  <a:lnTo>
                    <a:pt x="591" y="1904"/>
                  </a:lnTo>
                  <a:lnTo>
                    <a:pt x="584" y="1905"/>
                  </a:lnTo>
                  <a:lnTo>
                    <a:pt x="577" y="1907"/>
                  </a:lnTo>
                  <a:lnTo>
                    <a:pt x="572" y="1903"/>
                  </a:lnTo>
                  <a:lnTo>
                    <a:pt x="572" y="1900"/>
                  </a:lnTo>
                  <a:lnTo>
                    <a:pt x="574" y="1900"/>
                  </a:lnTo>
                  <a:lnTo>
                    <a:pt x="574" y="1899"/>
                  </a:lnTo>
                  <a:lnTo>
                    <a:pt x="571" y="1896"/>
                  </a:lnTo>
                  <a:lnTo>
                    <a:pt x="572" y="1888"/>
                  </a:lnTo>
                  <a:lnTo>
                    <a:pt x="568" y="1884"/>
                  </a:lnTo>
                  <a:lnTo>
                    <a:pt x="566" y="1879"/>
                  </a:lnTo>
                  <a:lnTo>
                    <a:pt x="568" y="1874"/>
                  </a:lnTo>
                  <a:lnTo>
                    <a:pt x="572" y="1870"/>
                  </a:lnTo>
                  <a:lnTo>
                    <a:pt x="571" y="1866"/>
                  </a:lnTo>
                  <a:lnTo>
                    <a:pt x="571" y="1862"/>
                  </a:lnTo>
                  <a:lnTo>
                    <a:pt x="574" y="1862"/>
                  </a:lnTo>
                  <a:lnTo>
                    <a:pt x="576" y="1858"/>
                  </a:lnTo>
                  <a:lnTo>
                    <a:pt x="571" y="1853"/>
                  </a:lnTo>
                  <a:lnTo>
                    <a:pt x="568" y="1846"/>
                  </a:lnTo>
                  <a:lnTo>
                    <a:pt x="565" y="1843"/>
                  </a:lnTo>
                  <a:lnTo>
                    <a:pt x="563" y="1840"/>
                  </a:lnTo>
                  <a:lnTo>
                    <a:pt x="561" y="1840"/>
                  </a:lnTo>
                  <a:lnTo>
                    <a:pt x="557" y="1840"/>
                  </a:lnTo>
                  <a:lnTo>
                    <a:pt x="552" y="1840"/>
                  </a:lnTo>
                  <a:lnTo>
                    <a:pt x="549" y="1836"/>
                  </a:lnTo>
                  <a:lnTo>
                    <a:pt x="548" y="1833"/>
                  </a:lnTo>
                  <a:lnTo>
                    <a:pt x="551" y="1830"/>
                  </a:lnTo>
                  <a:lnTo>
                    <a:pt x="554" y="1824"/>
                  </a:lnTo>
                  <a:lnTo>
                    <a:pt x="551" y="1820"/>
                  </a:lnTo>
                  <a:lnTo>
                    <a:pt x="551" y="1812"/>
                  </a:lnTo>
                  <a:lnTo>
                    <a:pt x="555" y="1808"/>
                  </a:lnTo>
                  <a:lnTo>
                    <a:pt x="555" y="1807"/>
                  </a:lnTo>
                  <a:lnTo>
                    <a:pt x="551" y="1807"/>
                  </a:lnTo>
                  <a:lnTo>
                    <a:pt x="551" y="1804"/>
                  </a:lnTo>
                  <a:lnTo>
                    <a:pt x="554" y="1801"/>
                  </a:lnTo>
                  <a:lnTo>
                    <a:pt x="549" y="1795"/>
                  </a:lnTo>
                  <a:lnTo>
                    <a:pt x="554" y="1791"/>
                  </a:lnTo>
                  <a:lnTo>
                    <a:pt x="552" y="1790"/>
                  </a:lnTo>
                  <a:lnTo>
                    <a:pt x="548" y="1790"/>
                  </a:lnTo>
                  <a:lnTo>
                    <a:pt x="546" y="1791"/>
                  </a:lnTo>
                  <a:lnTo>
                    <a:pt x="543" y="1791"/>
                  </a:lnTo>
                  <a:lnTo>
                    <a:pt x="540" y="1790"/>
                  </a:lnTo>
                  <a:lnTo>
                    <a:pt x="533" y="1787"/>
                  </a:lnTo>
                  <a:lnTo>
                    <a:pt x="533" y="1783"/>
                  </a:lnTo>
                  <a:lnTo>
                    <a:pt x="533" y="1780"/>
                  </a:lnTo>
                  <a:lnTo>
                    <a:pt x="536" y="1776"/>
                  </a:lnTo>
                  <a:lnTo>
                    <a:pt x="540" y="1774"/>
                  </a:lnTo>
                  <a:lnTo>
                    <a:pt x="540" y="1771"/>
                  </a:lnTo>
                  <a:lnTo>
                    <a:pt x="537" y="1768"/>
                  </a:lnTo>
                  <a:lnTo>
                    <a:pt x="536" y="1765"/>
                  </a:lnTo>
                  <a:lnTo>
                    <a:pt x="524" y="1762"/>
                  </a:lnTo>
                  <a:lnTo>
                    <a:pt x="521" y="1761"/>
                  </a:lnTo>
                  <a:lnTo>
                    <a:pt x="515" y="1754"/>
                  </a:lnTo>
                  <a:lnTo>
                    <a:pt x="516" y="1749"/>
                  </a:lnTo>
                  <a:lnTo>
                    <a:pt x="515" y="1745"/>
                  </a:lnTo>
                  <a:lnTo>
                    <a:pt x="515" y="1741"/>
                  </a:lnTo>
                  <a:lnTo>
                    <a:pt x="496" y="1733"/>
                  </a:lnTo>
                  <a:lnTo>
                    <a:pt x="493" y="1731"/>
                  </a:lnTo>
                  <a:lnTo>
                    <a:pt x="491" y="1728"/>
                  </a:lnTo>
                  <a:lnTo>
                    <a:pt x="497" y="1722"/>
                  </a:lnTo>
                  <a:lnTo>
                    <a:pt x="498" y="1718"/>
                  </a:lnTo>
                  <a:lnTo>
                    <a:pt x="493" y="1709"/>
                  </a:lnTo>
                  <a:lnTo>
                    <a:pt x="490" y="1708"/>
                  </a:lnTo>
                  <a:lnTo>
                    <a:pt x="484" y="1711"/>
                  </a:lnTo>
                  <a:lnTo>
                    <a:pt x="480" y="1709"/>
                  </a:lnTo>
                  <a:lnTo>
                    <a:pt x="474" y="1712"/>
                  </a:lnTo>
                  <a:lnTo>
                    <a:pt x="469" y="1716"/>
                  </a:lnTo>
                  <a:lnTo>
                    <a:pt x="465" y="1713"/>
                  </a:lnTo>
                  <a:lnTo>
                    <a:pt x="463" y="1709"/>
                  </a:lnTo>
                  <a:lnTo>
                    <a:pt x="465" y="1704"/>
                  </a:lnTo>
                  <a:lnTo>
                    <a:pt x="462" y="1701"/>
                  </a:lnTo>
                  <a:lnTo>
                    <a:pt x="462" y="1697"/>
                  </a:lnTo>
                  <a:lnTo>
                    <a:pt x="463" y="1693"/>
                  </a:lnTo>
                  <a:lnTo>
                    <a:pt x="452" y="1688"/>
                  </a:lnTo>
                  <a:lnTo>
                    <a:pt x="451" y="1684"/>
                  </a:lnTo>
                  <a:lnTo>
                    <a:pt x="449" y="1683"/>
                  </a:lnTo>
                  <a:lnTo>
                    <a:pt x="449" y="1678"/>
                  </a:lnTo>
                  <a:lnTo>
                    <a:pt x="447" y="1674"/>
                  </a:lnTo>
                  <a:lnTo>
                    <a:pt x="444" y="1671"/>
                  </a:lnTo>
                  <a:lnTo>
                    <a:pt x="438" y="1669"/>
                  </a:lnTo>
                  <a:lnTo>
                    <a:pt x="431" y="1664"/>
                  </a:lnTo>
                  <a:lnTo>
                    <a:pt x="427" y="1664"/>
                  </a:lnTo>
                  <a:lnTo>
                    <a:pt x="424" y="1661"/>
                  </a:lnTo>
                  <a:lnTo>
                    <a:pt x="424" y="1658"/>
                  </a:lnTo>
                  <a:lnTo>
                    <a:pt x="427" y="1655"/>
                  </a:lnTo>
                  <a:lnTo>
                    <a:pt x="426" y="1652"/>
                  </a:lnTo>
                  <a:lnTo>
                    <a:pt x="427" y="1646"/>
                  </a:lnTo>
                  <a:lnTo>
                    <a:pt x="429" y="1644"/>
                  </a:lnTo>
                  <a:lnTo>
                    <a:pt x="431" y="1643"/>
                  </a:lnTo>
                  <a:lnTo>
                    <a:pt x="429" y="1639"/>
                  </a:lnTo>
                  <a:lnTo>
                    <a:pt x="427" y="1633"/>
                  </a:lnTo>
                  <a:lnTo>
                    <a:pt x="424" y="1630"/>
                  </a:lnTo>
                  <a:lnTo>
                    <a:pt x="422" y="1626"/>
                  </a:lnTo>
                  <a:lnTo>
                    <a:pt x="420" y="1625"/>
                  </a:lnTo>
                  <a:lnTo>
                    <a:pt x="423" y="1618"/>
                  </a:lnTo>
                  <a:lnTo>
                    <a:pt x="423" y="1616"/>
                  </a:lnTo>
                  <a:lnTo>
                    <a:pt x="419" y="1614"/>
                  </a:lnTo>
                  <a:lnTo>
                    <a:pt x="417" y="1613"/>
                  </a:lnTo>
                  <a:lnTo>
                    <a:pt x="416" y="1607"/>
                  </a:lnTo>
                  <a:lnTo>
                    <a:pt x="419" y="1604"/>
                  </a:lnTo>
                  <a:lnTo>
                    <a:pt x="419" y="1602"/>
                  </a:lnTo>
                  <a:lnTo>
                    <a:pt x="417" y="1600"/>
                  </a:lnTo>
                  <a:lnTo>
                    <a:pt x="412" y="1599"/>
                  </a:lnTo>
                  <a:lnTo>
                    <a:pt x="406" y="1592"/>
                  </a:lnTo>
                  <a:lnTo>
                    <a:pt x="402" y="1581"/>
                  </a:lnTo>
                  <a:lnTo>
                    <a:pt x="392" y="1576"/>
                  </a:lnTo>
                  <a:lnTo>
                    <a:pt x="389" y="1571"/>
                  </a:lnTo>
                  <a:lnTo>
                    <a:pt x="391" y="1567"/>
                  </a:lnTo>
                  <a:lnTo>
                    <a:pt x="394" y="1563"/>
                  </a:lnTo>
                  <a:lnTo>
                    <a:pt x="391" y="1555"/>
                  </a:lnTo>
                  <a:lnTo>
                    <a:pt x="388" y="1555"/>
                  </a:lnTo>
                  <a:lnTo>
                    <a:pt x="387" y="1555"/>
                  </a:lnTo>
                  <a:lnTo>
                    <a:pt x="377" y="1562"/>
                  </a:lnTo>
                  <a:lnTo>
                    <a:pt x="373" y="1563"/>
                  </a:lnTo>
                  <a:lnTo>
                    <a:pt x="356" y="1559"/>
                  </a:lnTo>
                  <a:lnTo>
                    <a:pt x="351" y="1548"/>
                  </a:lnTo>
                  <a:lnTo>
                    <a:pt x="338" y="1540"/>
                  </a:lnTo>
                  <a:lnTo>
                    <a:pt x="337" y="1537"/>
                  </a:lnTo>
                  <a:lnTo>
                    <a:pt x="338" y="1531"/>
                  </a:lnTo>
                  <a:lnTo>
                    <a:pt x="330" y="1518"/>
                  </a:lnTo>
                  <a:lnTo>
                    <a:pt x="312" y="1510"/>
                  </a:lnTo>
                  <a:lnTo>
                    <a:pt x="302" y="1500"/>
                  </a:lnTo>
                  <a:lnTo>
                    <a:pt x="294" y="1500"/>
                  </a:lnTo>
                  <a:lnTo>
                    <a:pt x="277" y="1487"/>
                  </a:lnTo>
                  <a:lnTo>
                    <a:pt x="274" y="1481"/>
                  </a:lnTo>
                  <a:lnTo>
                    <a:pt x="274" y="1478"/>
                  </a:lnTo>
                  <a:lnTo>
                    <a:pt x="277" y="1473"/>
                  </a:lnTo>
                  <a:lnTo>
                    <a:pt x="274" y="1469"/>
                  </a:lnTo>
                  <a:lnTo>
                    <a:pt x="272" y="1465"/>
                  </a:lnTo>
                  <a:lnTo>
                    <a:pt x="263" y="1468"/>
                  </a:lnTo>
                  <a:lnTo>
                    <a:pt x="261" y="1464"/>
                  </a:lnTo>
                  <a:lnTo>
                    <a:pt x="261" y="1456"/>
                  </a:lnTo>
                  <a:lnTo>
                    <a:pt x="266" y="1451"/>
                  </a:lnTo>
                  <a:lnTo>
                    <a:pt x="269" y="1447"/>
                  </a:lnTo>
                  <a:lnTo>
                    <a:pt x="264" y="1443"/>
                  </a:lnTo>
                  <a:lnTo>
                    <a:pt x="252" y="1439"/>
                  </a:lnTo>
                  <a:lnTo>
                    <a:pt x="248" y="1438"/>
                  </a:lnTo>
                  <a:lnTo>
                    <a:pt x="247" y="1435"/>
                  </a:lnTo>
                  <a:lnTo>
                    <a:pt x="241" y="1428"/>
                  </a:lnTo>
                  <a:lnTo>
                    <a:pt x="241" y="1426"/>
                  </a:lnTo>
                  <a:lnTo>
                    <a:pt x="237" y="1417"/>
                  </a:lnTo>
                  <a:lnTo>
                    <a:pt x="238" y="1413"/>
                  </a:lnTo>
                  <a:lnTo>
                    <a:pt x="237" y="1409"/>
                  </a:lnTo>
                  <a:lnTo>
                    <a:pt x="231" y="1406"/>
                  </a:lnTo>
                  <a:lnTo>
                    <a:pt x="219" y="1406"/>
                  </a:lnTo>
                  <a:lnTo>
                    <a:pt x="209" y="1405"/>
                  </a:lnTo>
                  <a:lnTo>
                    <a:pt x="203" y="1398"/>
                  </a:lnTo>
                  <a:lnTo>
                    <a:pt x="197" y="1393"/>
                  </a:lnTo>
                  <a:lnTo>
                    <a:pt x="189" y="1390"/>
                  </a:lnTo>
                  <a:lnTo>
                    <a:pt x="183" y="1385"/>
                  </a:lnTo>
                  <a:lnTo>
                    <a:pt x="174" y="1381"/>
                  </a:lnTo>
                  <a:lnTo>
                    <a:pt x="163" y="1378"/>
                  </a:lnTo>
                  <a:lnTo>
                    <a:pt x="159" y="1368"/>
                  </a:lnTo>
                  <a:lnTo>
                    <a:pt x="142" y="1370"/>
                  </a:lnTo>
                  <a:lnTo>
                    <a:pt x="137" y="1375"/>
                  </a:lnTo>
                  <a:lnTo>
                    <a:pt x="134" y="1375"/>
                  </a:lnTo>
                  <a:lnTo>
                    <a:pt x="131" y="1368"/>
                  </a:lnTo>
                  <a:lnTo>
                    <a:pt x="129" y="1357"/>
                  </a:lnTo>
                  <a:lnTo>
                    <a:pt x="125" y="1351"/>
                  </a:lnTo>
                  <a:lnTo>
                    <a:pt x="125" y="1348"/>
                  </a:lnTo>
                  <a:lnTo>
                    <a:pt x="123" y="1344"/>
                  </a:lnTo>
                  <a:lnTo>
                    <a:pt x="120" y="1341"/>
                  </a:lnTo>
                  <a:lnTo>
                    <a:pt x="118" y="1339"/>
                  </a:lnTo>
                  <a:lnTo>
                    <a:pt x="117" y="1339"/>
                  </a:lnTo>
                  <a:lnTo>
                    <a:pt x="117" y="1340"/>
                  </a:lnTo>
                  <a:lnTo>
                    <a:pt x="114" y="1339"/>
                  </a:lnTo>
                  <a:lnTo>
                    <a:pt x="114" y="1332"/>
                  </a:lnTo>
                  <a:lnTo>
                    <a:pt x="112" y="1331"/>
                  </a:lnTo>
                  <a:lnTo>
                    <a:pt x="110" y="1327"/>
                  </a:lnTo>
                  <a:lnTo>
                    <a:pt x="107" y="1323"/>
                  </a:lnTo>
                  <a:lnTo>
                    <a:pt x="107" y="1318"/>
                  </a:lnTo>
                  <a:lnTo>
                    <a:pt x="104" y="1316"/>
                  </a:lnTo>
                  <a:lnTo>
                    <a:pt x="104" y="1313"/>
                  </a:lnTo>
                  <a:lnTo>
                    <a:pt x="100" y="1313"/>
                  </a:lnTo>
                  <a:lnTo>
                    <a:pt x="102" y="1310"/>
                  </a:lnTo>
                  <a:lnTo>
                    <a:pt x="100" y="1310"/>
                  </a:lnTo>
                  <a:lnTo>
                    <a:pt x="98" y="1310"/>
                  </a:lnTo>
                  <a:lnTo>
                    <a:pt x="96" y="1304"/>
                  </a:lnTo>
                  <a:lnTo>
                    <a:pt x="98" y="1297"/>
                  </a:lnTo>
                  <a:lnTo>
                    <a:pt x="92" y="1293"/>
                  </a:lnTo>
                  <a:lnTo>
                    <a:pt x="85" y="1288"/>
                  </a:lnTo>
                  <a:lnTo>
                    <a:pt x="89" y="1285"/>
                  </a:lnTo>
                  <a:lnTo>
                    <a:pt x="88" y="1281"/>
                  </a:lnTo>
                  <a:lnTo>
                    <a:pt x="91" y="1274"/>
                  </a:lnTo>
                  <a:lnTo>
                    <a:pt x="96" y="1274"/>
                  </a:lnTo>
                  <a:lnTo>
                    <a:pt x="93" y="1269"/>
                  </a:lnTo>
                  <a:lnTo>
                    <a:pt x="99" y="1265"/>
                  </a:lnTo>
                  <a:lnTo>
                    <a:pt x="98" y="1260"/>
                  </a:lnTo>
                  <a:lnTo>
                    <a:pt x="102" y="1256"/>
                  </a:lnTo>
                  <a:lnTo>
                    <a:pt x="100" y="1248"/>
                  </a:lnTo>
                  <a:lnTo>
                    <a:pt x="104" y="1245"/>
                  </a:lnTo>
                  <a:lnTo>
                    <a:pt x="106" y="1241"/>
                  </a:lnTo>
                  <a:lnTo>
                    <a:pt x="104" y="1237"/>
                  </a:lnTo>
                  <a:lnTo>
                    <a:pt x="109" y="1229"/>
                  </a:lnTo>
                  <a:lnTo>
                    <a:pt x="110" y="1224"/>
                  </a:lnTo>
                  <a:lnTo>
                    <a:pt x="113" y="1222"/>
                  </a:lnTo>
                  <a:lnTo>
                    <a:pt x="114" y="1212"/>
                  </a:lnTo>
                  <a:lnTo>
                    <a:pt x="117" y="1207"/>
                  </a:lnTo>
                  <a:lnTo>
                    <a:pt x="116" y="1203"/>
                  </a:lnTo>
                  <a:lnTo>
                    <a:pt x="118" y="1202"/>
                  </a:lnTo>
                  <a:lnTo>
                    <a:pt x="117" y="1199"/>
                  </a:lnTo>
                  <a:lnTo>
                    <a:pt x="121" y="1197"/>
                  </a:lnTo>
                  <a:lnTo>
                    <a:pt x="117" y="1192"/>
                  </a:lnTo>
                  <a:lnTo>
                    <a:pt x="117" y="1189"/>
                  </a:lnTo>
                  <a:lnTo>
                    <a:pt x="117" y="1187"/>
                  </a:lnTo>
                  <a:lnTo>
                    <a:pt x="123" y="1179"/>
                  </a:lnTo>
                  <a:lnTo>
                    <a:pt x="121" y="1177"/>
                  </a:lnTo>
                  <a:lnTo>
                    <a:pt x="116" y="1170"/>
                  </a:lnTo>
                  <a:lnTo>
                    <a:pt x="120" y="1166"/>
                  </a:lnTo>
                  <a:lnTo>
                    <a:pt x="120" y="1162"/>
                  </a:lnTo>
                  <a:lnTo>
                    <a:pt x="125" y="1154"/>
                  </a:lnTo>
                  <a:lnTo>
                    <a:pt x="124" y="1153"/>
                  </a:lnTo>
                  <a:lnTo>
                    <a:pt x="127" y="1150"/>
                  </a:lnTo>
                  <a:lnTo>
                    <a:pt x="125" y="1148"/>
                  </a:lnTo>
                  <a:lnTo>
                    <a:pt x="125" y="1147"/>
                  </a:lnTo>
                  <a:lnTo>
                    <a:pt x="129" y="1145"/>
                  </a:lnTo>
                  <a:lnTo>
                    <a:pt x="134" y="1149"/>
                  </a:lnTo>
                  <a:lnTo>
                    <a:pt x="137" y="1149"/>
                  </a:lnTo>
                  <a:lnTo>
                    <a:pt x="148" y="1141"/>
                  </a:lnTo>
                  <a:lnTo>
                    <a:pt x="152" y="1140"/>
                  </a:lnTo>
                  <a:lnTo>
                    <a:pt x="155" y="1140"/>
                  </a:lnTo>
                  <a:lnTo>
                    <a:pt x="163" y="1145"/>
                  </a:lnTo>
                  <a:lnTo>
                    <a:pt x="170" y="1145"/>
                  </a:lnTo>
                  <a:lnTo>
                    <a:pt x="174" y="1149"/>
                  </a:lnTo>
                  <a:lnTo>
                    <a:pt x="178" y="1148"/>
                  </a:lnTo>
                  <a:lnTo>
                    <a:pt x="180" y="1145"/>
                  </a:lnTo>
                  <a:lnTo>
                    <a:pt x="180" y="1144"/>
                  </a:lnTo>
                  <a:lnTo>
                    <a:pt x="173" y="1140"/>
                  </a:lnTo>
                  <a:lnTo>
                    <a:pt x="171" y="1132"/>
                  </a:lnTo>
                  <a:lnTo>
                    <a:pt x="164" y="1127"/>
                  </a:lnTo>
                  <a:lnTo>
                    <a:pt x="166" y="1123"/>
                  </a:lnTo>
                  <a:lnTo>
                    <a:pt x="162" y="1117"/>
                  </a:lnTo>
                  <a:lnTo>
                    <a:pt x="160" y="1110"/>
                  </a:lnTo>
                  <a:lnTo>
                    <a:pt x="160" y="1103"/>
                  </a:lnTo>
                  <a:lnTo>
                    <a:pt x="160" y="1098"/>
                  </a:lnTo>
                  <a:lnTo>
                    <a:pt x="157" y="1097"/>
                  </a:lnTo>
                  <a:lnTo>
                    <a:pt x="156" y="1094"/>
                  </a:lnTo>
                  <a:lnTo>
                    <a:pt x="156" y="1087"/>
                  </a:lnTo>
                  <a:lnTo>
                    <a:pt x="164" y="1073"/>
                  </a:lnTo>
                  <a:lnTo>
                    <a:pt x="164" y="1070"/>
                  </a:lnTo>
                  <a:lnTo>
                    <a:pt x="167" y="1067"/>
                  </a:lnTo>
                  <a:lnTo>
                    <a:pt x="170" y="1065"/>
                  </a:lnTo>
                  <a:lnTo>
                    <a:pt x="170" y="1063"/>
                  </a:lnTo>
                  <a:lnTo>
                    <a:pt x="167" y="1061"/>
                  </a:lnTo>
                  <a:lnTo>
                    <a:pt x="170" y="1060"/>
                  </a:lnTo>
                  <a:lnTo>
                    <a:pt x="170" y="1055"/>
                  </a:lnTo>
                  <a:lnTo>
                    <a:pt x="166" y="1049"/>
                  </a:lnTo>
                  <a:lnTo>
                    <a:pt x="156" y="1048"/>
                  </a:lnTo>
                  <a:lnTo>
                    <a:pt x="145" y="1038"/>
                  </a:lnTo>
                  <a:lnTo>
                    <a:pt x="137" y="1035"/>
                  </a:lnTo>
                  <a:lnTo>
                    <a:pt x="135" y="1032"/>
                  </a:lnTo>
                  <a:lnTo>
                    <a:pt x="137" y="1029"/>
                  </a:lnTo>
                  <a:lnTo>
                    <a:pt x="135" y="1028"/>
                  </a:lnTo>
                  <a:lnTo>
                    <a:pt x="135" y="1020"/>
                  </a:lnTo>
                  <a:lnTo>
                    <a:pt x="134" y="1018"/>
                  </a:lnTo>
                  <a:lnTo>
                    <a:pt x="134" y="1012"/>
                  </a:lnTo>
                  <a:lnTo>
                    <a:pt x="139" y="1007"/>
                  </a:lnTo>
                  <a:lnTo>
                    <a:pt x="141" y="998"/>
                  </a:lnTo>
                  <a:lnTo>
                    <a:pt x="143" y="993"/>
                  </a:lnTo>
                  <a:lnTo>
                    <a:pt x="142" y="990"/>
                  </a:lnTo>
                  <a:lnTo>
                    <a:pt x="143" y="984"/>
                  </a:lnTo>
                  <a:lnTo>
                    <a:pt x="146" y="979"/>
                  </a:lnTo>
                  <a:lnTo>
                    <a:pt x="143" y="970"/>
                  </a:lnTo>
                  <a:lnTo>
                    <a:pt x="143" y="962"/>
                  </a:lnTo>
                  <a:lnTo>
                    <a:pt x="145" y="961"/>
                  </a:lnTo>
                  <a:lnTo>
                    <a:pt x="157" y="961"/>
                  </a:lnTo>
                  <a:lnTo>
                    <a:pt x="160" y="958"/>
                  </a:lnTo>
                  <a:lnTo>
                    <a:pt x="162" y="954"/>
                  </a:lnTo>
                  <a:lnTo>
                    <a:pt x="163" y="949"/>
                  </a:lnTo>
                  <a:lnTo>
                    <a:pt x="162" y="945"/>
                  </a:lnTo>
                  <a:lnTo>
                    <a:pt x="163" y="941"/>
                  </a:lnTo>
                  <a:lnTo>
                    <a:pt x="162" y="938"/>
                  </a:lnTo>
                  <a:lnTo>
                    <a:pt x="159" y="933"/>
                  </a:lnTo>
                  <a:lnTo>
                    <a:pt x="160" y="926"/>
                  </a:lnTo>
                  <a:lnTo>
                    <a:pt x="157" y="923"/>
                  </a:lnTo>
                  <a:lnTo>
                    <a:pt x="157" y="921"/>
                  </a:lnTo>
                  <a:lnTo>
                    <a:pt x="155" y="918"/>
                  </a:lnTo>
                  <a:lnTo>
                    <a:pt x="153" y="914"/>
                  </a:lnTo>
                  <a:lnTo>
                    <a:pt x="151" y="911"/>
                  </a:lnTo>
                  <a:lnTo>
                    <a:pt x="141" y="909"/>
                  </a:lnTo>
                  <a:lnTo>
                    <a:pt x="137" y="905"/>
                  </a:lnTo>
                  <a:lnTo>
                    <a:pt x="135" y="900"/>
                  </a:lnTo>
                  <a:lnTo>
                    <a:pt x="137" y="896"/>
                  </a:lnTo>
                  <a:lnTo>
                    <a:pt x="138" y="892"/>
                  </a:lnTo>
                  <a:lnTo>
                    <a:pt x="132" y="887"/>
                  </a:lnTo>
                  <a:lnTo>
                    <a:pt x="134" y="883"/>
                  </a:lnTo>
                  <a:lnTo>
                    <a:pt x="132" y="872"/>
                  </a:lnTo>
                  <a:lnTo>
                    <a:pt x="134" y="868"/>
                  </a:lnTo>
                  <a:lnTo>
                    <a:pt x="139" y="862"/>
                  </a:lnTo>
                  <a:lnTo>
                    <a:pt x="146" y="841"/>
                  </a:lnTo>
                  <a:lnTo>
                    <a:pt x="104" y="824"/>
                  </a:lnTo>
                  <a:lnTo>
                    <a:pt x="75" y="799"/>
                  </a:lnTo>
                  <a:lnTo>
                    <a:pt x="70" y="789"/>
                  </a:lnTo>
                  <a:lnTo>
                    <a:pt x="28" y="726"/>
                  </a:lnTo>
                  <a:lnTo>
                    <a:pt x="6" y="671"/>
                  </a:lnTo>
                  <a:lnTo>
                    <a:pt x="7" y="663"/>
                  </a:lnTo>
                  <a:lnTo>
                    <a:pt x="24" y="631"/>
                  </a:lnTo>
                  <a:lnTo>
                    <a:pt x="7" y="597"/>
                  </a:lnTo>
                  <a:lnTo>
                    <a:pt x="0" y="586"/>
                  </a:lnTo>
                  <a:lnTo>
                    <a:pt x="21" y="533"/>
                  </a:lnTo>
                  <a:lnTo>
                    <a:pt x="27" y="531"/>
                  </a:lnTo>
                  <a:lnTo>
                    <a:pt x="32" y="535"/>
                  </a:lnTo>
                  <a:lnTo>
                    <a:pt x="35" y="534"/>
                  </a:lnTo>
                  <a:lnTo>
                    <a:pt x="38" y="530"/>
                  </a:lnTo>
                  <a:lnTo>
                    <a:pt x="35" y="516"/>
                  </a:lnTo>
                  <a:lnTo>
                    <a:pt x="39" y="507"/>
                  </a:lnTo>
                  <a:lnTo>
                    <a:pt x="43" y="503"/>
                  </a:lnTo>
                  <a:lnTo>
                    <a:pt x="60" y="499"/>
                  </a:lnTo>
                  <a:lnTo>
                    <a:pt x="66" y="491"/>
                  </a:lnTo>
                  <a:lnTo>
                    <a:pt x="64" y="485"/>
                  </a:lnTo>
                  <a:lnTo>
                    <a:pt x="59" y="472"/>
                  </a:lnTo>
                  <a:lnTo>
                    <a:pt x="60" y="465"/>
                  </a:lnTo>
                  <a:lnTo>
                    <a:pt x="63" y="461"/>
                  </a:lnTo>
                  <a:lnTo>
                    <a:pt x="77" y="461"/>
                  </a:lnTo>
                  <a:lnTo>
                    <a:pt x="84" y="457"/>
                  </a:lnTo>
                  <a:lnTo>
                    <a:pt x="85" y="463"/>
                  </a:lnTo>
                  <a:lnTo>
                    <a:pt x="91" y="463"/>
                  </a:lnTo>
                  <a:lnTo>
                    <a:pt x="109" y="440"/>
                  </a:lnTo>
                  <a:lnTo>
                    <a:pt x="121" y="437"/>
                  </a:lnTo>
                  <a:lnTo>
                    <a:pt x="129" y="432"/>
                  </a:lnTo>
                  <a:lnTo>
                    <a:pt x="132" y="431"/>
                  </a:lnTo>
                  <a:lnTo>
                    <a:pt x="137" y="419"/>
                  </a:lnTo>
                  <a:lnTo>
                    <a:pt x="148" y="414"/>
                  </a:lnTo>
                  <a:lnTo>
                    <a:pt x="152" y="412"/>
                  </a:lnTo>
                  <a:lnTo>
                    <a:pt x="156" y="412"/>
                  </a:lnTo>
                  <a:lnTo>
                    <a:pt x="159" y="414"/>
                  </a:lnTo>
                  <a:lnTo>
                    <a:pt x="162" y="416"/>
                  </a:lnTo>
                  <a:lnTo>
                    <a:pt x="164" y="416"/>
                  </a:lnTo>
                  <a:lnTo>
                    <a:pt x="170" y="415"/>
                  </a:lnTo>
                  <a:lnTo>
                    <a:pt x="174" y="412"/>
                  </a:lnTo>
                  <a:lnTo>
                    <a:pt x="180" y="416"/>
                  </a:lnTo>
                  <a:lnTo>
                    <a:pt x="184" y="416"/>
                  </a:lnTo>
                  <a:lnTo>
                    <a:pt x="194" y="409"/>
                  </a:lnTo>
                  <a:lnTo>
                    <a:pt x="203" y="404"/>
                  </a:lnTo>
                  <a:lnTo>
                    <a:pt x="209" y="402"/>
                  </a:lnTo>
                  <a:lnTo>
                    <a:pt x="219" y="397"/>
                  </a:lnTo>
                  <a:lnTo>
                    <a:pt x="220" y="395"/>
                  </a:lnTo>
                  <a:lnTo>
                    <a:pt x="223" y="398"/>
                  </a:lnTo>
                  <a:lnTo>
                    <a:pt x="224" y="398"/>
                  </a:lnTo>
                  <a:lnTo>
                    <a:pt x="234" y="390"/>
                  </a:lnTo>
                  <a:lnTo>
                    <a:pt x="237" y="391"/>
                  </a:lnTo>
                  <a:lnTo>
                    <a:pt x="239" y="391"/>
                  </a:lnTo>
                  <a:lnTo>
                    <a:pt x="244" y="379"/>
                  </a:lnTo>
                  <a:lnTo>
                    <a:pt x="242" y="376"/>
                  </a:lnTo>
                  <a:lnTo>
                    <a:pt x="244" y="373"/>
                  </a:lnTo>
                  <a:lnTo>
                    <a:pt x="249" y="367"/>
                  </a:lnTo>
                  <a:lnTo>
                    <a:pt x="255" y="367"/>
                  </a:lnTo>
                  <a:lnTo>
                    <a:pt x="261" y="364"/>
                  </a:lnTo>
                  <a:lnTo>
                    <a:pt x="266" y="353"/>
                  </a:lnTo>
                  <a:lnTo>
                    <a:pt x="270" y="352"/>
                  </a:lnTo>
                  <a:lnTo>
                    <a:pt x="272" y="348"/>
                  </a:lnTo>
                  <a:lnTo>
                    <a:pt x="283" y="342"/>
                  </a:lnTo>
                  <a:lnTo>
                    <a:pt x="289" y="341"/>
                  </a:lnTo>
                  <a:lnTo>
                    <a:pt x="291" y="339"/>
                  </a:lnTo>
                  <a:lnTo>
                    <a:pt x="302" y="337"/>
                  </a:lnTo>
                  <a:lnTo>
                    <a:pt x="303" y="337"/>
                  </a:lnTo>
                  <a:lnTo>
                    <a:pt x="306" y="339"/>
                  </a:lnTo>
                  <a:lnTo>
                    <a:pt x="313" y="339"/>
                  </a:lnTo>
                  <a:lnTo>
                    <a:pt x="316" y="342"/>
                  </a:lnTo>
                  <a:lnTo>
                    <a:pt x="319" y="344"/>
                  </a:lnTo>
                  <a:lnTo>
                    <a:pt x="331" y="342"/>
                  </a:lnTo>
                  <a:lnTo>
                    <a:pt x="337" y="348"/>
                  </a:lnTo>
                  <a:lnTo>
                    <a:pt x="345" y="349"/>
                  </a:lnTo>
                  <a:lnTo>
                    <a:pt x="349" y="350"/>
                  </a:lnTo>
                  <a:lnTo>
                    <a:pt x="361" y="350"/>
                  </a:lnTo>
                  <a:lnTo>
                    <a:pt x="364" y="348"/>
                  </a:lnTo>
                  <a:lnTo>
                    <a:pt x="367" y="347"/>
                  </a:lnTo>
                  <a:lnTo>
                    <a:pt x="370" y="348"/>
                  </a:lnTo>
                  <a:lnTo>
                    <a:pt x="374" y="350"/>
                  </a:lnTo>
                  <a:lnTo>
                    <a:pt x="376" y="350"/>
                  </a:lnTo>
                  <a:lnTo>
                    <a:pt x="386" y="348"/>
                  </a:lnTo>
                  <a:lnTo>
                    <a:pt x="391" y="341"/>
                  </a:lnTo>
                  <a:lnTo>
                    <a:pt x="401" y="341"/>
                  </a:lnTo>
                  <a:lnTo>
                    <a:pt x="406" y="344"/>
                  </a:lnTo>
                  <a:lnTo>
                    <a:pt x="405" y="349"/>
                  </a:lnTo>
                  <a:lnTo>
                    <a:pt x="406" y="350"/>
                  </a:lnTo>
                  <a:lnTo>
                    <a:pt x="415" y="353"/>
                  </a:lnTo>
                  <a:lnTo>
                    <a:pt x="422" y="356"/>
                  </a:lnTo>
                  <a:lnTo>
                    <a:pt x="427" y="364"/>
                  </a:lnTo>
                  <a:lnTo>
                    <a:pt x="431" y="361"/>
                  </a:lnTo>
                  <a:lnTo>
                    <a:pt x="437" y="361"/>
                  </a:lnTo>
                  <a:lnTo>
                    <a:pt x="440" y="366"/>
                  </a:lnTo>
                  <a:lnTo>
                    <a:pt x="445" y="365"/>
                  </a:lnTo>
                  <a:lnTo>
                    <a:pt x="452" y="370"/>
                  </a:lnTo>
                  <a:lnTo>
                    <a:pt x="458" y="372"/>
                  </a:lnTo>
                  <a:lnTo>
                    <a:pt x="463" y="376"/>
                  </a:lnTo>
                  <a:lnTo>
                    <a:pt x="466" y="374"/>
                  </a:lnTo>
                  <a:lnTo>
                    <a:pt x="474" y="367"/>
                  </a:lnTo>
                  <a:lnTo>
                    <a:pt x="479" y="369"/>
                  </a:lnTo>
                  <a:lnTo>
                    <a:pt x="486" y="365"/>
                  </a:lnTo>
                  <a:lnTo>
                    <a:pt x="490" y="361"/>
                  </a:lnTo>
                  <a:lnTo>
                    <a:pt x="490" y="356"/>
                  </a:lnTo>
                  <a:lnTo>
                    <a:pt x="490" y="353"/>
                  </a:lnTo>
                  <a:lnTo>
                    <a:pt x="499" y="350"/>
                  </a:lnTo>
                  <a:lnTo>
                    <a:pt x="501" y="345"/>
                  </a:lnTo>
                  <a:lnTo>
                    <a:pt x="507" y="344"/>
                  </a:lnTo>
                  <a:lnTo>
                    <a:pt x="508" y="347"/>
                  </a:lnTo>
                  <a:lnTo>
                    <a:pt x="516" y="348"/>
                  </a:lnTo>
                  <a:lnTo>
                    <a:pt x="523" y="347"/>
                  </a:lnTo>
                  <a:lnTo>
                    <a:pt x="529" y="350"/>
                  </a:lnTo>
                  <a:lnTo>
                    <a:pt x="530" y="350"/>
                  </a:lnTo>
                  <a:lnTo>
                    <a:pt x="532" y="349"/>
                  </a:lnTo>
                  <a:lnTo>
                    <a:pt x="537" y="349"/>
                  </a:lnTo>
                  <a:lnTo>
                    <a:pt x="538" y="353"/>
                  </a:lnTo>
                  <a:lnTo>
                    <a:pt x="544" y="353"/>
                  </a:lnTo>
                  <a:lnTo>
                    <a:pt x="552" y="361"/>
                  </a:lnTo>
                  <a:lnTo>
                    <a:pt x="561" y="364"/>
                  </a:lnTo>
                  <a:lnTo>
                    <a:pt x="561" y="366"/>
                  </a:lnTo>
                  <a:lnTo>
                    <a:pt x="566" y="369"/>
                  </a:lnTo>
                  <a:lnTo>
                    <a:pt x="571" y="366"/>
                  </a:lnTo>
                  <a:lnTo>
                    <a:pt x="580" y="364"/>
                  </a:lnTo>
                  <a:lnTo>
                    <a:pt x="584" y="361"/>
                  </a:lnTo>
                  <a:lnTo>
                    <a:pt x="591" y="361"/>
                  </a:lnTo>
                  <a:lnTo>
                    <a:pt x="596" y="356"/>
                  </a:lnTo>
                  <a:lnTo>
                    <a:pt x="599" y="356"/>
                  </a:lnTo>
                  <a:lnTo>
                    <a:pt x="602" y="357"/>
                  </a:lnTo>
                  <a:lnTo>
                    <a:pt x="605" y="357"/>
                  </a:lnTo>
                  <a:lnTo>
                    <a:pt x="608" y="353"/>
                  </a:lnTo>
                  <a:lnTo>
                    <a:pt x="612" y="352"/>
                  </a:lnTo>
                  <a:lnTo>
                    <a:pt x="612" y="348"/>
                  </a:lnTo>
                  <a:lnTo>
                    <a:pt x="615" y="345"/>
                  </a:lnTo>
                  <a:lnTo>
                    <a:pt x="616" y="344"/>
                  </a:lnTo>
                  <a:lnTo>
                    <a:pt x="615" y="342"/>
                  </a:lnTo>
                  <a:lnTo>
                    <a:pt x="612" y="341"/>
                  </a:lnTo>
                  <a:lnTo>
                    <a:pt x="612" y="337"/>
                  </a:lnTo>
                  <a:lnTo>
                    <a:pt x="613" y="335"/>
                  </a:lnTo>
                  <a:lnTo>
                    <a:pt x="618" y="335"/>
                  </a:lnTo>
                  <a:lnTo>
                    <a:pt x="621" y="333"/>
                  </a:lnTo>
                  <a:lnTo>
                    <a:pt x="622" y="327"/>
                  </a:lnTo>
                  <a:lnTo>
                    <a:pt x="625" y="324"/>
                  </a:lnTo>
                  <a:lnTo>
                    <a:pt x="626" y="316"/>
                  </a:lnTo>
                  <a:lnTo>
                    <a:pt x="625" y="312"/>
                  </a:lnTo>
                  <a:lnTo>
                    <a:pt x="625" y="308"/>
                  </a:lnTo>
                  <a:lnTo>
                    <a:pt x="623" y="304"/>
                  </a:lnTo>
                  <a:lnTo>
                    <a:pt x="623" y="298"/>
                  </a:lnTo>
                  <a:lnTo>
                    <a:pt x="625" y="295"/>
                  </a:lnTo>
                  <a:lnTo>
                    <a:pt x="630" y="294"/>
                  </a:lnTo>
                  <a:lnTo>
                    <a:pt x="632" y="289"/>
                  </a:lnTo>
                  <a:lnTo>
                    <a:pt x="638" y="286"/>
                  </a:lnTo>
                  <a:lnTo>
                    <a:pt x="643" y="282"/>
                  </a:lnTo>
                  <a:lnTo>
                    <a:pt x="646" y="282"/>
                  </a:lnTo>
                  <a:lnTo>
                    <a:pt x="648" y="282"/>
                  </a:lnTo>
                  <a:lnTo>
                    <a:pt x="652" y="286"/>
                  </a:lnTo>
                  <a:lnTo>
                    <a:pt x="676" y="286"/>
                  </a:lnTo>
                  <a:lnTo>
                    <a:pt x="683" y="285"/>
                  </a:lnTo>
                  <a:lnTo>
                    <a:pt x="686" y="282"/>
                  </a:lnTo>
                  <a:lnTo>
                    <a:pt x="687" y="281"/>
                  </a:lnTo>
                  <a:lnTo>
                    <a:pt x="697" y="278"/>
                  </a:lnTo>
                  <a:lnTo>
                    <a:pt x="703" y="278"/>
                  </a:lnTo>
                  <a:lnTo>
                    <a:pt x="707" y="275"/>
                  </a:lnTo>
                  <a:lnTo>
                    <a:pt x="712" y="274"/>
                  </a:lnTo>
                  <a:lnTo>
                    <a:pt x="719" y="275"/>
                  </a:lnTo>
                  <a:lnTo>
                    <a:pt x="725" y="274"/>
                  </a:lnTo>
                  <a:lnTo>
                    <a:pt x="730" y="277"/>
                  </a:lnTo>
                  <a:lnTo>
                    <a:pt x="736" y="277"/>
                  </a:lnTo>
                  <a:lnTo>
                    <a:pt x="746" y="272"/>
                  </a:lnTo>
                  <a:lnTo>
                    <a:pt x="748" y="272"/>
                  </a:lnTo>
                  <a:lnTo>
                    <a:pt x="751" y="267"/>
                  </a:lnTo>
                  <a:lnTo>
                    <a:pt x="754" y="267"/>
                  </a:lnTo>
                  <a:lnTo>
                    <a:pt x="758" y="270"/>
                  </a:lnTo>
                  <a:lnTo>
                    <a:pt x="769" y="267"/>
                  </a:lnTo>
                  <a:lnTo>
                    <a:pt x="772" y="267"/>
                  </a:lnTo>
                  <a:lnTo>
                    <a:pt x="772" y="273"/>
                  </a:lnTo>
                  <a:lnTo>
                    <a:pt x="778" y="274"/>
                  </a:lnTo>
                  <a:lnTo>
                    <a:pt x="782" y="277"/>
                  </a:lnTo>
                  <a:lnTo>
                    <a:pt x="782" y="282"/>
                  </a:lnTo>
                  <a:lnTo>
                    <a:pt x="786" y="290"/>
                  </a:lnTo>
                  <a:lnTo>
                    <a:pt x="789" y="290"/>
                  </a:lnTo>
                  <a:lnTo>
                    <a:pt x="793" y="289"/>
                  </a:lnTo>
                  <a:lnTo>
                    <a:pt x="797" y="285"/>
                  </a:lnTo>
                  <a:lnTo>
                    <a:pt x="801" y="286"/>
                  </a:lnTo>
                  <a:lnTo>
                    <a:pt x="801" y="289"/>
                  </a:lnTo>
                  <a:lnTo>
                    <a:pt x="803" y="289"/>
                  </a:lnTo>
                  <a:lnTo>
                    <a:pt x="808" y="286"/>
                  </a:lnTo>
                  <a:lnTo>
                    <a:pt x="810" y="289"/>
                  </a:lnTo>
                  <a:lnTo>
                    <a:pt x="814" y="289"/>
                  </a:lnTo>
                  <a:lnTo>
                    <a:pt x="826" y="285"/>
                  </a:lnTo>
                  <a:lnTo>
                    <a:pt x="826" y="281"/>
                  </a:lnTo>
                  <a:lnTo>
                    <a:pt x="828" y="278"/>
                  </a:lnTo>
                  <a:lnTo>
                    <a:pt x="836" y="277"/>
                  </a:lnTo>
                  <a:lnTo>
                    <a:pt x="842" y="273"/>
                  </a:lnTo>
                  <a:lnTo>
                    <a:pt x="845" y="260"/>
                  </a:lnTo>
                  <a:lnTo>
                    <a:pt x="847" y="256"/>
                  </a:lnTo>
                  <a:lnTo>
                    <a:pt x="847" y="253"/>
                  </a:lnTo>
                  <a:lnTo>
                    <a:pt x="850" y="250"/>
                  </a:lnTo>
                  <a:lnTo>
                    <a:pt x="854" y="250"/>
                  </a:lnTo>
                  <a:lnTo>
                    <a:pt x="862" y="245"/>
                  </a:lnTo>
                  <a:lnTo>
                    <a:pt x="865" y="245"/>
                  </a:lnTo>
                  <a:lnTo>
                    <a:pt x="868" y="245"/>
                  </a:lnTo>
                  <a:lnTo>
                    <a:pt x="871" y="244"/>
                  </a:lnTo>
                  <a:lnTo>
                    <a:pt x="875" y="245"/>
                  </a:lnTo>
                  <a:lnTo>
                    <a:pt x="876" y="245"/>
                  </a:lnTo>
                  <a:lnTo>
                    <a:pt x="882" y="248"/>
                  </a:lnTo>
                  <a:lnTo>
                    <a:pt x="885" y="250"/>
                  </a:lnTo>
                  <a:lnTo>
                    <a:pt x="889" y="260"/>
                  </a:lnTo>
                  <a:lnTo>
                    <a:pt x="895" y="260"/>
                  </a:lnTo>
                  <a:lnTo>
                    <a:pt x="898" y="262"/>
                  </a:lnTo>
                  <a:lnTo>
                    <a:pt x="900" y="263"/>
                  </a:lnTo>
                  <a:lnTo>
                    <a:pt x="900" y="270"/>
                  </a:lnTo>
                  <a:lnTo>
                    <a:pt x="901" y="273"/>
                  </a:lnTo>
                  <a:lnTo>
                    <a:pt x="907" y="275"/>
                  </a:lnTo>
                  <a:lnTo>
                    <a:pt x="912" y="274"/>
                  </a:lnTo>
                  <a:lnTo>
                    <a:pt x="914" y="274"/>
                  </a:lnTo>
                  <a:lnTo>
                    <a:pt x="918" y="277"/>
                  </a:lnTo>
                  <a:lnTo>
                    <a:pt x="922" y="281"/>
                  </a:lnTo>
                  <a:lnTo>
                    <a:pt x="926" y="282"/>
                  </a:lnTo>
                  <a:lnTo>
                    <a:pt x="931" y="289"/>
                  </a:lnTo>
                  <a:lnTo>
                    <a:pt x="935" y="289"/>
                  </a:lnTo>
                  <a:lnTo>
                    <a:pt x="937" y="285"/>
                  </a:lnTo>
                  <a:lnTo>
                    <a:pt x="950" y="285"/>
                  </a:lnTo>
                  <a:lnTo>
                    <a:pt x="951" y="285"/>
                  </a:lnTo>
                  <a:lnTo>
                    <a:pt x="956" y="279"/>
                  </a:lnTo>
                  <a:lnTo>
                    <a:pt x="956" y="277"/>
                  </a:lnTo>
                  <a:lnTo>
                    <a:pt x="954" y="273"/>
                  </a:lnTo>
                  <a:lnTo>
                    <a:pt x="956" y="267"/>
                  </a:lnTo>
                  <a:lnTo>
                    <a:pt x="964" y="263"/>
                  </a:lnTo>
                  <a:lnTo>
                    <a:pt x="967" y="260"/>
                  </a:lnTo>
                  <a:lnTo>
                    <a:pt x="970" y="256"/>
                  </a:lnTo>
                  <a:lnTo>
                    <a:pt x="974" y="256"/>
                  </a:lnTo>
                  <a:lnTo>
                    <a:pt x="976" y="257"/>
                  </a:lnTo>
                  <a:lnTo>
                    <a:pt x="979" y="256"/>
                  </a:lnTo>
                  <a:lnTo>
                    <a:pt x="986" y="249"/>
                  </a:lnTo>
                  <a:lnTo>
                    <a:pt x="985" y="245"/>
                  </a:lnTo>
                  <a:lnTo>
                    <a:pt x="990" y="240"/>
                  </a:lnTo>
                  <a:lnTo>
                    <a:pt x="993" y="231"/>
                  </a:lnTo>
                  <a:lnTo>
                    <a:pt x="1000" y="228"/>
                  </a:lnTo>
                  <a:lnTo>
                    <a:pt x="1010" y="227"/>
                  </a:lnTo>
                  <a:lnTo>
                    <a:pt x="1014" y="223"/>
                  </a:lnTo>
                  <a:lnTo>
                    <a:pt x="1014" y="217"/>
                  </a:lnTo>
                  <a:lnTo>
                    <a:pt x="1024" y="215"/>
                  </a:lnTo>
                  <a:lnTo>
                    <a:pt x="1025" y="211"/>
                  </a:lnTo>
                  <a:lnTo>
                    <a:pt x="1025" y="208"/>
                  </a:lnTo>
                  <a:lnTo>
                    <a:pt x="1027" y="206"/>
                  </a:lnTo>
                  <a:lnTo>
                    <a:pt x="1035" y="203"/>
                  </a:lnTo>
                  <a:lnTo>
                    <a:pt x="1035" y="200"/>
                  </a:lnTo>
                  <a:lnTo>
                    <a:pt x="1033" y="196"/>
                  </a:lnTo>
                  <a:lnTo>
                    <a:pt x="1035" y="195"/>
                  </a:lnTo>
                  <a:lnTo>
                    <a:pt x="1039" y="191"/>
                  </a:lnTo>
                  <a:lnTo>
                    <a:pt x="1039" y="186"/>
                  </a:lnTo>
                  <a:lnTo>
                    <a:pt x="1038" y="181"/>
                  </a:lnTo>
                  <a:lnTo>
                    <a:pt x="1038" y="178"/>
                  </a:lnTo>
                  <a:lnTo>
                    <a:pt x="1039" y="173"/>
                  </a:lnTo>
                  <a:lnTo>
                    <a:pt x="1045" y="169"/>
                  </a:lnTo>
                  <a:lnTo>
                    <a:pt x="1050" y="166"/>
                  </a:lnTo>
                  <a:lnTo>
                    <a:pt x="1063" y="166"/>
                  </a:lnTo>
                  <a:lnTo>
                    <a:pt x="1066" y="166"/>
                  </a:lnTo>
                  <a:lnTo>
                    <a:pt x="1068" y="170"/>
                  </a:lnTo>
                  <a:lnTo>
                    <a:pt x="1071" y="170"/>
                  </a:lnTo>
                  <a:lnTo>
                    <a:pt x="1074" y="169"/>
                  </a:lnTo>
                  <a:lnTo>
                    <a:pt x="1075" y="165"/>
                  </a:lnTo>
                  <a:lnTo>
                    <a:pt x="1081" y="162"/>
                  </a:lnTo>
                  <a:lnTo>
                    <a:pt x="1082" y="158"/>
                  </a:lnTo>
                  <a:lnTo>
                    <a:pt x="1088" y="148"/>
                  </a:lnTo>
                  <a:lnTo>
                    <a:pt x="1093" y="148"/>
                  </a:lnTo>
                  <a:lnTo>
                    <a:pt x="1100" y="148"/>
                  </a:lnTo>
                  <a:lnTo>
                    <a:pt x="1106" y="144"/>
                  </a:lnTo>
                  <a:lnTo>
                    <a:pt x="1110" y="144"/>
                  </a:lnTo>
                  <a:lnTo>
                    <a:pt x="1114" y="148"/>
                  </a:lnTo>
                  <a:lnTo>
                    <a:pt x="1121" y="146"/>
                  </a:lnTo>
                  <a:lnTo>
                    <a:pt x="1122" y="142"/>
                  </a:lnTo>
                  <a:lnTo>
                    <a:pt x="1132" y="142"/>
                  </a:lnTo>
                  <a:lnTo>
                    <a:pt x="1138" y="144"/>
                  </a:lnTo>
                  <a:lnTo>
                    <a:pt x="1146" y="140"/>
                  </a:lnTo>
                  <a:lnTo>
                    <a:pt x="1145" y="137"/>
                  </a:lnTo>
                  <a:lnTo>
                    <a:pt x="1146" y="134"/>
                  </a:lnTo>
                  <a:lnTo>
                    <a:pt x="1160" y="129"/>
                  </a:lnTo>
                  <a:lnTo>
                    <a:pt x="1167" y="121"/>
                  </a:lnTo>
                  <a:lnTo>
                    <a:pt x="1172" y="124"/>
                  </a:lnTo>
                  <a:lnTo>
                    <a:pt x="1175" y="121"/>
                  </a:lnTo>
                  <a:lnTo>
                    <a:pt x="1177" y="121"/>
                  </a:lnTo>
                  <a:lnTo>
                    <a:pt x="1177" y="117"/>
                  </a:lnTo>
                  <a:lnTo>
                    <a:pt x="1185" y="112"/>
                  </a:lnTo>
                  <a:lnTo>
                    <a:pt x="1188" y="112"/>
                  </a:lnTo>
                  <a:lnTo>
                    <a:pt x="1189" y="115"/>
                  </a:lnTo>
                  <a:lnTo>
                    <a:pt x="1192" y="115"/>
                  </a:lnTo>
                  <a:lnTo>
                    <a:pt x="1193" y="115"/>
                  </a:lnTo>
                  <a:lnTo>
                    <a:pt x="1196" y="111"/>
                  </a:lnTo>
                  <a:lnTo>
                    <a:pt x="1200" y="109"/>
                  </a:lnTo>
                  <a:lnTo>
                    <a:pt x="1203" y="107"/>
                  </a:lnTo>
                  <a:lnTo>
                    <a:pt x="1211" y="109"/>
                  </a:lnTo>
                  <a:lnTo>
                    <a:pt x="1214" y="112"/>
                  </a:lnTo>
                  <a:lnTo>
                    <a:pt x="1218" y="112"/>
                  </a:lnTo>
                  <a:lnTo>
                    <a:pt x="1222" y="115"/>
                  </a:lnTo>
                  <a:lnTo>
                    <a:pt x="1228" y="117"/>
                  </a:lnTo>
                  <a:lnTo>
                    <a:pt x="1235" y="117"/>
                  </a:lnTo>
                  <a:lnTo>
                    <a:pt x="1235" y="124"/>
                  </a:lnTo>
                  <a:lnTo>
                    <a:pt x="1243" y="131"/>
                  </a:lnTo>
                  <a:lnTo>
                    <a:pt x="1250" y="129"/>
                  </a:lnTo>
                  <a:lnTo>
                    <a:pt x="1256" y="132"/>
                  </a:lnTo>
                  <a:lnTo>
                    <a:pt x="1260" y="136"/>
                  </a:lnTo>
                  <a:lnTo>
                    <a:pt x="1266" y="136"/>
                  </a:lnTo>
                  <a:lnTo>
                    <a:pt x="1271" y="140"/>
                  </a:lnTo>
                  <a:lnTo>
                    <a:pt x="1277" y="140"/>
                  </a:lnTo>
                  <a:lnTo>
                    <a:pt x="1282" y="140"/>
                  </a:lnTo>
                  <a:lnTo>
                    <a:pt x="1287" y="138"/>
                  </a:lnTo>
                  <a:lnTo>
                    <a:pt x="1295" y="132"/>
                  </a:lnTo>
                  <a:lnTo>
                    <a:pt x="1295" y="125"/>
                  </a:lnTo>
                  <a:lnTo>
                    <a:pt x="1301" y="120"/>
                  </a:lnTo>
                  <a:lnTo>
                    <a:pt x="1302" y="116"/>
                  </a:lnTo>
                  <a:lnTo>
                    <a:pt x="1307" y="109"/>
                  </a:lnTo>
                  <a:lnTo>
                    <a:pt x="1315" y="107"/>
                  </a:lnTo>
                  <a:lnTo>
                    <a:pt x="1315" y="101"/>
                  </a:lnTo>
                  <a:lnTo>
                    <a:pt x="1319" y="98"/>
                  </a:lnTo>
                  <a:lnTo>
                    <a:pt x="1324" y="98"/>
                  </a:lnTo>
                  <a:lnTo>
                    <a:pt x="1327" y="99"/>
                  </a:lnTo>
                  <a:lnTo>
                    <a:pt x="1331" y="98"/>
                  </a:lnTo>
                  <a:lnTo>
                    <a:pt x="1331" y="95"/>
                  </a:lnTo>
                  <a:lnTo>
                    <a:pt x="1334" y="89"/>
                  </a:lnTo>
                  <a:lnTo>
                    <a:pt x="1332" y="86"/>
                  </a:lnTo>
                  <a:lnTo>
                    <a:pt x="1335" y="81"/>
                  </a:lnTo>
                  <a:lnTo>
                    <a:pt x="1341" y="83"/>
                  </a:lnTo>
                  <a:lnTo>
                    <a:pt x="1359" y="75"/>
                  </a:lnTo>
                  <a:lnTo>
                    <a:pt x="1362" y="75"/>
                  </a:lnTo>
                  <a:lnTo>
                    <a:pt x="1366" y="75"/>
                  </a:lnTo>
                  <a:lnTo>
                    <a:pt x="1367" y="71"/>
                  </a:lnTo>
                  <a:lnTo>
                    <a:pt x="1373" y="70"/>
                  </a:lnTo>
                  <a:lnTo>
                    <a:pt x="1376" y="66"/>
                  </a:lnTo>
                  <a:lnTo>
                    <a:pt x="1381" y="66"/>
                  </a:lnTo>
                  <a:lnTo>
                    <a:pt x="1385" y="61"/>
                  </a:lnTo>
                  <a:lnTo>
                    <a:pt x="1385" y="57"/>
                  </a:lnTo>
                  <a:lnTo>
                    <a:pt x="1394" y="50"/>
                  </a:lnTo>
                  <a:lnTo>
                    <a:pt x="1396" y="50"/>
                  </a:lnTo>
                  <a:lnTo>
                    <a:pt x="1399" y="54"/>
                  </a:lnTo>
                  <a:lnTo>
                    <a:pt x="1406" y="53"/>
                  </a:lnTo>
                  <a:lnTo>
                    <a:pt x="1409" y="54"/>
                  </a:lnTo>
                  <a:lnTo>
                    <a:pt x="1410" y="50"/>
                  </a:lnTo>
                  <a:lnTo>
                    <a:pt x="1407" y="46"/>
                  </a:lnTo>
                  <a:lnTo>
                    <a:pt x="1413" y="41"/>
                  </a:lnTo>
                  <a:lnTo>
                    <a:pt x="1416" y="41"/>
                  </a:lnTo>
                  <a:lnTo>
                    <a:pt x="1420" y="45"/>
                  </a:lnTo>
                  <a:lnTo>
                    <a:pt x="1421" y="45"/>
                  </a:lnTo>
                  <a:lnTo>
                    <a:pt x="1434" y="37"/>
                  </a:lnTo>
                  <a:lnTo>
                    <a:pt x="1437" y="32"/>
                  </a:lnTo>
                  <a:lnTo>
                    <a:pt x="1441" y="30"/>
                  </a:lnTo>
                  <a:lnTo>
                    <a:pt x="1441" y="28"/>
                  </a:lnTo>
                  <a:lnTo>
                    <a:pt x="1451" y="28"/>
                  </a:lnTo>
                  <a:lnTo>
                    <a:pt x="1455" y="26"/>
                  </a:lnTo>
                  <a:lnTo>
                    <a:pt x="1469" y="26"/>
                  </a:lnTo>
                  <a:lnTo>
                    <a:pt x="1473" y="28"/>
                  </a:lnTo>
                  <a:lnTo>
                    <a:pt x="1477" y="28"/>
                  </a:lnTo>
                  <a:lnTo>
                    <a:pt x="1492" y="22"/>
                  </a:lnTo>
                  <a:lnTo>
                    <a:pt x="1508" y="20"/>
                  </a:lnTo>
                  <a:lnTo>
                    <a:pt x="1519" y="13"/>
                  </a:lnTo>
                  <a:lnTo>
                    <a:pt x="1524" y="14"/>
                  </a:lnTo>
                  <a:lnTo>
                    <a:pt x="1533" y="14"/>
                  </a:lnTo>
                  <a:lnTo>
                    <a:pt x="1538" y="9"/>
                  </a:lnTo>
                  <a:lnTo>
                    <a:pt x="1541" y="5"/>
                  </a:lnTo>
                  <a:lnTo>
                    <a:pt x="1544" y="1"/>
                  </a:lnTo>
                  <a:lnTo>
                    <a:pt x="1551" y="5"/>
                  </a:lnTo>
                  <a:lnTo>
                    <a:pt x="1561" y="5"/>
                  </a:lnTo>
                  <a:lnTo>
                    <a:pt x="1567" y="4"/>
                  </a:lnTo>
                  <a:lnTo>
                    <a:pt x="1570" y="5"/>
                  </a:lnTo>
                  <a:lnTo>
                    <a:pt x="1570" y="12"/>
                  </a:lnTo>
                  <a:lnTo>
                    <a:pt x="1573" y="16"/>
                  </a:lnTo>
                  <a:lnTo>
                    <a:pt x="1577" y="9"/>
                  </a:lnTo>
                  <a:lnTo>
                    <a:pt x="1576" y="9"/>
                  </a:lnTo>
                  <a:lnTo>
                    <a:pt x="1575" y="5"/>
                  </a:lnTo>
                  <a:lnTo>
                    <a:pt x="1577" y="5"/>
                  </a:lnTo>
                  <a:lnTo>
                    <a:pt x="1579" y="0"/>
                  </a:lnTo>
                  <a:lnTo>
                    <a:pt x="1581" y="0"/>
                  </a:lnTo>
                  <a:lnTo>
                    <a:pt x="1584" y="1"/>
                  </a:lnTo>
                  <a:lnTo>
                    <a:pt x="1572" y="26"/>
                  </a:lnTo>
                  <a:lnTo>
                    <a:pt x="1570" y="32"/>
                  </a:lnTo>
                  <a:lnTo>
                    <a:pt x="1566" y="42"/>
                  </a:lnTo>
                  <a:lnTo>
                    <a:pt x="1565" y="54"/>
                  </a:lnTo>
                  <a:lnTo>
                    <a:pt x="1558" y="66"/>
                  </a:lnTo>
                  <a:lnTo>
                    <a:pt x="1556" y="67"/>
                  </a:lnTo>
                  <a:lnTo>
                    <a:pt x="1555" y="62"/>
                  </a:lnTo>
                  <a:lnTo>
                    <a:pt x="1558" y="62"/>
                  </a:lnTo>
                  <a:lnTo>
                    <a:pt x="1559" y="61"/>
                  </a:lnTo>
                  <a:lnTo>
                    <a:pt x="1556" y="58"/>
                  </a:lnTo>
                  <a:lnTo>
                    <a:pt x="1556" y="57"/>
                  </a:lnTo>
                  <a:lnTo>
                    <a:pt x="1559" y="57"/>
                  </a:lnTo>
                  <a:lnTo>
                    <a:pt x="1559" y="54"/>
                  </a:lnTo>
                  <a:lnTo>
                    <a:pt x="1556" y="46"/>
                  </a:lnTo>
                  <a:lnTo>
                    <a:pt x="1554" y="46"/>
                  </a:lnTo>
                  <a:lnTo>
                    <a:pt x="1549" y="49"/>
                  </a:lnTo>
                  <a:lnTo>
                    <a:pt x="1548" y="46"/>
                  </a:lnTo>
                  <a:lnTo>
                    <a:pt x="1542" y="50"/>
                  </a:lnTo>
                  <a:lnTo>
                    <a:pt x="1538" y="57"/>
                  </a:lnTo>
                  <a:lnTo>
                    <a:pt x="1537" y="58"/>
                  </a:lnTo>
                  <a:lnTo>
                    <a:pt x="1540" y="62"/>
                  </a:lnTo>
                  <a:lnTo>
                    <a:pt x="1545" y="58"/>
                  </a:lnTo>
                  <a:lnTo>
                    <a:pt x="1542" y="66"/>
                  </a:lnTo>
                  <a:lnTo>
                    <a:pt x="1544" y="71"/>
                  </a:lnTo>
                  <a:lnTo>
                    <a:pt x="1548" y="75"/>
                  </a:lnTo>
                  <a:lnTo>
                    <a:pt x="1554" y="76"/>
                  </a:lnTo>
                  <a:lnTo>
                    <a:pt x="1551" y="99"/>
                  </a:lnTo>
                  <a:lnTo>
                    <a:pt x="1548" y="106"/>
                  </a:lnTo>
                  <a:lnTo>
                    <a:pt x="1540" y="103"/>
                  </a:lnTo>
                  <a:lnTo>
                    <a:pt x="1540" y="101"/>
                  </a:lnTo>
                  <a:lnTo>
                    <a:pt x="1542" y="99"/>
                  </a:lnTo>
                  <a:lnTo>
                    <a:pt x="1540" y="95"/>
                  </a:lnTo>
                  <a:lnTo>
                    <a:pt x="1535" y="98"/>
                  </a:lnTo>
                  <a:lnTo>
                    <a:pt x="1535" y="99"/>
                  </a:lnTo>
                  <a:lnTo>
                    <a:pt x="1534" y="101"/>
                  </a:lnTo>
                  <a:lnTo>
                    <a:pt x="1524" y="103"/>
                  </a:lnTo>
                  <a:lnTo>
                    <a:pt x="1519" y="108"/>
                  </a:lnTo>
                  <a:lnTo>
                    <a:pt x="1517" y="108"/>
                  </a:lnTo>
                  <a:lnTo>
                    <a:pt x="1517" y="107"/>
                  </a:lnTo>
                  <a:lnTo>
                    <a:pt x="1519" y="103"/>
                  </a:lnTo>
                  <a:lnTo>
                    <a:pt x="1516" y="95"/>
                  </a:lnTo>
                  <a:lnTo>
                    <a:pt x="1517" y="91"/>
                  </a:lnTo>
                  <a:lnTo>
                    <a:pt x="1513" y="94"/>
                  </a:lnTo>
                  <a:lnTo>
                    <a:pt x="1512" y="98"/>
                  </a:lnTo>
                  <a:lnTo>
                    <a:pt x="1512" y="99"/>
                  </a:lnTo>
                  <a:lnTo>
                    <a:pt x="1515" y="101"/>
                  </a:lnTo>
                  <a:lnTo>
                    <a:pt x="1509" y="103"/>
                  </a:lnTo>
                  <a:lnTo>
                    <a:pt x="1505" y="101"/>
                  </a:lnTo>
                  <a:lnTo>
                    <a:pt x="1504" y="98"/>
                  </a:lnTo>
                  <a:lnTo>
                    <a:pt x="1505" y="92"/>
                  </a:lnTo>
                  <a:lnTo>
                    <a:pt x="1501" y="89"/>
                  </a:lnTo>
                  <a:lnTo>
                    <a:pt x="1502" y="94"/>
                  </a:lnTo>
                  <a:lnTo>
                    <a:pt x="1501" y="95"/>
                  </a:lnTo>
                  <a:lnTo>
                    <a:pt x="1496" y="92"/>
                  </a:lnTo>
                  <a:lnTo>
                    <a:pt x="1491" y="91"/>
                  </a:lnTo>
                  <a:lnTo>
                    <a:pt x="1490" y="91"/>
                  </a:lnTo>
                  <a:lnTo>
                    <a:pt x="1491" y="95"/>
                  </a:lnTo>
                  <a:lnTo>
                    <a:pt x="1494" y="95"/>
                  </a:lnTo>
                  <a:lnTo>
                    <a:pt x="1498" y="106"/>
                  </a:lnTo>
                  <a:lnTo>
                    <a:pt x="1498" y="108"/>
                  </a:lnTo>
                  <a:lnTo>
                    <a:pt x="1496" y="108"/>
                  </a:lnTo>
                  <a:lnTo>
                    <a:pt x="1499" y="115"/>
                  </a:lnTo>
                  <a:lnTo>
                    <a:pt x="1498" y="116"/>
                  </a:lnTo>
                  <a:lnTo>
                    <a:pt x="1498" y="117"/>
                  </a:lnTo>
                  <a:lnTo>
                    <a:pt x="1494" y="121"/>
                  </a:lnTo>
                  <a:lnTo>
                    <a:pt x="1492" y="121"/>
                  </a:lnTo>
                  <a:lnTo>
                    <a:pt x="1491" y="117"/>
                  </a:lnTo>
                  <a:lnTo>
                    <a:pt x="1490" y="117"/>
                  </a:lnTo>
                  <a:lnTo>
                    <a:pt x="1490" y="121"/>
                  </a:lnTo>
                  <a:lnTo>
                    <a:pt x="1484" y="125"/>
                  </a:lnTo>
                  <a:lnTo>
                    <a:pt x="1485" y="128"/>
                  </a:lnTo>
                  <a:lnTo>
                    <a:pt x="1490" y="125"/>
                  </a:lnTo>
                  <a:lnTo>
                    <a:pt x="1498" y="125"/>
                  </a:lnTo>
                  <a:lnTo>
                    <a:pt x="1505" y="129"/>
                  </a:lnTo>
                  <a:lnTo>
                    <a:pt x="1504" y="132"/>
                  </a:lnTo>
                  <a:lnTo>
                    <a:pt x="1506" y="133"/>
                  </a:lnTo>
                  <a:lnTo>
                    <a:pt x="1508" y="133"/>
                  </a:lnTo>
                  <a:lnTo>
                    <a:pt x="1513" y="140"/>
                  </a:lnTo>
                  <a:lnTo>
                    <a:pt x="1513" y="142"/>
                  </a:lnTo>
                  <a:lnTo>
                    <a:pt x="1510" y="144"/>
                  </a:lnTo>
                  <a:lnTo>
                    <a:pt x="1512" y="148"/>
                  </a:lnTo>
                  <a:lnTo>
                    <a:pt x="1509" y="148"/>
                  </a:lnTo>
                  <a:lnTo>
                    <a:pt x="1512" y="151"/>
                  </a:lnTo>
                  <a:lnTo>
                    <a:pt x="1513" y="150"/>
                  </a:lnTo>
                  <a:lnTo>
                    <a:pt x="1513" y="144"/>
                  </a:lnTo>
                  <a:lnTo>
                    <a:pt x="1515" y="144"/>
                  </a:lnTo>
                  <a:lnTo>
                    <a:pt x="1515" y="146"/>
                  </a:lnTo>
                  <a:lnTo>
                    <a:pt x="1516" y="146"/>
                  </a:lnTo>
                  <a:lnTo>
                    <a:pt x="1516" y="144"/>
                  </a:lnTo>
                  <a:lnTo>
                    <a:pt x="1520" y="140"/>
                  </a:lnTo>
                  <a:lnTo>
                    <a:pt x="1520" y="137"/>
                  </a:lnTo>
                  <a:lnTo>
                    <a:pt x="1521" y="134"/>
                  </a:lnTo>
                  <a:lnTo>
                    <a:pt x="1523" y="133"/>
                  </a:lnTo>
                  <a:lnTo>
                    <a:pt x="1526" y="136"/>
                  </a:lnTo>
                  <a:lnTo>
                    <a:pt x="1531" y="144"/>
                  </a:lnTo>
                  <a:lnTo>
                    <a:pt x="1531" y="154"/>
                  </a:lnTo>
                  <a:lnTo>
                    <a:pt x="1529" y="160"/>
                  </a:lnTo>
                  <a:lnTo>
                    <a:pt x="1527" y="161"/>
                  </a:lnTo>
                  <a:lnTo>
                    <a:pt x="1523" y="161"/>
                  </a:lnTo>
                  <a:lnTo>
                    <a:pt x="1520" y="165"/>
                  </a:lnTo>
                  <a:lnTo>
                    <a:pt x="1520" y="166"/>
                  </a:lnTo>
                  <a:lnTo>
                    <a:pt x="1513" y="169"/>
                  </a:lnTo>
                  <a:lnTo>
                    <a:pt x="1510" y="170"/>
                  </a:lnTo>
                  <a:lnTo>
                    <a:pt x="1516" y="170"/>
                  </a:lnTo>
                  <a:lnTo>
                    <a:pt x="1515" y="173"/>
                  </a:lnTo>
                  <a:lnTo>
                    <a:pt x="1517" y="174"/>
                  </a:lnTo>
                  <a:lnTo>
                    <a:pt x="1517" y="176"/>
                  </a:lnTo>
                  <a:lnTo>
                    <a:pt x="1516" y="179"/>
                  </a:lnTo>
                  <a:lnTo>
                    <a:pt x="1519" y="183"/>
                  </a:lnTo>
                  <a:lnTo>
                    <a:pt x="1520" y="183"/>
                  </a:lnTo>
                  <a:lnTo>
                    <a:pt x="1520" y="179"/>
                  </a:lnTo>
                  <a:lnTo>
                    <a:pt x="1520" y="178"/>
                  </a:lnTo>
                  <a:lnTo>
                    <a:pt x="1527" y="174"/>
                  </a:lnTo>
                  <a:lnTo>
                    <a:pt x="1529" y="176"/>
                  </a:lnTo>
                  <a:lnTo>
                    <a:pt x="1531" y="182"/>
                  </a:lnTo>
                  <a:lnTo>
                    <a:pt x="1535" y="181"/>
                  </a:lnTo>
                  <a:lnTo>
                    <a:pt x="1541" y="183"/>
                  </a:lnTo>
                  <a:lnTo>
                    <a:pt x="1541" y="188"/>
                  </a:lnTo>
                  <a:lnTo>
                    <a:pt x="1537" y="187"/>
                  </a:lnTo>
                  <a:lnTo>
                    <a:pt x="1534" y="191"/>
                  </a:lnTo>
                  <a:lnTo>
                    <a:pt x="1535" y="192"/>
                  </a:lnTo>
                  <a:lnTo>
                    <a:pt x="1537" y="188"/>
                  </a:lnTo>
                  <a:lnTo>
                    <a:pt x="1544" y="196"/>
                  </a:lnTo>
                  <a:lnTo>
                    <a:pt x="1542" y="200"/>
                  </a:lnTo>
                  <a:lnTo>
                    <a:pt x="1547" y="202"/>
                  </a:lnTo>
                  <a:lnTo>
                    <a:pt x="1547" y="203"/>
                  </a:lnTo>
                  <a:lnTo>
                    <a:pt x="1545" y="206"/>
                  </a:lnTo>
                  <a:lnTo>
                    <a:pt x="1547" y="208"/>
                  </a:lnTo>
                  <a:lnTo>
                    <a:pt x="1545" y="210"/>
                  </a:lnTo>
                  <a:lnTo>
                    <a:pt x="1547" y="211"/>
                  </a:lnTo>
                  <a:lnTo>
                    <a:pt x="1549" y="207"/>
                  </a:lnTo>
                  <a:lnTo>
                    <a:pt x="1552" y="206"/>
                  </a:lnTo>
                  <a:lnTo>
                    <a:pt x="1552" y="202"/>
                  </a:lnTo>
                  <a:lnTo>
                    <a:pt x="1554" y="196"/>
                  </a:lnTo>
                  <a:lnTo>
                    <a:pt x="1556" y="200"/>
                  </a:lnTo>
                  <a:lnTo>
                    <a:pt x="1559" y="202"/>
                  </a:lnTo>
                  <a:lnTo>
                    <a:pt x="1558" y="202"/>
                  </a:lnTo>
                  <a:lnTo>
                    <a:pt x="1558" y="203"/>
                  </a:lnTo>
                  <a:lnTo>
                    <a:pt x="1562" y="204"/>
                  </a:lnTo>
                  <a:lnTo>
                    <a:pt x="1562" y="210"/>
                  </a:lnTo>
                  <a:lnTo>
                    <a:pt x="1562" y="213"/>
                  </a:lnTo>
                  <a:lnTo>
                    <a:pt x="1563" y="215"/>
                  </a:lnTo>
                  <a:lnTo>
                    <a:pt x="1561" y="219"/>
                  </a:lnTo>
                  <a:lnTo>
                    <a:pt x="1561" y="221"/>
                  </a:lnTo>
                  <a:lnTo>
                    <a:pt x="1558" y="224"/>
                  </a:lnTo>
                  <a:lnTo>
                    <a:pt x="1556" y="229"/>
                  </a:lnTo>
                  <a:lnTo>
                    <a:pt x="1554" y="235"/>
                  </a:lnTo>
                  <a:lnTo>
                    <a:pt x="1549" y="227"/>
                  </a:lnTo>
                  <a:lnTo>
                    <a:pt x="1548" y="225"/>
                  </a:lnTo>
                  <a:lnTo>
                    <a:pt x="1538" y="227"/>
                  </a:lnTo>
                  <a:lnTo>
                    <a:pt x="1533" y="231"/>
                  </a:lnTo>
                  <a:lnTo>
                    <a:pt x="1524" y="231"/>
                  </a:lnTo>
                  <a:lnTo>
                    <a:pt x="1523" y="228"/>
                  </a:lnTo>
                  <a:lnTo>
                    <a:pt x="1526" y="229"/>
                  </a:lnTo>
                  <a:lnTo>
                    <a:pt x="1527" y="227"/>
                  </a:lnTo>
                  <a:lnTo>
                    <a:pt x="1524" y="225"/>
                  </a:lnTo>
                  <a:lnTo>
                    <a:pt x="1521" y="225"/>
                  </a:lnTo>
                  <a:lnTo>
                    <a:pt x="1519" y="215"/>
                  </a:lnTo>
                  <a:lnTo>
                    <a:pt x="1515" y="215"/>
                  </a:lnTo>
                  <a:lnTo>
                    <a:pt x="1519" y="224"/>
                  </a:lnTo>
                  <a:lnTo>
                    <a:pt x="1517" y="228"/>
                  </a:lnTo>
                  <a:lnTo>
                    <a:pt x="1519" y="232"/>
                  </a:lnTo>
                  <a:lnTo>
                    <a:pt x="1516" y="236"/>
                  </a:lnTo>
                  <a:lnTo>
                    <a:pt x="1521" y="237"/>
                  </a:lnTo>
                  <a:lnTo>
                    <a:pt x="1527" y="240"/>
                  </a:lnTo>
                  <a:lnTo>
                    <a:pt x="1537" y="237"/>
                  </a:lnTo>
                  <a:lnTo>
                    <a:pt x="1541" y="241"/>
                  </a:lnTo>
                  <a:lnTo>
                    <a:pt x="1540" y="245"/>
                  </a:lnTo>
                  <a:lnTo>
                    <a:pt x="1531" y="252"/>
                  </a:lnTo>
                  <a:lnTo>
                    <a:pt x="1533" y="253"/>
                  </a:lnTo>
                  <a:lnTo>
                    <a:pt x="1538" y="253"/>
                  </a:lnTo>
                  <a:lnTo>
                    <a:pt x="1535" y="254"/>
                  </a:lnTo>
                  <a:lnTo>
                    <a:pt x="1529" y="253"/>
                  </a:lnTo>
                  <a:lnTo>
                    <a:pt x="1529" y="254"/>
                  </a:lnTo>
                  <a:lnTo>
                    <a:pt x="1531" y="256"/>
                  </a:lnTo>
                  <a:lnTo>
                    <a:pt x="1529" y="256"/>
                  </a:lnTo>
                  <a:lnTo>
                    <a:pt x="1529" y="257"/>
                  </a:lnTo>
                  <a:lnTo>
                    <a:pt x="1530" y="258"/>
                  </a:lnTo>
                  <a:lnTo>
                    <a:pt x="1530" y="260"/>
                  </a:lnTo>
                  <a:lnTo>
                    <a:pt x="1534" y="260"/>
                  </a:lnTo>
                  <a:lnTo>
                    <a:pt x="1540" y="262"/>
                  </a:lnTo>
                  <a:lnTo>
                    <a:pt x="1541" y="272"/>
                  </a:lnTo>
                  <a:lnTo>
                    <a:pt x="1537" y="278"/>
                  </a:lnTo>
                  <a:lnTo>
                    <a:pt x="1540" y="285"/>
                  </a:lnTo>
                  <a:lnTo>
                    <a:pt x="1541" y="290"/>
                  </a:lnTo>
                  <a:lnTo>
                    <a:pt x="1542" y="289"/>
                  </a:lnTo>
                  <a:lnTo>
                    <a:pt x="1545" y="282"/>
                  </a:lnTo>
                  <a:lnTo>
                    <a:pt x="1552" y="281"/>
                  </a:lnTo>
                  <a:lnTo>
                    <a:pt x="1555" y="275"/>
                  </a:lnTo>
                  <a:lnTo>
                    <a:pt x="1561" y="272"/>
                  </a:lnTo>
                  <a:lnTo>
                    <a:pt x="1561" y="270"/>
                  </a:lnTo>
                  <a:lnTo>
                    <a:pt x="1559" y="272"/>
                  </a:lnTo>
                  <a:lnTo>
                    <a:pt x="1558" y="272"/>
                  </a:lnTo>
                  <a:lnTo>
                    <a:pt x="1563" y="263"/>
                  </a:lnTo>
                  <a:lnTo>
                    <a:pt x="1566" y="245"/>
                  </a:lnTo>
                  <a:lnTo>
                    <a:pt x="1569" y="240"/>
                  </a:lnTo>
                  <a:lnTo>
                    <a:pt x="1572" y="240"/>
                  </a:lnTo>
                  <a:lnTo>
                    <a:pt x="1567" y="277"/>
                  </a:lnTo>
                  <a:lnTo>
                    <a:pt x="1567" y="290"/>
                  </a:lnTo>
                  <a:lnTo>
                    <a:pt x="1570" y="311"/>
                  </a:lnTo>
                  <a:lnTo>
                    <a:pt x="1575" y="331"/>
                  </a:lnTo>
                  <a:lnTo>
                    <a:pt x="1584" y="360"/>
                  </a:lnTo>
                  <a:lnTo>
                    <a:pt x="1591" y="376"/>
                  </a:lnTo>
                  <a:lnTo>
                    <a:pt x="1600" y="392"/>
                  </a:lnTo>
                  <a:lnTo>
                    <a:pt x="1631" y="444"/>
                  </a:lnTo>
                  <a:lnTo>
                    <a:pt x="1640" y="461"/>
                  </a:lnTo>
                  <a:lnTo>
                    <a:pt x="1650" y="476"/>
                  </a:lnTo>
                  <a:lnTo>
                    <a:pt x="1679" y="503"/>
                  </a:lnTo>
                  <a:lnTo>
                    <a:pt x="1683" y="513"/>
                  </a:lnTo>
                  <a:lnTo>
                    <a:pt x="1684" y="526"/>
                  </a:lnTo>
                  <a:lnTo>
                    <a:pt x="1690" y="538"/>
                  </a:lnTo>
                  <a:lnTo>
                    <a:pt x="1692" y="543"/>
                  </a:lnTo>
                  <a:lnTo>
                    <a:pt x="1697" y="544"/>
                  </a:lnTo>
                  <a:lnTo>
                    <a:pt x="1697" y="548"/>
                  </a:lnTo>
                  <a:lnTo>
                    <a:pt x="1701" y="551"/>
                  </a:lnTo>
                  <a:lnTo>
                    <a:pt x="1698" y="552"/>
                  </a:lnTo>
                  <a:lnTo>
                    <a:pt x="1698" y="556"/>
                  </a:lnTo>
                  <a:lnTo>
                    <a:pt x="1700" y="560"/>
                  </a:lnTo>
                  <a:lnTo>
                    <a:pt x="1697" y="564"/>
                  </a:lnTo>
                  <a:lnTo>
                    <a:pt x="1698" y="573"/>
                  </a:lnTo>
                  <a:lnTo>
                    <a:pt x="1694" y="603"/>
                  </a:lnTo>
                  <a:lnTo>
                    <a:pt x="1694" y="606"/>
                  </a:lnTo>
                  <a:lnTo>
                    <a:pt x="1695" y="606"/>
                  </a:lnTo>
                  <a:lnTo>
                    <a:pt x="1694" y="608"/>
                  </a:lnTo>
                  <a:lnTo>
                    <a:pt x="1695" y="611"/>
                  </a:lnTo>
                  <a:lnTo>
                    <a:pt x="1700" y="611"/>
                  </a:lnTo>
                  <a:lnTo>
                    <a:pt x="1701" y="615"/>
                  </a:lnTo>
                  <a:lnTo>
                    <a:pt x="1704" y="618"/>
                  </a:lnTo>
                  <a:lnTo>
                    <a:pt x="1706" y="625"/>
                  </a:lnTo>
                  <a:lnTo>
                    <a:pt x="1704" y="634"/>
                  </a:lnTo>
                  <a:lnTo>
                    <a:pt x="1701" y="653"/>
                  </a:lnTo>
                  <a:lnTo>
                    <a:pt x="1704" y="664"/>
                  </a:lnTo>
                  <a:lnTo>
                    <a:pt x="1706" y="667"/>
                  </a:lnTo>
                  <a:lnTo>
                    <a:pt x="1705" y="675"/>
                  </a:lnTo>
                  <a:lnTo>
                    <a:pt x="1708" y="679"/>
                  </a:lnTo>
                  <a:lnTo>
                    <a:pt x="1706" y="693"/>
                  </a:lnTo>
                  <a:lnTo>
                    <a:pt x="1711" y="705"/>
                  </a:lnTo>
                  <a:lnTo>
                    <a:pt x="1714" y="705"/>
                  </a:lnTo>
                  <a:lnTo>
                    <a:pt x="1716" y="715"/>
                  </a:lnTo>
                  <a:lnTo>
                    <a:pt x="1719" y="717"/>
                  </a:lnTo>
                  <a:lnTo>
                    <a:pt x="1720" y="722"/>
                  </a:lnTo>
                  <a:lnTo>
                    <a:pt x="1720" y="730"/>
                  </a:lnTo>
                  <a:lnTo>
                    <a:pt x="1723" y="747"/>
                  </a:lnTo>
                  <a:lnTo>
                    <a:pt x="1726" y="756"/>
                  </a:lnTo>
                  <a:lnTo>
                    <a:pt x="1736" y="767"/>
                  </a:lnTo>
                  <a:lnTo>
                    <a:pt x="1736" y="770"/>
                  </a:lnTo>
                  <a:lnTo>
                    <a:pt x="1731" y="788"/>
                  </a:lnTo>
                  <a:lnTo>
                    <a:pt x="1733" y="791"/>
                  </a:lnTo>
                  <a:lnTo>
                    <a:pt x="1736" y="791"/>
                  </a:lnTo>
                  <a:lnTo>
                    <a:pt x="1736" y="793"/>
                  </a:lnTo>
                  <a:lnTo>
                    <a:pt x="1730" y="806"/>
                  </a:lnTo>
                  <a:lnTo>
                    <a:pt x="1729" y="814"/>
                  </a:lnTo>
                  <a:lnTo>
                    <a:pt x="1730" y="820"/>
                  </a:lnTo>
                  <a:lnTo>
                    <a:pt x="1733" y="825"/>
                  </a:lnTo>
                  <a:lnTo>
                    <a:pt x="1736" y="825"/>
                  </a:lnTo>
                  <a:lnTo>
                    <a:pt x="1739" y="825"/>
                  </a:lnTo>
                  <a:lnTo>
                    <a:pt x="1740" y="834"/>
                  </a:lnTo>
                  <a:lnTo>
                    <a:pt x="1737" y="859"/>
                  </a:lnTo>
                  <a:lnTo>
                    <a:pt x="1739" y="868"/>
                  </a:lnTo>
                  <a:lnTo>
                    <a:pt x="1739" y="876"/>
                  </a:lnTo>
                  <a:lnTo>
                    <a:pt x="1740" y="891"/>
                  </a:lnTo>
                  <a:lnTo>
                    <a:pt x="1747" y="911"/>
                  </a:lnTo>
                  <a:lnTo>
                    <a:pt x="1747" y="926"/>
                  </a:lnTo>
                  <a:lnTo>
                    <a:pt x="1747" y="940"/>
                  </a:lnTo>
                  <a:lnTo>
                    <a:pt x="1745" y="943"/>
                  </a:lnTo>
                  <a:lnTo>
                    <a:pt x="1747" y="949"/>
                  </a:lnTo>
                  <a:lnTo>
                    <a:pt x="1745" y="954"/>
                  </a:lnTo>
                  <a:lnTo>
                    <a:pt x="1747" y="956"/>
                  </a:lnTo>
                  <a:lnTo>
                    <a:pt x="1745" y="958"/>
                  </a:lnTo>
                  <a:lnTo>
                    <a:pt x="1745" y="963"/>
                  </a:lnTo>
                  <a:lnTo>
                    <a:pt x="1742" y="988"/>
                  </a:lnTo>
                  <a:lnTo>
                    <a:pt x="1747" y="990"/>
                  </a:lnTo>
                  <a:lnTo>
                    <a:pt x="1748" y="992"/>
                  </a:lnTo>
                  <a:lnTo>
                    <a:pt x="1750" y="992"/>
                  </a:lnTo>
                  <a:lnTo>
                    <a:pt x="1750" y="993"/>
                  </a:lnTo>
                  <a:lnTo>
                    <a:pt x="1751" y="993"/>
                  </a:lnTo>
                  <a:lnTo>
                    <a:pt x="1750" y="996"/>
                  </a:lnTo>
                  <a:lnTo>
                    <a:pt x="1751" y="998"/>
                  </a:lnTo>
                  <a:lnTo>
                    <a:pt x="1750" y="1003"/>
                  </a:lnTo>
                  <a:lnTo>
                    <a:pt x="1748" y="1004"/>
                  </a:lnTo>
                  <a:lnTo>
                    <a:pt x="1747" y="1003"/>
                  </a:lnTo>
                  <a:lnTo>
                    <a:pt x="1747" y="1005"/>
                  </a:lnTo>
                  <a:lnTo>
                    <a:pt x="1751" y="1008"/>
                  </a:lnTo>
                  <a:lnTo>
                    <a:pt x="1750" y="1011"/>
                  </a:lnTo>
                  <a:lnTo>
                    <a:pt x="1751" y="1011"/>
                  </a:lnTo>
                  <a:lnTo>
                    <a:pt x="1751" y="1012"/>
                  </a:lnTo>
                  <a:lnTo>
                    <a:pt x="1752" y="1012"/>
                  </a:lnTo>
                  <a:lnTo>
                    <a:pt x="1751" y="1015"/>
                  </a:lnTo>
                  <a:lnTo>
                    <a:pt x="1748" y="1018"/>
                  </a:lnTo>
                  <a:lnTo>
                    <a:pt x="1754" y="1016"/>
                  </a:lnTo>
                  <a:lnTo>
                    <a:pt x="1754" y="1020"/>
                  </a:lnTo>
                  <a:lnTo>
                    <a:pt x="1755" y="1020"/>
                  </a:lnTo>
                  <a:lnTo>
                    <a:pt x="1758" y="1018"/>
                  </a:lnTo>
                  <a:lnTo>
                    <a:pt x="1759" y="1020"/>
                  </a:lnTo>
                  <a:lnTo>
                    <a:pt x="1759" y="1018"/>
                  </a:lnTo>
                  <a:lnTo>
                    <a:pt x="1762" y="1012"/>
                  </a:lnTo>
                  <a:lnTo>
                    <a:pt x="1761" y="1012"/>
                  </a:lnTo>
                  <a:lnTo>
                    <a:pt x="1758" y="1012"/>
                  </a:lnTo>
                  <a:lnTo>
                    <a:pt x="1758" y="1008"/>
                  </a:lnTo>
                  <a:lnTo>
                    <a:pt x="1766" y="1000"/>
                  </a:lnTo>
                  <a:lnTo>
                    <a:pt x="1766" y="1003"/>
                  </a:lnTo>
                  <a:lnTo>
                    <a:pt x="1762" y="1005"/>
                  </a:lnTo>
                  <a:lnTo>
                    <a:pt x="1761" y="1011"/>
                  </a:lnTo>
                  <a:lnTo>
                    <a:pt x="1766" y="1010"/>
                  </a:lnTo>
                  <a:lnTo>
                    <a:pt x="1767" y="1005"/>
                  </a:lnTo>
                  <a:lnTo>
                    <a:pt x="1775" y="1007"/>
                  </a:lnTo>
                  <a:lnTo>
                    <a:pt x="1775" y="1010"/>
                  </a:lnTo>
                  <a:lnTo>
                    <a:pt x="1779" y="1011"/>
                  </a:lnTo>
                  <a:lnTo>
                    <a:pt x="1779" y="1020"/>
                  </a:lnTo>
                  <a:lnTo>
                    <a:pt x="1781" y="1016"/>
                  </a:lnTo>
                  <a:lnTo>
                    <a:pt x="1783" y="1012"/>
                  </a:lnTo>
                  <a:lnTo>
                    <a:pt x="1784" y="1015"/>
                  </a:lnTo>
                  <a:lnTo>
                    <a:pt x="1784" y="1011"/>
                  </a:lnTo>
                  <a:lnTo>
                    <a:pt x="1787" y="1010"/>
                  </a:lnTo>
                  <a:lnTo>
                    <a:pt x="1789" y="1010"/>
                  </a:lnTo>
                  <a:lnTo>
                    <a:pt x="1789" y="1007"/>
                  </a:lnTo>
                  <a:lnTo>
                    <a:pt x="1791" y="1008"/>
                  </a:lnTo>
                  <a:lnTo>
                    <a:pt x="1793" y="1007"/>
                  </a:lnTo>
                  <a:lnTo>
                    <a:pt x="1795" y="1007"/>
                  </a:lnTo>
                  <a:lnTo>
                    <a:pt x="1797" y="1010"/>
                  </a:lnTo>
                  <a:lnTo>
                    <a:pt x="1798" y="1015"/>
                  </a:lnTo>
                  <a:lnTo>
                    <a:pt x="1800" y="1004"/>
                  </a:lnTo>
                  <a:lnTo>
                    <a:pt x="1804" y="999"/>
                  </a:lnTo>
                  <a:lnTo>
                    <a:pt x="1805" y="1000"/>
                  </a:lnTo>
                  <a:lnTo>
                    <a:pt x="1808" y="999"/>
                  </a:lnTo>
                  <a:lnTo>
                    <a:pt x="1808" y="998"/>
                  </a:lnTo>
                  <a:lnTo>
                    <a:pt x="1811" y="998"/>
                  </a:lnTo>
                  <a:lnTo>
                    <a:pt x="1815" y="999"/>
                  </a:lnTo>
                  <a:lnTo>
                    <a:pt x="1811" y="993"/>
                  </a:lnTo>
                  <a:lnTo>
                    <a:pt x="1812" y="988"/>
                  </a:lnTo>
                  <a:lnTo>
                    <a:pt x="1816" y="990"/>
                  </a:lnTo>
                  <a:lnTo>
                    <a:pt x="1819" y="990"/>
                  </a:lnTo>
                  <a:lnTo>
                    <a:pt x="1816" y="988"/>
                  </a:lnTo>
                  <a:lnTo>
                    <a:pt x="1811" y="984"/>
                  </a:lnTo>
                  <a:lnTo>
                    <a:pt x="1814" y="979"/>
                  </a:lnTo>
                  <a:lnTo>
                    <a:pt x="1822" y="971"/>
                  </a:lnTo>
                  <a:lnTo>
                    <a:pt x="1837" y="963"/>
                  </a:lnTo>
                  <a:lnTo>
                    <a:pt x="1837" y="961"/>
                  </a:lnTo>
                  <a:lnTo>
                    <a:pt x="1840" y="959"/>
                  </a:lnTo>
                  <a:lnTo>
                    <a:pt x="1839" y="955"/>
                  </a:lnTo>
                  <a:lnTo>
                    <a:pt x="1839" y="954"/>
                  </a:lnTo>
                  <a:lnTo>
                    <a:pt x="1833" y="941"/>
                  </a:lnTo>
                  <a:lnTo>
                    <a:pt x="1836" y="938"/>
                  </a:lnTo>
                  <a:lnTo>
                    <a:pt x="1840" y="933"/>
                  </a:lnTo>
                  <a:lnTo>
                    <a:pt x="1844" y="931"/>
                  </a:lnTo>
                  <a:lnTo>
                    <a:pt x="1844" y="926"/>
                  </a:lnTo>
                  <a:lnTo>
                    <a:pt x="1847" y="925"/>
                  </a:lnTo>
                  <a:lnTo>
                    <a:pt x="1849" y="917"/>
                  </a:lnTo>
                  <a:lnTo>
                    <a:pt x="1851" y="916"/>
                  </a:lnTo>
                  <a:lnTo>
                    <a:pt x="1862" y="917"/>
                  </a:lnTo>
                  <a:lnTo>
                    <a:pt x="1868" y="918"/>
                  </a:lnTo>
                  <a:lnTo>
                    <a:pt x="1871" y="923"/>
                  </a:lnTo>
                  <a:lnTo>
                    <a:pt x="1875" y="931"/>
                  </a:lnTo>
                  <a:lnTo>
                    <a:pt x="1874" y="943"/>
                  </a:lnTo>
                  <a:lnTo>
                    <a:pt x="1878" y="953"/>
                  </a:lnTo>
                  <a:lnTo>
                    <a:pt x="1878" y="961"/>
                  </a:lnTo>
                  <a:lnTo>
                    <a:pt x="1885" y="974"/>
                  </a:lnTo>
                  <a:lnTo>
                    <a:pt x="1891" y="988"/>
                  </a:lnTo>
                  <a:lnTo>
                    <a:pt x="1897" y="1012"/>
                  </a:lnTo>
                  <a:lnTo>
                    <a:pt x="1897" y="1020"/>
                  </a:lnTo>
                  <a:lnTo>
                    <a:pt x="1901" y="1016"/>
                  </a:lnTo>
                  <a:lnTo>
                    <a:pt x="1900" y="1011"/>
                  </a:lnTo>
                  <a:lnTo>
                    <a:pt x="1903" y="1010"/>
                  </a:lnTo>
                  <a:lnTo>
                    <a:pt x="1901" y="1004"/>
                  </a:lnTo>
                  <a:lnTo>
                    <a:pt x="1904" y="1000"/>
                  </a:lnTo>
                  <a:lnTo>
                    <a:pt x="1903" y="998"/>
                  </a:lnTo>
                  <a:lnTo>
                    <a:pt x="1904" y="993"/>
                  </a:lnTo>
                  <a:lnTo>
                    <a:pt x="1905" y="992"/>
                  </a:lnTo>
                  <a:lnTo>
                    <a:pt x="1908" y="990"/>
                  </a:lnTo>
                  <a:lnTo>
                    <a:pt x="1911" y="982"/>
                  </a:lnTo>
                  <a:lnTo>
                    <a:pt x="1911" y="978"/>
                  </a:lnTo>
                  <a:lnTo>
                    <a:pt x="1912" y="976"/>
                  </a:lnTo>
                  <a:lnTo>
                    <a:pt x="1912" y="975"/>
                  </a:lnTo>
                  <a:lnTo>
                    <a:pt x="1910" y="974"/>
                  </a:lnTo>
                  <a:lnTo>
                    <a:pt x="1910" y="967"/>
                  </a:lnTo>
                  <a:lnTo>
                    <a:pt x="1915" y="967"/>
                  </a:lnTo>
                  <a:lnTo>
                    <a:pt x="1912" y="967"/>
                  </a:lnTo>
                  <a:lnTo>
                    <a:pt x="1912" y="963"/>
                  </a:lnTo>
                  <a:lnTo>
                    <a:pt x="1914" y="963"/>
                  </a:lnTo>
                  <a:lnTo>
                    <a:pt x="1914" y="962"/>
                  </a:lnTo>
                  <a:lnTo>
                    <a:pt x="1915" y="959"/>
                  </a:lnTo>
                  <a:lnTo>
                    <a:pt x="1915" y="958"/>
                  </a:lnTo>
                  <a:lnTo>
                    <a:pt x="1916" y="954"/>
                  </a:lnTo>
                  <a:lnTo>
                    <a:pt x="1916" y="951"/>
                  </a:lnTo>
                  <a:lnTo>
                    <a:pt x="1915" y="948"/>
                  </a:lnTo>
                  <a:lnTo>
                    <a:pt x="1914" y="940"/>
                  </a:lnTo>
                  <a:lnTo>
                    <a:pt x="1911" y="933"/>
                  </a:lnTo>
                  <a:lnTo>
                    <a:pt x="1915" y="937"/>
                  </a:lnTo>
                  <a:lnTo>
                    <a:pt x="1918" y="949"/>
                  </a:lnTo>
                  <a:lnTo>
                    <a:pt x="1918" y="962"/>
                  </a:lnTo>
                  <a:lnTo>
                    <a:pt x="1910" y="993"/>
                  </a:lnTo>
                  <a:lnTo>
                    <a:pt x="1904" y="1032"/>
                  </a:lnTo>
                  <a:lnTo>
                    <a:pt x="1905" y="1033"/>
                  </a:lnTo>
                  <a:lnTo>
                    <a:pt x="1904" y="1041"/>
                  </a:lnTo>
                  <a:lnTo>
                    <a:pt x="1904" y="1048"/>
                  </a:lnTo>
                  <a:lnTo>
                    <a:pt x="1908" y="1055"/>
                  </a:lnTo>
                  <a:lnTo>
                    <a:pt x="1908" y="1070"/>
                  </a:lnTo>
                  <a:lnTo>
                    <a:pt x="1911" y="1079"/>
                  </a:lnTo>
                  <a:lnTo>
                    <a:pt x="1914" y="1095"/>
                  </a:lnTo>
                  <a:lnTo>
                    <a:pt x="1915" y="1098"/>
                  </a:lnTo>
                  <a:lnTo>
                    <a:pt x="1914" y="1136"/>
                  </a:lnTo>
                  <a:lnTo>
                    <a:pt x="1912" y="1173"/>
                  </a:lnTo>
                  <a:lnTo>
                    <a:pt x="1912" y="1177"/>
                  </a:lnTo>
                  <a:lnTo>
                    <a:pt x="1908" y="1212"/>
                  </a:lnTo>
                  <a:lnTo>
                    <a:pt x="1901" y="1237"/>
                  </a:lnTo>
                  <a:lnTo>
                    <a:pt x="1899" y="1248"/>
                  </a:lnTo>
                  <a:lnTo>
                    <a:pt x="1887" y="1284"/>
                  </a:lnTo>
                  <a:lnTo>
                    <a:pt x="1883" y="1310"/>
                  </a:lnTo>
                  <a:lnTo>
                    <a:pt x="1883" y="1322"/>
                  </a:lnTo>
                  <a:lnTo>
                    <a:pt x="1885" y="1323"/>
                  </a:lnTo>
                  <a:lnTo>
                    <a:pt x="1885" y="1336"/>
                  </a:lnTo>
                  <a:lnTo>
                    <a:pt x="1887" y="1344"/>
                  </a:lnTo>
                  <a:lnTo>
                    <a:pt x="1887" y="1353"/>
                  </a:lnTo>
                  <a:lnTo>
                    <a:pt x="1890" y="1360"/>
                  </a:lnTo>
                  <a:lnTo>
                    <a:pt x="1890" y="1372"/>
                  </a:lnTo>
                  <a:lnTo>
                    <a:pt x="1893" y="1384"/>
                  </a:lnTo>
                  <a:lnTo>
                    <a:pt x="1893" y="1397"/>
                  </a:lnTo>
                  <a:lnTo>
                    <a:pt x="1891" y="1411"/>
                  </a:lnTo>
                  <a:lnTo>
                    <a:pt x="1891" y="1420"/>
                  </a:lnTo>
                  <a:lnTo>
                    <a:pt x="1890" y="1450"/>
                  </a:lnTo>
                  <a:lnTo>
                    <a:pt x="1891" y="1456"/>
                  </a:lnTo>
                  <a:lnTo>
                    <a:pt x="1891" y="1472"/>
                  </a:lnTo>
                  <a:lnTo>
                    <a:pt x="1894" y="1493"/>
                  </a:lnTo>
                  <a:lnTo>
                    <a:pt x="1894" y="1502"/>
                  </a:lnTo>
                  <a:lnTo>
                    <a:pt x="1900" y="1523"/>
                  </a:lnTo>
                  <a:lnTo>
                    <a:pt x="1904" y="1532"/>
                  </a:lnTo>
                  <a:lnTo>
                    <a:pt x="1903" y="1537"/>
                  </a:lnTo>
                  <a:lnTo>
                    <a:pt x="1911" y="1548"/>
                  </a:lnTo>
                  <a:lnTo>
                    <a:pt x="1911" y="1555"/>
                  </a:lnTo>
                  <a:lnTo>
                    <a:pt x="1916" y="1563"/>
                  </a:lnTo>
                  <a:lnTo>
                    <a:pt x="1915" y="1567"/>
                  </a:lnTo>
                  <a:lnTo>
                    <a:pt x="1918" y="1575"/>
                  </a:lnTo>
                  <a:lnTo>
                    <a:pt x="1916" y="1577"/>
                  </a:lnTo>
                  <a:lnTo>
                    <a:pt x="1916" y="1581"/>
                  </a:lnTo>
                  <a:lnTo>
                    <a:pt x="1918" y="1584"/>
                  </a:lnTo>
                  <a:lnTo>
                    <a:pt x="1928" y="1584"/>
                  </a:lnTo>
                  <a:lnTo>
                    <a:pt x="1936" y="1589"/>
                  </a:lnTo>
                  <a:lnTo>
                    <a:pt x="1939" y="1588"/>
                  </a:lnTo>
                  <a:lnTo>
                    <a:pt x="1941" y="1593"/>
                  </a:lnTo>
                  <a:lnTo>
                    <a:pt x="1943" y="1591"/>
                  </a:lnTo>
                  <a:lnTo>
                    <a:pt x="1941" y="1585"/>
                  </a:lnTo>
                  <a:lnTo>
                    <a:pt x="1936" y="1581"/>
                  </a:lnTo>
                  <a:lnTo>
                    <a:pt x="1929" y="1571"/>
                  </a:lnTo>
                  <a:lnTo>
                    <a:pt x="1926" y="1569"/>
                  </a:lnTo>
                  <a:lnTo>
                    <a:pt x="1922" y="1562"/>
                  </a:lnTo>
                  <a:lnTo>
                    <a:pt x="1919" y="1559"/>
                  </a:lnTo>
                  <a:lnTo>
                    <a:pt x="1919" y="1555"/>
                  </a:lnTo>
                  <a:lnTo>
                    <a:pt x="1918" y="1554"/>
                  </a:lnTo>
                  <a:lnTo>
                    <a:pt x="1916" y="1550"/>
                  </a:lnTo>
                  <a:lnTo>
                    <a:pt x="1918" y="1550"/>
                  </a:lnTo>
                  <a:lnTo>
                    <a:pt x="1926" y="1564"/>
                  </a:lnTo>
                  <a:lnTo>
                    <a:pt x="1932" y="1574"/>
                  </a:lnTo>
                  <a:lnTo>
                    <a:pt x="1939" y="1575"/>
                  </a:lnTo>
                  <a:lnTo>
                    <a:pt x="1941" y="1577"/>
                  </a:lnTo>
                  <a:lnTo>
                    <a:pt x="1955" y="1580"/>
                  </a:lnTo>
                  <a:lnTo>
                    <a:pt x="1958" y="1581"/>
                  </a:lnTo>
                  <a:lnTo>
                    <a:pt x="1962" y="1581"/>
                  </a:lnTo>
                  <a:close/>
                  <a:moveTo>
                    <a:pt x="1874" y="513"/>
                  </a:moveTo>
                  <a:lnTo>
                    <a:pt x="1874" y="518"/>
                  </a:lnTo>
                  <a:lnTo>
                    <a:pt x="1875" y="524"/>
                  </a:lnTo>
                  <a:lnTo>
                    <a:pt x="1869" y="543"/>
                  </a:lnTo>
                  <a:lnTo>
                    <a:pt x="1872" y="548"/>
                  </a:lnTo>
                  <a:lnTo>
                    <a:pt x="1875" y="551"/>
                  </a:lnTo>
                  <a:lnTo>
                    <a:pt x="1878" y="551"/>
                  </a:lnTo>
                  <a:lnTo>
                    <a:pt x="1878" y="552"/>
                  </a:lnTo>
                  <a:lnTo>
                    <a:pt x="1868" y="583"/>
                  </a:lnTo>
                  <a:lnTo>
                    <a:pt x="1866" y="600"/>
                  </a:lnTo>
                  <a:lnTo>
                    <a:pt x="1855" y="620"/>
                  </a:lnTo>
                  <a:lnTo>
                    <a:pt x="1852" y="623"/>
                  </a:lnTo>
                  <a:lnTo>
                    <a:pt x="1849" y="634"/>
                  </a:lnTo>
                  <a:lnTo>
                    <a:pt x="1847" y="652"/>
                  </a:lnTo>
                  <a:lnTo>
                    <a:pt x="1850" y="660"/>
                  </a:lnTo>
                  <a:lnTo>
                    <a:pt x="1850" y="664"/>
                  </a:lnTo>
                  <a:lnTo>
                    <a:pt x="1844" y="675"/>
                  </a:lnTo>
                  <a:lnTo>
                    <a:pt x="1835" y="660"/>
                  </a:lnTo>
                  <a:lnTo>
                    <a:pt x="1833" y="659"/>
                  </a:lnTo>
                  <a:lnTo>
                    <a:pt x="1829" y="653"/>
                  </a:lnTo>
                  <a:lnTo>
                    <a:pt x="1827" y="650"/>
                  </a:lnTo>
                  <a:lnTo>
                    <a:pt x="1827" y="648"/>
                  </a:lnTo>
                  <a:lnTo>
                    <a:pt x="1829" y="647"/>
                  </a:lnTo>
                  <a:lnTo>
                    <a:pt x="1830" y="642"/>
                  </a:lnTo>
                  <a:lnTo>
                    <a:pt x="1829" y="637"/>
                  </a:lnTo>
                  <a:lnTo>
                    <a:pt x="1827" y="634"/>
                  </a:lnTo>
                  <a:lnTo>
                    <a:pt x="1827" y="631"/>
                  </a:lnTo>
                  <a:lnTo>
                    <a:pt x="1825" y="625"/>
                  </a:lnTo>
                  <a:lnTo>
                    <a:pt x="1819" y="620"/>
                  </a:lnTo>
                  <a:lnTo>
                    <a:pt x="1821" y="615"/>
                  </a:lnTo>
                  <a:lnTo>
                    <a:pt x="1826" y="615"/>
                  </a:lnTo>
                  <a:lnTo>
                    <a:pt x="1833" y="609"/>
                  </a:lnTo>
                  <a:lnTo>
                    <a:pt x="1837" y="601"/>
                  </a:lnTo>
                  <a:lnTo>
                    <a:pt x="1837" y="596"/>
                  </a:lnTo>
                  <a:lnTo>
                    <a:pt x="1835" y="586"/>
                  </a:lnTo>
                  <a:lnTo>
                    <a:pt x="1835" y="584"/>
                  </a:lnTo>
                  <a:lnTo>
                    <a:pt x="1832" y="576"/>
                  </a:lnTo>
                  <a:lnTo>
                    <a:pt x="1829" y="573"/>
                  </a:lnTo>
                  <a:lnTo>
                    <a:pt x="1826" y="566"/>
                  </a:lnTo>
                  <a:lnTo>
                    <a:pt x="1825" y="564"/>
                  </a:lnTo>
                  <a:lnTo>
                    <a:pt x="1841" y="552"/>
                  </a:lnTo>
                  <a:lnTo>
                    <a:pt x="1850" y="539"/>
                  </a:lnTo>
                  <a:lnTo>
                    <a:pt x="1850" y="526"/>
                  </a:lnTo>
                  <a:lnTo>
                    <a:pt x="1850" y="522"/>
                  </a:lnTo>
                  <a:lnTo>
                    <a:pt x="1852" y="522"/>
                  </a:lnTo>
                  <a:lnTo>
                    <a:pt x="1852" y="521"/>
                  </a:lnTo>
                  <a:lnTo>
                    <a:pt x="1852" y="510"/>
                  </a:lnTo>
                  <a:lnTo>
                    <a:pt x="1849" y="489"/>
                  </a:lnTo>
                  <a:lnTo>
                    <a:pt x="1854" y="484"/>
                  </a:lnTo>
                  <a:lnTo>
                    <a:pt x="1857" y="476"/>
                  </a:lnTo>
                  <a:lnTo>
                    <a:pt x="1857" y="463"/>
                  </a:lnTo>
                  <a:lnTo>
                    <a:pt x="1861" y="460"/>
                  </a:lnTo>
                  <a:lnTo>
                    <a:pt x="1864" y="457"/>
                  </a:lnTo>
                  <a:lnTo>
                    <a:pt x="1862" y="454"/>
                  </a:lnTo>
                  <a:lnTo>
                    <a:pt x="1861" y="451"/>
                  </a:lnTo>
                  <a:lnTo>
                    <a:pt x="1846" y="444"/>
                  </a:lnTo>
                  <a:lnTo>
                    <a:pt x="1841" y="441"/>
                  </a:lnTo>
                  <a:lnTo>
                    <a:pt x="1837" y="440"/>
                  </a:lnTo>
                  <a:lnTo>
                    <a:pt x="1840" y="440"/>
                  </a:lnTo>
                  <a:lnTo>
                    <a:pt x="1860" y="449"/>
                  </a:lnTo>
                  <a:lnTo>
                    <a:pt x="1865" y="447"/>
                  </a:lnTo>
                  <a:lnTo>
                    <a:pt x="1871" y="459"/>
                  </a:lnTo>
                  <a:lnTo>
                    <a:pt x="1875" y="464"/>
                  </a:lnTo>
                  <a:lnTo>
                    <a:pt x="1875" y="485"/>
                  </a:lnTo>
                  <a:lnTo>
                    <a:pt x="1878" y="488"/>
                  </a:lnTo>
                  <a:lnTo>
                    <a:pt x="1878" y="490"/>
                  </a:lnTo>
                  <a:lnTo>
                    <a:pt x="1874" y="513"/>
                  </a:lnTo>
                  <a:close/>
                  <a:moveTo>
                    <a:pt x="1854" y="687"/>
                  </a:moveTo>
                  <a:lnTo>
                    <a:pt x="1854" y="693"/>
                  </a:lnTo>
                  <a:lnTo>
                    <a:pt x="1851" y="698"/>
                  </a:lnTo>
                  <a:lnTo>
                    <a:pt x="1847" y="715"/>
                  </a:lnTo>
                  <a:lnTo>
                    <a:pt x="1846" y="718"/>
                  </a:lnTo>
                  <a:lnTo>
                    <a:pt x="1843" y="749"/>
                  </a:lnTo>
                  <a:lnTo>
                    <a:pt x="1840" y="760"/>
                  </a:lnTo>
                  <a:lnTo>
                    <a:pt x="1836" y="770"/>
                  </a:lnTo>
                  <a:lnTo>
                    <a:pt x="1832" y="766"/>
                  </a:lnTo>
                  <a:lnTo>
                    <a:pt x="1822" y="762"/>
                  </a:lnTo>
                  <a:lnTo>
                    <a:pt x="1821" y="762"/>
                  </a:lnTo>
                  <a:lnTo>
                    <a:pt x="1818" y="754"/>
                  </a:lnTo>
                  <a:lnTo>
                    <a:pt x="1819" y="750"/>
                  </a:lnTo>
                  <a:lnTo>
                    <a:pt x="1818" y="743"/>
                  </a:lnTo>
                  <a:lnTo>
                    <a:pt x="1816" y="739"/>
                  </a:lnTo>
                  <a:lnTo>
                    <a:pt x="1809" y="734"/>
                  </a:lnTo>
                  <a:lnTo>
                    <a:pt x="1809" y="730"/>
                  </a:lnTo>
                  <a:lnTo>
                    <a:pt x="1815" y="729"/>
                  </a:lnTo>
                  <a:lnTo>
                    <a:pt x="1822" y="720"/>
                  </a:lnTo>
                  <a:lnTo>
                    <a:pt x="1830" y="717"/>
                  </a:lnTo>
                  <a:lnTo>
                    <a:pt x="1832" y="713"/>
                  </a:lnTo>
                  <a:lnTo>
                    <a:pt x="1843" y="715"/>
                  </a:lnTo>
                  <a:lnTo>
                    <a:pt x="1841" y="709"/>
                  </a:lnTo>
                  <a:lnTo>
                    <a:pt x="1841" y="705"/>
                  </a:lnTo>
                  <a:lnTo>
                    <a:pt x="1843" y="702"/>
                  </a:lnTo>
                  <a:lnTo>
                    <a:pt x="1847" y="700"/>
                  </a:lnTo>
                  <a:lnTo>
                    <a:pt x="1847" y="693"/>
                  </a:lnTo>
                  <a:lnTo>
                    <a:pt x="1850" y="687"/>
                  </a:lnTo>
                  <a:lnTo>
                    <a:pt x="1849" y="687"/>
                  </a:lnTo>
                  <a:lnTo>
                    <a:pt x="1849" y="683"/>
                  </a:lnTo>
                  <a:lnTo>
                    <a:pt x="1851" y="685"/>
                  </a:lnTo>
                  <a:lnTo>
                    <a:pt x="1854" y="687"/>
                  </a:lnTo>
                  <a:close/>
                  <a:moveTo>
                    <a:pt x="1905" y="953"/>
                  </a:moveTo>
                  <a:lnTo>
                    <a:pt x="1907" y="958"/>
                  </a:lnTo>
                  <a:lnTo>
                    <a:pt x="1905" y="959"/>
                  </a:lnTo>
                  <a:lnTo>
                    <a:pt x="1904" y="963"/>
                  </a:lnTo>
                  <a:lnTo>
                    <a:pt x="1904" y="967"/>
                  </a:lnTo>
                  <a:lnTo>
                    <a:pt x="1897" y="963"/>
                  </a:lnTo>
                  <a:lnTo>
                    <a:pt x="1896" y="956"/>
                  </a:lnTo>
                  <a:lnTo>
                    <a:pt x="1896" y="951"/>
                  </a:lnTo>
                  <a:lnTo>
                    <a:pt x="1897" y="949"/>
                  </a:lnTo>
                  <a:lnTo>
                    <a:pt x="1900" y="945"/>
                  </a:lnTo>
                  <a:lnTo>
                    <a:pt x="1903" y="945"/>
                  </a:lnTo>
                  <a:lnTo>
                    <a:pt x="1904" y="949"/>
                  </a:lnTo>
                  <a:lnTo>
                    <a:pt x="1907" y="949"/>
                  </a:lnTo>
                  <a:lnTo>
                    <a:pt x="1907" y="951"/>
                  </a:lnTo>
                  <a:lnTo>
                    <a:pt x="1905" y="953"/>
                  </a:lnTo>
                  <a:close/>
                  <a:moveTo>
                    <a:pt x="1826" y="806"/>
                  </a:moveTo>
                  <a:lnTo>
                    <a:pt x="1826" y="813"/>
                  </a:lnTo>
                  <a:lnTo>
                    <a:pt x="1829" y="824"/>
                  </a:lnTo>
                  <a:lnTo>
                    <a:pt x="1823" y="818"/>
                  </a:lnTo>
                  <a:lnTo>
                    <a:pt x="1818" y="824"/>
                  </a:lnTo>
                  <a:lnTo>
                    <a:pt x="1815" y="824"/>
                  </a:lnTo>
                  <a:lnTo>
                    <a:pt x="1816" y="816"/>
                  </a:lnTo>
                  <a:lnTo>
                    <a:pt x="1819" y="812"/>
                  </a:lnTo>
                  <a:lnTo>
                    <a:pt x="1822" y="806"/>
                  </a:lnTo>
                  <a:lnTo>
                    <a:pt x="1823" y="806"/>
                  </a:lnTo>
                  <a:lnTo>
                    <a:pt x="1826" y="806"/>
                  </a:lnTo>
                  <a:close/>
                  <a:moveTo>
                    <a:pt x="1583" y="187"/>
                  </a:moveTo>
                  <a:lnTo>
                    <a:pt x="1583" y="192"/>
                  </a:lnTo>
                  <a:lnTo>
                    <a:pt x="1581" y="195"/>
                  </a:lnTo>
                  <a:lnTo>
                    <a:pt x="1580" y="186"/>
                  </a:lnTo>
                  <a:lnTo>
                    <a:pt x="1576" y="179"/>
                  </a:lnTo>
                  <a:lnTo>
                    <a:pt x="1577" y="173"/>
                  </a:lnTo>
                  <a:lnTo>
                    <a:pt x="1575" y="169"/>
                  </a:lnTo>
                  <a:lnTo>
                    <a:pt x="1575" y="166"/>
                  </a:lnTo>
                  <a:lnTo>
                    <a:pt x="1576" y="166"/>
                  </a:lnTo>
                  <a:lnTo>
                    <a:pt x="1580" y="173"/>
                  </a:lnTo>
                  <a:lnTo>
                    <a:pt x="1581" y="176"/>
                  </a:lnTo>
                  <a:lnTo>
                    <a:pt x="1583" y="187"/>
                  </a:lnTo>
                  <a:close/>
                  <a:moveTo>
                    <a:pt x="1900" y="978"/>
                  </a:moveTo>
                  <a:lnTo>
                    <a:pt x="1901" y="982"/>
                  </a:lnTo>
                  <a:lnTo>
                    <a:pt x="1900" y="986"/>
                  </a:lnTo>
                  <a:lnTo>
                    <a:pt x="1896" y="987"/>
                  </a:lnTo>
                  <a:lnTo>
                    <a:pt x="1896" y="986"/>
                  </a:lnTo>
                  <a:lnTo>
                    <a:pt x="1896" y="980"/>
                  </a:lnTo>
                  <a:lnTo>
                    <a:pt x="1897" y="978"/>
                  </a:lnTo>
                  <a:lnTo>
                    <a:pt x="1897" y="976"/>
                  </a:lnTo>
                  <a:lnTo>
                    <a:pt x="1900" y="978"/>
                  </a:lnTo>
                  <a:close/>
                  <a:moveTo>
                    <a:pt x="1754" y="531"/>
                  </a:moveTo>
                  <a:lnTo>
                    <a:pt x="1752" y="539"/>
                  </a:lnTo>
                  <a:lnTo>
                    <a:pt x="1750" y="538"/>
                  </a:lnTo>
                  <a:lnTo>
                    <a:pt x="1751" y="534"/>
                  </a:lnTo>
                  <a:lnTo>
                    <a:pt x="1751" y="531"/>
                  </a:lnTo>
                  <a:lnTo>
                    <a:pt x="1747" y="530"/>
                  </a:lnTo>
                  <a:lnTo>
                    <a:pt x="1747" y="526"/>
                  </a:lnTo>
                  <a:lnTo>
                    <a:pt x="1754" y="531"/>
                  </a:lnTo>
                  <a:close/>
                </a:path>
              </a:pathLst>
            </a:custGeom>
            <a:solidFill>
              <a:srgbClr val="548DD4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57" name="Freeform 156"/>
            <p:cNvSpPr>
              <a:spLocks noEditPoints="1"/>
            </p:cNvSpPr>
            <p:nvPr/>
          </p:nvSpPr>
          <p:spPr bwMode="auto">
            <a:xfrm>
              <a:off x="883168" y="4552168"/>
              <a:ext cx="193384" cy="578347"/>
            </a:xfrm>
            <a:custGeom>
              <a:avLst/>
              <a:gdLst>
                <a:gd name="T0" fmla="*/ 679 w 970"/>
                <a:gd name="T1" fmla="*/ 1183 h 2143"/>
                <a:gd name="T2" fmla="*/ 650 w 970"/>
                <a:gd name="T3" fmla="*/ 1324 h 2143"/>
                <a:gd name="T4" fmla="*/ 618 w 970"/>
                <a:gd name="T5" fmla="*/ 1310 h 2143"/>
                <a:gd name="T6" fmla="*/ 464 w 970"/>
                <a:gd name="T7" fmla="*/ 1397 h 2143"/>
                <a:gd name="T8" fmla="*/ 455 w 970"/>
                <a:gd name="T9" fmla="*/ 1451 h 2143"/>
                <a:gd name="T10" fmla="*/ 425 w 970"/>
                <a:gd name="T11" fmla="*/ 1519 h 2143"/>
                <a:gd name="T12" fmla="*/ 542 w 970"/>
                <a:gd name="T13" fmla="*/ 1480 h 2143"/>
                <a:gd name="T14" fmla="*/ 617 w 970"/>
                <a:gd name="T15" fmla="*/ 1596 h 2143"/>
                <a:gd name="T16" fmla="*/ 756 w 970"/>
                <a:gd name="T17" fmla="*/ 1667 h 2143"/>
                <a:gd name="T18" fmla="*/ 769 w 970"/>
                <a:gd name="T19" fmla="*/ 1576 h 2143"/>
                <a:gd name="T20" fmla="*/ 786 w 970"/>
                <a:gd name="T21" fmla="*/ 1571 h 2143"/>
                <a:gd name="T22" fmla="*/ 797 w 970"/>
                <a:gd name="T23" fmla="*/ 1530 h 2143"/>
                <a:gd name="T24" fmla="*/ 799 w 970"/>
                <a:gd name="T25" fmla="*/ 1525 h 2143"/>
                <a:gd name="T26" fmla="*/ 821 w 970"/>
                <a:gd name="T27" fmla="*/ 1571 h 2143"/>
                <a:gd name="T28" fmla="*/ 808 w 970"/>
                <a:gd name="T29" fmla="*/ 1733 h 2143"/>
                <a:gd name="T30" fmla="*/ 794 w 970"/>
                <a:gd name="T31" fmla="*/ 1859 h 2143"/>
                <a:gd name="T32" fmla="*/ 785 w 970"/>
                <a:gd name="T33" fmla="*/ 2013 h 2143"/>
                <a:gd name="T34" fmla="*/ 775 w 970"/>
                <a:gd name="T35" fmla="*/ 2064 h 2143"/>
                <a:gd name="T36" fmla="*/ 769 w 970"/>
                <a:gd name="T37" fmla="*/ 2114 h 2143"/>
                <a:gd name="T38" fmla="*/ 778 w 970"/>
                <a:gd name="T39" fmla="*/ 2123 h 2143"/>
                <a:gd name="T40" fmla="*/ 326 w 970"/>
                <a:gd name="T41" fmla="*/ 2131 h 2143"/>
                <a:gd name="T42" fmla="*/ 311 w 970"/>
                <a:gd name="T43" fmla="*/ 2129 h 2143"/>
                <a:gd name="T44" fmla="*/ 293 w 970"/>
                <a:gd name="T45" fmla="*/ 2129 h 2143"/>
                <a:gd name="T46" fmla="*/ 276 w 970"/>
                <a:gd name="T47" fmla="*/ 2125 h 2143"/>
                <a:gd name="T48" fmla="*/ 258 w 970"/>
                <a:gd name="T49" fmla="*/ 2119 h 2143"/>
                <a:gd name="T50" fmla="*/ 241 w 970"/>
                <a:gd name="T51" fmla="*/ 2114 h 2143"/>
                <a:gd name="T52" fmla="*/ 226 w 970"/>
                <a:gd name="T53" fmla="*/ 2119 h 2143"/>
                <a:gd name="T54" fmla="*/ 218 w 970"/>
                <a:gd name="T55" fmla="*/ 2129 h 2143"/>
                <a:gd name="T56" fmla="*/ 201 w 970"/>
                <a:gd name="T57" fmla="*/ 2135 h 2143"/>
                <a:gd name="T58" fmla="*/ 184 w 970"/>
                <a:gd name="T59" fmla="*/ 2127 h 2143"/>
                <a:gd name="T60" fmla="*/ 170 w 970"/>
                <a:gd name="T61" fmla="*/ 2119 h 2143"/>
                <a:gd name="T62" fmla="*/ 168 w 970"/>
                <a:gd name="T63" fmla="*/ 1960 h 2143"/>
                <a:gd name="T64" fmla="*/ 138 w 970"/>
                <a:gd name="T65" fmla="*/ 1600 h 2143"/>
                <a:gd name="T66" fmla="*/ 35 w 970"/>
                <a:gd name="T67" fmla="*/ 1407 h 2143"/>
                <a:gd name="T68" fmla="*/ 48 w 970"/>
                <a:gd name="T69" fmla="*/ 989 h 2143"/>
                <a:gd name="T70" fmla="*/ 38 w 970"/>
                <a:gd name="T71" fmla="*/ 33 h 2143"/>
                <a:gd name="T72" fmla="*/ 113 w 970"/>
                <a:gd name="T73" fmla="*/ 0 h 2143"/>
                <a:gd name="T74" fmla="*/ 193 w 970"/>
                <a:gd name="T75" fmla="*/ 11 h 2143"/>
                <a:gd name="T76" fmla="*/ 222 w 970"/>
                <a:gd name="T77" fmla="*/ 20 h 2143"/>
                <a:gd name="T78" fmla="*/ 284 w 970"/>
                <a:gd name="T79" fmla="*/ 43 h 2143"/>
                <a:gd name="T80" fmla="*/ 332 w 970"/>
                <a:gd name="T81" fmla="*/ 35 h 2143"/>
                <a:gd name="T82" fmla="*/ 395 w 970"/>
                <a:gd name="T83" fmla="*/ 56 h 2143"/>
                <a:gd name="T84" fmla="*/ 457 w 970"/>
                <a:gd name="T85" fmla="*/ 105 h 2143"/>
                <a:gd name="T86" fmla="*/ 536 w 970"/>
                <a:gd name="T87" fmla="*/ 127 h 2143"/>
                <a:gd name="T88" fmla="*/ 624 w 970"/>
                <a:gd name="T89" fmla="*/ 156 h 2143"/>
                <a:gd name="T90" fmla="*/ 639 w 970"/>
                <a:gd name="T91" fmla="*/ 256 h 2143"/>
                <a:gd name="T92" fmla="*/ 672 w 970"/>
                <a:gd name="T93" fmla="*/ 294 h 2143"/>
                <a:gd name="T94" fmla="*/ 703 w 970"/>
                <a:gd name="T95" fmla="*/ 346 h 2143"/>
                <a:gd name="T96" fmla="*/ 733 w 970"/>
                <a:gd name="T97" fmla="*/ 391 h 2143"/>
                <a:gd name="T98" fmla="*/ 747 w 970"/>
                <a:gd name="T99" fmla="*/ 433 h 2143"/>
                <a:gd name="T100" fmla="*/ 785 w 970"/>
                <a:gd name="T101" fmla="*/ 450 h 2143"/>
                <a:gd name="T102" fmla="*/ 791 w 970"/>
                <a:gd name="T103" fmla="*/ 538 h 2143"/>
                <a:gd name="T104" fmla="*/ 799 w 970"/>
                <a:gd name="T105" fmla="*/ 560 h 2143"/>
                <a:gd name="T106" fmla="*/ 810 w 970"/>
                <a:gd name="T107" fmla="*/ 574 h 2143"/>
                <a:gd name="T108" fmla="*/ 791 w 970"/>
                <a:gd name="T109" fmla="*/ 588 h 2143"/>
                <a:gd name="T110" fmla="*/ 797 w 970"/>
                <a:gd name="T111" fmla="*/ 642 h 2143"/>
                <a:gd name="T112" fmla="*/ 813 w 970"/>
                <a:gd name="T113" fmla="*/ 698 h 2143"/>
                <a:gd name="T114" fmla="*/ 860 w 970"/>
                <a:gd name="T115" fmla="*/ 712 h 2143"/>
                <a:gd name="T116" fmla="*/ 846 w 970"/>
                <a:gd name="T117" fmla="*/ 741 h 2143"/>
                <a:gd name="T118" fmla="*/ 856 w 970"/>
                <a:gd name="T119" fmla="*/ 783 h 2143"/>
                <a:gd name="T120" fmla="*/ 967 w 970"/>
                <a:gd name="T121" fmla="*/ 866 h 2143"/>
                <a:gd name="T122" fmla="*/ 628 w 970"/>
                <a:gd name="T123" fmla="*/ 1310 h 214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70"/>
                <a:gd name="T187" fmla="*/ 0 h 2143"/>
                <a:gd name="T188" fmla="*/ 970 w 970"/>
                <a:gd name="T189" fmla="*/ 2143 h 214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70" h="2143">
                  <a:moveTo>
                    <a:pt x="967" y="947"/>
                  </a:moveTo>
                  <a:lnTo>
                    <a:pt x="948" y="960"/>
                  </a:lnTo>
                  <a:lnTo>
                    <a:pt x="916" y="976"/>
                  </a:lnTo>
                  <a:lnTo>
                    <a:pt x="887" y="991"/>
                  </a:lnTo>
                  <a:lnTo>
                    <a:pt x="841" y="1023"/>
                  </a:lnTo>
                  <a:lnTo>
                    <a:pt x="810" y="1043"/>
                  </a:lnTo>
                  <a:lnTo>
                    <a:pt x="788" y="1057"/>
                  </a:lnTo>
                  <a:lnTo>
                    <a:pt x="743" y="1094"/>
                  </a:lnTo>
                  <a:lnTo>
                    <a:pt x="725" y="1111"/>
                  </a:lnTo>
                  <a:lnTo>
                    <a:pt x="717" y="1121"/>
                  </a:lnTo>
                  <a:lnTo>
                    <a:pt x="706" y="1135"/>
                  </a:lnTo>
                  <a:lnTo>
                    <a:pt x="694" y="1156"/>
                  </a:lnTo>
                  <a:lnTo>
                    <a:pt x="679" y="1183"/>
                  </a:lnTo>
                  <a:lnTo>
                    <a:pt x="661" y="1222"/>
                  </a:lnTo>
                  <a:lnTo>
                    <a:pt x="654" y="1242"/>
                  </a:lnTo>
                  <a:lnTo>
                    <a:pt x="649" y="1273"/>
                  </a:lnTo>
                  <a:lnTo>
                    <a:pt x="647" y="1288"/>
                  </a:lnTo>
                  <a:lnTo>
                    <a:pt x="653" y="1324"/>
                  </a:lnTo>
                  <a:lnTo>
                    <a:pt x="657" y="1334"/>
                  </a:lnTo>
                  <a:lnTo>
                    <a:pt x="661" y="1342"/>
                  </a:lnTo>
                  <a:lnTo>
                    <a:pt x="656" y="1342"/>
                  </a:lnTo>
                  <a:lnTo>
                    <a:pt x="654" y="1339"/>
                  </a:lnTo>
                  <a:lnTo>
                    <a:pt x="654" y="1335"/>
                  </a:lnTo>
                  <a:lnTo>
                    <a:pt x="652" y="1333"/>
                  </a:lnTo>
                  <a:lnTo>
                    <a:pt x="650" y="1332"/>
                  </a:lnTo>
                  <a:lnTo>
                    <a:pt x="650" y="1324"/>
                  </a:lnTo>
                  <a:lnTo>
                    <a:pt x="647" y="1317"/>
                  </a:lnTo>
                  <a:lnTo>
                    <a:pt x="649" y="1309"/>
                  </a:lnTo>
                  <a:lnTo>
                    <a:pt x="646" y="1298"/>
                  </a:lnTo>
                  <a:lnTo>
                    <a:pt x="646" y="1295"/>
                  </a:lnTo>
                  <a:lnTo>
                    <a:pt x="644" y="1289"/>
                  </a:lnTo>
                  <a:lnTo>
                    <a:pt x="642" y="1289"/>
                  </a:lnTo>
                  <a:lnTo>
                    <a:pt x="638" y="1289"/>
                  </a:lnTo>
                  <a:lnTo>
                    <a:pt x="636" y="1295"/>
                  </a:lnTo>
                  <a:lnTo>
                    <a:pt x="633" y="1300"/>
                  </a:lnTo>
                  <a:lnTo>
                    <a:pt x="627" y="1300"/>
                  </a:lnTo>
                  <a:lnTo>
                    <a:pt x="621" y="1302"/>
                  </a:lnTo>
                  <a:lnTo>
                    <a:pt x="621" y="1308"/>
                  </a:lnTo>
                  <a:lnTo>
                    <a:pt x="618" y="1310"/>
                  </a:lnTo>
                  <a:lnTo>
                    <a:pt x="618" y="1317"/>
                  </a:lnTo>
                  <a:lnTo>
                    <a:pt x="617" y="1318"/>
                  </a:lnTo>
                  <a:lnTo>
                    <a:pt x="617" y="1326"/>
                  </a:lnTo>
                  <a:lnTo>
                    <a:pt x="514" y="1292"/>
                  </a:lnTo>
                  <a:lnTo>
                    <a:pt x="508" y="1327"/>
                  </a:lnTo>
                  <a:lnTo>
                    <a:pt x="508" y="1347"/>
                  </a:lnTo>
                  <a:lnTo>
                    <a:pt x="505" y="1358"/>
                  </a:lnTo>
                  <a:lnTo>
                    <a:pt x="501" y="1367"/>
                  </a:lnTo>
                  <a:lnTo>
                    <a:pt x="497" y="1376"/>
                  </a:lnTo>
                  <a:lnTo>
                    <a:pt x="493" y="1379"/>
                  </a:lnTo>
                  <a:lnTo>
                    <a:pt x="484" y="1384"/>
                  </a:lnTo>
                  <a:lnTo>
                    <a:pt x="467" y="1392"/>
                  </a:lnTo>
                  <a:lnTo>
                    <a:pt x="464" y="1397"/>
                  </a:lnTo>
                  <a:lnTo>
                    <a:pt x="459" y="1412"/>
                  </a:lnTo>
                  <a:lnTo>
                    <a:pt x="455" y="1414"/>
                  </a:lnTo>
                  <a:lnTo>
                    <a:pt x="454" y="1413"/>
                  </a:lnTo>
                  <a:lnTo>
                    <a:pt x="451" y="1412"/>
                  </a:lnTo>
                  <a:lnTo>
                    <a:pt x="447" y="1414"/>
                  </a:lnTo>
                  <a:lnTo>
                    <a:pt x="447" y="1419"/>
                  </a:lnTo>
                  <a:lnTo>
                    <a:pt x="444" y="1420"/>
                  </a:lnTo>
                  <a:lnTo>
                    <a:pt x="443" y="1424"/>
                  </a:lnTo>
                  <a:lnTo>
                    <a:pt x="437" y="1432"/>
                  </a:lnTo>
                  <a:lnTo>
                    <a:pt x="437" y="1437"/>
                  </a:lnTo>
                  <a:lnTo>
                    <a:pt x="442" y="1449"/>
                  </a:lnTo>
                  <a:lnTo>
                    <a:pt x="448" y="1453"/>
                  </a:lnTo>
                  <a:lnTo>
                    <a:pt x="455" y="1451"/>
                  </a:lnTo>
                  <a:lnTo>
                    <a:pt x="457" y="1461"/>
                  </a:lnTo>
                  <a:lnTo>
                    <a:pt x="455" y="1466"/>
                  </a:lnTo>
                  <a:lnTo>
                    <a:pt x="451" y="1474"/>
                  </a:lnTo>
                  <a:lnTo>
                    <a:pt x="437" y="1489"/>
                  </a:lnTo>
                  <a:lnTo>
                    <a:pt x="430" y="1491"/>
                  </a:lnTo>
                  <a:lnTo>
                    <a:pt x="420" y="1487"/>
                  </a:lnTo>
                  <a:lnTo>
                    <a:pt x="417" y="1487"/>
                  </a:lnTo>
                  <a:lnTo>
                    <a:pt x="412" y="1489"/>
                  </a:lnTo>
                  <a:lnTo>
                    <a:pt x="411" y="1492"/>
                  </a:lnTo>
                  <a:lnTo>
                    <a:pt x="411" y="1498"/>
                  </a:lnTo>
                  <a:lnTo>
                    <a:pt x="417" y="1507"/>
                  </a:lnTo>
                  <a:lnTo>
                    <a:pt x="422" y="1517"/>
                  </a:lnTo>
                  <a:lnTo>
                    <a:pt x="425" y="1519"/>
                  </a:lnTo>
                  <a:lnTo>
                    <a:pt x="430" y="1514"/>
                  </a:lnTo>
                  <a:lnTo>
                    <a:pt x="433" y="1514"/>
                  </a:lnTo>
                  <a:lnTo>
                    <a:pt x="440" y="1517"/>
                  </a:lnTo>
                  <a:lnTo>
                    <a:pt x="444" y="1520"/>
                  </a:lnTo>
                  <a:lnTo>
                    <a:pt x="464" y="1512"/>
                  </a:lnTo>
                  <a:lnTo>
                    <a:pt x="469" y="1507"/>
                  </a:lnTo>
                  <a:lnTo>
                    <a:pt x="482" y="1505"/>
                  </a:lnTo>
                  <a:lnTo>
                    <a:pt x="497" y="1505"/>
                  </a:lnTo>
                  <a:lnTo>
                    <a:pt x="505" y="1507"/>
                  </a:lnTo>
                  <a:lnTo>
                    <a:pt x="509" y="1511"/>
                  </a:lnTo>
                  <a:lnTo>
                    <a:pt x="515" y="1512"/>
                  </a:lnTo>
                  <a:lnTo>
                    <a:pt x="523" y="1492"/>
                  </a:lnTo>
                  <a:lnTo>
                    <a:pt x="542" y="1480"/>
                  </a:lnTo>
                  <a:lnTo>
                    <a:pt x="546" y="1472"/>
                  </a:lnTo>
                  <a:lnTo>
                    <a:pt x="548" y="1478"/>
                  </a:lnTo>
                  <a:lnTo>
                    <a:pt x="562" y="1501"/>
                  </a:lnTo>
                  <a:lnTo>
                    <a:pt x="581" y="1521"/>
                  </a:lnTo>
                  <a:lnTo>
                    <a:pt x="592" y="1541"/>
                  </a:lnTo>
                  <a:lnTo>
                    <a:pt x="593" y="1546"/>
                  </a:lnTo>
                  <a:lnTo>
                    <a:pt x="592" y="1551"/>
                  </a:lnTo>
                  <a:lnTo>
                    <a:pt x="592" y="1557"/>
                  </a:lnTo>
                  <a:lnTo>
                    <a:pt x="593" y="1563"/>
                  </a:lnTo>
                  <a:lnTo>
                    <a:pt x="599" y="1573"/>
                  </a:lnTo>
                  <a:lnTo>
                    <a:pt x="604" y="1592"/>
                  </a:lnTo>
                  <a:lnTo>
                    <a:pt x="608" y="1595"/>
                  </a:lnTo>
                  <a:lnTo>
                    <a:pt x="617" y="1596"/>
                  </a:lnTo>
                  <a:lnTo>
                    <a:pt x="625" y="1594"/>
                  </a:lnTo>
                  <a:lnTo>
                    <a:pt x="635" y="1591"/>
                  </a:lnTo>
                  <a:lnTo>
                    <a:pt x="639" y="1591"/>
                  </a:lnTo>
                  <a:lnTo>
                    <a:pt x="646" y="1600"/>
                  </a:lnTo>
                  <a:lnTo>
                    <a:pt x="664" y="1613"/>
                  </a:lnTo>
                  <a:lnTo>
                    <a:pt x="682" y="1630"/>
                  </a:lnTo>
                  <a:lnTo>
                    <a:pt x="696" y="1640"/>
                  </a:lnTo>
                  <a:lnTo>
                    <a:pt x="706" y="1662"/>
                  </a:lnTo>
                  <a:lnTo>
                    <a:pt x="710" y="1666"/>
                  </a:lnTo>
                  <a:lnTo>
                    <a:pt x="727" y="1675"/>
                  </a:lnTo>
                  <a:lnTo>
                    <a:pt x="739" y="1675"/>
                  </a:lnTo>
                  <a:lnTo>
                    <a:pt x="746" y="1669"/>
                  </a:lnTo>
                  <a:lnTo>
                    <a:pt x="756" y="1667"/>
                  </a:lnTo>
                  <a:lnTo>
                    <a:pt x="764" y="1669"/>
                  </a:lnTo>
                  <a:lnTo>
                    <a:pt x="768" y="1672"/>
                  </a:lnTo>
                  <a:lnTo>
                    <a:pt x="768" y="1669"/>
                  </a:lnTo>
                  <a:lnTo>
                    <a:pt x="764" y="1663"/>
                  </a:lnTo>
                  <a:lnTo>
                    <a:pt x="758" y="1661"/>
                  </a:lnTo>
                  <a:lnTo>
                    <a:pt x="753" y="1652"/>
                  </a:lnTo>
                  <a:lnTo>
                    <a:pt x="756" y="1644"/>
                  </a:lnTo>
                  <a:lnTo>
                    <a:pt x="754" y="1619"/>
                  </a:lnTo>
                  <a:lnTo>
                    <a:pt x="754" y="1610"/>
                  </a:lnTo>
                  <a:lnTo>
                    <a:pt x="756" y="1603"/>
                  </a:lnTo>
                  <a:lnTo>
                    <a:pt x="761" y="1594"/>
                  </a:lnTo>
                  <a:lnTo>
                    <a:pt x="769" y="1571"/>
                  </a:lnTo>
                  <a:lnTo>
                    <a:pt x="769" y="1576"/>
                  </a:lnTo>
                  <a:lnTo>
                    <a:pt x="763" y="1594"/>
                  </a:lnTo>
                  <a:lnTo>
                    <a:pt x="757" y="1603"/>
                  </a:lnTo>
                  <a:lnTo>
                    <a:pt x="757" y="1607"/>
                  </a:lnTo>
                  <a:lnTo>
                    <a:pt x="761" y="1604"/>
                  </a:lnTo>
                  <a:lnTo>
                    <a:pt x="769" y="1592"/>
                  </a:lnTo>
                  <a:lnTo>
                    <a:pt x="769" y="1586"/>
                  </a:lnTo>
                  <a:lnTo>
                    <a:pt x="771" y="1582"/>
                  </a:lnTo>
                  <a:lnTo>
                    <a:pt x="772" y="1571"/>
                  </a:lnTo>
                  <a:lnTo>
                    <a:pt x="775" y="1570"/>
                  </a:lnTo>
                  <a:lnTo>
                    <a:pt x="775" y="1571"/>
                  </a:lnTo>
                  <a:lnTo>
                    <a:pt x="778" y="1571"/>
                  </a:lnTo>
                  <a:lnTo>
                    <a:pt x="781" y="1573"/>
                  </a:lnTo>
                  <a:lnTo>
                    <a:pt x="786" y="1571"/>
                  </a:lnTo>
                  <a:lnTo>
                    <a:pt x="783" y="1569"/>
                  </a:lnTo>
                  <a:lnTo>
                    <a:pt x="781" y="1570"/>
                  </a:lnTo>
                  <a:lnTo>
                    <a:pt x="782" y="1565"/>
                  </a:lnTo>
                  <a:lnTo>
                    <a:pt x="782" y="1561"/>
                  </a:lnTo>
                  <a:lnTo>
                    <a:pt x="778" y="1557"/>
                  </a:lnTo>
                  <a:lnTo>
                    <a:pt x="781" y="1554"/>
                  </a:lnTo>
                  <a:lnTo>
                    <a:pt x="781" y="1553"/>
                  </a:lnTo>
                  <a:lnTo>
                    <a:pt x="783" y="1549"/>
                  </a:lnTo>
                  <a:lnTo>
                    <a:pt x="783" y="1544"/>
                  </a:lnTo>
                  <a:lnTo>
                    <a:pt x="785" y="1540"/>
                  </a:lnTo>
                  <a:lnTo>
                    <a:pt x="793" y="1534"/>
                  </a:lnTo>
                  <a:lnTo>
                    <a:pt x="794" y="1530"/>
                  </a:lnTo>
                  <a:lnTo>
                    <a:pt x="797" y="1530"/>
                  </a:lnTo>
                  <a:lnTo>
                    <a:pt x="797" y="1526"/>
                  </a:lnTo>
                  <a:lnTo>
                    <a:pt x="791" y="1530"/>
                  </a:lnTo>
                  <a:lnTo>
                    <a:pt x="785" y="1537"/>
                  </a:lnTo>
                  <a:lnTo>
                    <a:pt x="777" y="1557"/>
                  </a:lnTo>
                  <a:lnTo>
                    <a:pt x="777" y="1558"/>
                  </a:lnTo>
                  <a:lnTo>
                    <a:pt x="778" y="1559"/>
                  </a:lnTo>
                  <a:lnTo>
                    <a:pt x="775" y="1558"/>
                  </a:lnTo>
                  <a:lnTo>
                    <a:pt x="774" y="1565"/>
                  </a:lnTo>
                  <a:lnTo>
                    <a:pt x="771" y="1570"/>
                  </a:lnTo>
                  <a:lnTo>
                    <a:pt x="775" y="1557"/>
                  </a:lnTo>
                  <a:lnTo>
                    <a:pt x="788" y="1532"/>
                  </a:lnTo>
                  <a:lnTo>
                    <a:pt x="796" y="1525"/>
                  </a:lnTo>
                  <a:lnTo>
                    <a:pt x="799" y="1525"/>
                  </a:lnTo>
                  <a:lnTo>
                    <a:pt x="800" y="1526"/>
                  </a:lnTo>
                  <a:lnTo>
                    <a:pt x="804" y="1524"/>
                  </a:lnTo>
                  <a:lnTo>
                    <a:pt x="822" y="1517"/>
                  </a:lnTo>
                  <a:lnTo>
                    <a:pt x="824" y="1513"/>
                  </a:lnTo>
                  <a:lnTo>
                    <a:pt x="822" y="1509"/>
                  </a:lnTo>
                  <a:lnTo>
                    <a:pt x="831" y="1509"/>
                  </a:lnTo>
                  <a:lnTo>
                    <a:pt x="831" y="1513"/>
                  </a:lnTo>
                  <a:lnTo>
                    <a:pt x="827" y="1528"/>
                  </a:lnTo>
                  <a:lnTo>
                    <a:pt x="827" y="1529"/>
                  </a:lnTo>
                  <a:lnTo>
                    <a:pt x="829" y="1529"/>
                  </a:lnTo>
                  <a:lnTo>
                    <a:pt x="831" y="1533"/>
                  </a:lnTo>
                  <a:lnTo>
                    <a:pt x="821" y="1561"/>
                  </a:lnTo>
                  <a:lnTo>
                    <a:pt x="821" y="1571"/>
                  </a:lnTo>
                  <a:lnTo>
                    <a:pt x="818" y="1587"/>
                  </a:lnTo>
                  <a:lnTo>
                    <a:pt x="819" y="1594"/>
                  </a:lnTo>
                  <a:lnTo>
                    <a:pt x="818" y="1601"/>
                  </a:lnTo>
                  <a:lnTo>
                    <a:pt x="818" y="1608"/>
                  </a:lnTo>
                  <a:lnTo>
                    <a:pt x="811" y="1644"/>
                  </a:lnTo>
                  <a:lnTo>
                    <a:pt x="811" y="1646"/>
                  </a:lnTo>
                  <a:lnTo>
                    <a:pt x="816" y="1653"/>
                  </a:lnTo>
                  <a:lnTo>
                    <a:pt x="810" y="1669"/>
                  </a:lnTo>
                  <a:lnTo>
                    <a:pt x="806" y="1699"/>
                  </a:lnTo>
                  <a:lnTo>
                    <a:pt x="807" y="1703"/>
                  </a:lnTo>
                  <a:lnTo>
                    <a:pt x="806" y="1717"/>
                  </a:lnTo>
                  <a:lnTo>
                    <a:pt x="808" y="1728"/>
                  </a:lnTo>
                  <a:lnTo>
                    <a:pt x="808" y="1733"/>
                  </a:lnTo>
                  <a:lnTo>
                    <a:pt x="804" y="1744"/>
                  </a:lnTo>
                  <a:lnTo>
                    <a:pt x="800" y="1762"/>
                  </a:lnTo>
                  <a:lnTo>
                    <a:pt x="800" y="1766"/>
                  </a:lnTo>
                  <a:lnTo>
                    <a:pt x="802" y="1770"/>
                  </a:lnTo>
                  <a:lnTo>
                    <a:pt x="799" y="1782"/>
                  </a:lnTo>
                  <a:lnTo>
                    <a:pt x="797" y="1795"/>
                  </a:lnTo>
                  <a:lnTo>
                    <a:pt x="800" y="1802"/>
                  </a:lnTo>
                  <a:lnTo>
                    <a:pt x="803" y="1804"/>
                  </a:lnTo>
                  <a:lnTo>
                    <a:pt x="806" y="1806"/>
                  </a:lnTo>
                  <a:lnTo>
                    <a:pt x="806" y="1809"/>
                  </a:lnTo>
                  <a:lnTo>
                    <a:pt x="796" y="1834"/>
                  </a:lnTo>
                  <a:lnTo>
                    <a:pt x="793" y="1854"/>
                  </a:lnTo>
                  <a:lnTo>
                    <a:pt x="794" y="1859"/>
                  </a:lnTo>
                  <a:lnTo>
                    <a:pt x="797" y="1860"/>
                  </a:lnTo>
                  <a:lnTo>
                    <a:pt x="797" y="1862"/>
                  </a:lnTo>
                  <a:lnTo>
                    <a:pt x="789" y="1888"/>
                  </a:lnTo>
                  <a:lnTo>
                    <a:pt x="791" y="1889"/>
                  </a:lnTo>
                  <a:lnTo>
                    <a:pt x="786" y="1906"/>
                  </a:lnTo>
                  <a:lnTo>
                    <a:pt x="786" y="1918"/>
                  </a:lnTo>
                  <a:lnTo>
                    <a:pt x="782" y="1938"/>
                  </a:lnTo>
                  <a:lnTo>
                    <a:pt x="775" y="1972"/>
                  </a:lnTo>
                  <a:lnTo>
                    <a:pt x="777" y="1985"/>
                  </a:lnTo>
                  <a:lnTo>
                    <a:pt x="782" y="1996"/>
                  </a:lnTo>
                  <a:lnTo>
                    <a:pt x="781" y="2006"/>
                  </a:lnTo>
                  <a:lnTo>
                    <a:pt x="781" y="2010"/>
                  </a:lnTo>
                  <a:lnTo>
                    <a:pt x="785" y="2013"/>
                  </a:lnTo>
                  <a:lnTo>
                    <a:pt x="785" y="2015"/>
                  </a:lnTo>
                  <a:lnTo>
                    <a:pt x="782" y="2022"/>
                  </a:lnTo>
                  <a:lnTo>
                    <a:pt x="782" y="2025"/>
                  </a:lnTo>
                  <a:lnTo>
                    <a:pt x="781" y="2030"/>
                  </a:lnTo>
                  <a:lnTo>
                    <a:pt x="781" y="2031"/>
                  </a:lnTo>
                  <a:lnTo>
                    <a:pt x="782" y="2036"/>
                  </a:lnTo>
                  <a:lnTo>
                    <a:pt x="782" y="2038"/>
                  </a:lnTo>
                  <a:lnTo>
                    <a:pt x="782" y="2039"/>
                  </a:lnTo>
                  <a:lnTo>
                    <a:pt x="782" y="2040"/>
                  </a:lnTo>
                  <a:lnTo>
                    <a:pt x="782" y="2044"/>
                  </a:lnTo>
                  <a:lnTo>
                    <a:pt x="779" y="2050"/>
                  </a:lnTo>
                  <a:lnTo>
                    <a:pt x="777" y="2060"/>
                  </a:lnTo>
                  <a:lnTo>
                    <a:pt x="775" y="2064"/>
                  </a:lnTo>
                  <a:lnTo>
                    <a:pt x="774" y="2072"/>
                  </a:lnTo>
                  <a:lnTo>
                    <a:pt x="774" y="2075"/>
                  </a:lnTo>
                  <a:lnTo>
                    <a:pt x="772" y="2078"/>
                  </a:lnTo>
                  <a:lnTo>
                    <a:pt x="772" y="2080"/>
                  </a:lnTo>
                  <a:lnTo>
                    <a:pt x="774" y="2081"/>
                  </a:lnTo>
                  <a:lnTo>
                    <a:pt x="775" y="2083"/>
                  </a:lnTo>
                  <a:lnTo>
                    <a:pt x="775" y="2084"/>
                  </a:lnTo>
                  <a:lnTo>
                    <a:pt x="775" y="2085"/>
                  </a:lnTo>
                  <a:lnTo>
                    <a:pt x="774" y="2090"/>
                  </a:lnTo>
                  <a:lnTo>
                    <a:pt x="771" y="2097"/>
                  </a:lnTo>
                  <a:lnTo>
                    <a:pt x="771" y="2104"/>
                  </a:lnTo>
                  <a:lnTo>
                    <a:pt x="769" y="2110"/>
                  </a:lnTo>
                  <a:lnTo>
                    <a:pt x="769" y="2114"/>
                  </a:lnTo>
                  <a:lnTo>
                    <a:pt x="769" y="2115"/>
                  </a:lnTo>
                  <a:lnTo>
                    <a:pt x="769" y="2117"/>
                  </a:lnTo>
                  <a:lnTo>
                    <a:pt x="771" y="2117"/>
                  </a:lnTo>
                  <a:lnTo>
                    <a:pt x="771" y="2118"/>
                  </a:lnTo>
                  <a:lnTo>
                    <a:pt x="771" y="2119"/>
                  </a:lnTo>
                  <a:lnTo>
                    <a:pt x="772" y="2121"/>
                  </a:lnTo>
                  <a:lnTo>
                    <a:pt x="772" y="2122"/>
                  </a:lnTo>
                  <a:lnTo>
                    <a:pt x="774" y="2122"/>
                  </a:lnTo>
                  <a:lnTo>
                    <a:pt x="775" y="2122"/>
                  </a:lnTo>
                  <a:lnTo>
                    <a:pt x="775" y="2121"/>
                  </a:lnTo>
                  <a:lnTo>
                    <a:pt x="777" y="2121"/>
                  </a:lnTo>
                  <a:lnTo>
                    <a:pt x="778" y="2122"/>
                  </a:lnTo>
                  <a:lnTo>
                    <a:pt x="778" y="2123"/>
                  </a:lnTo>
                  <a:lnTo>
                    <a:pt x="777" y="2129"/>
                  </a:lnTo>
                  <a:lnTo>
                    <a:pt x="777" y="2133"/>
                  </a:lnTo>
                  <a:lnTo>
                    <a:pt x="774" y="2134"/>
                  </a:lnTo>
                  <a:lnTo>
                    <a:pt x="772" y="2134"/>
                  </a:lnTo>
                  <a:lnTo>
                    <a:pt x="758" y="2139"/>
                  </a:lnTo>
                  <a:lnTo>
                    <a:pt x="749" y="2140"/>
                  </a:lnTo>
                  <a:lnTo>
                    <a:pt x="738" y="2142"/>
                  </a:lnTo>
                  <a:lnTo>
                    <a:pt x="716" y="2143"/>
                  </a:lnTo>
                  <a:lnTo>
                    <a:pt x="679" y="2140"/>
                  </a:lnTo>
                  <a:lnTo>
                    <a:pt x="653" y="2140"/>
                  </a:lnTo>
                  <a:lnTo>
                    <a:pt x="333" y="2131"/>
                  </a:lnTo>
                  <a:lnTo>
                    <a:pt x="327" y="2131"/>
                  </a:lnTo>
                  <a:lnTo>
                    <a:pt x="326" y="2131"/>
                  </a:lnTo>
                  <a:lnTo>
                    <a:pt x="326" y="2130"/>
                  </a:lnTo>
                  <a:lnTo>
                    <a:pt x="325" y="2130"/>
                  </a:lnTo>
                  <a:lnTo>
                    <a:pt x="323" y="2130"/>
                  </a:lnTo>
                  <a:lnTo>
                    <a:pt x="322" y="2130"/>
                  </a:lnTo>
                  <a:lnTo>
                    <a:pt x="320" y="2130"/>
                  </a:lnTo>
                  <a:lnTo>
                    <a:pt x="319" y="2130"/>
                  </a:lnTo>
                  <a:lnTo>
                    <a:pt x="318" y="2130"/>
                  </a:lnTo>
                  <a:lnTo>
                    <a:pt x="316" y="2130"/>
                  </a:lnTo>
                  <a:lnTo>
                    <a:pt x="316" y="2129"/>
                  </a:lnTo>
                  <a:lnTo>
                    <a:pt x="315" y="2129"/>
                  </a:lnTo>
                  <a:lnTo>
                    <a:pt x="313" y="2129"/>
                  </a:lnTo>
                  <a:lnTo>
                    <a:pt x="312" y="2129"/>
                  </a:lnTo>
                  <a:lnTo>
                    <a:pt x="311" y="2129"/>
                  </a:lnTo>
                  <a:lnTo>
                    <a:pt x="309" y="2129"/>
                  </a:lnTo>
                  <a:lnTo>
                    <a:pt x="308" y="2129"/>
                  </a:lnTo>
                  <a:lnTo>
                    <a:pt x="307" y="2129"/>
                  </a:lnTo>
                  <a:lnTo>
                    <a:pt x="305" y="2129"/>
                  </a:lnTo>
                  <a:lnTo>
                    <a:pt x="304" y="2129"/>
                  </a:lnTo>
                  <a:lnTo>
                    <a:pt x="302" y="2129"/>
                  </a:lnTo>
                  <a:lnTo>
                    <a:pt x="301" y="2129"/>
                  </a:lnTo>
                  <a:lnTo>
                    <a:pt x="300" y="2129"/>
                  </a:lnTo>
                  <a:lnTo>
                    <a:pt x="298" y="2129"/>
                  </a:lnTo>
                  <a:lnTo>
                    <a:pt x="297" y="2129"/>
                  </a:lnTo>
                  <a:lnTo>
                    <a:pt x="295" y="2129"/>
                  </a:lnTo>
                  <a:lnTo>
                    <a:pt x="294" y="2129"/>
                  </a:lnTo>
                  <a:lnTo>
                    <a:pt x="293" y="2129"/>
                  </a:lnTo>
                  <a:lnTo>
                    <a:pt x="291" y="2129"/>
                  </a:lnTo>
                  <a:lnTo>
                    <a:pt x="290" y="2127"/>
                  </a:lnTo>
                  <a:lnTo>
                    <a:pt x="288" y="2127"/>
                  </a:lnTo>
                  <a:lnTo>
                    <a:pt x="287" y="2127"/>
                  </a:lnTo>
                  <a:lnTo>
                    <a:pt x="286" y="2127"/>
                  </a:lnTo>
                  <a:lnTo>
                    <a:pt x="284" y="2127"/>
                  </a:lnTo>
                  <a:lnTo>
                    <a:pt x="283" y="2127"/>
                  </a:lnTo>
                  <a:lnTo>
                    <a:pt x="282" y="2126"/>
                  </a:lnTo>
                  <a:lnTo>
                    <a:pt x="280" y="2126"/>
                  </a:lnTo>
                  <a:lnTo>
                    <a:pt x="279" y="2126"/>
                  </a:lnTo>
                  <a:lnTo>
                    <a:pt x="277" y="2126"/>
                  </a:lnTo>
                  <a:lnTo>
                    <a:pt x="277" y="2125"/>
                  </a:lnTo>
                  <a:lnTo>
                    <a:pt x="276" y="2125"/>
                  </a:lnTo>
                  <a:lnTo>
                    <a:pt x="274" y="2125"/>
                  </a:lnTo>
                  <a:lnTo>
                    <a:pt x="273" y="2125"/>
                  </a:lnTo>
                  <a:lnTo>
                    <a:pt x="272" y="2123"/>
                  </a:lnTo>
                  <a:lnTo>
                    <a:pt x="270" y="2123"/>
                  </a:lnTo>
                  <a:lnTo>
                    <a:pt x="269" y="2123"/>
                  </a:lnTo>
                  <a:lnTo>
                    <a:pt x="268" y="2122"/>
                  </a:lnTo>
                  <a:lnTo>
                    <a:pt x="266" y="2122"/>
                  </a:lnTo>
                  <a:lnTo>
                    <a:pt x="265" y="2122"/>
                  </a:lnTo>
                  <a:lnTo>
                    <a:pt x="263" y="2121"/>
                  </a:lnTo>
                  <a:lnTo>
                    <a:pt x="262" y="2121"/>
                  </a:lnTo>
                  <a:lnTo>
                    <a:pt x="260" y="2121"/>
                  </a:lnTo>
                  <a:lnTo>
                    <a:pt x="259" y="2119"/>
                  </a:lnTo>
                  <a:lnTo>
                    <a:pt x="258" y="2119"/>
                  </a:lnTo>
                  <a:lnTo>
                    <a:pt x="257" y="2119"/>
                  </a:lnTo>
                  <a:lnTo>
                    <a:pt x="255" y="2118"/>
                  </a:lnTo>
                  <a:lnTo>
                    <a:pt x="254" y="2118"/>
                  </a:lnTo>
                  <a:lnTo>
                    <a:pt x="252" y="2118"/>
                  </a:lnTo>
                  <a:lnTo>
                    <a:pt x="251" y="2117"/>
                  </a:lnTo>
                  <a:lnTo>
                    <a:pt x="249" y="2117"/>
                  </a:lnTo>
                  <a:lnTo>
                    <a:pt x="248" y="2117"/>
                  </a:lnTo>
                  <a:lnTo>
                    <a:pt x="248" y="2115"/>
                  </a:lnTo>
                  <a:lnTo>
                    <a:pt x="247" y="2115"/>
                  </a:lnTo>
                  <a:lnTo>
                    <a:pt x="245" y="2115"/>
                  </a:lnTo>
                  <a:lnTo>
                    <a:pt x="244" y="2114"/>
                  </a:lnTo>
                  <a:lnTo>
                    <a:pt x="243" y="2114"/>
                  </a:lnTo>
                  <a:lnTo>
                    <a:pt x="241" y="2114"/>
                  </a:lnTo>
                  <a:lnTo>
                    <a:pt x="240" y="2114"/>
                  </a:lnTo>
                  <a:lnTo>
                    <a:pt x="238" y="2114"/>
                  </a:lnTo>
                  <a:lnTo>
                    <a:pt x="237" y="2114"/>
                  </a:lnTo>
                  <a:lnTo>
                    <a:pt x="235" y="2114"/>
                  </a:lnTo>
                  <a:lnTo>
                    <a:pt x="234" y="2114"/>
                  </a:lnTo>
                  <a:lnTo>
                    <a:pt x="233" y="2114"/>
                  </a:lnTo>
                  <a:lnTo>
                    <a:pt x="233" y="2115"/>
                  </a:lnTo>
                  <a:lnTo>
                    <a:pt x="232" y="2115"/>
                  </a:lnTo>
                  <a:lnTo>
                    <a:pt x="230" y="2117"/>
                  </a:lnTo>
                  <a:lnTo>
                    <a:pt x="229" y="2117"/>
                  </a:lnTo>
                  <a:lnTo>
                    <a:pt x="229" y="2118"/>
                  </a:lnTo>
                  <a:lnTo>
                    <a:pt x="227" y="2119"/>
                  </a:lnTo>
                  <a:lnTo>
                    <a:pt x="226" y="2119"/>
                  </a:lnTo>
                  <a:lnTo>
                    <a:pt x="226" y="2121"/>
                  </a:lnTo>
                  <a:lnTo>
                    <a:pt x="224" y="2121"/>
                  </a:lnTo>
                  <a:lnTo>
                    <a:pt x="224" y="2122"/>
                  </a:lnTo>
                  <a:lnTo>
                    <a:pt x="223" y="2122"/>
                  </a:lnTo>
                  <a:lnTo>
                    <a:pt x="223" y="2123"/>
                  </a:lnTo>
                  <a:lnTo>
                    <a:pt x="222" y="2123"/>
                  </a:lnTo>
                  <a:lnTo>
                    <a:pt x="222" y="2125"/>
                  </a:lnTo>
                  <a:lnTo>
                    <a:pt x="220" y="2125"/>
                  </a:lnTo>
                  <a:lnTo>
                    <a:pt x="220" y="2126"/>
                  </a:lnTo>
                  <a:lnTo>
                    <a:pt x="219" y="2126"/>
                  </a:lnTo>
                  <a:lnTo>
                    <a:pt x="219" y="2127"/>
                  </a:lnTo>
                  <a:lnTo>
                    <a:pt x="218" y="2127"/>
                  </a:lnTo>
                  <a:lnTo>
                    <a:pt x="218" y="2129"/>
                  </a:lnTo>
                  <a:lnTo>
                    <a:pt x="216" y="2130"/>
                  </a:lnTo>
                  <a:lnTo>
                    <a:pt x="215" y="2131"/>
                  </a:lnTo>
                  <a:lnTo>
                    <a:pt x="213" y="2133"/>
                  </a:lnTo>
                  <a:lnTo>
                    <a:pt x="212" y="2134"/>
                  </a:lnTo>
                  <a:lnTo>
                    <a:pt x="210" y="2135"/>
                  </a:lnTo>
                  <a:lnTo>
                    <a:pt x="209" y="2135"/>
                  </a:lnTo>
                  <a:lnTo>
                    <a:pt x="208" y="2135"/>
                  </a:lnTo>
                  <a:lnTo>
                    <a:pt x="207" y="2135"/>
                  </a:lnTo>
                  <a:lnTo>
                    <a:pt x="207" y="2137"/>
                  </a:lnTo>
                  <a:lnTo>
                    <a:pt x="205" y="2137"/>
                  </a:lnTo>
                  <a:lnTo>
                    <a:pt x="204" y="2135"/>
                  </a:lnTo>
                  <a:lnTo>
                    <a:pt x="202" y="2135"/>
                  </a:lnTo>
                  <a:lnTo>
                    <a:pt x="201" y="2135"/>
                  </a:lnTo>
                  <a:lnTo>
                    <a:pt x="199" y="2135"/>
                  </a:lnTo>
                  <a:lnTo>
                    <a:pt x="198" y="2134"/>
                  </a:lnTo>
                  <a:lnTo>
                    <a:pt x="197" y="2134"/>
                  </a:lnTo>
                  <a:lnTo>
                    <a:pt x="195" y="2134"/>
                  </a:lnTo>
                  <a:lnTo>
                    <a:pt x="194" y="2133"/>
                  </a:lnTo>
                  <a:lnTo>
                    <a:pt x="193" y="2133"/>
                  </a:lnTo>
                  <a:lnTo>
                    <a:pt x="191" y="2131"/>
                  </a:lnTo>
                  <a:lnTo>
                    <a:pt x="190" y="2131"/>
                  </a:lnTo>
                  <a:lnTo>
                    <a:pt x="188" y="2130"/>
                  </a:lnTo>
                  <a:lnTo>
                    <a:pt x="187" y="2130"/>
                  </a:lnTo>
                  <a:lnTo>
                    <a:pt x="185" y="2129"/>
                  </a:lnTo>
                  <a:lnTo>
                    <a:pt x="184" y="2129"/>
                  </a:lnTo>
                  <a:lnTo>
                    <a:pt x="184" y="2127"/>
                  </a:lnTo>
                  <a:lnTo>
                    <a:pt x="183" y="2127"/>
                  </a:lnTo>
                  <a:lnTo>
                    <a:pt x="182" y="2126"/>
                  </a:lnTo>
                  <a:lnTo>
                    <a:pt x="180" y="2126"/>
                  </a:lnTo>
                  <a:lnTo>
                    <a:pt x="180" y="2125"/>
                  </a:lnTo>
                  <a:lnTo>
                    <a:pt x="179" y="2125"/>
                  </a:lnTo>
                  <a:lnTo>
                    <a:pt x="177" y="2123"/>
                  </a:lnTo>
                  <a:lnTo>
                    <a:pt x="176" y="2123"/>
                  </a:lnTo>
                  <a:lnTo>
                    <a:pt x="176" y="2122"/>
                  </a:lnTo>
                  <a:lnTo>
                    <a:pt x="174" y="2122"/>
                  </a:lnTo>
                  <a:lnTo>
                    <a:pt x="173" y="2121"/>
                  </a:lnTo>
                  <a:lnTo>
                    <a:pt x="172" y="2121"/>
                  </a:lnTo>
                  <a:lnTo>
                    <a:pt x="172" y="2119"/>
                  </a:lnTo>
                  <a:lnTo>
                    <a:pt x="170" y="2119"/>
                  </a:lnTo>
                  <a:lnTo>
                    <a:pt x="170" y="2118"/>
                  </a:lnTo>
                  <a:lnTo>
                    <a:pt x="169" y="2118"/>
                  </a:lnTo>
                  <a:lnTo>
                    <a:pt x="168" y="2118"/>
                  </a:lnTo>
                  <a:lnTo>
                    <a:pt x="168" y="2117"/>
                  </a:lnTo>
                  <a:lnTo>
                    <a:pt x="166" y="2117"/>
                  </a:lnTo>
                  <a:lnTo>
                    <a:pt x="165" y="2117"/>
                  </a:lnTo>
                  <a:lnTo>
                    <a:pt x="165" y="2115"/>
                  </a:lnTo>
                  <a:lnTo>
                    <a:pt x="163" y="2115"/>
                  </a:lnTo>
                  <a:lnTo>
                    <a:pt x="163" y="2104"/>
                  </a:lnTo>
                  <a:lnTo>
                    <a:pt x="165" y="2028"/>
                  </a:lnTo>
                  <a:lnTo>
                    <a:pt x="166" y="2023"/>
                  </a:lnTo>
                  <a:lnTo>
                    <a:pt x="165" y="1984"/>
                  </a:lnTo>
                  <a:lnTo>
                    <a:pt x="168" y="1960"/>
                  </a:lnTo>
                  <a:lnTo>
                    <a:pt x="166" y="1948"/>
                  </a:lnTo>
                  <a:lnTo>
                    <a:pt x="166" y="1874"/>
                  </a:lnTo>
                  <a:lnTo>
                    <a:pt x="135" y="1809"/>
                  </a:lnTo>
                  <a:lnTo>
                    <a:pt x="129" y="1791"/>
                  </a:lnTo>
                  <a:lnTo>
                    <a:pt x="122" y="1773"/>
                  </a:lnTo>
                  <a:lnTo>
                    <a:pt x="122" y="1765"/>
                  </a:lnTo>
                  <a:lnTo>
                    <a:pt x="119" y="1737"/>
                  </a:lnTo>
                  <a:lnTo>
                    <a:pt x="118" y="1707"/>
                  </a:lnTo>
                  <a:lnTo>
                    <a:pt x="116" y="1695"/>
                  </a:lnTo>
                  <a:lnTo>
                    <a:pt x="130" y="1641"/>
                  </a:lnTo>
                  <a:lnTo>
                    <a:pt x="134" y="1620"/>
                  </a:lnTo>
                  <a:lnTo>
                    <a:pt x="134" y="1613"/>
                  </a:lnTo>
                  <a:lnTo>
                    <a:pt x="138" y="1600"/>
                  </a:lnTo>
                  <a:lnTo>
                    <a:pt x="144" y="1578"/>
                  </a:lnTo>
                  <a:lnTo>
                    <a:pt x="135" y="1524"/>
                  </a:lnTo>
                  <a:lnTo>
                    <a:pt x="134" y="1503"/>
                  </a:lnTo>
                  <a:lnTo>
                    <a:pt x="127" y="1453"/>
                  </a:lnTo>
                  <a:lnTo>
                    <a:pt x="119" y="1451"/>
                  </a:lnTo>
                  <a:lnTo>
                    <a:pt x="112" y="1451"/>
                  </a:lnTo>
                  <a:lnTo>
                    <a:pt x="109" y="1449"/>
                  </a:lnTo>
                  <a:lnTo>
                    <a:pt x="102" y="1449"/>
                  </a:lnTo>
                  <a:lnTo>
                    <a:pt x="98" y="1446"/>
                  </a:lnTo>
                  <a:lnTo>
                    <a:pt x="80" y="1442"/>
                  </a:lnTo>
                  <a:lnTo>
                    <a:pt x="80" y="1444"/>
                  </a:lnTo>
                  <a:lnTo>
                    <a:pt x="60" y="1437"/>
                  </a:lnTo>
                  <a:lnTo>
                    <a:pt x="35" y="1407"/>
                  </a:lnTo>
                  <a:lnTo>
                    <a:pt x="0" y="1315"/>
                  </a:lnTo>
                  <a:lnTo>
                    <a:pt x="40" y="1198"/>
                  </a:lnTo>
                  <a:lnTo>
                    <a:pt x="52" y="1185"/>
                  </a:lnTo>
                  <a:lnTo>
                    <a:pt x="54" y="1184"/>
                  </a:lnTo>
                  <a:lnTo>
                    <a:pt x="62" y="1159"/>
                  </a:lnTo>
                  <a:lnTo>
                    <a:pt x="55" y="1080"/>
                  </a:lnTo>
                  <a:lnTo>
                    <a:pt x="54" y="1063"/>
                  </a:lnTo>
                  <a:lnTo>
                    <a:pt x="42" y="1060"/>
                  </a:lnTo>
                  <a:lnTo>
                    <a:pt x="38" y="1049"/>
                  </a:lnTo>
                  <a:lnTo>
                    <a:pt x="40" y="1006"/>
                  </a:lnTo>
                  <a:lnTo>
                    <a:pt x="47" y="993"/>
                  </a:lnTo>
                  <a:lnTo>
                    <a:pt x="48" y="991"/>
                  </a:lnTo>
                  <a:lnTo>
                    <a:pt x="48" y="989"/>
                  </a:lnTo>
                  <a:lnTo>
                    <a:pt x="70" y="940"/>
                  </a:lnTo>
                  <a:lnTo>
                    <a:pt x="80" y="840"/>
                  </a:lnTo>
                  <a:lnTo>
                    <a:pt x="83" y="787"/>
                  </a:lnTo>
                  <a:lnTo>
                    <a:pt x="84" y="746"/>
                  </a:lnTo>
                  <a:lnTo>
                    <a:pt x="66" y="520"/>
                  </a:lnTo>
                  <a:lnTo>
                    <a:pt x="62" y="471"/>
                  </a:lnTo>
                  <a:lnTo>
                    <a:pt x="55" y="391"/>
                  </a:lnTo>
                  <a:lnTo>
                    <a:pt x="63" y="298"/>
                  </a:lnTo>
                  <a:lnTo>
                    <a:pt x="68" y="202"/>
                  </a:lnTo>
                  <a:lnTo>
                    <a:pt x="47" y="80"/>
                  </a:lnTo>
                  <a:lnTo>
                    <a:pt x="24" y="45"/>
                  </a:lnTo>
                  <a:lnTo>
                    <a:pt x="19" y="38"/>
                  </a:lnTo>
                  <a:lnTo>
                    <a:pt x="38" y="33"/>
                  </a:lnTo>
                  <a:lnTo>
                    <a:pt x="42" y="30"/>
                  </a:lnTo>
                  <a:lnTo>
                    <a:pt x="56" y="24"/>
                  </a:lnTo>
                  <a:lnTo>
                    <a:pt x="58" y="22"/>
                  </a:lnTo>
                  <a:lnTo>
                    <a:pt x="68" y="20"/>
                  </a:lnTo>
                  <a:lnTo>
                    <a:pt x="77" y="13"/>
                  </a:lnTo>
                  <a:lnTo>
                    <a:pt x="80" y="13"/>
                  </a:lnTo>
                  <a:lnTo>
                    <a:pt x="81" y="11"/>
                  </a:lnTo>
                  <a:lnTo>
                    <a:pt x="85" y="11"/>
                  </a:lnTo>
                  <a:lnTo>
                    <a:pt x="87" y="8"/>
                  </a:lnTo>
                  <a:lnTo>
                    <a:pt x="95" y="5"/>
                  </a:lnTo>
                  <a:lnTo>
                    <a:pt x="109" y="5"/>
                  </a:lnTo>
                  <a:lnTo>
                    <a:pt x="109" y="3"/>
                  </a:lnTo>
                  <a:lnTo>
                    <a:pt x="113" y="0"/>
                  </a:lnTo>
                  <a:lnTo>
                    <a:pt x="119" y="0"/>
                  </a:lnTo>
                  <a:lnTo>
                    <a:pt x="141" y="5"/>
                  </a:lnTo>
                  <a:lnTo>
                    <a:pt x="144" y="5"/>
                  </a:lnTo>
                  <a:lnTo>
                    <a:pt x="151" y="5"/>
                  </a:lnTo>
                  <a:lnTo>
                    <a:pt x="152" y="10"/>
                  </a:lnTo>
                  <a:lnTo>
                    <a:pt x="166" y="10"/>
                  </a:lnTo>
                  <a:lnTo>
                    <a:pt x="172" y="12"/>
                  </a:lnTo>
                  <a:lnTo>
                    <a:pt x="174" y="8"/>
                  </a:lnTo>
                  <a:lnTo>
                    <a:pt x="179" y="10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0" y="12"/>
                  </a:lnTo>
                  <a:lnTo>
                    <a:pt x="193" y="11"/>
                  </a:lnTo>
                  <a:lnTo>
                    <a:pt x="195" y="12"/>
                  </a:lnTo>
                  <a:lnTo>
                    <a:pt x="199" y="12"/>
                  </a:lnTo>
                  <a:lnTo>
                    <a:pt x="201" y="11"/>
                  </a:lnTo>
                  <a:lnTo>
                    <a:pt x="204" y="12"/>
                  </a:lnTo>
                  <a:lnTo>
                    <a:pt x="205" y="11"/>
                  </a:lnTo>
                  <a:lnTo>
                    <a:pt x="207" y="12"/>
                  </a:lnTo>
                  <a:lnTo>
                    <a:pt x="208" y="11"/>
                  </a:lnTo>
                  <a:lnTo>
                    <a:pt x="212" y="11"/>
                  </a:lnTo>
                  <a:lnTo>
                    <a:pt x="215" y="13"/>
                  </a:lnTo>
                  <a:lnTo>
                    <a:pt x="215" y="18"/>
                  </a:lnTo>
                  <a:lnTo>
                    <a:pt x="218" y="16"/>
                  </a:lnTo>
                  <a:lnTo>
                    <a:pt x="218" y="19"/>
                  </a:lnTo>
                  <a:lnTo>
                    <a:pt x="222" y="20"/>
                  </a:lnTo>
                  <a:lnTo>
                    <a:pt x="226" y="25"/>
                  </a:lnTo>
                  <a:lnTo>
                    <a:pt x="232" y="25"/>
                  </a:lnTo>
                  <a:lnTo>
                    <a:pt x="237" y="27"/>
                  </a:lnTo>
                  <a:lnTo>
                    <a:pt x="240" y="32"/>
                  </a:lnTo>
                  <a:lnTo>
                    <a:pt x="244" y="24"/>
                  </a:lnTo>
                  <a:lnTo>
                    <a:pt x="245" y="25"/>
                  </a:lnTo>
                  <a:lnTo>
                    <a:pt x="247" y="23"/>
                  </a:lnTo>
                  <a:lnTo>
                    <a:pt x="255" y="27"/>
                  </a:lnTo>
                  <a:lnTo>
                    <a:pt x="258" y="25"/>
                  </a:lnTo>
                  <a:lnTo>
                    <a:pt x="266" y="31"/>
                  </a:lnTo>
                  <a:lnTo>
                    <a:pt x="277" y="37"/>
                  </a:lnTo>
                  <a:lnTo>
                    <a:pt x="279" y="40"/>
                  </a:lnTo>
                  <a:lnTo>
                    <a:pt x="284" y="43"/>
                  </a:lnTo>
                  <a:lnTo>
                    <a:pt x="287" y="43"/>
                  </a:lnTo>
                  <a:lnTo>
                    <a:pt x="290" y="38"/>
                  </a:lnTo>
                  <a:lnTo>
                    <a:pt x="294" y="37"/>
                  </a:lnTo>
                  <a:lnTo>
                    <a:pt x="300" y="37"/>
                  </a:lnTo>
                  <a:lnTo>
                    <a:pt x="302" y="38"/>
                  </a:lnTo>
                  <a:lnTo>
                    <a:pt x="307" y="40"/>
                  </a:lnTo>
                  <a:lnTo>
                    <a:pt x="311" y="38"/>
                  </a:lnTo>
                  <a:lnTo>
                    <a:pt x="316" y="40"/>
                  </a:lnTo>
                  <a:lnTo>
                    <a:pt x="320" y="36"/>
                  </a:lnTo>
                  <a:lnTo>
                    <a:pt x="326" y="35"/>
                  </a:lnTo>
                  <a:lnTo>
                    <a:pt x="326" y="33"/>
                  </a:lnTo>
                  <a:lnTo>
                    <a:pt x="327" y="33"/>
                  </a:lnTo>
                  <a:lnTo>
                    <a:pt x="332" y="35"/>
                  </a:lnTo>
                  <a:lnTo>
                    <a:pt x="337" y="33"/>
                  </a:lnTo>
                  <a:lnTo>
                    <a:pt x="341" y="36"/>
                  </a:lnTo>
                  <a:lnTo>
                    <a:pt x="350" y="36"/>
                  </a:lnTo>
                  <a:lnTo>
                    <a:pt x="357" y="40"/>
                  </a:lnTo>
                  <a:lnTo>
                    <a:pt x="368" y="40"/>
                  </a:lnTo>
                  <a:lnTo>
                    <a:pt x="378" y="45"/>
                  </a:lnTo>
                  <a:lnTo>
                    <a:pt x="379" y="43"/>
                  </a:lnTo>
                  <a:lnTo>
                    <a:pt x="382" y="43"/>
                  </a:lnTo>
                  <a:lnTo>
                    <a:pt x="384" y="44"/>
                  </a:lnTo>
                  <a:lnTo>
                    <a:pt x="386" y="48"/>
                  </a:lnTo>
                  <a:lnTo>
                    <a:pt x="389" y="48"/>
                  </a:lnTo>
                  <a:lnTo>
                    <a:pt x="393" y="52"/>
                  </a:lnTo>
                  <a:lnTo>
                    <a:pt x="395" y="56"/>
                  </a:lnTo>
                  <a:lnTo>
                    <a:pt x="403" y="62"/>
                  </a:lnTo>
                  <a:lnTo>
                    <a:pt x="409" y="60"/>
                  </a:lnTo>
                  <a:lnTo>
                    <a:pt x="414" y="72"/>
                  </a:lnTo>
                  <a:lnTo>
                    <a:pt x="418" y="74"/>
                  </a:lnTo>
                  <a:lnTo>
                    <a:pt x="419" y="82"/>
                  </a:lnTo>
                  <a:lnTo>
                    <a:pt x="423" y="83"/>
                  </a:lnTo>
                  <a:lnTo>
                    <a:pt x="428" y="83"/>
                  </a:lnTo>
                  <a:lnTo>
                    <a:pt x="440" y="100"/>
                  </a:lnTo>
                  <a:lnTo>
                    <a:pt x="443" y="102"/>
                  </a:lnTo>
                  <a:lnTo>
                    <a:pt x="446" y="102"/>
                  </a:lnTo>
                  <a:lnTo>
                    <a:pt x="450" y="103"/>
                  </a:lnTo>
                  <a:lnTo>
                    <a:pt x="454" y="103"/>
                  </a:lnTo>
                  <a:lnTo>
                    <a:pt x="457" y="105"/>
                  </a:lnTo>
                  <a:lnTo>
                    <a:pt x="467" y="103"/>
                  </a:lnTo>
                  <a:lnTo>
                    <a:pt x="476" y="107"/>
                  </a:lnTo>
                  <a:lnTo>
                    <a:pt x="480" y="106"/>
                  </a:lnTo>
                  <a:lnTo>
                    <a:pt x="484" y="114"/>
                  </a:lnTo>
                  <a:lnTo>
                    <a:pt x="492" y="117"/>
                  </a:lnTo>
                  <a:lnTo>
                    <a:pt x="497" y="115"/>
                  </a:lnTo>
                  <a:lnTo>
                    <a:pt x="507" y="106"/>
                  </a:lnTo>
                  <a:lnTo>
                    <a:pt x="517" y="110"/>
                  </a:lnTo>
                  <a:lnTo>
                    <a:pt x="528" y="117"/>
                  </a:lnTo>
                  <a:lnTo>
                    <a:pt x="529" y="119"/>
                  </a:lnTo>
                  <a:lnTo>
                    <a:pt x="532" y="120"/>
                  </a:lnTo>
                  <a:lnTo>
                    <a:pt x="533" y="124"/>
                  </a:lnTo>
                  <a:lnTo>
                    <a:pt x="536" y="127"/>
                  </a:lnTo>
                  <a:lnTo>
                    <a:pt x="537" y="132"/>
                  </a:lnTo>
                  <a:lnTo>
                    <a:pt x="543" y="137"/>
                  </a:lnTo>
                  <a:lnTo>
                    <a:pt x="547" y="143"/>
                  </a:lnTo>
                  <a:lnTo>
                    <a:pt x="551" y="142"/>
                  </a:lnTo>
                  <a:lnTo>
                    <a:pt x="557" y="143"/>
                  </a:lnTo>
                  <a:lnTo>
                    <a:pt x="572" y="140"/>
                  </a:lnTo>
                  <a:lnTo>
                    <a:pt x="581" y="142"/>
                  </a:lnTo>
                  <a:lnTo>
                    <a:pt x="585" y="142"/>
                  </a:lnTo>
                  <a:lnTo>
                    <a:pt x="597" y="149"/>
                  </a:lnTo>
                  <a:lnTo>
                    <a:pt x="617" y="152"/>
                  </a:lnTo>
                  <a:lnTo>
                    <a:pt x="615" y="153"/>
                  </a:lnTo>
                  <a:lnTo>
                    <a:pt x="619" y="156"/>
                  </a:lnTo>
                  <a:lnTo>
                    <a:pt x="624" y="156"/>
                  </a:lnTo>
                  <a:lnTo>
                    <a:pt x="638" y="164"/>
                  </a:lnTo>
                  <a:lnTo>
                    <a:pt x="640" y="176"/>
                  </a:lnTo>
                  <a:lnTo>
                    <a:pt x="639" y="187"/>
                  </a:lnTo>
                  <a:lnTo>
                    <a:pt x="642" y="201"/>
                  </a:lnTo>
                  <a:lnTo>
                    <a:pt x="640" y="207"/>
                  </a:lnTo>
                  <a:lnTo>
                    <a:pt x="642" y="209"/>
                  </a:lnTo>
                  <a:lnTo>
                    <a:pt x="642" y="222"/>
                  </a:lnTo>
                  <a:lnTo>
                    <a:pt x="635" y="230"/>
                  </a:lnTo>
                  <a:lnTo>
                    <a:pt x="635" y="234"/>
                  </a:lnTo>
                  <a:lnTo>
                    <a:pt x="632" y="239"/>
                  </a:lnTo>
                  <a:lnTo>
                    <a:pt x="632" y="251"/>
                  </a:lnTo>
                  <a:lnTo>
                    <a:pt x="633" y="254"/>
                  </a:lnTo>
                  <a:lnTo>
                    <a:pt x="639" y="256"/>
                  </a:lnTo>
                  <a:lnTo>
                    <a:pt x="639" y="263"/>
                  </a:lnTo>
                  <a:lnTo>
                    <a:pt x="647" y="269"/>
                  </a:lnTo>
                  <a:lnTo>
                    <a:pt x="647" y="272"/>
                  </a:lnTo>
                  <a:lnTo>
                    <a:pt x="649" y="272"/>
                  </a:lnTo>
                  <a:lnTo>
                    <a:pt x="652" y="271"/>
                  </a:lnTo>
                  <a:lnTo>
                    <a:pt x="654" y="272"/>
                  </a:lnTo>
                  <a:lnTo>
                    <a:pt x="658" y="274"/>
                  </a:lnTo>
                  <a:lnTo>
                    <a:pt x="657" y="280"/>
                  </a:lnTo>
                  <a:lnTo>
                    <a:pt x="660" y="285"/>
                  </a:lnTo>
                  <a:lnTo>
                    <a:pt x="664" y="285"/>
                  </a:lnTo>
                  <a:lnTo>
                    <a:pt x="671" y="291"/>
                  </a:lnTo>
                  <a:lnTo>
                    <a:pt x="671" y="292"/>
                  </a:lnTo>
                  <a:lnTo>
                    <a:pt x="672" y="294"/>
                  </a:lnTo>
                  <a:lnTo>
                    <a:pt x="671" y="299"/>
                  </a:lnTo>
                  <a:lnTo>
                    <a:pt x="675" y="301"/>
                  </a:lnTo>
                  <a:lnTo>
                    <a:pt x="675" y="302"/>
                  </a:lnTo>
                  <a:lnTo>
                    <a:pt x="678" y="308"/>
                  </a:lnTo>
                  <a:lnTo>
                    <a:pt x="679" y="317"/>
                  </a:lnTo>
                  <a:lnTo>
                    <a:pt x="681" y="319"/>
                  </a:lnTo>
                  <a:lnTo>
                    <a:pt x="682" y="323"/>
                  </a:lnTo>
                  <a:lnTo>
                    <a:pt x="686" y="326"/>
                  </a:lnTo>
                  <a:lnTo>
                    <a:pt x="688" y="330"/>
                  </a:lnTo>
                  <a:lnTo>
                    <a:pt x="693" y="334"/>
                  </a:lnTo>
                  <a:lnTo>
                    <a:pt x="694" y="336"/>
                  </a:lnTo>
                  <a:lnTo>
                    <a:pt x="697" y="339"/>
                  </a:lnTo>
                  <a:lnTo>
                    <a:pt x="703" y="346"/>
                  </a:lnTo>
                  <a:lnTo>
                    <a:pt x="703" y="350"/>
                  </a:lnTo>
                  <a:lnTo>
                    <a:pt x="706" y="352"/>
                  </a:lnTo>
                  <a:lnTo>
                    <a:pt x="708" y="352"/>
                  </a:lnTo>
                  <a:lnTo>
                    <a:pt x="710" y="356"/>
                  </a:lnTo>
                  <a:lnTo>
                    <a:pt x="708" y="359"/>
                  </a:lnTo>
                  <a:lnTo>
                    <a:pt x="718" y="375"/>
                  </a:lnTo>
                  <a:lnTo>
                    <a:pt x="719" y="375"/>
                  </a:lnTo>
                  <a:lnTo>
                    <a:pt x="724" y="375"/>
                  </a:lnTo>
                  <a:lnTo>
                    <a:pt x="727" y="376"/>
                  </a:lnTo>
                  <a:lnTo>
                    <a:pt x="729" y="381"/>
                  </a:lnTo>
                  <a:lnTo>
                    <a:pt x="729" y="386"/>
                  </a:lnTo>
                  <a:lnTo>
                    <a:pt x="733" y="388"/>
                  </a:lnTo>
                  <a:lnTo>
                    <a:pt x="733" y="391"/>
                  </a:lnTo>
                  <a:lnTo>
                    <a:pt x="736" y="393"/>
                  </a:lnTo>
                  <a:lnTo>
                    <a:pt x="735" y="396"/>
                  </a:lnTo>
                  <a:lnTo>
                    <a:pt x="731" y="397"/>
                  </a:lnTo>
                  <a:lnTo>
                    <a:pt x="733" y="401"/>
                  </a:lnTo>
                  <a:lnTo>
                    <a:pt x="732" y="401"/>
                  </a:lnTo>
                  <a:lnTo>
                    <a:pt x="731" y="405"/>
                  </a:lnTo>
                  <a:lnTo>
                    <a:pt x="732" y="412"/>
                  </a:lnTo>
                  <a:lnTo>
                    <a:pt x="729" y="417"/>
                  </a:lnTo>
                  <a:lnTo>
                    <a:pt x="731" y="420"/>
                  </a:lnTo>
                  <a:lnTo>
                    <a:pt x="736" y="425"/>
                  </a:lnTo>
                  <a:lnTo>
                    <a:pt x="738" y="425"/>
                  </a:lnTo>
                  <a:lnTo>
                    <a:pt x="747" y="430"/>
                  </a:lnTo>
                  <a:lnTo>
                    <a:pt x="747" y="433"/>
                  </a:lnTo>
                  <a:lnTo>
                    <a:pt x="749" y="435"/>
                  </a:lnTo>
                  <a:lnTo>
                    <a:pt x="749" y="437"/>
                  </a:lnTo>
                  <a:lnTo>
                    <a:pt x="753" y="439"/>
                  </a:lnTo>
                  <a:lnTo>
                    <a:pt x="756" y="438"/>
                  </a:lnTo>
                  <a:lnTo>
                    <a:pt x="760" y="441"/>
                  </a:lnTo>
                  <a:lnTo>
                    <a:pt x="758" y="447"/>
                  </a:lnTo>
                  <a:lnTo>
                    <a:pt x="756" y="450"/>
                  </a:lnTo>
                  <a:lnTo>
                    <a:pt x="757" y="454"/>
                  </a:lnTo>
                  <a:lnTo>
                    <a:pt x="753" y="457"/>
                  </a:lnTo>
                  <a:lnTo>
                    <a:pt x="753" y="462"/>
                  </a:lnTo>
                  <a:lnTo>
                    <a:pt x="757" y="460"/>
                  </a:lnTo>
                  <a:lnTo>
                    <a:pt x="769" y="450"/>
                  </a:lnTo>
                  <a:lnTo>
                    <a:pt x="785" y="450"/>
                  </a:lnTo>
                  <a:lnTo>
                    <a:pt x="824" y="450"/>
                  </a:lnTo>
                  <a:lnTo>
                    <a:pt x="803" y="499"/>
                  </a:lnTo>
                  <a:lnTo>
                    <a:pt x="793" y="509"/>
                  </a:lnTo>
                  <a:lnTo>
                    <a:pt x="782" y="525"/>
                  </a:lnTo>
                  <a:lnTo>
                    <a:pt x="782" y="526"/>
                  </a:lnTo>
                  <a:lnTo>
                    <a:pt x="788" y="526"/>
                  </a:lnTo>
                  <a:lnTo>
                    <a:pt x="788" y="527"/>
                  </a:lnTo>
                  <a:lnTo>
                    <a:pt x="788" y="529"/>
                  </a:lnTo>
                  <a:lnTo>
                    <a:pt x="786" y="529"/>
                  </a:lnTo>
                  <a:lnTo>
                    <a:pt x="788" y="532"/>
                  </a:lnTo>
                  <a:lnTo>
                    <a:pt x="785" y="533"/>
                  </a:lnTo>
                  <a:lnTo>
                    <a:pt x="783" y="535"/>
                  </a:lnTo>
                  <a:lnTo>
                    <a:pt x="791" y="538"/>
                  </a:lnTo>
                  <a:lnTo>
                    <a:pt x="789" y="539"/>
                  </a:lnTo>
                  <a:lnTo>
                    <a:pt x="791" y="541"/>
                  </a:lnTo>
                  <a:lnTo>
                    <a:pt x="789" y="542"/>
                  </a:lnTo>
                  <a:lnTo>
                    <a:pt x="789" y="546"/>
                  </a:lnTo>
                  <a:lnTo>
                    <a:pt x="791" y="547"/>
                  </a:lnTo>
                  <a:lnTo>
                    <a:pt x="793" y="547"/>
                  </a:lnTo>
                  <a:lnTo>
                    <a:pt x="794" y="549"/>
                  </a:lnTo>
                  <a:lnTo>
                    <a:pt x="792" y="551"/>
                  </a:lnTo>
                  <a:lnTo>
                    <a:pt x="794" y="552"/>
                  </a:lnTo>
                  <a:lnTo>
                    <a:pt x="792" y="554"/>
                  </a:lnTo>
                  <a:lnTo>
                    <a:pt x="794" y="555"/>
                  </a:lnTo>
                  <a:lnTo>
                    <a:pt x="793" y="558"/>
                  </a:lnTo>
                  <a:lnTo>
                    <a:pt x="799" y="560"/>
                  </a:lnTo>
                  <a:lnTo>
                    <a:pt x="802" y="560"/>
                  </a:lnTo>
                  <a:lnTo>
                    <a:pt x="803" y="559"/>
                  </a:lnTo>
                  <a:lnTo>
                    <a:pt x="810" y="560"/>
                  </a:lnTo>
                  <a:lnTo>
                    <a:pt x="811" y="559"/>
                  </a:lnTo>
                  <a:lnTo>
                    <a:pt x="813" y="560"/>
                  </a:lnTo>
                  <a:lnTo>
                    <a:pt x="813" y="563"/>
                  </a:lnTo>
                  <a:lnTo>
                    <a:pt x="813" y="564"/>
                  </a:lnTo>
                  <a:lnTo>
                    <a:pt x="811" y="566"/>
                  </a:lnTo>
                  <a:lnTo>
                    <a:pt x="814" y="569"/>
                  </a:lnTo>
                  <a:lnTo>
                    <a:pt x="816" y="572"/>
                  </a:lnTo>
                  <a:lnTo>
                    <a:pt x="814" y="574"/>
                  </a:lnTo>
                  <a:lnTo>
                    <a:pt x="813" y="572"/>
                  </a:lnTo>
                  <a:lnTo>
                    <a:pt x="810" y="574"/>
                  </a:lnTo>
                  <a:lnTo>
                    <a:pt x="808" y="572"/>
                  </a:lnTo>
                  <a:lnTo>
                    <a:pt x="806" y="574"/>
                  </a:lnTo>
                  <a:lnTo>
                    <a:pt x="806" y="575"/>
                  </a:lnTo>
                  <a:lnTo>
                    <a:pt x="803" y="575"/>
                  </a:lnTo>
                  <a:lnTo>
                    <a:pt x="803" y="577"/>
                  </a:lnTo>
                  <a:lnTo>
                    <a:pt x="797" y="579"/>
                  </a:lnTo>
                  <a:lnTo>
                    <a:pt x="796" y="582"/>
                  </a:lnTo>
                  <a:lnTo>
                    <a:pt x="799" y="582"/>
                  </a:lnTo>
                  <a:lnTo>
                    <a:pt x="797" y="583"/>
                  </a:lnTo>
                  <a:lnTo>
                    <a:pt x="793" y="580"/>
                  </a:lnTo>
                  <a:lnTo>
                    <a:pt x="792" y="582"/>
                  </a:lnTo>
                  <a:lnTo>
                    <a:pt x="792" y="586"/>
                  </a:lnTo>
                  <a:lnTo>
                    <a:pt x="791" y="588"/>
                  </a:lnTo>
                  <a:lnTo>
                    <a:pt x="786" y="592"/>
                  </a:lnTo>
                  <a:lnTo>
                    <a:pt x="783" y="597"/>
                  </a:lnTo>
                  <a:lnTo>
                    <a:pt x="782" y="611"/>
                  </a:lnTo>
                  <a:lnTo>
                    <a:pt x="783" y="614"/>
                  </a:lnTo>
                  <a:lnTo>
                    <a:pt x="792" y="620"/>
                  </a:lnTo>
                  <a:lnTo>
                    <a:pt x="799" y="621"/>
                  </a:lnTo>
                  <a:lnTo>
                    <a:pt x="800" y="625"/>
                  </a:lnTo>
                  <a:lnTo>
                    <a:pt x="799" y="629"/>
                  </a:lnTo>
                  <a:lnTo>
                    <a:pt x="796" y="630"/>
                  </a:lnTo>
                  <a:lnTo>
                    <a:pt x="794" y="633"/>
                  </a:lnTo>
                  <a:lnTo>
                    <a:pt x="799" y="636"/>
                  </a:lnTo>
                  <a:lnTo>
                    <a:pt x="799" y="639"/>
                  </a:lnTo>
                  <a:lnTo>
                    <a:pt x="797" y="642"/>
                  </a:lnTo>
                  <a:lnTo>
                    <a:pt x="793" y="642"/>
                  </a:lnTo>
                  <a:lnTo>
                    <a:pt x="792" y="644"/>
                  </a:lnTo>
                  <a:lnTo>
                    <a:pt x="796" y="647"/>
                  </a:lnTo>
                  <a:lnTo>
                    <a:pt x="797" y="650"/>
                  </a:lnTo>
                  <a:lnTo>
                    <a:pt x="792" y="673"/>
                  </a:lnTo>
                  <a:lnTo>
                    <a:pt x="792" y="675"/>
                  </a:lnTo>
                  <a:lnTo>
                    <a:pt x="793" y="678"/>
                  </a:lnTo>
                  <a:lnTo>
                    <a:pt x="800" y="684"/>
                  </a:lnTo>
                  <a:lnTo>
                    <a:pt x="800" y="688"/>
                  </a:lnTo>
                  <a:lnTo>
                    <a:pt x="797" y="692"/>
                  </a:lnTo>
                  <a:lnTo>
                    <a:pt x="799" y="696"/>
                  </a:lnTo>
                  <a:lnTo>
                    <a:pt x="810" y="696"/>
                  </a:lnTo>
                  <a:lnTo>
                    <a:pt x="813" y="698"/>
                  </a:lnTo>
                  <a:lnTo>
                    <a:pt x="814" y="700"/>
                  </a:lnTo>
                  <a:lnTo>
                    <a:pt x="818" y="700"/>
                  </a:lnTo>
                  <a:lnTo>
                    <a:pt x="819" y="703"/>
                  </a:lnTo>
                  <a:lnTo>
                    <a:pt x="827" y="704"/>
                  </a:lnTo>
                  <a:lnTo>
                    <a:pt x="831" y="707"/>
                  </a:lnTo>
                  <a:lnTo>
                    <a:pt x="838" y="706"/>
                  </a:lnTo>
                  <a:lnTo>
                    <a:pt x="841" y="707"/>
                  </a:lnTo>
                  <a:lnTo>
                    <a:pt x="845" y="707"/>
                  </a:lnTo>
                  <a:lnTo>
                    <a:pt x="849" y="708"/>
                  </a:lnTo>
                  <a:lnTo>
                    <a:pt x="852" y="708"/>
                  </a:lnTo>
                  <a:lnTo>
                    <a:pt x="854" y="708"/>
                  </a:lnTo>
                  <a:lnTo>
                    <a:pt x="857" y="708"/>
                  </a:lnTo>
                  <a:lnTo>
                    <a:pt x="860" y="712"/>
                  </a:lnTo>
                  <a:lnTo>
                    <a:pt x="860" y="713"/>
                  </a:lnTo>
                  <a:lnTo>
                    <a:pt x="857" y="716"/>
                  </a:lnTo>
                  <a:lnTo>
                    <a:pt x="856" y="715"/>
                  </a:lnTo>
                  <a:lnTo>
                    <a:pt x="854" y="720"/>
                  </a:lnTo>
                  <a:lnTo>
                    <a:pt x="852" y="721"/>
                  </a:lnTo>
                  <a:lnTo>
                    <a:pt x="852" y="724"/>
                  </a:lnTo>
                  <a:lnTo>
                    <a:pt x="850" y="728"/>
                  </a:lnTo>
                  <a:lnTo>
                    <a:pt x="850" y="731"/>
                  </a:lnTo>
                  <a:lnTo>
                    <a:pt x="846" y="731"/>
                  </a:lnTo>
                  <a:lnTo>
                    <a:pt x="847" y="737"/>
                  </a:lnTo>
                  <a:lnTo>
                    <a:pt x="845" y="738"/>
                  </a:lnTo>
                  <a:lnTo>
                    <a:pt x="845" y="740"/>
                  </a:lnTo>
                  <a:lnTo>
                    <a:pt x="846" y="741"/>
                  </a:lnTo>
                  <a:lnTo>
                    <a:pt x="850" y="743"/>
                  </a:lnTo>
                  <a:lnTo>
                    <a:pt x="856" y="750"/>
                  </a:lnTo>
                  <a:lnTo>
                    <a:pt x="861" y="748"/>
                  </a:lnTo>
                  <a:lnTo>
                    <a:pt x="866" y="748"/>
                  </a:lnTo>
                  <a:lnTo>
                    <a:pt x="868" y="754"/>
                  </a:lnTo>
                  <a:lnTo>
                    <a:pt x="867" y="757"/>
                  </a:lnTo>
                  <a:lnTo>
                    <a:pt x="868" y="763"/>
                  </a:lnTo>
                  <a:lnTo>
                    <a:pt x="867" y="766"/>
                  </a:lnTo>
                  <a:lnTo>
                    <a:pt x="863" y="769"/>
                  </a:lnTo>
                  <a:lnTo>
                    <a:pt x="861" y="774"/>
                  </a:lnTo>
                  <a:lnTo>
                    <a:pt x="859" y="775"/>
                  </a:lnTo>
                  <a:lnTo>
                    <a:pt x="854" y="779"/>
                  </a:lnTo>
                  <a:lnTo>
                    <a:pt x="856" y="783"/>
                  </a:lnTo>
                  <a:lnTo>
                    <a:pt x="854" y="783"/>
                  </a:lnTo>
                  <a:lnTo>
                    <a:pt x="854" y="785"/>
                  </a:lnTo>
                  <a:lnTo>
                    <a:pt x="857" y="786"/>
                  </a:lnTo>
                  <a:lnTo>
                    <a:pt x="859" y="787"/>
                  </a:lnTo>
                  <a:lnTo>
                    <a:pt x="856" y="795"/>
                  </a:lnTo>
                  <a:lnTo>
                    <a:pt x="856" y="798"/>
                  </a:lnTo>
                  <a:lnTo>
                    <a:pt x="852" y="799"/>
                  </a:lnTo>
                  <a:lnTo>
                    <a:pt x="852" y="804"/>
                  </a:lnTo>
                  <a:lnTo>
                    <a:pt x="939" y="802"/>
                  </a:lnTo>
                  <a:lnTo>
                    <a:pt x="954" y="824"/>
                  </a:lnTo>
                  <a:lnTo>
                    <a:pt x="963" y="838"/>
                  </a:lnTo>
                  <a:lnTo>
                    <a:pt x="966" y="845"/>
                  </a:lnTo>
                  <a:lnTo>
                    <a:pt x="967" y="866"/>
                  </a:lnTo>
                  <a:lnTo>
                    <a:pt x="970" y="880"/>
                  </a:lnTo>
                  <a:lnTo>
                    <a:pt x="967" y="910"/>
                  </a:lnTo>
                  <a:lnTo>
                    <a:pt x="967" y="947"/>
                  </a:lnTo>
                  <a:close/>
                  <a:moveTo>
                    <a:pt x="640" y="1301"/>
                  </a:moveTo>
                  <a:lnTo>
                    <a:pt x="642" y="1309"/>
                  </a:lnTo>
                  <a:lnTo>
                    <a:pt x="638" y="1315"/>
                  </a:lnTo>
                  <a:lnTo>
                    <a:pt x="636" y="1327"/>
                  </a:lnTo>
                  <a:lnTo>
                    <a:pt x="635" y="1330"/>
                  </a:lnTo>
                  <a:lnTo>
                    <a:pt x="632" y="1330"/>
                  </a:lnTo>
                  <a:lnTo>
                    <a:pt x="631" y="1329"/>
                  </a:lnTo>
                  <a:lnTo>
                    <a:pt x="631" y="1326"/>
                  </a:lnTo>
                  <a:lnTo>
                    <a:pt x="627" y="1318"/>
                  </a:lnTo>
                  <a:lnTo>
                    <a:pt x="628" y="1310"/>
                  </a:lnTo>
                  <a:lnTo>
                    <a:pt x="632" y="1305"/>
                  </a:lnTo>
                  <a:lnTo>
                    <a:pt x="639" y="1298"/>
                  </a:lnTo>
                  <a:lnTo>
                    <a:pt x="640" y="1301"/>
                  </a:lnTo>
                  <a:close/>
                </a:path>
              </a:pathLst>
            </a:custGeom>
            <a:solidFill>
              <a:srgbClr val="00B0F0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  <p:sp>
          <p:nvSpPr>
            <p:cNvPr id="159" name="Freeform 158"/>
            <p:cNvSpPr>
              <a:spLocks noEditPoints="1"/>
            </p:cNvSpPr>
            <p:nvPr/>
          </p:nvSpPr>
          <p:spPr bwMode="auto">
            <a:xfrm>
              <a:off x="1116225" y="2945858"/>
              <a:ext cx="449368" cy="980194"/>
            </a:xfrm>
            <a:custGeom>
              <a:avLst/>
              <a:gdLst>
                <a:gd name="T0" fmla="*/ 1355 w 2254"/>
                <a:gd name="T1" fmla="*/ 3305 h 3632"/>
                <a:gd name="T2" fmla="*/ 2151 w 2254"/>
                <a:gd name="T3" fmla="*/ 1708 h 3632"/>
                <a:gd name="T4" fmla="*/ 2073 w 2254"/>
                <a:gd name="T5" fmla="*/ 1699 h 3632"/>
                <a:gd name="T6" fmla="*/ 1874 w 2254"/>
                <a:gd name="T7" fmla="*/ 1841 h 3632"/>
                <a:gd name="T8" fmla="*/ 1800 w 2254"/>
                <a:gd name="T9" fmla="*/ 1929 h 3632"/>
                <a:gd name="T10" fmla="*/ 1667 w 2254"/>
                <a:gd name="T11" fmla="*/ 2069 h 3632"/>
                <a:gd name="T12" fmla="*/ 1500 w 2254"/>
                <a:gd name="T13" fmla="*/ 2247 h 3632"/>
                <a:gd name="T14" fmla="*/ 1289 w 2254"/>
                <a:gd name="T15" fmla="*/ 2397 h 3632"/>
                <a:gd name="T16" fmla="*/ 1135 w 2254"/>
                <a:gd name="T17" fmla="*/ 2381 h 3632"/>
                <a:gd name="T18" fmla="*/ 1113 w 2254"/>
                <a:gd name="T19" fmla="*/ 2430 h 3632"/>
                <a:gd name="T20" fmla="*/ 1097 w 2254"/>
                <a:gd name="T21" fmla="*/ 2599 h 3632"/>
                <a:gd name="T22" fmla="*/ 1077 w 2254"/>
                <a:gd name="T23" fmla="*/ 2692 h 3632"/>
                <a:gd name="T24" fmla="*/ 1072 w 2254"/>
                <a:gd name="T25" fmla="*/ 2755 h 3632"/>
                <a:gd name="T26" fmla="*/ 1075 w 2254"/>
                <a:gd name="T27" fmla="*/ 2786 h 3632"/>
                <a:gd name="T28" fmla="*/ 1033 w 2254"/>
                <a:gd name="T29" fmla="*/ 2849 h 3632"/>
                <a:gd name="T30" fmla="*/ 1030 w 2254"/>
                <a:gd name="T31" fmla="*/ 2894 h 3632"/>
                <a:gd name="T32" fmla="*/ 1044 w 2254"/>
                <a:gd name="T33" fmla="*/ 2931 h 3632"/>
                <a:gd name="T34" fmla="*/ 1033 w 2254"/>
                <a:gd name="T35" fmla="*/ 3040 h 3632"/>
                <a:gd name="T36" fmla="*/ 1073 w 2254"/>
                <a:gd name="T37" fmla="*/ 2991 h 3632"/>
                <a:gd name="T38" fmla="*/ 1162 w 2254"/>
                <a:gd name="T39" fmla="*/ 3069 h 3632"/>
                <a:gd name="T40" fmla="*/ 1133 w 2254"/>
                <a:gd name="T41" fmla="*/ 3126 h 3632"/>
                <a:gd name="T42" fmla="*/ 1205 w 2254"/>
                <a:gd name="T43" fmla="*/ 3145 h 3632"/>
                <a:gd name="T44" fmla="*/ 1257 w 2254"/>
                <a:gd name="T45" fmla="*/ 3138 h 3632"/>
                <a:gd name="T46" fmla="*/ 1268 w 2254"/>
                <a:gd name="T47" fmla="*/ 3182 h 3632"/>
                <a:gd name="T48" fmla="*/ 1279 w 2254"/>
                <a:gd name="T49" fmla="*/ 3222 h 3632"/>
                <a:gd name="T50" fmla="*/ 1335 w 2254"/>
                <a:gd name="T51" fmla="*/ 3263 h 3632"/>
                <a:gd name="T52" fmla="*/ 1271 w 2254"/>
                <a:gd name="T53" fmla="*/ 3370 h 3632"/>
                <a:gd name="T54" fmla="*/ 1147 w 2254"/>
                <a:gd name="T55" fmla="*/ 3441 h 3632"/>
                <a:gd name="T56" fmla="*/ 1009 w 2254"/>
                <a:gd name="T57" fmla="*/ 3457 h 3632"/>
                <a:gd name="T58" fmla="*/ 865 w 2254"/>
                <a:gd name="T59" fmla="*/ 3511 h 3632"/>
                <a:gd name="T60" fmla="*/ 776 w 2254"/>
                <a:gd name="T61" fmla="*/ 3621 h 3632"/>
                <a:gd name="T62" fmla="*/ 662 w 2254"/>
                <a:gd name="T63" fmla="*/ 3615 h 3632"/>
                <a:gd name="T64" fmla="*/ 527 w 2254"/>
                <a:gd name="T65" fmla="*/ 3617 h 3632"/>
                <a:gd name="T66" fmla="*/ 343 w 2254"/>
                <a:gd name="T67" fmla="*/ 3168 h 3632"/>
                <a:gd name="T68" fmla="*/ 71 w 2254"/>
                <a:gd name="T69" fmla="*/ 2909 h 3632"/>
                <a:gd name="T70" fmla="*/ 15 w 2254"/>
                <a:gd name="T71" fmla="*/ 2633 h 3632"/>
                <a:gd name="T72" fmla="*/ 103 w 2254"/>
                <a:gd name="T73" fmla="*/ 2564 h 3632"/>
                <a:gd name="T74" fmla="*/ 194 w 2254"/>
                <a:gd name="T75" fmla="*/ 2531 h 3632"/>
                <a:gd name="T76" fmla="*/ 354 w 2254"/>
                <a:gd name="T77" fmla="*/ 2491 h 3632"/>
                <a:gd name="T78" fmla="*/ 292 w 2254"/>
                <a:gd name="T79" fmla="*/ 2264 h 3632"/>
                <a:gd name="T80" fmla="*/ 499 w 2254"/>
                <a:gd name="T81" fmla="*/ 1708 h 3632"/>
                <a:gd name="T82" fmla="*/ 339 w 2254"/>
                <a:gd name="T83" fmla="*/ 1568 h 3632"/>
                <a:gd name="T84" fmla="*/ 374 w 2254"/>
                <a:gd name="T85" fmla="*/ 1378 h 3632"/>
                <a:gd name="T86" fmla="*/ 368 w 2254"/>
                <a:gd name="T87" fmla="*/ 1303 h 3632"/>
                <a:gd name="T88" fmla="*/ 361 w 2254"/>
                <a:gd name="T89" fmla="*/ 1182 h 3632"/>
                <a:gd name="T90" fmla="*/ 534 w 2254"/>
                <a:gd name="T91" fmla="*/ 1119 h 3632"/>
                <a:gd name="T92" fmla="*/ 695 w 2254"/>
                <a:gd name="T93" fmla="*/ 1135 h 3632"/>
                <a:gd name="T94" fmla="*/ 680 w 2254"/>
                <a:gd name="T95" fmla="*/ 869 h 3632"/>
                <a:gd name="T96" fmla="*/ 649 w 2254"/>
                <a:gd name="T97" fmla="*/ 457 h 3632"/>
                <a:gd name="T98" fmla="*/ 913 w 2254"/>
                <a:gd name="T99" fmla="*/ 31 h 3632"/>
                <a:gd name="T100" fmla="*/ 1166 w 2254"/>
                <a:gd name="T101" fmla="*/ 158 h 3632"/>
                <a:gd name="T102" fmla="*/ 1286 w 2254"/>
                <a:gd name="T103" fmla="*/ 423 h 3632"/>
                <a:gd name="T104" fmla="*/ 1446 w 2254"/>
                <a:gd name="T105" fmla="*/ 663 h 3632"/>
                <a:gd name="T106" fmla="*/ 1621 w 2254"/>
                <a:gd name="T107" fmla="*/ 813 h 3632"/>
                <a:gd name="T108" fmla="*/ 1784 w 2254"/>
                <a:gd name="T109" fmla="*/ 987 h 3632"/>
                <a:gd name="T110" fmla="*/ 2063 w 2254"/>
                <a:gd name="T111" fmla="*/ 1187 h 3632"/>
                <a:gd name="T112" fmla="*/ 2225 w 2254"/>
                <a:gd name="T113" fmla="*/ 1438 h 3632"/>
                <a:gd name="T114" fmla="*/ 2220 w 2254"/>
                <a:gd name="T115" fmla="*/ 1546 h 3632"/>
                <a:gd name="T116" fmla="*/ 1227 w 2254"/>
                <a:gd name="T117" fmla="*/ 3080 h 3632"/>
                <a:gd name="T118" fmla="*/ 1036 w 2254"/>
                <a:gd name="T119" fmla="*/ 2345 h 3632"/>
                <a:gd name="T120" fmla="*/ 1122 w 2254"/>
                <a:gd name="T121" fmla="*/ 2396 h 3632"/>
                <a:gd name="T122" fmla="*/ 1058 w 2254"/>
                <a:gd name="T123" fmla="*/ 2377 h 3632"/>
                <a:gd name="T124" fmla="*/ 1144 w 2254"/>
                <a:gd name="T125" fmla="*/ 2399 h 36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54"/>
                <a:gd name="T190" fmla="*/ 0 h 3632"/>
                <a:gd name="T191" fmla="*/ 2254 w 2254"/>
                <a:gd name="T192" fmla="*/ 3632 h 36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54" h="3632">
                  <a:moveTo>
                    <a:pt x="1400" y="3329"/>
                  </a:moveTo>
                  <a:lnTo>
                    <a:pt x="1396" y="3329"/>
                  </a:lnTo>
                  <a:lnTo>
                    <a:pt x="1393" y="3325"/>
                  </a:lnTo>
                  <a:lnTo>
                    <a:pt x="1390" y="3325"/>
                  </a:lnTo>
                  <a:lnTo>
                    <a:pt x="1389" y="3325"/>
                  </a:lnTo>
                  <a:lnTo>
                    <a:pt x="1392" y="3328"/>
                  </a:lnTo>
                  <a:lnTo>
                    <a:pt x="1393" y="3329"/>
                  </a:lnTo>
                  <a:lnTo>
                    <a:pt x="1395" y="3331"/>
                  </a:lnTo>
                  <a:lnTo>
                    <a:pt x="1393" y="3334"/>
                  </a:lnTo>
                  <a:lnTo>
                    <a:pt x="1382" y="3338"/>
                  </a:lnTo>
                  <a:lnTo>
                    <a:pt x="1375" y="3337"/>
                  </a:lnTo>
                  <a:lnTo>
                    <a:pt x="1371" y="3339"/>
                  </a:lnTo>
                  <a:lnTo>
                    <a:pt x="1364" y="3338"/>
                  </a:lnTo>
                  <a:lnTo>
                    <a:pt x="1371" y="3341"/>
                  </a:lnTo>
                  <a:lnTo>
                    <a:pt x="1378" y="3341"/>
                  </a:lnTo>
                  <a:lnTo>
                    <a:pt x="1378" y="3342"/>
                  </a:lnTo>
                  <a:lnTo>
                    <a:pt x="1375" y="3343"/>
                  </a:lnTo>
                  <a:lnTo>
                    <a:pt x="1372" y="3343"/>
                  </a:lnTo>
                  <a:lnTo>
                    <a:pt x="1365" y="3342"/>
                  </a:lnTo>
                  <a:lnTo>
                    <a:pt x="1362" y="3343"/>
                  </a:lnTo>
                  <a:lnTo>
                    <a:pt x="1353" y="3354"/>
                  </a:lnTo>
                  <a:lnTo>
                    <a:pt x="1346" y="3355"/>
                  </a:lnTo>
                  <a:lnTo>
                    <a:pt x="1343" y="3354"/>
                  </a:lnTo>
                  <a:lnTo>
                    <a:pt x="1347" y="3346"/>
                  </a:lnTo>
                  <a:lnTo>
                    <a:pt x="1347" y="3333"/>
                  </a:lnTo>
                  <a:lnTo>
                    <a:pt x="1343" y="3329"/>
                  </a:lnTo>
                  <a:lnTo>
                    <a:pt x="1336" y="3331"/>
                  </a:lnTo>
                  <a:lnTo>
                    <a:pt x="1335" y="3329"/>
                  </a:lnTo>
                  <a:lnTo>
                    <a:pt x="1350" y="3321"/>
                  </a:lnTo>
                  <a:lnTo>
                    <a:pt x="1358" y="3312"/>
                  </a:lnTo>
                  <a:lnTo>
                    <a:pt x="1355" y="3305"/>
                  </a:lnTo>
                  <a:lnTo>
                    <a:pt x="1369" y="3302"/>
                  </a:lnTo>
                  <a:lnTo>
                    <a:pt x="1378" y="3311"/>
                  </a:lnTo>
                  <a:lnTo>
                    <a:pt x="1379" y="3302"/>
                  </a:lnTo>
                  <a:lnTo>
                    <a:pt x="1382" y="3301"/>
                  </a:lnTo>
                  <a:lnTo>
                    <a:pt x="1385" y="3301"/>
                  </a:lnTo>
                  <a:lnTo>
                    <a:pt x="1385" y="3297"/>
                  </a:lnTo>
                  <a:lnTo>
                    <a:pt x="1386" y="3297"/>
                  </a:lnTo>
                  <a:lnTo>
                    <a:pt x="1390" y="3311"/>
                  </a:lnTo>
                  <a:lnTo>
                    <a:pt x="1401" y="3328"/>
                  </a:lnTo>
                  <a:lnTo>
                    <a:pt x="1403" y="3333"/>
                  </a:lnTo>
                  <a:lnTo>
                    <a:pt x="1400" y="3329"/>
                  </a:lnTo>
                  <a:close/>
                  <a:moveTo>
                    <a:pt x="2250" y="1587"/>
                  </a:moveTo>
                  <a:lnTo>
                    <a:pt x="2233" y="1587"/>
                  </a:lnTo>
                  <a:lnTo>
                    <a:pt x="2230" y="1588"/>
                  </a:lnTo>
                  <a:lnTo>
                    <a:pt x="2228" y="1592"/>
                  </a:lnTo>
                  <a:lnTo>
                    <a:pt x="2229" y="1605"/>
                  </a:lnTo>
                  <a:lnTo>
                    <a:pt x="2206" y="1617"/>
                  </a:lnTo>
                  <a:lnTo>
                    <a:pt x="2198" y="1629"/>
                  </a:lnTo>
                  <a:lnTo>
                    <a:pt x="2195" y="1636"/>
                  </a:lnTo>
                  <a:lnTo>
                    <a:pt x="2195" y="1645"/>
                  </a:lnTo>
                  <a:lnTo>
                    <a:pt x="2197" y="1647"/>
                  </a:lnTo>
                  <a:lnTo>
                    <a:pt x="2200" y="1651"/>
                  </a:lnTo>
                  <a:lnTo>
                    <a:pt x="2202" y="1659"/>
                  </a:lnTo>
                  <a:lnTo>
                    <a:pt x="2204" y="1670"/>
                  </a:lnTo>
                  <a:lnTo>
                    <a:pt x="2201" y="1678"/>
                  </a:lnTo>
                  <a:lnTo>
                    <a:pt x="2194" y="1686"/>
                  </a:lnTo>
                  <a:lnTo>
                    <a:pt x="2193" y="1696"/>
                  </a:lnTo>
                  <a:lnTo>
                    <a:pt x="2190" y="1700"/>
                  </a:lnTo>
                  <a:lnTo>
                    <a:pt x="2184" y="1704"/>
                  </a:lnTo>
                  <a:lnTo>
                    <a:pt x="2173" y="1704"/>
                  </a:lnTo>
                  <a:lnTo>
                    <a:pt x="2151" y="1708"/>
                  </a:lnTo>
                  <a:lnTo>
                    <a:pt x="2149" y="1704"/>
                  </a:lnTo>
                  <a:lnTo>
                    <a:pt x="2154" y="1700"/>
                  </a:lnTo>
                  <a:lnTo>
                    <a:pt x="2165" y="1699"/>
                  </a:lnTo>
                  <a:lnTo>
                    <a:pt x="2172" y="1695"/>
                  </a:lnTo>
                  <a:lnTo>
                    <a:pt x="2172" y="1692"/>
                  </a:lnTo>
                  <a:lnTo>
                    <a:pt x="2170" y="1686"/>
                  </a:lnTo>
                  <a:lnTo>
                    <a:pt x="2168" y="1688"/>
                  </a:lnTo>
                  <a:lnTo>
                    <a:pt x="2163" y="1686"/>
                  </a:lnTo>
                  <a:lnTo>
                    <a:pt x="2155" y="1695"/>
                  </a:lnTo>
                  <a:lnTo>
                    <a:pt x="2149" y="1694"/>
                  </a:lnTo>
                  <a:lnTo>
                    <a:pt x="2141" y="1699"/>
                  </a:lnTo>
                  <a:lnTo>
                    <a:pt x="2133" y="1700"/>
                  </a:lnTo>
                  <a:lnTo>
                    <a:pt x="2131" y="1704"/>
                  </a:lnTo>
                  <a:lnTo>
                    <a:pt x="2133" y="1711"/>
                  </a:lnTo>
                  <a:lnTo>
                    <a:pt x="2130" y="1712"/>
                  </a:lnTo>
                  <a:lnTo>
                    <a:pt x="2102" y="1721"/>
                  </a:lnTo>
                  <a:lnTo>
                    <a:pt x="2088" y="1719"/>
                  </a:lnTo>
                  <a:lnTo>
                    <a:pt x="2088" y="1716"/>
                  </a:lnTo>
                  <a:lnTo>
                    <a:pt x="2094" y="1713"/>
                  </a:lnTo>
                  <a:lnTo>
                    <a:pt x="2102" y="1704"/>
                  </a:lnTo>
                  <a:lnTo>
                    <a:pt x="2113" y="1696"/>
                  </a:lnTo>
                  <a:lnTo>
                    <a:pt x="2123" y="1663"/>
                  </a:lnTo>
                  <a:lnTo>
                    <a:pt x="2123" y="1655"/>
                  </a:lnTo>
                  <a:lnTo>
                    <a:pt x="2118" y="1666"/>
                  </a:lnTo>
                  <a:lnTo>
                    <a:pt x="2112" y="1674"/>
                  </a:lnTo>
                  <a:lnTo>
                    <a:pt x="2109" y="1686"/>
                  </a:lnTo>
                  <a:lnTo>
                    <a:pt x="2105" y="1695"/>
                  </a:lnTo>
                  <a:lnTo>
                    <a:pt x="2101" y="1696"/>
                  </a:lnTo>
                  <a:lnTo>
                    <a:pt x="2094" y="1694"/>
                  </a:lnTo>
                  <a:lnTo>
                    <a:pt x="2087" y="1694"/>
                  </a:lnTo>
                  <a:lnTo>
                    <a:pt x="2073" y="1699"/>
                  </a:lnTo>
                  <a:lnTo>
                    <a:pt x="2068" y="1704"/>
                  </a:lnTo>
                  <a:lnTo>
                    <a:pt x="2065" y="1708"/>
                  </a:lnTo>
                  <a:lnTo>
                    <a:pt x="2065" y="1714"/>
                  </a:lnTo>
                  <a:lnTo>
                    <a:pt x="2069" y="1719"/>
                  </a:lnTo>
                  <a:lnTo>
                    <a:pt x="2069" y="1726"/>
                  </a:lnTo>
                  <a:lnTo>
                    <a:pt x="2066" y="1731"/>
                  </a:lnTo>
                  <a:lnTo>
                    <a:pt x="2062" y="1734"/>
                  </a:lnTo>
                  <a:lnTo>
                    <a:pt x="2055" y="1737"/>
                  </a:lnTo>
                  <a:lnTo>
                    <a:pt x="2048" y="1738"/>
                  </a:lnTo>
                  <a:lnTo>
                    <a:pt x="2035" y="1733"/>
                  </a:lnTo>
                  <a:lnTo>
                    <a:pt x="2029" y="1734"/>
                  </a:lnTo>
                  <a:lnTo>
                    <a:pt x="2024" y="1731"/>
                  </a:lnTo>
                  <a:lnTo>
                    <a:pt x="2019" y="1731"/>
                  </a:lnTo>
                  <a:lnTo>
                    <a:pt x="2015" y="1725"/>
                  </a:lnTo>
                  <a:lnTo>
                    <a:pt x="2015" y="1729"/>
                  </a:lnTo>
                  <a:lnTo>
                    <a:pt x="2012" y="1736"/>
                  </a:lnTo>
                  <a:lnTo>
                    <a:pt x="2012" y="1737"/>
                  </a:lnTo>
                  <a:lnTo>
                    <a:pt x="2006" y="1739"/>
                  </a:lnTo>
                  <a:lnTo>
                    <a:pt x="2006" y="1741"/>
                  </a:lnTo>
                  <a:lnTo>
                    <a:pt x="2015" y="1738"/>
                  </a:lnTo>
                  <a:lnTo>
                    <a:pt x="2021" y="1741"/>
                  </a:lnTo>
                  <a:lnTo>
                    <a:pt x="2030" y="1741"/>
                  </a:lnTo>
                  <a:lnTo>
                    <a:pt x="2029" y="1745"/>
                  </a:lnTo>
                  <a:lnTo>
                    <a:pt x="1973" y="1775"/>
                  </a:lnTo>
                  <a:lnTo>
                    <a:pt x="1916" y="1812"/>
                  </a:lnTo>
                  <a:lnTo>
                    <a:pt x="1905" y="1820"/>
                  </a:lnTo>
                  <a:lnTo>
                    <a:pt x="1896" y="1829"/>
                  </a:lnTo>
                  <a:lnTo>
                    <a:pt x="1891" y="1831"/>
                  </a:lnTo>
                  <a:lnTo>
                    <a:pt x="1881" y="1837"/>
                  </a:lnTo>
                  <a:lnTo>
                    <a:pt x="1875" y="1838"/>
                  </a:lnTo>
                  <a:lnTo>
                    <a:pt x="1874" y="1841"/>
                  </a:lnTo>
                  <a:lnTo>
                    <a:pt x="1874" y="1846"/>
                  </a:lnTo>
                  <a:lnTo>
                    <a:pt x="1870" y="1850"/>
                  </a:lnTo>
                  <a:lnTo>
                    <a:pt x="1874" y="1850"/>
                  </a:lnTo>
                  <a:lnTo>
                    <a:pt x="1878" y="1849"/>
                  </a:lnTo>
                  <a:lnTo>
                    <a:pt x="1880" y="1849"/>
                  </a:lnTo>
                  <a:lnTo>
                    <a:pt x="1867" y="1858"/>
                  </a:lnTo>
                  <a:lnTo>
                    <a:pt x="1863" y="1863"/>
                  </a:lnTo>
                  <a:lnTo>
                    <a:pt x="1860" y="1865"/>
                  </a:lnTo>
                  <a:lnTo>
                    <a:pt x="1860" y="1861"/>
                  </a:lnTo>
                  <a:lnTo>
                    <a:pt x="1859" y="1861"/>
                  </a:lnTo>
                  <a:lnTo>
                    <a:pt x="1852" y="1865"/>
                  </a:lnTo>
                  <a:lnTo>
                    <a:pt x="1846" y="1857"/>
                  </a:lnTo>
                  <a:lnTo>
                    <a:pt x="1845" y="1857"/>
                  </a:lnTo>
                  <a:lnTo>
                    <a:pt x="1845" y="1860"/>
                  </a:lnTo>
                  <a:lnTo>
                    <a:pt x="1846" y="1861"/>
                  </a:lnTo>
                  <a:lnTo>
                    <a:pt x="1848" y="1865"/>
                  </a:lnTo>
                  <a:lnTo>
                    <a:pt x="1841" y="1869"/>
                  </a:lnTo>
                  <a:lnTo>
                    <a:pt x="1845" y="1871"/>
                  </a:lnTo>
                  <a:lnTo>
                    <a:pt x="1848" y="1875"/>
                  </a:lnTo>
                  <a:lnTo>
                    <a:pt x="1849" y="1877"/>
                  </a:lnTo>
                  <a:lnTo>
                    <a:pt x="1839" y="1881"/>
                  </a:lnTo>
                  <a:lnTo>
                    <a:pt x="1833" y="1882"/>
                  </a:lnTo>
                  <a:lnTo>
                    <a:pt x="1828" y="1883"/>
                  </a:lnTo>
                  <a:lnTo>
                    <a:pt x="1828" y="1886"/>
                  </a:lnTo>
                  <a:lnTo>
                    <a:pt x="1828" y="1891"/>
                  </a:lnTo>
                  <a:lnTo>
                    <a:pt x="1833" y="1887"/>
                  </a:lnTo>
                  <a:lnTo>
                    <a:pt x="1838" y="1891"/>
                  </a:lnTo>
                  <a:lnTo>
                    <a:pt x="1838" y="1895"/>
                  </a:lnTo>
                  <a:lnTo>
                    <a:pt x="1824" y="1904"/>
                  </a:lnTo>
                  <a:lnTo>
                    <a:pt x="1814" y="1916"/>
                  </a:lnTo>
                  <a:lnTo>
                    <a:pt x="1800" y="1929"/>
                  </a:lnTo>
                  <a:lnTo>
                    <a:pt x="1795" y="1936"/>
                  </a:lnTo>
                  <a:lnTo>
                    <a:pt x="1788" y="1942"/>
                  </a:lnTo>
                  <a:lnTo>
                    <a:pt x="1785" y="1947"/>
                  </a:lnTo>
                  <a:lnTo>
                    <a:pt x="1767" y="1958"/>
                  </a:lnTo>
                  <a:lnTo>
                    <a:pt x="1767" y="1962"/>
                  </a:lnTo>
                  <a:lnTo>
                    <a:pt x="1769" y="1962"/>
                  </a:lnTo>
                  <a:lnTo>
                    <a:pt x="1764" y="1965"/>
                  </a:lnTo>
                  <a:lnTo>
                    <a:pt x="1763" y="1969"/>
                  </a:lnTo>
                  <a:lnTo>
                    <a:pt x="1763" y="1970"/>
                  </a:lnTo>
                  <a:lnTo>
                    <a:pt x="1767" y="1966"/>
                  </a:lnTo>
                  <a:lnTo>
                    <a:pt x="1770" y="1966"/>
                  </a:lnTo>
                  <a:lnTo>
                    <a:pt x="1755" y="1981"/>
                  </a:lnTo>
                  <a:lnTo>
                    <a:pt x="1725" y="2014"/>
                  </a:lnTo>
                  <a:lnTo>
                    <a:pt x="1723" y="2015"/>
                  </a:lnTo>
                  <a:lnTo>
                    <a:pt x="1721" y="2011"/>
                  </a:lnTo>
                  <a:lnTo>
                    <a:pt x="1719" y="2011"/>
                  </a:lnTo>
                  <a:lnTo>
                    <a:pt x="1719" y="2014"/>
                  </a:lnTo>
                  <a:lnTo>
                    <a:pt x="1716" y="2017"/>
                  </a:lnTo>
                  <a:lnTo>
                    <a:pt x="1711" y="2029"/>
                  </a:lnTo>
                  <a:lnTo>
                    <a:pt x="1706" y="2037"/>
                  </a:lnTo>
                  <a:lnTo>
                    <a:pt x="1699" y="2040"/>
                  </a:lnTo>
                  <a:lnTo>
                    <a:pt x="1694" y="2047"/>
                  </a:lnTo>
                  <a:lnTo>
                    <a:pt x="1688" y="2052"/>
                  </a:lnTo>
                  <a:lnTo>
                    <a:pt x="1686" y="2056"/>
                  </a:lnTo>
                  <a:lnTo>
                    <a:pt x="1686" y="2060"/>
                  </a:lnTo>
                  <a:lnTo>
                    <a:pt x="1672" y="2078"/>
                  </a:lnTo>
                  <a:lnTo>
                    <a:pt x="1670" y="2078"/>
                  </a:lnTo>
                  <a:lnTo>
                    <a:pt x="1667" y="2078"/>
                  </a:lnTo>
                  <a:lnTo>
                    <a:pt x="1667" y="2074"/>
                  </a:lnTo>
                  <a:lnTo>
                    <a:pt x="1670" y="2069"/>
                  </a:lnTo>
                  <a:lnTo>
                    <a:pt x="1667" y="2069"/>
                  </a:lnTo>
                  <a:lnTo>
                    <a:pt x="1663" y="2070"/>
                  </a:lnTo>
                  <a:lnTo>
                    <a:pt x="1661" y="2073"/>
                  </a:lnTo>
                  <a:lnTo>
                    <a:pt x="1661" y="2077"/>
                  </a:lnTo>
                  <a:lnTo>
                    <a:pt x="1659" y="2082"/>
                  </a:lnTo>
                  <a:lnTo>
                    <a:pt x="1661" y="2086"/>
                  </a:lnTo>
                  <a:lnTo>
                    <a:pt x="1666" y="2086"/>
                  </a:lnTo>
                  <a:lnTo>
                    <a:pt x="1666" y="2089"/>
                  </a:lnTo>
                  <a:lnTo>
                    <a:pt x="1647" y="2109"/>
                  </a:lnTo>
                  <a:lnTo>
                    <a:pt x="1642" y="2109"/>
                  </a:lnTo>
                  <a:lnTo>
                    <a:pt x="1638" y="2114"/>
                  </a:lnTo>
                  <a:lnTo>
                    <a:pt x="1635" y="2118"/>
                  </a:lnTo>
                  <a:lnTo>
                    <a:pt x="1634" y="2123"/>
                  </a:lnTo>
                  <a:lnTo>
                    <a:pt x="1628" y="2129"/>
                  </a:lnTo>
                  <a:lnTo>
                    <a:pt x="1625" y="2131"/>
                  </a:lnTo>
                  <a:lnTo>
                    <a:pt x="1621" y="2131"/>
                  </a:lnTo>
                  <a:lnTo>
                    <a:pt x="1618" y="2136"/>
                  </a:lnTo>
                  <a:lnTo>
                    <a:pt x="1611" y="2141"/>
                  </a:lnTo>
                  <a:lnTo>
                    <a:pt x="1604" y="2149"/>
                  </a:lnTo>
                  <a:lnTo>
                    <a:pt x="1603" y="2153"/>
                  </a:lnTo>
                  <a:lnTo>
                    <a:pt x="1586" y="2172"/>
                  </a:lnTo>
                  <a:lnTo>
                    <a:pt x="1582" y="2176"/>
                  </a:lnTo>
                  <a:lnTo>
                    <a:pt x="1578" y="2176"/>
                  </a:lnTo>
                  <a:lnTo>
                    <a:pt x="1574" y="2178"/>
                  </a:lnTo>
                  <a:lnTo>
                    <a:pt x="1556" y="2194"/>
                  </a:lnTo>
                  <a:lnTo>
                    <a:pt x="1559" y="2194"/>
                  </a:lnTo>
                  <a:lnTo>
                    <a:pt x="1557" y="2198"/>
                  </a:lnTo>
                  <a:lnTo>
                    <a:pt x="1551" y="2202"/>
                  </a:lnTo>
                  <a:lnTo>
                    <a:pt x="1532" y="2221"/>
                  </a:lnTo>
                  <a:lnTo>
                    <a:pt x="1515" y="2231"/>
                  </a:lnTo>
                  <a:lnTo>
                    <a:pt x="1501" y="2243"/>
                  </a:lnTo>
                  <a:lnTo>
                    <a:pt x="1500" y="2247"/>
                  </a:lnTo>
                  <a:lnTo>
                    <a:pt x="1482" y="2261"/>
                  </a:lnTo>
                  <a:lnTo>
                    <a:pt x="1474" y="2265"/>
                  </a:lnTo>
                  <a:lnTo>
                    <a:pt x="1465" y="2273"/>
                  </a:lnTo>
                  <a:lnTo>
                    <a:pt x="1449" y="2288"/>
                  </a:lnTo>
                  <a:lnTo>
                    <a:pt x="1415" y="2318"/>
                  </a:lnTo>
                  <a:lnTo>
                    <a:pt x="1412" y="2318"/>
                  </a:lnTo>
                  <a:lnTo>
                    <a:pt x="1410" y="2318"/>
                  </a:lnTo>
                  <a:lnTo>
                    <a:pt x="1411" y="2309"/>
                  </a:lnTo>
                  <a:lnTo>
                    <a:pt x="1407" y="2314"/>
                  </a:lnTo>
                  <a:lnTo>
                    <a:pt x="1396" y="2322"/>
                  </a:lnTo>
                  <a:lnTo>
                    <a:pt x="1399" y="2327"/>
                  </a:lnTo>
                  <a:lnTo>
                    <a:pt x="1389" y="2337"/>
                  </a:lnTo>
                  <a:lnTo>
                    <a:pt x="1382" y="2340"/>
                  </a:lnTo>
                  <a:lnTo>
                    <a:pt x="1372" y="2340"/>
                  </a:lnTo>
                  <a:lnTo>
                    <a:pt x="1371" y="2343"/>
                  </a:lnTo>
                  <a:lnTo>
                    <a:pt x="1364" y="2345"/>
                  </a:lnTo>
                  <a:lnTo>
                    <a:pt x="1364" y="2348"/>
                  </a:lnTo>
                  <a:lnTo>
                    <a:pt x="1361" y="2351"/>
                  </a:lnTo>
                  <a:lnTo>
                    <a:pt x="1353" y="2355"/>
                  </a:lnTo>
                  <a:lnTo>
                    <a:pt x="1321" y="2377"/>
                  </a:lnTo>
                  <a:lnTo>
                    <a:pt x="1308" y="2393"/>
                  </a:lnTo>
                  <a:lnTo>
                    <a:pt x="1287" y="2408"/>
                  </a:lnTo>
                  <a:lnTo>
                    <a:pt x="1283" y="2412"/>
                  </a:lnTo>
                  <a:lnTo>
                    <a:pt x="1285" y="2410"/>
                  </a:lnTo>
                  <a:lnTo>
                    <a:pt x="1283" y="2408"/>
                  </a:lnTo>
                  <a:lnTo>
                    <a:pt x="1287" y="2404"/>
                  </a:lnTo>
                  <a:lnTo>
                    <a:pt x="1294" y="2402"/>
                  </a:lnTo>
                  <a:lnTo>
                    <a:pt x="1299" y="2399"/>
                  </a:lnTo>
                  <a:lnTo>
                    <a:pt x="1299" y="2393"/>
                  </a:lnTo>
                  <a:lnTo>
                    <a:pt x="1293" y="2399"/>
                  </a:lnTo>
                  <a:lnTo>
                    <a:pt x="1289" y="2397"/>
                  </a:lnTo>
                  <a:lnTo>
                    <a:pt x="1290" y="2399"/>
                  </a:lnTo>
                  <a:lnTo>
                    <a:pt x="1286" y="2400"/>
                  </a:lnTo>
                  <a:lnTo>
                    <a:pt x="1283" y="2400"/>
                  </a:lnTo>
                  <a:lnTo>
                    <a:pt x="1280" y="2404"/>
                  </a:lnTo>
                  <a:lnTo>
                    <a:pt x="1275" y="2406"/>
                  </a:lnTo>
                  <a:lnTo>
                    <a:pt x="1272" y="2412"/>
                  </a:lnTo>
                  <a:lnTo>
                    <a:pt x="1265" y="2416"/>
                  </a:lnTo>
                  <a:lnTo>
                    <a:pt x="1258" y="2422"/>
                  </a:lnTo>
                  <a:lnTo>
                    <a:pt x="1254" y="2422"/>
                  </a:lnTo>
                  <a:lnTo>
                    <a:pt x="1241" y="2426"/>
                  </a:lnTo>
                  <a:lnTo>
                    <a:pt x="1222" y="2445"/>
                  </a:lnTo>
                  <a:lnTo>
                    <a:pt x="1208" y="2452"/>
                  </a:lnTo>
                  <a:lnTo>
                    <a:pt x="1204" y="2455"/>
                  </a:lnTo>
                  <a:lnTo>
                    <a:pt x="1180" y="2452"/>
                  </a:lnTo>
                  <a:lnTo>
                    <a:pt x="1171" y="2452"/>
                  </a:lnTo>
                  <a:lnTo>
                    <a:pt x="1165" y="2449"/>
                  </a:lnTo>
                  <a:lnTo>
                    <a:pt x="1161" y="2443"/>
                  </a:lnTo>
                  <a:lnTo>
                    <a:pt x="1165" y="2438"/>
                  </a:lnTo>
                  <a:lnTo>
                    <a:pt x="1164" y="2434"/>
                  </a:lnTo>
                  <a:lnTo>
                    <a:pt x="1166" y="2434"/>
                  </a:lnTo>
                  <a:lnTo>
                    <a:pt x="1165" y="2433"/>
                  </a:lnTo>
                  <a:lnTo>
                    <a:pt x="1166" y="2426"/>
                  </a:lnTo>
                  <a:lnTo>
                    <a:pt x="1165" y="2420"/>
                  </a:lnTo>
                  <a:lnTo>
                    <a:pt x="1165" y="2418"/>
                  </a:lnTo>
                  <a:lnTo>
                    <a:pt x="1162" y="2412"/>
                  </a:lnTo>
                  <a:lnTo>
                    <a:pt x="1164" y="2410"/>
                  </a:lnTo>
                  <a:lnTo>
                    <a:pt x="1161" y="2408"/>
                  </a:lnTo>
                  <a:lnTo>
                    <a:pt x="1158" y="2404"/>
                  </a:lnTo>
                  <a:lnTo>
                    <a:pt x="1147" y="2392"/>
                  </a:lnTo>
                  <a:lnTo>
                    <a:pt x="1140" y="2385"/>
                  </a:lnTo>
                  <a:lnTo>
                    <a:pt x="1135" y="2381"/>
                  </a:lnTo>
                  <a:lnTo>
                    <a:pt x="1122" y="2374"/>
                  </a:lnTo>
                  <a:lnTo>
                    <a:pt x="1113" y="2372"/>
                  </a:lnTo>
                  <a:lnTo>
                    <a:pt x="1102" y="2363"/>
                  </a:lnTo>
                  <a:lnTo>
                    <a:pt x="1090" y="2358"/>
                  </a:lnTo>
                  <a:lnTo>
                    <a:pt x="1082" y="2355"/>
                  </a:lnTo>
                  <a:lnTo>
                    <a:pt x="1069" y="2359"/>
                  </a:lnTo>
                  <a:lnTo>
                    <a:pt x="1062" y="2359"/>
                  </a:lnTo>
                  <a:lnTo>
                    <a:pt x="1055" y="2352"/>
                  </a:lnTo>
                  <a:lnTo>
                    <a:pt x="1055" y="2348"/>
                  </a:lnTo>
                  <a:lnTo>
                    <a:pt x="1056" y="2340"/>
                  </a:lnTo>
                  <a:lnTo>
                    <a:pt x="1055" y="2333"/>
                  </a:lnTo>
                  <a:lnTo>
                    <a:pt x="1051" y="2326"/>
                  </a:lnTo>
                  <a:lnTo>
                    <a:pt x="1042" y="2329"/>
                  </a:lnTo>
                  <a:lnTo>
                    <a:pt x="1037" y="2333"/>
                  </a:lnTo>
                  <a:lnTo>
                    <a:pt x="1036" y="2343"/>
                  </a:lnTo>
                  <a:lnTo>
                    <a:pt x="1033" y="2345"/>
                  </a:lnTo>
                  <a:lnTo>
                    <a:pt x="1029" y="2343"/>
                  </a:lnTo>
                  <a:lnTo>
                    <a:pt x="1026" y="2345"/>
                  </a:lnTo>
                  <a:lnTo>
                    <a:pt x="1026" y="2350"/>
                  </a:lnTo>
                  <a:lnTo>
                    <a:pt x="1027" y="2355"/>
                  </a:lnTo>
                  <a:lnTo>
                    <a:pt x="1037" y="2363"/>
                  </a:lnTo>
                  <a:lnTo>
                    <a:pt x="1040" y="2367"/>
                  </a:lnTo>
                  <a:lnTo>
                    <a:pt x="1050" y="2377"/>
                  </a:lnTo>
                  <a:lnTo>
                    <a:pt x="1054" y="2380"/>
                  </a:lnTo>
                  <a:lnTo>
                    <a:pt x="1062" y="2377"/>
                  </a:lnTo>
                  <a:lnTo>
                    <a:pt x="1080" y="2381"/>
                  </a:lnTo>
                  <a:lnTo>
                    <a:pt x="1091" y="2395"/>
                  </a:lnTo>
                  <a:lnTo>
                    <a:pt x="1101" y="2400"/>
                  </a:lnTo>
                  <a:lnTo>
                    <a:pt x="1102" y="2404"/>
                  </a:lnTo>
                  <a:lnTo>
                    <a:pt x="1107" y="2420"/>
                  </a:lnTo>
                  <a:lnTo>
                    <a:pt x="1113" y="2430"/>
                  </a:lnTo>
                  <a:lnTo>
                    <a:pt x="1115" y="2439"/>
                  </a:lnTo>
                  <a:lnTo>
                    <a:pt x="1118" y="2443"/>
                  </a:lnTo>
                  <a:lnTo>
                    <a:pt x="1119" y="2449"/>
                  </a:lnTo>
                  <a:lnTo>
                    <a:pt x="1116" y="2460"/>
                  </a:lnTo>
                  <a:lnTo>
                    <a:pt x="1109" y="2460"/>
                  </a:lnTo>
                  <a:lnTo>
                    <a:pt x="1102" y="2463"/>
                  </a:lnTo>
                  <a:lnTo>
                    <a:pt x="1098" y="2470"/>
                  </a:lnTo>
                  <a:lnTo>
                    <a:pt x="1091" y="2475"/>
                  </a:lnTo>
                  <a:lnTo>
                    <a:pt x="1088" y="2479"/>
                  </a:lnTo>
                  <a:lnTo>
                    <a:pt x="1093" y="2483"/>
                  </a:lnTo>
                  <a:lnTo>
                    <a:pt x="1094" y="2483"/>
                  </a:lnTo>
                  <a:lnTo>
                    <a:pt x="1097" y="2483"/>
                  </a:lnTo>
                  <a:lnTo>
                    <a:pt x="1102" y="2487"/>
                  </a:lnTo>
                  <a:lnTo>
                    <a:pt x="1105" y="2492"/>
                  </a:lnTo>
                  <a:lnTo>
                    <a:pt x="1107" y="2500"/>
                  </a:lnTo>
                  <a:lnTo>
                    <a:pt x="1107" y="2512"/>
                  </a:lnTo>
                  <a:lnTo>
                    <a:pt x="1108" y="2517"/>
                  </a:lnTo>
                  <a:lnTo>
                    <a:pt x="1109" y="2522"/>
                  </a:lnTo>
                  <a:lnTo>
                    <a:pt x="1108" y="2528"/>
                  </a:lnTo>
                  <a:lnTo>
                    <a:pt x="1107" y="2528"/>
                  </a:lnTo>
                  <a:lnTo>
                    <a:pt x="1105" y="2531"/>
                  </a:lnTo>
                  <a:lnTo>
                    <a:pt x="1104" y="2536"/>
                  </a:lnTo>
                  <a:lnTo>
                    <a:pt x="1107" y="2541"/>
                  </a:lnTo>
                  <a:lnTo>
                    <a:pt x="1105" y="2549"/>
                  </a:lnTo>
                  <a:lnTo>
                    <a:pt x="1102" y="2554"/>
                  </a:lnTo>
                  <a:lnTo>
                    <a:pt x="1104" y="2562"/>
                  </a:lnTo>
                  <a:lnTo>
                    <a:pt x="1101" y="2573"/>
                  </a:lnTo>
                  <a:lnTo>
                    <a:pt x="1100" y="2580"/>
                  </a:lnTo>
                  <a:lnTo>
                    <a:pt x="1094" y="2590"/>
                  </a:lnTo>
                  <a:lnTo>
                    <a:pt x="1094" y="2595"/>
                  </a:lnTo>
                  <a:lnTo>
                    <a:pt x="1097" y="2599"/>
                  </a:lnTo>
                  <a:lnTo>
                    <a:pt x="1096" y="2591"/>
                  </a:lnTo>
                  <a:lnTo>
                    <a:pt x="1097" y="2591"/>
                  </a:lnTo>
                  <a:lnTo>
                    <a:pt x="1098" y="2591"/>
                  </a:lnTo>
                  <a:lnTo>
                    <a:pt x="1100" y="2611"/>
                  </a:lnTo>
                  <a:lnTo>
                    <a:pt x="1104" y="2638"/>
                  </a:lnTo>
                  <a:lnTo>
                    <a:pt x="1107" y="2643"/>
                  </a:lnTo>
                  <a:lnTo>
                    <a:pt x="1115" y="2658"/>
                  </a:lnTo>
                  <a:lnTo>
                    <a:pt x="1119" y="2670"/>
                  </a:lnTo>
                  <a:lnTo>
                    <a:pt x="1122" y="2687"/>
                  </a:lnTo>
                  <a:lnTo>
                    <a:pt x="1121" y="2688"/>
                  </a:lnTo>
                  <a:lnTo>
                    <a:pt x="1116" y="2688"/>
                  </a:lnTo>
                  <a:lnTo>
                    <a:pt x="1121" y="2688"/>
                  </a:lnTo>
                  <a:lnTo>
                    <a:pt x="1121" y="2692"/>
                  </a:lnTo>
                  <a:lnTo>
                    <a:pt x="1118" y="2699"/>
                  </a:lnTo>
                  <a:lnTo>
                    <a:pt x="1113" y="2703"/>
                  </a:lnTo>
                  <a:lnTo>
                    <a:pt x="1112" y="2703"/>
                  </a:lnTo>
                  <a:lnTo>
                    <a:pt x="1112" y="2704"/>
                  </a:lnTo>
                  <a:lnTo>
                    <a:pt x="1113" y="2704"/>
                  </a:lnTo>
                  <a:lnTo>
                    <a:pt x="1112" y="2707"/>
                  </a:lnTo>
                  <a:lnTo>
                    <a:pt x="1109" y="2711"/>
                  </a:lnTo>
                  <a:lnTo>
                    <a:pt x="1105" y="2711"/>
                  </a:lnTo>
                  <a:lnTo>
                    <a:pt x="1100" y="2710"/>
                  </a:lnTo>
                  <a:lnTo>
                    <a:pt x="1096" y="2703"/>
                  </a:lnTo>
                  <a:lnTo>
                    <a:pt x="1090" y="2699"/>
                  </a:lnTo>
                  <a:lnTo>
                    <a:pt x="1083" y="2702"/>
                  </a:lnTo>
                  <a:lnTo>
                    <a:pt x="1080" y="2699"/>
                  </a:lnTo>
                  <a:lnTo>
                    <a:pt x="1075" y="2702"/>
                  </a:lnTo>
                  <a:lnTo>
                    <a:pt x="1069" y="2700"/>
                  </a:lnTo>
                  <a:lnTo>
                    <a:pt x="1070" y="2699"/>
                  </a:lnTo>
                  <a:lnTo>
                    <a:pt x="1076" y="2696"/>
                  </a:lnTo>
                  <a:lnTo>
                    <a:pt x="1077" y="2692"/>
                  </a:lnTo>
                  <a:lnTo>
                    <a:pt x="1075" y="2692"/>
                  </a:lnTo>
                  <a:lnTo>
                    <a:pt x="1077" y="2688"/>
                  </a:lnTo>
                  <a:lnTo>
                    <a:pt x="1073" y="2691"/>
                  </a:lnTo>
                  <a:lnTo>
                    <a:pt x="1073" y="2695"/>
                  </a:lnTo>
                  <a:lnTo>
                    <a:pt x="1069" y="2696"/>
                  </a:lnTo>
                  <a:lnTo>
                    <a:pt x="1068" y="2699"/>
                  </a:lnTo>
                  <a:lnTo>
                    <a:pt x="1063" y="2703"/>
                  </a:lnTo>
                  <a:lnTo>
                    <a:pt x="1058" y="2703"/>
                  </a:lnTo>
                  <a:lnTo>
                    <a:pt x="1058" y="2700"/>
                  </a:lnTo>
                  <a:lnTo>
                    <a:pt x="1056" y="2702"/>
                  </a:lnTo>
                  <a:lnTo>
                    <a:pt x="1055" y="2707"/>
                  </a:lnTo>
                  <a:lnTo>
                    <a:pt x="1051" y="2707"/>
                  </a:lnTo>
                  <a:lnTo>
                    <a:pt x="1041" y="2715"/>
                  </a:lnTo>
                  <a:lnTo>
                    <a:pt x="1041" y="2717"/>
                  </a:lnTo>
                  <a:lnTo>
                    <a:pt x="1045" y="2717"/>
                  </a:lnTo>
                  <a:lnTo>
                    <a:pt x="1038" y="2724"/>
                  </a:lnTo>
                  <a:lnTo>
                    <a:pt x="1044" y="2719"/>
                  </a:lnTo>
                  <a:lnTo>
                    <a:pt x="1048" y="2723"/>
                  </a:lnTo>
                  <a:lnTo>
                    <a:pt x="1055" y="2721"/>
                  </a:lnTo>
                  <a:lnTo>
                    <a:pt x="1061" y="2725"/>
                  </a:lnTo>
                  <a:lnTo>
                    <a:pt x="1063" y="2728"/>
                  </a:lnTo>
                  <a:lnTo>
                    <a:pt x="1062" y="2729"/>
                  </a:lnTo>
                  <a:lnTo>
                    <a:pt x="1058" y="2733"/>
                  </a:lnTo>
                  <a:lnTo>
                    <a:pt x="1063" y="2729"/>
                  </a:lnTo>
                  <a:lnTo>
                    <a:pt x="1063" y="2733"/>
                  </a:lnTo>
                  <a:lnTo>
                    <a:pt x="1066" y="2737"/>
                  </a:lnTo>
                  <a:lnTo>
                    <a:pt x="1070" y="2741"/>
                  </a:lnTo>
                  <a:lnTo>
                    <a:pt x="1079" y="2744"/>
                  </a:lnTo>
                  <a:lnTo>
                    <a:pt x="1077" y="2752"/>
                  </a:lnTo>
                  <a:lnTo>
                    <a:pt x="1072" y="2753"/>
                  </a:lnTo>
                  <a:lnTo>
                    <a:pt x="1072" y="2755"/>
                  </a:lnTo>
                  <a:lnTo>
                    <a:pt x="1073" y="2755"/>
                  </a:lnTo>
                  <a:lnTo>
                    <a:pt x="1072" y="2754"/>
                  </a:lnTo>
                  <a:lnTo>
                    <a:pt x="1077" y="2753"/>
                  </a:lnTo>
                  <a:lnTo>
                    <a:pt x="1079" y="2749"/>
                  </a:lnTo>
                  <a:lnTo>
                    <a:pt x="1080" y="2747"/>
                  </a:lnTo>
                  <a:lnTo>
                    <a:pt x="1083" y="2749"/>
                  </a:lnTo>
                  <a:lnTo>
                    <a:pt x="1087" y="2747"/>
                  </a:lnTo>
                  <a:lnTo>
                    <a:pt x="1090" y="2747"/>
                  </a:lnTo>
                  <a:lnTo>
                    <a:pt x="1091" y="2748"/>
                  </a:lnTo>
                  <a:lnTo>
                    <a:pt x="1090" y="2750"/>
                  </a:lnTo>
                  <a:lnTo>
                    <a:pt x="1083" y="2754"/>
                  </a:lnTo>
                  <a:lnTo>
                    <a:pt x="1080" y="2760"/>
                  </a:lnTo>
                  <a:lnTo>
                    <a:pt x="1082" y="2764"/>
                  </a:lnTo>
                  <a:lnTo>
                    <a:pt x="1079" y="2770"/>
                  </a:lnTo>
                  <a:lnTo>
                    <a:pt x="1077" y="2772"/>
                  </a:lnTo>
                  <a:lnTo>
                    <a:pt x="1077" y="2774"/>
                  </a:lnTo>
                  <a:lnTo>
                    <a:pt x="1079" y="2772"/>
                  </a:lnTo>
                  <a:lnTo>
                    <a:pt x="1082" y="2770"/>
                  </a:lnTo>
                  <a:lnTo>
                    <a:pt x="1083" y="2762"/>
                  </a:lnTo>
                  <a:lnTo>
                    <a:pt x="1086" y="2758"/>
                  </a:lnTo>
                  <a:lnTo>
                    <a:pt x="1088" y="2755"/>
                  </a:lnTo>
                  <a:lnTo>
                    <a:pt x="1088" y="2760"/>
                  </a:lnTo>
                  <a:lnTo>
                    <a:pt x="1087" y="2767"/>
                  </a:lnTo>
                  <a:lnTo>
                    <a:pt x="1086" y="2766"/>
                  </a:lnTo>
                  <a:lnTo>
                    <a:pt x="1084" y="2769"/>
                  </a:lnTo>
                  <a:lnTo>
                    <a:pt x="1084" y="2772"/>
                  </a:lnTo>
                  <a:lnTo>
                    <a:pt x="1082" y="2774"/>
                  </a:lnTo>
                  <a:lnTo>
                    <a:pt x="1080" y="2780"/>
                  </a:lnTo>
                  <a:lnTo>
                    <a:pt x="1077" y="2782"/>
                  </a:lnTo>
                  <a:lnTo>
                    <a:pt x="1076" y="2786"/>
                  </a:lnTo>
                  <a:lnTo>
                    <a:pt x="1075" y="2786"/>
                  </a:lnTo>
                  <a:lnTo>
                    <a:pt x="1075" y="2790"/>
                  </a:lnTo>
                  <a:lnTo>
                    <a:pt x="1072" y="2794"/>
                  </a:lnTo>
                  <a:lnTo>
                    <a:pt x="1073" y="2794"/>
                  </a:lnTo>
                  <a:lnTo>
                    <a:pt x="1072" y="2797"/>
                  </a:lnTo>
                  <a:lnTo>
                    <a:pt x="1070" y="2798"/>
                  </a:lnTo>
                  <a:lnTo>
                    <a:pt x="1069" y="2799"/>
                  </a:lnTo>
                  <a:lnTo>
                    <a:pt x="1069" y="2800"/>
                  </a:lnTo>
                  <a:lnTo>
                    <a:pt x="1070" y="2800"/>
                  </a:lnTo>
                  <a:lnTo>
                    <a:pt x="1066" y="2817"/>
                  </a:lnTo>
                  <a:lnTo>
                    <a:pt x="1063" y="2819"/>
                  </a:lnTo>
                  <a:lnTo>
                    <a:pt x="1056" y="2822"/>
                  </a:lnTo>
                  <a:lnTo>
                    <a:pt x="1052" y="2827"/>
                  </a:lnTo>
                  <a:lnTo>
                    <a:pt x="1047" y="2829"/>
                  </a:lnTo>
                  <a:lnTo>
                    <a:pt x="1047" y="2831"/>
                  </a:lnTo>
                  <a:lnTo>
                    <a:pt x="1044" y="2831"/>
                  </a:lnTo>
                  <a:lnTo>
                    <a:pt x="1041" y="2837"/>
                  </a:lnTo>
                  <a:lnTo>
                    <a:pt x="1037" y="2840"/>
                  </a:lnTo>
                  <a:lnTo>
                    <a:pt x="1036" y="2840"/>
                  </a:lnTo>
                  <a:lnTo>
                    <a:pt x="1034" y="2837"/>
                  </a:lnTo>
                  <a:lnTo>
                    <a:pt x="1031" y="2835"/>
                  </a:lnTo>
                  <a:lnTo>
                    <a:pt x="1027" y="2840"/>
                  </a:lnTo>
                  <a:lnTo>
                    <a:pt x="1023" y="2840"/>
                  </a:lnTo>
                  <a:lnTo>
                    <a:pt x="1019" y="2835"/>
                  </a:lnTo>
                  <a:lnTo>
                    <a:pt x="1020" y="2840"/>
                  </a:lnTo>
                  <a:lnTo>
                    <a:pt x="1023" y="2842"/>
                  </a:lnTo>
                  <a:lnTo>
                    <a:pt x="1026" y="2842"/>
                  </a:lnTo>
                  <a:lnTo>
                    <a:pt x="1030" y="2841"/>
                  </a:lnTo>
                  <a:lnTo>
                    <a:pt x="1034" y="2844"/>
                  </a:lnTo>
                  <a:lnTo>
                    <a:pt x="1036" y="2845"/>
                  </a:lnTo>
                  <a:lnTo>
                    <a:pt x="1033" y="2847"/>
                  </a:lnTo>
                  <a:lnTo>
                    <a:pt x="1033" y="2849"/>
                  </a:lnTo>
                  <a:lnTo>
                    <a:pt x="1036" y="2848"/>
                  </a:lnTo>
                  <a:lnTo>
                    <a:pt x="1040" y="2852"/>
                  </a:lnTo>
                  <a:lnTo>
                    <a:pt x="1042" y="2847"/>
                  </a:lnTo>
                  <a:lnTo>
                    <a:pt x="1050" y="2844"/>
                  </a:lnTo>
                  <a:lnTo>
                    <a:pt x="1055" y="2849"/>
                  </a:lnTo>
                  <a:lnTo>
                    <a:pt x="1055" y="2860"/>
                  </a:lnTo>
                  <a:lnTo>
                    <a:pt x="1056" y="2857"/>
                  </a:lnTo>
                  <a:lnTo>
                    <a:pt x="1058" y="2861"/>
                  </a:lnTo>
                  <a:lnTo>
                    <a:pt x="1056" y="2861"/>
                  </a:lnTo>
                  <a:lnTo>
                    <a:pt x="1056" y="2865"/>
                  </a:lnTo>
                  <a:lnTo>
                    <a:pt x="1061" y="2872"/>
                  </a:lnTo>
                  <a:lnTo>
                    <a:pt x="1062" y="2876"/>
                  </a:lnTo>
                  <a:lnTo>
                    <a:pt x="1059" y="2878"/>
                  </a:lnTo>
                  <a:lnTo>
                    <a:pt x="1058" y="2876"/>
                  </a:lnTo>
                  <a:lnTo>
                    <a:pt x="1055" y="2876"/>
                  </a:lnTo>
                  <a:lnTo>
                    <a:pt x="1050" y="2879"/>
                  </a:lnTo>
                  <a:lnTo>
                    <a:pt x="1047" y="2884"/>
                  </a:lnTo>
                  <a:lnTo>
                    <a:pt x="1042" y="2879"/>
                  </a:lnTo>
                  <a:lnTo>
                    <a:pt x="1047" y="2882"/>
                  </a:lnTo>
                  <a:lnTo>
                    <a:pt x="1047" y="2879"/>
                  </a:lnTo>
                  <a:lnTo>
                    <a:pt x="1045" y="2878"/>
                  </a:lnTo>
                  <a:lnTo>
                    <a:pt x="1045" y="2879"/>
                  </a:lnTo>
                  <a:lnTo>
                    <a:pt x="1044" y="2878"/>
                  </a:lnTo>
                  <a:lnTo>
                    <a:pt x="1041" y="2878"/>
                  </a:lnTo>
                  <a:lnTo>
                    <a:pt x="1041" y="2879"/>
                  </a:lnTo>
                  <a:lnTo>
                    <a:pt x="1042" y="2884"/>
                  </a:lnTo>
                  <a:lnTo>
                    <a:pt x="1041" y="2887"/>
                  </a:lnTo>
                  <a:lnTo>
                    <a:pt x="1037" y="2889"/>
                  </a:lnTo>
                  <a:lnTo>
                    <a:pt x="1036" y="2891"/>
                  </a:lnTo>
                  <a:lnTo>
                    <a:pt x="1033" y="2893"/>
                  </a:lnTo>
                  <a:lnTo>
                    <a:pt x="1030" y="2894"/>
                  </a:lnTo>
                  <a:lnTo>
                    <a:pt x="1030" y="2897"/>
                  </a:lnTo>
                  <a:lnTo>
                    <a:pt x="1027" y="2894"/>
                  </a:lnTo>
                  <a:lnTo>
                    <a:pt x="1026" y="2894"/>
                  </a:lnTo>
                  <a:lnTo>
                    <a:pt x="1030" y="2887"/>
                  </a:lnTo>
                  <a:lnTo>
                    <a:pt x="1026" y="2886"/>
                  </a:lnTo>
                  <a:lnTo>
                    <a:pt x="1023" y="2891"/>
                  </a:lnTo>
                  <a:lnTo>
                    <a:pt x="1016" y="2894"/>
                  </a:lnTo>
                  <a:lnTo>
                    <a:pt x="1013" y="2897"/>
                  </a:lnTo>
                  <a:lnTo>
                    <a:pt x="1012" y="2898"/>
                  </a:lnTo>
                  <a:lnTo>
                    <a:pt x="1015" y="2898"/>
                  </a:lnTo>
                  <a:lnTo>
                    <a:pt x="1019" y="2894"/>
                  </a:lnTo>
                  <a:lnTo>
                    <a:pt x="1022" y="2894"/>
                  </a:lnTo>
                  <a:lnTo>
                    <a:pt x="1023" y="2902"/>
                  </a:lnTo>
                  <a:lnTo>
                    <a:pt x="1022" y="2911"/>
                  </a:lnTo>
                  <a:lnTo>
                    <a:pt x="1025" y="2915"/>
                  </a:lnTo>
                  <a:lnTo>
                    <a:pt x="1027" y="2914"/>
                  </a:lnTo>
                  <a:lnTo>
                    <a:pt x="1026" y="2909"/>
                  </a:lnTo>
                  <a:lnTo>
                    <a:pt x="1029" y="2906"/>
                  </a:lnTo>
                  <a:lnTo>
                    <a:pt x="1034" y="2911"/>
                  </a:lnTo>
                  <a:lnTo>
                    <a:pt x="1034" y="2914"/>
                  </a:lnTo>
                  <a:lnTo>
                    <a:pt x="1036" y="2915"/>
                  </a:lnTo>
                  <a:lnTo>
                    <a:pt x="1036" y="2916"/>
                  </a:lnTo>
                  <a:lnTo>
                    <a:pt x="1037" y="2915"/>
                  </a:lnTo>
                  <a:lnTo>
                    <a:pt x="1038" y="2923"/>
                  </a:lnTo>
                  <a:lnTo>
                    <a:pt x="1033" y="2928"/>
                  </a:lnTo>
                  <a:lnTo>
                    <a:pt x="1034" y="2932"/>
                  </a:lnTo>
                  <a:lnTo>
                    <a:pt x="1037" y="2928"/>
                  </a:lnTo>
                  <a:lnTo>
                    <a:pt x="1041" y="2928"/>
                  </a:lnTo>
                  <a:lnTo>
                    <a:pt x="1044" y="2932"/>
                  </a:lnTo>
                  <a:lnTo>
                    <a:pt x="1047" y="2934"/>
                  </a:lnTo>
                  <a:lnTo>
                    <a:pt x="1044" y="2931"/>
                  </a:lnTo>
                  <a:lnTo>
                    <a:pt x="1051" y="2924"/>
                  </a:lnTo>
                  <a:lnTo>
                    <a:pt x="1056" y="2920"/>
                  </a:lnTo>
                  <a:lnTo>
                    <a:pt x="1061" y="2924"/>
                  </a:lnTo>
                  <a:lnTo>
                    <a:pt x="1065" y="2928"/>
                  </a:lnTo>
                  <a:lnTo>
                    <a:pt x="1063" y="2928"/>
                  </a:lnTo>
                  <a:lnTo>
                    <a:pt x="1065" y="2932"/>
                  </a:lnTo>
                  <a:lnTo>
                    <a:pt x="1066" y="2938"/>
                  </a:lnTo>
                  <a:lnTo>
                    <a:pt x="1066" y="2941"/>
                  </a:lnTo>
                  <a:lnTo>
                    <a:pt x="1068" y="2941"/>
                  </a:lnTo>
                  <a:lnTo>
                    <a:pt x="1072" y="2953"/>
                  </a:lnTo>
                  <a:lnTo>
                    <a:pt x="1061" y="2973"/>
                  </a:lnTo>
                  <a:lnTo>
                    <a:pt x="1058" y="2977"/>
                  </a:lnTo>
                  <a:lnTo>
                    <a:pt x="1051" y="2980"/>
                  </a:lnTo>
                  <a:lnTo>
                    <a:pt x="1048" y="2981"/>
                  </a:lnTo>
                  <a:lnTo>
                    <a:pt x="1048" y="2985"/>
                  </a:lnTo>
                  <a:lnTo>
                    <a:pt x="1047" y="2988"/>
                  </a:lnTo>
                  <a:lnTo>
                    <a:pt x="1045" y="2988"/>
                  </a:lnTo>
                  <a:lnTo>
                    <a:pt x="1041" y="2985"/>
                  </a:lnTo>
                  <a:lnTo>
                    <a:pt x="1037" y="2984"/>
                  </a:lnTo>
                  <a:lnTo>
                    <a:pt x="1029" y="2986"/>
                  </a:lnTo>
                  <a:lnTo>
                    <a:pt x="1027" y="2988"/>
                  </a:lnTo>
                  <a:lnTo>
                    <a:pt x="1029" y="2988"/>
                  </a:lnTo>
                  <a:lnTo>
                    <a:pt x="1034" y="2988"/>
                  </a:lnTo>
                  <a:lnTo>
                    <a:pt x="1036" y="2988"/>
                  </a:lnTo>
                  <a:lnTo>
                    <a:pt x="1036" y="2990"/>
                  </a:lnTo>
                  <a:lnTo>
                    <a:pt x="1031" y="2994"/>
                  </a:lnTo>
                  <a:lnTo>
                    <a:pt x="1031" y="3009"/>
                  </a:lnTo>
                  <a:lnTo>
                    <a:pt x="1027" y="3014"/>
                  </a:lnTo>
                  <a:lnTo>
                    <a:pt x="1027" y="3022"/>
                  </a:lnTo>
                  <a:lnTo>
                    <a:pt x="1031" y="3031"/>
                  </a:lnTo>
                  <a:lnTo>
                    <a:pt x="1033" y="3040"/>
                  </a:lnTo>
                  <a:lnTo>
                    <a:pt x="1034" y="3044"/>
                  </a:lnTo>
                  <a:lnTo>
                    <a:pt x="1041" y="3050"/>
                  </a:lnTo>
                  <a:lnTo>
                    <a:pt x="1045" y="3063"/>
                  </a:lnTo>
                  <a:lnTo>
                    <a:pt x="1042" y="3048"/>
                  </a:lnTo>
                  <a:lnTo>
                    <a:pt x="1036" y="3040"/>
                  </a:lnTo>
                  <a:lnTo>
                    <a:pt x="1037" y="3031"/>
                  </a:lnTo>
                  <a:lnTo>
                    <a:pt x="1042" y="3030"/>
                  </a:lnTo>
                  <a:lnTo>
                    <a:pt x="1044" y="3032"/>
                  </a:lnTo>
                  <a:lnTo>
                    <a:pt x="1045" y="3031"/>
                  </a:lnTo>
                  <a:lnTo>
                    <a:pt x="1044" y="3028"/>
                  </a:lnTo>
                  <a:lnTo>
                    <a:pt x="1038" y="3028"/>
                  </a:lnTo>
                  <a:lnTo>
                    <a:pt x="1036" y="3026"/>
                  </a:lnTo>
                  <a:lnTo>
                    <a:pt x="1042" y="3013"/>
                  </a:lnTo>
                  <a:lnTo>
                    <a:pt x="1042" y="3010"/>
                  </a:lnTo>
                  <a:lnTo>
                    <a:pt x="1040" y="3005"/>
                  </a:lnTo>
                  <a:lnTo>
                    <a:pt x="1040" y="3002"/>
                  </a:lnTo>
                  <a:lnTo>
                    <a:pt x="1041" y="2999"/>
                  </a:lnTo>
                  <a:lnTo>
                    <a:pt x="1042" y="2999"/>
                  </a:lnTo>
                  <a:lnTo>
                    <a:pt x="1047" y="3005"/>
                  </a:lnTo>
                  <a:lnTo>
                    <a:pt x="1052" y="3007"/>
                  </a:lnTo>
                  <a:lnTo>
                    <a:pt x="1051" y="3005"/>
                  </a:lnTo>
                  <a:lnTo>
                    <a:pt x="1047" y="3002"/>
                  </a:lnTo>
                  <a:lnTo>
                    <a:pt x="1044" y="2991"/>
                  </a:lnTo>
                  <a:lnTo>
                    <a:pt x="1045" y="2991"/>
                  </a:lnTo>
                  <a:lnTo>
                    <a:pt x="1054" y="2995"/>
                  </a:lnTo>
                  <a:lnTo>
                    <a:pt x="1056" y="2998"/>
                  </a:lnTo>
                  <a:lnTo>
                    <a:pt x="1058" y="3003"/>
                  </a:lnTo>
                  <a:lnTo>
                    <a:pt x="1062" y="3003"/>
                  </a:lnTo>
                  <a:lnTo>
                    <a:pt x="1059" y="2999"/>
                  </a:lnTo>
                  <a:lnTo>
                    <a:pt x="1063" y="2991"/>
                  </a:lnTo>
                  <a:lnTo>
                    <a:pt x="1073" y="2991"/>
                  </a:lnTo>
                  <a:lnTo>
                    <a:pt x="1088" y="2985"/>
                  </a:lnTo>
                  <a:lnTo>
                    <a:pt x="1093" y="2988"/>
                  </a:lnTo>
                  <a:lnTo>
                    <a:pt x="1096" y="2991"/>
                  </a:lnTo>
                  <a:lnTo>
                    <a:pt x="1098" y="2995"/>
                  </a:lnTo>
                  <a:lnTo>
                    <a:pt x="1098" y="3002"/>
                  </a:lnTo>
                  <a:lnTo>
                    <a:pt x="1097" y="3006"/>
                  </a:lnTo>
                  <a:lnTo>
                    <a:pt x="1090" y="3007"/>
                  </a:lnTo>
                  <a:lnTo>
                    <a:pt x="1087" y="3010"/>
                  </a:lnTo>
                  <a:lnTo>
                    <a:pt x="1091" y="3009"/>
                  </a:lnTo>
                  <a:lnTo>
                    <a:pt x="1097" y="3011"/>
                  </a:lnTo>
                  <a:lnTo>
                    <a:pt x="1101" y="3013"/>
                  </a:lnTo>
                  <a:lnTo>
                    <a:pt x="1102" y="3016"/>
                  </a:lnTo>
                  <a:lnTo>
                    <a:pt x="1104" y="3014"/>
                  </a:lnTo>
                  <a:lnTo>
                    <a:pt x="1109" y="3014"/>
                  </a:lnTo>
                  <a:lnTo>
                    <a:pt x="1116" y="3018"/>
                  </a:lnTo>
                  <a:lnTo>
                    <a:pt x="1116" y="3022"/>
                  </a:lnTo>
                  <a:lnTo>
                    <a:pt x="1125" y="3026"/>
                  </a:lnTo>
                  <a:lnTo>
                    <a:pt x="1127" y="3028"/>
                  </a:lnTo>
                  <a:lnTo>
                    <a:pt x="1129" y="3036"/>
                  </a:lnTo>
                  <a:lnTo>
                    <a:pt x="1125" y="3035"/>
                  </a:lnTo>
                  <a:lnTo>
                    <a:pt x="1123" y="3036"/>
                  </a:lnTo>
                  <a:lnTo>
                    <a:pt x="1125" y="3039"/>
                  </a:lnTo>
                  <a:lnTo>
                    <a:pt x="1127" y="3040"/>
                  </a:lnTo>
                  <a:lnTo>
                    <a:pt x="1130" y="3044"/>
                  </a:lnTo>
                  <a:lnTo>
                    <a:pt x="1133" y="3040"/>
                  </a:lnTo>
                  <a:lnTo>
                    <a:pt x="1137" y="3040"/>
                  </a:lnTo>
                  <a:lnTo>
                    <a:pt x="1139" y="3040"/>
                  </a:lnTo>
                  <a:lnTo>
                    <a:pt x="1139" y="3043"/>
                  </a:lnTo>
                  <a:lnTo>
                    <a:pt x="1143" y="3043"/>
                  </a:lnTo>
                  <a:lnTo>
                    <a:pt x="1144" y="3043"/>
                  </a:lnTo>
                  <a:lnTo>
                    <a:pt x="1162" y="3069"/>
                  </a:lnTo>
                  <a:lnTo>
                    <a:pt x="1168" y="3075"/>
                  </a:lnTo>
                  <a:lnTo>
                    <a:pt x="1177" y="3082"/>
                  </a:lnTo>
                  <a:lnTo>
                    <a:pt x="1177" y="3085"/>
                  </a:lnTo>
                  <a:lnTo>
                    <a:pt x="1172" y="3084"/>
                  </a:lnTo>
                  <a:lnTo>
                    <a:pt x="1166" y="3089"/>
                  </a:lnTo>
                  <a:lnTo>
                    <a:pt x="1164" y="3088"/>
                  </a:lnTo>
                  <a:lnTo>
                    <a:pt x="1161" y="3084"/>
                  </a:lnTo>
                  <a:lnTo>
                    <a:pt x="1160" y="3085"/>
                  </a:lnTo>
                  <a:lnTo>
                    <a:pt x="1164" y="3089"/>
                  </a:lnTo>
                  <a:lnTo>
                    <a:pt x="1169" y="3089"/>
                  </a:lnTo>
                  <a:lnTo>
                    <a:pt x="1173" y="3088"/>
                  </a:lnTo>
                  <a:lnTo>
                    <a:pt x="1177" y="3089"/>
                  </a:lnTo>
                  <a:lnTo>
                    <a:pt x="1176" y="3102"/>
                  </a:lnTo>
                  <a:lnTo>
                    <a:pt x="1175" y="3102"/>
                  </a:lnTo>
                  <a:lnTo>
                    <a:pt x="1172" y="3098"/>
                  </a:lnTo>
                  <a:lnTo>
                    <a:pt x="1166" y="3093"/>
                  </a:lnTo>
                  <a:lnTo>
                    <a:pt x="1171" y="3101"/>
                  </a:lnTo>
                  <a:lnTo>
                    <a:pt x="1173" y="3105"/>
                  </a:lnTo>
                  <a:lnTo>
                    <a:pt x="1175" y="3105"/>
                  </a:lnTo>
                  <a:lnTo>
                    <a:pt x="1176" y="3110"/>
                  </a:lnTo>
                  <a:lnTo>
                    <a:pt x="1175" y="3111"/>
                  </a:lnTo>
                  <a:lnTo>
                    <a:pt x="1172" y="3114"/>
                  </a:lnTo>
                  <a:lnTo>
                    <a:pt x="1165" y="3115"/>
                  </a:lnTo>
                  <a:lnTo>
                    <a:pt x="1154" y="3114"/>
                  </a:lnTo>
                  <a:lnTo>
                    <a:pt x="1155" y="3115"/>
                  </a:lnTo>
                  <a:lnTo>
                    <a:pt x="1155" y="3118"/>
                  </a:lnTo>
                  <a:lnTo>
                    <a:pt x="1148" y="3119"/>
                  </a:lnTo>
                  <a:lnTo>
                    <a:pt x="1154" y="3120"/>
                  </a:lnTo>
                  <a:lnTo>
                    <a:pt x="1151" y="3123"/>
                  </a:lnTo>
                  <a:lnTo>
                    <a:pt x="1147" y="3126"/>
                  </a:lnTo>
                  <a:lnTo>
                    <a:pt x="1133" y="3126"/>
                  </a:lnTo>
                  <a:lnTo>
                    <a:pt x="1135" y="3127"/>
                  </a:lnTo>
                  <a:lnTo>
                    <a:pt x="1144" y="3130"/>
                  </a:lnTo>
                  <a:lnTo>
                    <a:pt x="1161" y="3123"/>
                  </a:lnTo>
                  <a:lnTo>
                    <a:pt x="1168" y="3119"/>
                  </a:lnTo>
                  <a:lnTo>
                    <a:pt x="1175" y="3119"/>
                  </a:lnTo>
                  <a:lnTo>
                    <a:pt x="1177" y="3120"/>
                  </a:lnTo>
                  <a:lnTo>
                    <a:pt x="1177" y="3123"/>
                  </a:lnTo>
                  <a:lnTo>
                    <a:pt x="1182" y="3126"/>
                  </a:lnTo>
                  <a:lnTo>
                    <a:pt x="1179" y="3134"/>
                  </a:lnTo>
                  <a:lnTo>
                    <a:pt x="1180" y="3138"/>
                  </a:lnTo>
                  <a:lnTo>
                    <a:pt x="1182" y="3142"/>
                  </a:lnTo>
                  <a:lnTo>
                    <a:pt x="1182" y="3137"/>
                  </a:lnTo>
                  <a:lnTo>
                    <a:pt x="1186" y="3123"/>
                  </a:lnTo>
                  <a:lnTo>
                    <a:pt x="1185" y="3122"/>
                  </a:lnTo>
                  <a:lnTo>
                    <a:pt x="1182" y="3120"/>
                  </a:lnTo>
                  <a:lnTo>
                    <a:pt x="1182" y="3118"/>
                  </a:lnTo>
                  <a:lnTo>
                    <a:pt x="1187" y="3111"/>
                  </a:lnTo>
                  <a:lnTo>
                    <a:pt x="1190" y="3110"/>
                  </a:lnTo>
                  <a:lnTo>
                    <a:pt x="1198" y="3103"/>
                  </a:lnTo>
                  <a:lnTo>
                    <a:pt x="1210" y="3093"/>
                  </a:lnTo>
                  <a:lnTo>
                    <a:pt x="1214" y="3093"/>
                  </a:lnTo>
                  <a:lnTo>
                    <a:pt x="1221" y="3097"/>
                  </a:lnTo>
                  <a:lnTo>
                    <a:pt x="1222" y="3102"/>
                  </a:lnTo>
                  <a:lnTo>
                    <a:pt x="1222" y="3106"/>
                  </a:lnTo>
                  <a:lnTo>
                    <a:pt x="1216" y="3115"/>
                  </a:lnTo>
                  <a:lnTo>
                    <a:pt x="1211" y="3120"/>
                  </a:lnTo>
                  <a:lnTo>
                    <a:pt x="1202" y="3123"/>
                  </a:lnTo>
                  <a:lnTo>
                    <a:pt x="1197" y="3130"/>
                  </a:lnTo>
                  <a:lnTo>
                    <a:pt x="1196" y="3138"/>
                  </a:lnTo>
                  <a:lnTo>
                    <a:pt x="1198" y="3142"/>
                  </a:lnTo>
                  <a:lnTo>
                    <a:pt x="1205" y="3145"/>
                  </a:lnTo>
                  <a:lnTo>
                    <a:pt x="1211" y="3163"/>
                  </a:lnTo>
                  <a:lnTo>
                    <a:pt x="1210" y="3164"/>
                  </a:lnTo>
                  <a:lnTo>
                    <a:pt x="1205" y="3168"/>
                  </a:lnTo>
                  <a:lnTo>
                    <a:pt x="1202" y="3170"/>
                  </a:lnTo>
                  <a:lnTo>
                    <a:pt x="1197" y="3173"/>
                  </a:lnTo>
                  <a:lnTo>
                    <a:pt x="1196" y="3176"/>
                  </a:lnTo>
                  <a:lnTo>
                    <a:pt x="1197" y="3179"/>
                  </a:lnTo>
                  <a:lnTo>
                    <a:pt x="1198" y="3179"/>
                  </a:lnTo>
                  <a:lnTo>
                    <a:pt x="1198" y="3176"/>
                  </a:lnTo>
                  <a:lnTo>
                    <a:pt x="1204" y="3172"/>
                  </a:lnTo>
                  <a:lnTo>
                    <a:pt x="1212" y="3168"/>
                  </a:lnTo>
                  <a:lnTo>
                    <a:pt x="1215" y="3160"/>
                  </a:lnTo>
                  <a:lnTo>
                    <a:pt x="1215" y="3156"/>
                  </a:lnTo>
                  <a:lnTo>
                    <a:pt x="1212" y="3152"/>
                  </a:lnTo>
                  <a:lnTo>
                    <a:pt x="1214" y="3142"/>
                  </a:lnTo>
                  <a:lnTo>
                    <a:pt x="1210" y="3137"/>
                  </a:lnTo>
                  <a:lnTo>
                    <a:pt x="1214" y="3132"/>
                  </a:lnTo>
                  <a:lnTo>
                    <a:pt x="1224" y="3128"/>
                  </a:lnTo>
                  <a:lnTo>
                    <a:pt x="1229" y="3128"/>
                  </a:lnTo>
                  <a:lnTo>
                    <a:pt x="1240" y="3125"/>
                  </a:lnTo>
                  <a:lnTo>
                    <a:pt x="1240" y="3127"/>
                  </a:lnTo>
                  <a:lnTo>
                    <a:pt x="1239" y="3130"/>
                  </a:lnTo>
                  <a:lnTo>
                    <a:pt x="1237" y="3138"/>
                  </a:lnTo>
                  <a:lnTo>
                    <a:pt x="1240" y="3145"/>
                  </a:lnTo>
                  <a:lnTo>
                    <a:pt x="1243" y="3147"/>
                  </a:lnTo>
                  <a:lnTo>
                    <a:pt x="1252" y="3142"/>
                  </a:lnTo>
                  <a:lnTo>
                    <a:pt x="1254" y="3142"/>
                  </a:lnTo>
                  <a:lnTo>
                    <a:pt x="1261" y="3152"/>
                  </a:lnTo>
                  <a:lnTo>
                    <a:pt x="1261" y="3150"/>
                  </a:lnTo>
                  <a:lnTo>
                    <a:pt x="1260" y="3142"/>
                  </a:lnTo>
                  <a:lnTo>
                    <a:pt x="1257" y="3138"/>
                  </a:lnTo>
                  <a:lnTo>
                    <a:pt x="1250" y="3138"/>
                  </a:lnTo>
                  <a:lnTo>
                    <a:pt x="1243" y="3144"/>
                  </a:lnTo>
                  <a:lnTo>
                    <a:pt x="1240" y="3144"/>
                  </a:lnTo>
                  <a:lnTo>
                    <a:pt x="1239" y="3142"/>
                  </a:lnTo>
                  <a:lnTo>
                    <a:pt x="1239" y="3138"/>
                  </a:lnTo>
                  <a:lnTo>
                    <a:pt x="1244" y="3126"/>
                  </a:lnTo>
                  <a:lnTo>
                    <a:pt x="1250" y="3125"/>
                  </a:lnTo>
                  <a:lnTo>
                    <a:pt x="1258" y="3127"/>
                  </a:lnTo>
                  <a:lnTo>
                    <a:pt x="1260" y="3130"/>
                  </a:lnTo>
                  <a:lnTo>
                    <a:pt x="1266" y="3130"/>
                  </a:lnTo>
                  <a:lnTo>
                    <a:pt x="1272" y="3137"/>
                  </a:lnTo>
                  <a:lnTo>
                    <a:pt x="1276" y="3138"/>
                  </a:lnTo>
                  <a:lnTo>
                    <a:pt x="1276" y="3134"/>
                  </a:lnTo>
                  <a:lnTo>
                    <a:pt x="1280" y="3138"/>
                  </a:lnTo>
                  <a:lnTo>
                    <a:pt x="1289" y="3151"/>
                  </a:lnTo>
                  <a:lnTo>
                    <a:pt x="1287" y="3159"/>
                  </a:lnTo>
                  <a:lnTo>
                    <a:pt x="1291" y="3155"/>
                  </a:lnTo>
                  <a:lnTo>
                    <a:pt x="1291" y="3147"/>
                  </a:lnTo>
                  <a:lnTo>
                    <a:pt x="1294" y="3145"/>
                  </a:lnTo>
                  <a:lnTo>
                    <a:pt x="1296" y="3156"/>
                  </a:lnTo>
                  <a:lnTo>
                    <a:pt x="1300" y="3164"/>
                  </a:lnTo>
                  <a:lnTo>
                    <a:pt x="1304" y="3176"/>
                  </a:lnTo>
                  <a:lnTo>
                    <a:pt x="1304" y="3179"/>
                  </a:lnTo>
                  <a:lnTo>
                    <a:pt x="1299" y="3182"/>
                  </a:lnTo>
                  <a:lnTo>
                    <a:pt x="1291" y="3179"/>
                  </a:lnTo>
                  <a:lnTo>
                    <a:pt x="1286" y="3181"/>
                  </a:lnTo>
                  <a:lnTo>
                    <a:pt x="1275" y="3189"/>
                  </a:lnTo>
                  <a:lnTo>
                    <a:pt x="1272" y="3187"/>
                  </a:lnTo>
                  <a:lnTo>
                    <a:pt x="1271" y="3182"/>
                  </a:lnTo>
                  <a:lnTo>
                    <a:pt x="1266" y="3182"/>
                  </a:lnTo>
                  <a:lnTo>
                    <a:pt x="1268" y="3182"/>
                  </a:lnTo>
                  <a:lnTo>
                    <a:pt x="1271" y="3189"/>
                  </a:lnTo>
                  <a:lnTo>
                    <a:pt x="1275" y="3192"/>
                  </a:lnTo>
                  <a:lnTo>
                    <a:pt x="1277" y="3190"/>
                  </a:lnTo>
                  <a:lnTo>
                    <a:pt x="1283" y="3187"/>
                  </a:lnTo>
                  <a:lnTo>
                    <a:pt x="1289" y="3182"/>
                  </a:lnTo>
                  <a:lnTo>
                    <a:pt x="1296" y="3187"/>
                  </a:lnTo>
                  <a:lnTo>
                    <a:pt x="1296" y="3189"/>
                  </a:lnTo>
                  <a:lnTo>
                    <a:pt x="1300" y="3189"/>
                  </a:lnTo>
                  <a:lnTo>
                    <a:pt x="1304" y="3187"/>
                  </a:lnTo>
                  <a:lnTo>
                    <a:pt x="1308" y="3192"/>
                  </a:lnTo>
                  <a:lnTo>
                    <a:pt x="1308" y="3193"/>
                  </a:lnTo>
                  <a:lnTo>
                    <a:pt x="1304" y="3196"/>
                  </a:lnTo>
                  <a:lnTo>
                    <a:pt x="1305" y="3196"/>
                  </a:lnTo>
                  <a:lnTo>
                    <a:pt x="1308" y="3196"/>
                  </a:lnTo>
                  <a:lnTo>
                    <a:pt x="1311" y="3193"/>
                  </a:lnTo>
                  <a:lnTo>
                    <a:pt x="1311" y="3189"/>
                  </a:lnTo>
                  <a:lnTo>
                    <a:pt x="1308" y="3185"/>
                  </a:lnTo>
                  <a:lnTo>
                    <a:pt x="1310" y="3185"/>
                  </a:lnTo>
                  <a:lnTo>
                    <a:pt x="1311" y="3187"/>
                  </a:lnTo>
                  <a:lnTo>
                    <a:pt x="1318" y="3201"/>
                  </a:lnTo>
                  <a:lnTo>
                    <a:pt x="1319" y="3209"/>
                  </a:lnTo>
                  <a:lnTo>
                    <a:pt x="1315" y="3213"/>
                  </a:lnTo>
                  <a:lnTo>
                    <a:pt x="1314" y="3212"/>
                  </a:lnTo>
                  <a:lnTo>
                    <a:pt x="1312" y="3209"/>
                  </a:lnTo>
                  <a:lnTo>
                    <a:pt x="1310" y="3207"/>
                  </a:lnTo>
                  <a:lnTo>
                    <a:pt x="1308" y="3209"/>
                  </a:lnTo>
                  <a:lnTo>
                    <a:pt x="1302" y="3209"/>
                  </a:lnTo>
                  <a:lnTo>
                    <a:pt x="1297" y="3212"/>
                  </a:lnTo>
                  <a:lnTo>
                    <a:pt x="1289" y="3212"/>
                  </a:lnTo>
                  <a:lnTo>
                    <a:pt x="1283" y="3215"/>
                  </a:lnTo>
                  <a:lnTo>
                    <a:pt x="1279" y="3222"/>
                  </a:lnTo>
                  <a:lnTo>
                    <a:pt x="1272" y="3224"/>
                  </a:lnTo>
                  <a:lnTo>
                    <a:pt x="1269" y="3226"/>
                  </a:lnTo>
                  <a:lnTo>
                    <a:pt x="1279" y="3226"/>
                  </a:lnTo>
                  <a:lnTo>
                    <a:pt x="1282" y="3224"/>
                  </a:lnTo>
                  <a:lnTo>
                    <a:pt x="1287" y="3218"/>
                  </a:lnTo>
                  <a:lnTo>
                    <a:pt x="1301" y="3217"/>
                  </a:lnTo>
                  <a:lnTo>
                    <a:pt x="1301" y="3218"/>
                  </a:lnTo>
                  <a:lnTo>
                    <a:pt x="1301" y="3224"/>
                  </a:lnTo>
                  <a:lnTo>
                    <a:pt x="1299" y="3226"/>
                  </a:lnTo>
                  <a:lnTo>
                    <a:pt x="1299" y="3227"/>
                  </a:lnTo>
                  <a:lnTo>
                    <a:pt x="1300" y="3227"/>
                  </a:lnTo>
                  <a:lnTo>
                    <a:pt x="1302" y="3227"/>
                  </a:lnTo>
                  <a:lnTo>
                    <a:pt x="1304" y="3231"/>
                  </a:lnTo>
                  <a:lnTo>
                    <a:pt x="1307" y="3231"/>
                  </a:lnTo>
                  <a:lnTo>
                    <a:pt x="1314" y="3250"/>
                  </a:lnTo>
                  <a:lnTo>
                    <a:pt x="1312" y="3254"/>
                  </a:lnTo>
                  <a:lnTo>
                    <a:pt x="1307" y="3254"/>
                  </a:lnTo>
                  <a:lnTo>
                    <a:pt x="1305" y="3257"/>
                  </a:lnTo>
                  <a:lnTo>
                    <a:pt x="1312" y="3256"/>
                  </a:lnTo>
                  <a:lnTo>
                    <a:pt x="1315" y="3254"/>
                  </a:lnTo>
                  <a:lnTo>
                    <a:pt x="1318" y="3250"/>
                  </a:lnTo>
                  <a:lnTo>
                    <a:pt x="1316" y="3246"/>
                  </a:lnTo>
                  <a:lnTo>
                    <a:pt x="1319" y="3246"/>
                  </a:lnTo>
                  <a:lnTo>
                    <a:pt x="1319" y="3239"/>
                  </a:lnTo>
                  <a:lnTo>
                    <a:pt x="1318" y="3235"/>
                  </a:lnTo>
                  <a:lnTo>
                    <a:pt x="1319" y="3231"/>
                  </a:lnTo>
                  <a:lnTo>
                    <a:pt x="1321" y="3227"/>
                  </a:lnTo>
                  <a:lnTo>
                    <a:pt x="1322" y="3231"/>
                  </a:lnTo>
                  <a:lnTo>
                    <a:pt x="1330" y="3254"/>
                  </a:lnTo>
                  <a:lnTo>
                    <a:pt x="1336" y="3264"/>
                  </a:lnTo>
                  <a:lnTo>
                    <a:pt x="1335" y="3263"/>
                  </a:lnTo>
                  <a:lnTo>
                    <a:pt x="1335" y="3267"/>
                  </a:lnTo>
                  <a:lnTo>
                    <a:pt x="1344" y="3276"/>
                  </a:lnTo>
                  <a:lnTo>
                    <a:pt x="1349" y="3285"/>
                  </a:lnTo>
                  <a:lnTo>
                    <a:pt x="1344" y="3291"/>
                  </a:lnTo>
                  <a:lnTo>
                    <a:pt x="1343" y="3289"/>
                  </a:lnTo>
                  <a:lnTo>
                    <a:pt x="1343" y="3294"/>
                  </a:lnTo>
                  <a:lnTo>
                    <a:pt x="1341" y="3297"/>
                  </a:lnTo>
                  <a:lnTo>
                    <a:pt x="1340" y="3299"/>
                  </a:lnTo>
                  <a:lnTo>
                    <a:pt x="1336" y="3301"/>
                  </a:lnTo>
                  <a:lnTo>
                    <a:pt x="1339" y="3302"/>
                  </a:lnTo>
                  <a:lnTo>
                    <a:pt x="1346" y="3301"/>
                  </a:lnTo>
                  <a:lnTo>
                    <a:pt x="1346" y="3302"/>
                  </a:lnTo>
                  <a:lnTo>
                    <a:pt x="1349" y="3305"/>
                  </a:lnTo>
                  <a:lnTo>
                    <a:pt x="1354" y="3311"/>
                  </a:lnTo>
                  <a:lnTo>
                    <a:pt x="1346" y="3321"/>
                  </a:lnTo>
                  <a:lnTo>
                    <a:pt x="1344" y="3321"/>
                  </a:lnTo>
                  <a:lnTo>
                    <a:pt x="1335" y="3325"/>
                  </a:lnTo>
                  <a:lnTo>
                    <a:pt x="1332" y="3329"/>
                  </a:lnTo>
                  <a:lnTo>
                    <a:pt x="1332" y="3331"/>
                  </a:lnTo>
                  <a:lnTo>
                    <a:pt x="1333" y="3333"/>
                  </a:lnTo>
                  <a:lnTo>
                    <a:pt x="1343" y="3336"/>
                  </a:lnTo>
                  <a:lnTo>
                    <a:pt x="1341" y="3347"/>
                  </a:lnTo>
                  <a:lnTo>
                    <a:pt x="1337" y="3351"/>
                  </a:lnTo>
                  <a:lnTo>
                    <a:pt x="1339" y="3355"/>
                  </a:lnTo>
                  <a:lnTo>
                    <a:pt x="1328" y="3362"/>
                  </a:lnTo>
                  <a:lnTo>
                    <a:pt x="1312" y="3364"/>
                  </a:lnTo>
                  <a:lnTo>
                    <a:pt x="1297" y="3370"/>
                  </a:lnTo>
                  <a:lnTo>
                    <a:pt x="1293" y="3370"/>
                  </a:lnTo>
                  <a:lnTo>
                    <a:pt x="1289" y="3368"/>
                  </a:lnTo>
                  <a:lnTo>
                    <a:pt x="1275" y="3368"/>
                  </a:lnTo>
                  <a:lnTo>
                    <a:pt x="1271" y="3370"/>
                  </a:lnTo>
                  <a:lnTo>
                    <a:pt x="1261" y="3370"/>
                  </a:lnTo>
                  <a:lnTo>
                    <a:pt x="1261" y="3372"/>
                  </a:lnTo>
                  <a:lnTo>
                    <a:pt x="1257" y="3374"/>
                  </a:lnTo>
                  <a:lnTo>
                    <a:pt x="1254" y="3379"/>
                  </a:lnTo>
                  <a:lnTo>
                    <a:pt x="1241" y="3387"/>
                  </a:lnTo>
                  <a:lnTo>
                    <a:pt x="1240" y="3387"/>
                  </a:lnTo>
                  <a:lnTo>
                    <a:pt x="1236" y="3383"/>
                  </a:lnTo>
                  <a:lnTo>
                    <a:pt x="1233" y="3383"/>
                  </a:lnTo>
                  <a:lnTo>
                    <a:pt x="1227" y="3388"/>
                  </a:lnTo>
                  <a:lnTo>
                    <a:pt x="1230" y="3392"/>
                  </a:lnTo>
                  <a:lnTo>
                    <a:pt x="1229" y="3396"/>
                  </a:lnTo>
                  <a:lnTo>
                    <a:pt x="1226" y="3395"/>
                  </a:lnTo>
                  <a:lnTo>
                    <a:pt x="1219" y="3396"/>
                  </a:lnTo>
                  <a:lnTo>
                    <a:pt x="1216" y="3392"/>
                  </a:lnTo>
                  <a:lnTo>
                    <a:pt x="1214" y="3392"/>
                  </a:lnTo>
                  <a:lnTo>
                    <a:pt x="1205" y="3399"/>
                  </a:lnTo>
                  <a:lnTo>
                    <a:pt x="1205" y="3403"/>
                  </a:lnTo>
                  <a:lnTo>
                    <a:pt x="1201" y="3408"/>
                  </a:lnTo>
                  <a:lnTo>
                    <a:pt x="1196" y="3408"/>
                  </a:lnTo>
                  <a:lnTo>
                    <a:pt x="1193" y="3412"/>
                  </a:lnTo>
                  <a:lnTo>
                    <a:pt x="1187" y="3413"/>
                  </a:lnTo>
                  <a:lnTo>
                    <a:pt x="1186" y="3417"/>
                  </a:lnTo>
                  <a:lnTo>
                    <a:pt x="1182" y="3417"/>
                  </a:lnTo>
                  <a:lnTo>
                    <a:pt x="1179" y="3417"/>
                  </a:lnTo>
                  <a:lnTo>
                    <a:pt x="1161" y="3425"/>
                  </a:lnTo>
                  <a:lnTo>
                    <a:pt x="1155" y="3423"/>
                  </a:lnTo>
                  <a:lnTo>
                    <a:pt x="1152" y="3428"/>
                  </a:lnTo>
                  <a:lnTo>
                    <a:pt x="1154" y="3431"/>
                  </a:lnTo>
                  <a:lnTo>
                    <a:pt x="1151" y="3437"/>
                  </a:lnTo>
                  <a:lnTo>
                    <a:pt x="1151" y="3440"/>
                  </a:lnTo>
                  <a:lnTo>
                    <a:pt x="1147" y="3441"/>
                  </a:lnTo>
                  <a:lnTo>
                    <a:pt x="1144" y="3440"/>
                  </a:lnTo>
                  <a:lnTo>
                    <a:pt x="1139" y="3440"/>
                  </a:lnTo>
                  <a:lnTo>
                    <a:pt x="1135" y="3443"/>
                  </a:lnTo>
                  <a:lnTo>
                    <a:pt x="1135" y="3449"/>
                  </a:lnTo>
                  <a:lnTo>
                    <a:pt x="1127" y="3451"/>
                  </a:lnTo>
                  <a:lnTo>
                    <a:pt x="1122" y="3458"/>
                  </a:lnTo>
                  <a:lnTo>
                    <a:pt x="1121" y="3462"/>
                  </a:lnTo>
                  <a:lnTo>
                    <a:pt x="1115" y="3467"/>
                  </a:lnTo>
                  <a:lnTo>
                    <a:pt x="1115" y="3474"/>
                  </a:lnTo>
                  <a:lnTo>
                    <a:pt x="1107" y="3480"/>
                  </a:lnTo>
                  <a:lnTo>
                    <a:pt x="1102" y="3482"/>
                  </a:lnTo>
                  <a:lnTo>
                    <a:pt x="1097" y="3482"/>
                  </a:lnTo>
                  <a:lnTo>
                    <a:pt x="1091" y="3482"/>
                  </a:lnTo>
                  <a:lnTo>
                    <a:pt x="1086" y="3478"/>
                  </a:lnTo>
                  <a:lnTo>
                    <a:pt x="1080" y="3478"/>
                  </a:lnTo>
                  <a:lnTo>
                    <a:pt x="1076" y="3474"/>
                  </a:lnTo>
                  <a:lnTo>
                    <a:pt x="1070" y="3471"/>
                  </a:lnTo>
                  <a:lnTo>
                    <a:pt x="1063" y="3473"/>
                  </a:lnTo>
                  <a:lnTo>
                    <a:pt x="1055" y="3466"/>
                  </a:lnTo>
                  <a:lnTo>
                    <a:pt x="1055" y="3459"/>
                  </a:lnTo>
                  <a:lnTo>
                    <a:pt x="1048" y="3459"/>
                  </a:lnTo>
                  <a:lnTo>
                    <a:pt x="1042" y="3457"/>
                  </a:lnTo>
                  <a:lnTo>
                    <a:pt x="1038" y="3454"/>
                  </a:lnTo>
                  <a:lnTo>
                    <a:pt x="1034" y="3454"/>
                  </a:lnTo>
                  <a:lnTo>
                    <a:pt x="1031" y="3451"/>
                  </a:lnTo>
                  <a:lnTo>
                    <a:pt x="1023" y="3449"/>
                  </a:lnTo>
                  <a:lnTo>
                    <a:pt x="1020" y="3451"/>
                  </a:lnTo>
                  <a:lnTo>
                    <a:pt x="1016" y="3453"/>
                  </a:lnTo>
                  <a:lnTo>
                    <a:pt x="1013" y="3457"/>
                  </a:lnTo>
                  <a:lnTo>
                    <a:pt x="1012" y="3457"/>
                  </a:lnTo>
                  <a:lnTo>
                    <a:pt x="1009" y="3457"/>
                  </a:lnTo>
                  <a:lnTo>
                    <a:pt x="1008" y="3454"/>
                  </a:lnTo>
                  <a:lnTo>
                    <a:pt x="1005" y="3454"/>
                  </a:lnTo>
                  <a:lnTo>
                    <a:pt x="997" y="3459"/>
                  </a:lnTo>
                  <a:lnTo>
                    <a:pt x="997" y="3463"/>
                  </a:lnTo>
                  <a:lnTo>
                    <a:pt x="995" y="3463"/>
                  </a:lnTo>
                  <a:lnTo>
                    <a:pt x="992" y="3466"/>
                  </a:lnTo>
                  <a:lnTo>
                    <a:pt x="987" y="3463"/>
                  </a:lnTo>
                  <a:lnTo>
                    <a:pt x="980" y="3471"/>
                  </a:lnTo>
                  <a:lnTo>
                    <a:pt x="966" y="3476"/>
                  </a:lnTo>
                  <a:lnTo>
                    <a:pt x="965" y="3479"/>
                  </a:lnTo>
                  <a:lnTo>
                    <a:pt x="966" y="3482"/>
                  </a:lnTo>
                  <a:lnTo>
                    <a:pt x="958" y="3486"/>
                  </a:lnTo>
                  <a:lnTo>
                    <a:pt x="952" y="3484"/>
                  </a:lnTo>
                  <a:lnTo>
                    <a:pt x="942" y="3484"/>
                  </a:lnTo>
                  <a:lnTo>
                    <a:pt x="941" y="3488"/>
                  </a:lnTo>
                  <a:lnTo>
                    <a:pt x="934" y="3490"/>
                  </a:lnTo>
                  <a:lnTo>
                    <a:pt x="930" y="3486"/>
                  </a:lnTo>
                  <a:lnTo>
                    <a:pt x="926" y="3486"/>
                  </a:lnTo>
                  <a:lnTo>
                    <a:pt x="920" y="3490"/>
                  </a:lnTo>
                  <a:lnTo>
                    <a:pt x="913" y="3490"/>
                  </a:lnTo>
                  <a:lnTo>
                    <a:pt x="908" y="3490"/>
                  </a:lnTo>
                  <a:lnTo>
                    <a:pt x="902" y="3500"/>
                  </a:lnTo>
                  <a:lnTo>
                    <a:pt x="901" y="3504"/>
                  </a:lnTo>
                  <a:lnTo>
                    <a:pt x="895" y="3507"/>
                  </a:lnTo>
                  <a:lnTo>
                    <a:pt x="894" y="3511"/>
                  </a:lnTo>
                  <a:lnTo>
                    <a:pt x="891" y="3512"/>
                  </a:lnTo>
                  <a:lnTo>
                    <a:pt x="888" y="3512"/>
                  </a:lnTo>
                  <a:lnTo>
                    <a:pt x="886" y="3508"/>
                  </a:lnTo>
                  <a:lnTo>
                    <a:pt x="883" y="3508"/>
                  </a:lnTo>
                  <a:lnTo>
                    <a:pt x="870" y="3508"/>
                  </a:lnTo>
                  <a:lnTo>
                    <a:pt x="865" y="3511"/>
                  </a:lnTo>
                  <a:lnTo>
                    <a:pt x="859" y="3515"/>
                  </a:lnTo>
                  <a:lnTo>
                    <a:pt x="858" y="3520"/>
                  </a:lnTo>
                  <a:lnTo>
                    <a:pt x="858" y="3523"/>
                  </a:lnTo>
                  <a:lnTo>
                    <a:pt x="859" y="3528"/>
                  </a:lnTo>
                  <a:lnTo>
                    <a:pt x="859" y="3533"/>
                  </a:lnTo>
                  <a:lnTo>
                    <a:pt x="855" y="3537"/>
                  </a:lnTo>
                  <a:lnTo>
                    <a:pt x="853" y="3538"/>
                  </a:lnTo>
                  <a:lnTo>
                    <a:pt x="855" y="3542"/>
                  </a:lnTo>
                  <a:lnTo>
                    <a:pt x="855" y="3545"/>
                  </a:lnTo>
                  <a:lnTo>
                    <a:pt x="847" y="3548"/>
                  </a:lnTo>
                  <a:lnTo>
                    <a:pt x="845" y="3550"/>
                  </a:lnTo>
                  <a:lnTo>
                    <a:pt x="845" y="3553"/>
                  </a:lnTo>
                  <a:lnTo>
                    <a:pt x="844" y="3557"/>
                  </a:lnTo>
                  <a:lnTo>
                    <a:pt x="834" y="3559"/>
                  </a:lnTo>
                  <a:lnTo>
                    <a:pt x="834" y="3565"/>
                  </a:lnTo>
                  <a:lnTo>
                    <a:pt x="830" y="3569"/>
                  </a:lnTo>
                  <a:lnTo>
                    <a:pt x="820" y="3570"/>
                  </a:lnTo>
                  <a:lnTo>
                    <a:pt x="813" y="3573"/>
                  </a:lnTo>
                  <a:lnTo>
                    <a:pt x="810" y="3582"/>
                  </a:lnTo>
                  <a:lnTo>
                    <a:pt x="805" y="3587"/>
                  </a:lnTo>
                  <a:lnTo>
                    <a:pt x="806" y="3591"/>
                  </a:lnTo>
                  <a:lnTo>
                    <a:pt x="799" y="3598"/>
                  </a:lnTo>
                  <a:lnTo>
                    <a:pt x="796" y="3599"/>
                  </a:lnTo>
                  <a:lnTo>
                    <a:pt x="794" y="3598"/>
                  </a:lnTo>
                  <a:lnTo>
                    <a:pt x="790" y="3598"/>
                  </a:lnTo>
                  <a:lnTo>
                    <a:pt x="787" y="3602"/>
                  </a:lnTo>
                  <a:lnTo>
                    <a:pt x="784" y="3605"/>
                  </a:lnTo>
                  <a:lnTo>
                    <a:pt x="776" y="3609"/>
                  </a:lnTo>
                  <a:lnTo>
                    <a:pt x="774" y="3615"/>
                  </a:lnTo>
                  <a:lnTo>
                    <a:pt x="776" y="3619"/>
                  </a:lnTo>
                  <a:lnTo>
                    <a:pt x="776" y="3621"/>
                  </a:lnTo>
                  <a:lnTo>
                    <a:pt x="771" y="3627"/>
                  </a:lnTo>
                  <a:lnTo>
                    <a:pt x="770" y="3627"/>
                  </a:lnTo>
                  <a:lnTo>
                    <a:pt x="757" y="3627"/>
                  </a:lnTo>
                  <a:lnTo>
                    <a:pt x="755" y="3631"/>
                  </a:lnTo>
                  <a:lnTo>
                    <a:pt x="751" y="3631"/>
                  </a:lnTo>
                  <a:lnTo>
                    <a:pt x="746" y="3624"/>
                  </a:lnTo>
                  <a:lnTo>
                    <a:pt x="742" y="3623"/>
                  </a:lnTo>
                  <a:lnTo>
                    <a:pt x="738" y="3619"/>
                  </a:lnTo>
                  <a:lnTo>
                    <a:pt x="734" y="3616"/>
                  </a:lnTo>
                  <a:lnTo>
                    <a:pt x="732" y="3616"/>
                  </a:lnTo>
                  <a:lnTo>
                    <a:pt x="727" y="3617"/>
                  </a:lnTo>
                  <a:lnTo>
                    <a:pt x="721" y="3615"/>
                  </a:lnTo>
                  <a:lnTo>
                    <a:pt x="720" y="3612"/>
                  </a:lnTo>
                  <a:lnTo>
                    <a:pt x="720" y="3605"/>
                  </a:lnTo>
                  <a:lnTo>
                    <a:pt x="718" y="3604"/>
                  </a:lnTo>
                  <a:lnTo>
                    <a:pt x="715" y="3602"/>
                  </a:lnTo>
                  <a:lnTo>
                    <a:pt x="709" y="3602"/>
                  </a:lnTo>
                  <a:lnTo>
                    <a:pt x="705" y="3592"/>
                  </a:lnTo>
                  <a:lnTo>
                    <a:pt x="702" y="3590"/>
                  </a:lnTo>
                  <a:lnTo>
                    <a:pt x="696" y="3587"/>
                  </a:lnTo>
                  <a:lnTo>
                    <a:pt x="695" y="3587"/>
                  </a:lnTo>
                  <a:lnTo>
                    <a:pt x="691" y="3586"/>
                  </a:lnTo>
                  <a:lnTo>
                    <a:pt x="688" y="3587"/>
                  </a:lnTo>
                  <a:lnTo>
                    <a:pt x="685" y="3587"/>
                  </a:lnTo>
                  <a:lnTo>
                    <a:pt x="682" y="3587"/>
                  </a:lnTo>
                  <a:lnTo>
                    <a:pt x="674" y="3592"/>
                  </a:lnTo>
                  <a:lnTo>
                    <a:pt x="670" y="3592"/>
                  </a:lnTo>
                  <a:lnTo>
                    <a:pt x="667" y="3595"/>
                  </a:lnTo>
                  <a:lnTo>
                    <a:pt x="667" y="3598"/>
                  </a:lnTo>
                  <a:lnTo>
                    <a:pt x="665" y="3602"/>
                  </a:lnTo>
                  <a:lnTo>
                    <a:pt x="662" y="3615"/>
                  </a:lnTo>
                  <a:lnTo>
                    <a:pt x="656" y="3619"/>
                  </a:lnTo>
                  <a:lnTo>
                    <a:pt x="648" y="3620"/>
                  </a:lnTo>
                  <a:lnTo>
                    <a:pt x="646" y="3623"/>
                  </a:lnTo>
                  <a:lnTo>
                    <a:pt x="646" y="3627"/>
                  </a:lnTo>
                  <a:lnTo>
                    <a:pt x="634" y="3631"/>
                  </a:lnTo>
                  <a:lnTo>
                    <a:pt x="630" y="3631"/>
                  </a:lnTo>
                  <a:lnTo>
                    <a:pt x="628" y="3628"/>
                  </a:lnTo>
                  <a:lnTo>
                    <a:pt x="623" y="3631"/>
                  </a:lnTo>
                  <a:lnTo>
                    <a:pt x="621" y="3631"/>
                  </a:lnTo>
                  <a:lnTo>
                    <a:pt x="621" y="3628"/>
                  </a:lnTo>
                  <a:lnTo>
                    <a:pt x="617" y="3627"/>
                  </a:lnTo>
                  <a:lnTo>
                    <a:pt x="613" y="3631"/>
                  </a:lnTo>
                  <a:lnTo>
                    <a:pt x="609" y="3632"/>
                  </a:lnTo>
                  <a:lnTo>
                    <a:pt x="606" y="3632"/>
                  </a:lnTo>
                  <a:lnTo>
                    <a:pt x="602" y="3624"/>
                  </a:lnTo>
                  <a:lnTo>
                    <a:pt x="602" y="3619"/>
                  </a:lnTo>
                  <a:lnTo>
                    <a:pt x="598" y="3616"/>
                  </a:lnTo>
                  <a:lnTo>
                    <a:pt x="592" y="3615"/>
                  </a:lnTo>
                  <a:lnTo>
                    <a:pt x="592" y="3609"/>
                  </a:lnTo>
                  <a:lnTo>
                    <a:pt x="589" y="3609"/>
                  </a:lnTo>
                  <a:lnTo>
                    <a:pt x="578" y="3612"/>
                  </a:lnTo>
                  <a:lnTo>
                    <a:pt x="574" y="3609"/>
                  </a:lnTo>
                  <a:lnTo>
                    <a:pt x="571" y="3609"/>
                  </a:lnTo>
                  <a:lnTo>
                    <a:pt x="568" y="3614"/>
                  </a:lnTo>
                  <a:lnTo>
                    <a:pt x="566" y="3614"/>
                  </a:lnTo>
                  <a:lnTo>
                    <a:pt x="556" y="3619"/>
                  </a:lnTo>
                  <a:lnTo>
                    <a:pt x="550" y="3619"/>
                  </a:lnTo>
                  <a:lnTo>
                    <a:pt x="545" y="3616"/>
                  </a:lnTo>
                  <a:lnTo>
                    <a:pt x="539" y="3617"/>
                  </a:lnTo>
                  <a:lnTo>
                    <a:pt x="532" y="3616"/>
                  </a:lnTo>
                  <a:lnTo>
                    <a:pt x="527" y="3617"/>
                  </a:lnTo>
                  <a:lnTo>
                    <a:pt x="523" y="3620"/>
                  </a:lnTo>
                  <a:lnTo>
                    <a:pt x="517" y="3620"/>
                  </a:lnTo>
                  <a:lnTo>
                    <a:pt x="507" y="3623"/>
                  </a:lnTo>
                  <a:lnTo>
                    <a:pt x="506" y="3624"/>
                  </a:lnTo>
                  <a:lnTo>
                    <a:pt x="503" y="3627"/>
                  </a:lnTo>
                  <a:lnTo>
                    <a:pt x="502" y="3623"/>
                  </a:lnTo>
                  <a:lnTo>
                    <a:pt x="504" y="3582"/>
                  </a:lnTo>
                  <a:lnTo>
                    <a:pt x="509" y="3570"/>
                  </a:lnTo>
                  <a:lnTo>
                    <a:pt x="514" y="3561"/>
                  </a:lnTo>
                  <a:lnTo>
                    <a:pt x="524" y="3553"/>
                  </a:lnTo>
                  <a:lnTo>
                    <a:pt x="524" y="3541"/>
                  </a:lnTo>
                  <a:lnTo>
                    <a:pt x="530" y="3508"/>
                  </a:lnTo>
                  <a:lnTo>
                    <a:pt x="576" y="3480"/>
                  </a:lnTo>
                  <a:lnTo>
                    <a:pt x="585" y="3437"/>
                  </a:lnTo>
                  <a:lnTo>
                    <a:pt x="488" y="3378"/>
                  </a:lnTo>
                  <a:lnTo>
                    <a:pt x="479" y="3378"/>
                  </a:lnTo>
                  <a:lnTo>
                    <a:pt x="408" y="3378"/>
                  </a:lnTo>
                  <a:lnTo>
                    <a:pt x="417" y="3268"/>
                  </a:lnTo>
                  <a:lnTo>
                    <a:pt x="413" y="3213"/>
                  </a:lnTo>
                  <a:lnTo>
                    <a:pt x="407" y="3212"/>
                  </a:lnTo>
                  <a:lnTo>
                    <a:pt x="404" y="3209"/>
                  </a:lnTo>
                  <a:lnTo>
                    <a:pt x="402" y="3201"/>
                  </a:lnTo>
                  <a:lnTo>
                    <a:pt x="393" y="3196"/>
                  </a:lnTo>
                  <a:lnTo>
                    <a:pt x="392" y="3189"/>
                  </a:lnTo>
                  <a:lnTo>
                    <a:pt x="377" y="3179"/>
                  </a:lnTo>
                  <a:lnTo>
                    <a:pt x="372" y="3170"/>
                  </a:lnTo>
                  <a:lnTo>
                    <a:pt x="369" y="3168"/>
                  </a:lnTo>
                  <a:lnTo>
                    <a:pt x="361" y="3164"/>
                  </a:lnTo>
                  <a:lnTo>
                    <a:pt x="358" y="3164"/>
                  </a:lnTo>
                  <a:lnTo>
                    <a:pt x="353" y="3168"/>
                  </a:lnTo>
                  <a:lnTo>
                    <a:pt x="343" y="3168"/>
                  </a:lnTo>
                  <a:lnTo>
                    <a:pt x="338" y="3167"/>
                  </a:lnTo>
                  <a:lnTo>
                    <a:pt x="335" y="3163"/>
                  </a:lnTo>
                  <a:lnTo>
                    <a:pt x="329" y="3160"/>
                  </a:lnTo>
                  <a:lnTo>
                    <a:pt x="317" y="3160"/>
                  </a:lnTo>
                  <a:lnTo>
                    <a:pt x="316" y="3159"/>
                  </a:lnTo>
                  <a:lnTo>
                    <a:pt x="307" y="3156"/>
                  </a:lnTo>
                  <a:lnTo>
                    <a:pt x="306" y="3155"/>
                  </a:lnTo>
                  <a:lnTo>
                    <a:pt x="297" y="3152"/>
                  </a:lnTo>
                  <a:lnTo>
                    <a:pt x="291" y="3151"/>
                  </a:lnTo>
                  <a:lnTo>
                    <a:pt x="289" y="3150"/>
                  </a:lnTo>
                  <a:lnTo>
                    <a:pt x="285" y="3150"/>
                  </a:lnTo>
                  <a:lnTo>
                    <a:pt x="282" y="3145"/>
                  </a:lnTo>
                  <a:lnTo>
                    <a:pt x="278" y="3144"/>
                  </a:lnTo>
                  <a:lnTo>
                    <a:pt x="274" y="3140"/>
                  </a:lnTo>
                  <a:lnTo>
                    <a:pt x="271" y="3092"/>
                  </a:lnTo>
                  <a:lnTo>
                    <a:pt x="254" y="3085"/>
                  </a:lnTo>
                  <a:lnTo>
                    <a:pt x="243" y="3078"/>
                  </a:lnTo>
                  <a:lnTo>
                    <a:pt x="237" y="3077"/>
                  </a:lnTo>
                  <a:lnTo>
                    <a:pt x="236" y="3075"/>
                  </a:lnTo>
                  <a:lnTo>
                    <a:pt x="228" y="3070"/>
                  </a:lnTo>
                  <a:lnTo>
                    <a:pt x="218" y="3063"/>
                  </a:lnTo>
                  <a:lnTo>
                    <a:pt x="218" y="3061"/>
                  </a:lnTo>
                  <a:lnTo>
                    <a:pt x="218" y="3059"/>
                  </a:lnTo>
                  <a:lnTo>
                    <a:pt x="215" y="3057"/>
                  </a:lnTo>
                  <a:lnTo>
                    <a:pt x="211" y="3052"/>
                  </a:lnTo>
                  <a:lnTo>
                    <a:pt x="218" y="3018"/>
                  </a:lnTo>
                  <a:lnTo>
                    <a:pt x="225" y="3005"/>
                  </a:lnTo>
                  <a:lnTo>
                    <a:pt x="178" y="3002"/>
                  </a:lnTo>
                  <a:lnTo>
                    <a:pt x="159" y="2986"/>
                  </a:lnTo>
                  <a:lnTo>
                    <a:pt x="108" y="2940"/>
                  </a:lnTo>
                  <a:lnTo>
                    <a:pt x="71" y="2909"/>
                  </a:lnTo>
                  <a:lnTo>
                    <a:pt x="86" y="2857"/>
                  </a:lnTo>
                  <a:lnTo>
                    <a:pt x="90" y="2853"/>
                  </a:lnTo>
                  <a:lnTo>
                    <a:pt x="68" y="2823"/>
                  </a:lnTo>
                  <a:lnTo>
                    <a:pt x="69" y="2822"/>
                  </a:lnTo>
                  <a:lnTo>
                    <a:pt x="69" y="2820"/>
                  </a:lnTo>
                  <a:lnTo>
                    <a:pt x="71" y="2819"/>
                  </a:lnTo>
                  <a:lnTo>
                    <a:pt x="71" y="2816"/>
                  </a:lnTo>
                  <a:lnTo>
                    <a:pt x="73" y="2812"/>
                  </a:lnTo>
                  <a:lnTo>
                    <a:pt x="71" y="2808"/>
                  </a:lnTo>
                  <a:lnTo>
                    <a:pt x="79" y="2808"/>
                  </a:lnTo>
                  <a:lnTo>
                    <a:pt x="82" y="2799"/>
                  </a:lnTo>
                  <a:lnTo>
                    <a:pt x="90" y="2794"/>
                  </a:lnTo>
                  <a:lnTo>
                    <a:pt x="100" y="2792"/>
                  </a:lnTo>
                  <a:lnTo>
                    <a:pt x="104" y="2790"/>
                  </a:lnTo>
                  <a:lnTo>
                    <a:pt x="100" y="2786"/>
                  </a:lnTo>
                  <a:lnTo>
                    <a:pt x="92" y="2782"/>
                  </a:lnTo>
                  <a:lnTo>
                    <a:pt x="89" y="2777"/>
                  </a:lnTo>
                  <a:lnTo>
                    <a:pt x="86" y="2773"/>
                  </a:lnTo>
                  <a:lnTo>
                    <a:pt x="86" y="2764"/>
                  </a:lnTo>
                  <a:lnTo>
                    <a:pt x="73" y="2733"/>
                  </a:lnTo>
                  <a:lnTo>
                    <a:pt x="64" y="2725"/>
                  </a:lnTo>
                  <a:lnTo>
                    <a:pt x="59" y="2710"/>
                  </a:lnTo>
                  <a:lnTo>
                    <a:pt x="15" y="2666"/>
                  </a:lnTo>
                  <a:lnTo>
                    <a:pt x="14" y="2658"/>
                  </a:lnTo>
                  <a:lnTo>
                    <a:pt x="5" y="2657"/>
                  </a:lnTo>
                  <a:lnTo>
                    <a:pt x="1" y="2651"/>
                  </a:lnTo>
                  <a:lnTo>
                    <a:pt x="0" y="2648"/>
                  </a:lnTo>
                  <a:lnTo>
                    <a:pt x="3" y="2642"/>
                  </a:lnTo>
                  <a:lnTo>
                    <a:pt x="3" y="2636"/>
                  </a:lnTo>
                  <a:lnTo>
                    <a:pt x="5" y="2634"/>
                  </a:lnTo>
                  <a:lnTo>
                    <a:pt x="15" y="2633"/>
                  </a:lnTo>
                  <a:lnTo>
                    <a:pt x="18" y="2630"/>
                  </a:lnTo>
                  <a:lnTo>
                    <a:pt x="22" y="2629"/>
                  </a:lnTo>
                  <a:lnTo>
                    <a:pt x="22" y="2625"/>
                  </a:lnTo>
                  <a:lnTo>
                    <a:pt x="26" y="2621"/>
                  </a:lnTo>
                  <a:lnTo>
                    <a:pt x="29" y="2617"/>
                  </a:lnTo>
                  <a:lnTo>
                    <a:pt x="32" y="2616"/>
                  </a:lnTo>
                  <a:lnTo>
                    <a:pt x="34" y="2616"/>
                  </a:lnTo>
                  <a:lnTo>
                    <a:pt x="39" y="2613"/>
                  </a:lnTo>
                  <a:lnTo>
                    <a:pt x="43" y="2613"/>
                  </a:lnTo>
                  <a:lnTo>
                    <a:pt x="47" y="2612"/>
                  </a:lnTo>
                  <a:lnTo>
                    <a:pt x="50" y="2613"/>
                  </a:lnTo>
                  <a:lnTo>
                    <a:pt x="53" y="2613"/>
                  </a:lnTo>
                  <a:lnTo>
                    <a:pt x="57" y="2613"/>
                  </a:lnTo>
                  <a:lnTo>
                    <a:pt x="56" y="2611"/>
                  </a:lnTo>
                  <a:lnTo>
                    <a:pt x="64" y="2605"/>
                  </a:lnTo>
                  <a:lnTo>
                    <a:pt x="65" y="2601"/>
                  </a:lnTo>
                  <a:lnTo>
                    <a:pt x="65" y="2595"/>
                  </a:lnTo>
                  <a:lnTo>
                    <a:pt x="68" y="2591"/>
                  </a:lnTo>
                  <a:lnTo>
                    <a:pt x="68" y="2583"/>
                  </a:lnTo>
                  <a:lnTo>
                    <a:pt x="71" y="2581"/>
                  </a:lnTo>
                  <a:lnTo>
                    <a:pt x="71" y="2576"/>
                  </a:lnTo>
                  <a:lnTo>
                    <a:pt x="75" y="2573"/>
                  </a:lnTo>
                  <a:lnTo>
                    <a:pt x="78" y="2573"/>
                  </a:lnTo>
                  <a:lnTo>
                    <a:pt x="82" y="2571"/>
                  </a:lnTo>
                  <a:lnTo>
                    <a:pt x="89" y="2568"/>
                  </a:lnTo>
                  <a:lnTo>
                    <a:pt x="92" y="2573"/>
                  </a:lnTo>
                  <a:lnTo>
                    <a:pt x="93" y="2576"/>
                  </a:lnTo>
                  <a:lnTo>
                    <a:pt x="101" y="2576"/>
                  </a:lnTo>
                  <a:lnTo>
                    <a:pt x="103" y="2573"/>
                  </a:lnTo>
                  <a:lnTo>
                    <a:pt x="103" y="2568"/>
                  </a:lnTo>
                  <a:lnTo>
                    <a:pt x="103" y="2564"/>
                  </a:lnTo>
                  <a:lnTo>
                    <a:pt x="108" y="2564"/>
                  </a:lnTo>
                  <a:lnTo>
                    <a:pt x="111" y="2563"/>
                  </a:lnTo>
                  <a:lnTo>
                    <a:pt x="112" y="2567"/>
                  </a:lnTo>
                  <a:lnTo>
                    <a:pt x="122" y="2564"/>
                  </a:lnTo>
                  <a:lnTo>
                    <a:pt x="123" y="2561"/>
                  </a:lnTo>
                  <a:lnTo>
                    <a:pt x="126" y="2558"/>
                  </a:lnTo>
                  <a:lnTo>
                    <a:pt x="125" y="2554"/>
                  </a:lnTo>
                  <a:lnTo>
                    <a:pt x="131" y="2550"/>
                  </a:lnTo>
                  <a:lnTo>
                    <a:pt x="131" y="2549"/>
                  </a:lnTo>
                  <a:lnTo>
                    <a:pt x="133" y="2546"/>
                  </a:lnTo>
                  <a:lnTo>
                    <a:pt x="133" y="2542"/>
                  </a:lnTo>
                  <a:lnTo>
                    <a:pt x="134" y="2542"/>
                  </a:lnTo>
                  <a:lnTo>
                    <a:pt x="134" y="2545"/>
                  </a:lnTo>
                  <a:lnTo>
                    <a:pt x="137" y="2542"/>
                  </a:lnTo>
                  <a:lnTo>
                    <a:pt x="137" y="2539"/>
                  </a:lnTo>
                  <a:lnTo>
                    <a:pt x="139" y="2539"/>
                  </a:lnTo>
                  <a:lnTo>
                    <a:pt x="140" y="2541"/>
                  </a:lnTo>
                  <a:lnTo>
                    <a:pt x="144" y="2542"/>
                  </a:lnTo>
                  <a:lnTo>
                    <a:pt x="148" y="2542"/>
                  </a:lnTo>
                  <a:lnTo>
                    <a:pt x="159" y="2539"/>
                  </a:lnTo>
                  <a:lnTo>
                    <a:pt x="164" y="2536"/>
                  </a:lnTo>
                  <a:lnTo>
                    <a:pt x="168" y="2534"/>
                  </a:lnTo>
                  <a:lnTo>
                    <a:pt x="169" y="2531"/>
                  </a:lnTo>
                  <a:lnTo>
                    <a:pt x="171" y="2524"/>
                  </a:lnTo>
                  <a:lnTo>
                    <a:pt x="173" y="2520"/>
                  </a:lnTo>
                  <a:lnTo>
                    <a:pt x="172" y="2514"/>
                  </a:lnTo>
                  <a:lnTo>
                    <a:pt x="173" y="2512"/>
                  </a:lnTo>
                  <a:lnTo>
                    <a:pt x="176" y="2512"/>
                  </a:lnTo>
                  <a:lnTo>
                    <a:pt x="182" y="2524"/>
                  </a:lnTo>
                  <a:lnTo>
                    <a:pt x="186" y="2528"/>
                  </a:lnTo>
                  <a:lnTo>
                    <a:pt x="194" y="2531"/>
                  </a:lnTo>
                  <a:lnTo>
                    <a:pt x="198" y="2531"/>
                  </a:lnTo>
                  <a:lnTo>
                    <a:pt x="206" y="2530"/>
                  </a:lnTo>
                  <a:lnTo>
                    <a:pt x="208" y="2528"/>
                  </a:lnTo>
                  <a:lnTo>
                    <a:pt x="212" y="2520"/>
                  </a:lnTo>
                  <a:lnTo>
                    <a:pt x="214" y="2520"/>
                  </a:lnTo>
                  <a:lnTo>
                    <a:pt x="218" y="2520"/>
                  </a:lnTo>
                  <a:lnTo>
                    <a:pt x="219" y="2522"/>
                  </a:lnTo>
                  <a:lnTo>
                    <a:pt x="221" y="2524"/>
                  </a:lnTo>
                  <a:lnTo>
                    <a:pt x="229" y="2520"/>
                  </a:lnTo>
                  <a:lnTo>
                    <a:pt x="235" y="2522"/>
                  </a:lnTo>
                  <a:lnTo>
                    <a:pt x="246" y="2537"/>
                  </a:lnTo>
                  <a:lnTo>
                    <a:pt x="263" y="2549"/>
                  </a:lnTo>
                  <a:lnTo>
                    <a:pt x="268" y="2556"/>
                  </a:lnTo>
                  <a:lnTo>
                    <a:pt x="275" y="2559"/>
                  </a:lnTo>
                  <a:lnTo>
                    <a:pt x="285" y="2567"/>
                  </a:lnTo>
                  <a:lnTo>
                    <a:pt x="293" y="2568"/>
                  </a:lnTo>
                  <a:lnTo>
                    <a:pt x="302" y="2568"/>
                  </a:lnTo>
                  <a:lnTo>
                    <a:pt x="304" y="2567"/>
                  </a:lnTo>
                  <a:lnTo>
                    <a:pt x="307" y="2564"/>
                  </a:lnTo>
                  <a:lnTo>
                    <a:pt x="310" y="2558"/>
                  </a:lnTo>
                  <a:lnTo>
                    <a:pt x="310" y="2554"/>
                  </a:lnTo>
                  <a:lnTo>
                    <a:pt x="313" y="2546"/>
                  </a:lnTo>
                  <a:lnTo>
                    <a:pt x="322" y="2539"/>
                  </a:lnTo>
                  <a:lnTo>
                    <a:pt x="329" y="2530"/>
                  </a:lnTo>
                  <a:lnTo>
                    <a:pt x="333" y="2528"/>
                  </a:lnTo>
                  <a:lnTo>
                    <a:pt x="343" y="2526"/>
                  </a:lnTo>
                  <a:lnTo>
                    <a:pt x="349" y="2520"/>
                  </a:lnTo>
                  <a:lnTo>
                    <a:pt x="356" y="2518"/>
                  </a:lnTo>
                  <a:lnTo>
                    <a:pt x="357" y="2516"/>
                  </a:lnTo>
                  <a:lnTo>
                    <a:pt x="357" y="2508"/>
                  </a:lnTo>
                  <a:lnTo>
                    <a:pt x="354" y="2491"/>
                  </a:lnTo>
                  <a:lnTo>
                    <a:pt x="350" y="2477"/>
                  </a:lnTo>
                  <a:lnTo>
                    <a:pt x="352" y="2463"/>
                  </a:lnTo>
                  <a:lnTo>
                    <a:pt x="350" y="2452"/>
                  </a:lnTo>
                  <a:lnTo>
                    <a:pt x="357" y="2421"/>
                  </a:lnTo>
                  <a:lnTo>
                    <a:pt x="360" y="2416"/>
                  </a:lnTo>
                  <a:lnTo>
                    <a:pt x="361" y="2410"/>
                  </a:lnTo>
                  <a:lnTo>
                    <a:pt x="369" y="2399"/>
                  </a:lnTo>
                  <a:lnTo>
                    <a:pt x="371" y="2393"/>
                  </a:lnTo>
                  <a:lnTo>
                    <a:pt x="374" y="2389"/>
                  </a:lnTo>
                  <a:lnTo>
                    <a:pt x="360" y="2370"/>
                  </a:lnTo>
                  <a:lnTo>
                    <a:pt x="360" y="2367"/>
                  </a:lnTo>
                  <a:lnTo>
                    <a:pt x="360" y="2352"/>
                  </a:lnTo>
                  <a:lnTo>
                    <a:pt x="352" y="2343"/>
                  </a:lnTo>
                  <a:lnTo>
                    <a:pt x="347" y="2335"/>
                  </a:lnTo>
                  <a:lnTo>
                    <a:pt x="344" y="2326"/>
                  </a:lnTo>
                  <a:lnTo>
                    <a:pt x="342" y="2322"/>
                  </a:lnTo>
                  <a:lnTo>
                    <a:pt x="333" y="2318"/>
                  </a:lnTo>
                  <a:lnTo>
                    <a:pt x="329" y="2317"/>
                  </a:lnTo>
                  <a:lnTo>
                    <a:pt x="321" y="2314"/>
                  </a:lnTo>
                  <a:lnTo>
                    <a:pt x="310" y="2309"/>
                  </a:lnTo>
                  <a:lnTo>
                    <a:pt x="307" y="2303"/>
                  </a:lnTo>
                  <a:lnTo>
                    <a:pt x="310" y="2300"/>
                  </a:lnTo>
                  <a:lnTo>
                    <a:pt x="310" y="2296"/>
                  </a:lnTo>
                  <a:lnTo>
                    <a:pt x="304" y="2288"/>
                  </a:lnTo>
                  <a:lnTo>
                    <a:pt x="297" y="2283"/>
                  </a:lnTo>
                  <a:lnTo>
                    <a:pt x="294" y="2272"/>
                  </a:lnTo>
                  <a:lnTo>
                    <a:pt x="289" y="2272"/>
                  </a:lnTo>
                  <a:lnTo>
                    <a:pt x="288" y="2268"/>
                  </a:lnTo>
                  <a:lnTo>
                    <a:pt x="288" y="2265"/>
                  </a:lnTo>
                  <a:lnTo>
                    <a:pt x="292" y="2265"/>
                  </a:lnTo>
                  <a:lnTo>
                    <a:pt x="292" y="2264"/>
                  </a:lnTo>
                  <a:lnTo>
                    <a:pt x="286" y="2264"/>
                  </a:lnTo>
                  <a:lnTo>
                    <a:pt x="283" y="2261"/>
                  </a:lnTo>
                  <a:lnTo>
                    <a:pt x="288" y="2259"/>
                  </a:lnTo>
                  <a:lnTo>
                    <a:pt x="288" y="2253"/>
                  </a:lnTo>
                  <a:lnTo>
                    <a:pt x="291" y="2252"/>
                  </a:lnTo>
                  <a:lnTo>
                    <a:pt x="291" y="2253"/>
                  </a:lnTo>
                  <a:lnTo>
                    <a:pt x="293" y="2253"/>
                  </a:lnTo>
                  <a:lnTo>
                    <a:pt x="293" y="2250"/>
                  </a:lnTo>
                  <a:lnTo>
                    <a:pt x="416" y="2251"/>
                  </a:lnTo>
                  <a:lnTo>
                    <a:pt x="443" y="2251"/>
                  </a:lnTo>
                  <a:lnTo>
                    <a:pt x="443" y="2086"/>
                  </a:lnTo>
                  <a:lnTo>
                    <a:pt x="449" y="2060"/>
                  </a:lnTo>
                  <a:lnTo>
                    <a:pt x="445" y="2059"/>
                  </a:lnTo>
                  <a:lnTo>
                    <a:pt x="445" y="1974"/>
                  </a:lnTo>
                  <a:lnTo>
                    <a:pt x="486" y="1861"/>
                  </a:lnTo>
                  <a:lnTo>
                    <a:pt x="532" y="1731"/>
                  </a:lnTo>
                  <a:lnTo>
                    <a:pt x="536" y="1726"/>
                  </a:lnTo>
                  <a:lnTo>
                    <a:pt x="542" y="1726"/>
                  </a:lnTo>
                  <a:lnTo>
                    <a:pt x="538" y="1723"/>
                  </a:lnTo>
                  <a:lnTo>
                    <a:pt x="536" y="1719"/>
                  </a:lnTo>
                  <a:lnTo>
                    <a:pt x="534" y="1716"/>
                  </a:lnTo>
                  <a:lnTo>
                    <a:pt x="521" y="1707"/>
                  </a:lnTo>
                  <a:lnTo>
                    <a:pt x="518" y="1712"/>
                  </a:lnTo>
                  <a:lnTo>
                    <a:pt x="516" y="1708"/>
                  </a:lnTo>
                  <a:lnTo>
                    <a:pt x="514" y="1707"/>
                  </a:lnTo>
                  <a:lnTo>
                    <a:pt x="509" y="1707"/>
                  </a:lnTo>
                  <a:lnTo>
                    <a:pt x="507" y="1708"/>
                  </a:lnTo>
                  <a:lnTo>
                    <a:pt x="507" y="1712"/>
                  </a:lnTo>
                  <a:lnTo>
                    <a:pt x="504" y="1714"/>
                  </a:lnTo>
                  <a:lnTo>
                    <a:pt x="502" y="1712"/>
                  </a:lnTo>
                  <a:lnTo>
                    <a:pt x="499" y="1708"/>
                  </a:lnTo>
                  <a:lnTo>
                    <a:pt x="495" y="1703"/>
                  </a:lnTo>
                  <a:lnTo>
                    <a:pt x="486" y="1699"/>
                  </a:lnTo>
                  <a:lnTo>
                    <a:pt x="477" y="1689"/>
                  </a:lnTo>
                  <a:lnTo>
                    <a:pt x="474" y="1689"/>
                  </a:lnTo>
                  <a:lnTo>
                    <a:pt x="460" y="1680"/>
                  </a:lnTo>
                  <a:lnTo>
                    <a:pt x="453" y="1678"/>
                  </a:lnTo>
                  <a:lnTo>
                    <a:pt x="449" y="1672"/>
                  </a:lnTo>
                  <a:lnTo>
                    <a:pt x="449" y="1667"/>
                  </a:lnTo>
                  <a:lnTo>
                    <a:pt x="439" y="1663"/>
                  </a:lnTo>
                  <a:lnTo>
                    <a:pt x="438" y="1662"/>
                  </a:lnTo>
                  <a:lnTo>
                    <a:pt x="433" y="1650"/>
                  </a:lnTo>
                  <a:lnTo>
                    <a:pt x="433" y="1641"/>
                  </a:lnTo>
                  <a:lnTo>
                    <a:pt x="432" y="1636"/>
                  </a:lnTo>
                  <a:lnTo>
                    <a:pt x="425" y="1622"/>
                  </a:lnTo>
                  <a:lnTo>
                    <a:pt x="421" y="1621"/>
                  </a:lnTo>
                  <a:lnTo>
                    <a:pt x="418" y="1620"/>
                  </a:lnTo>
                  <a:lnTo>
                    <a:pt x="413" y="1602"/>
                  </a:lnTo>
                  <a:lnTo>
                    <a:pt x="407" y="1600"/>
                  </a:lnTo>
                  <a:lnTo>
                    <a:pt x="404" y="1596"/>
                  </a:lnTo>
                  <a:lnTo>
                    <a:pt x="403" y="1595"/>
                  </a:lnTo>
                  <a:lnTo>
                    <a:pt x="399" y="1599"/>
                  </a:lnTo>
                  <a:lnTo>
                    <a:pt x="396" y="1599"/>
                  </a:lnTo>
                  <a:lnTo>
                    <a:pt x="389" y="1597"/>
                  </a:lnTo>
                  <a:lnTo>
                    <a:pt x="381" y="1592"/>
                  </a:lnTo>
                  <a:lnTo>
                    <a:pt x="375" y="1599"/>
                  </a:lnTo>
                  <a:lnTo>
                    <a:pt x="367" y="1599"/>
                  </a:lnTo>
                  <a:lnTo>
                    <a:pt x="360" y="1588"/>
                  </a:lnTo>
                  <a:lnTo>
                    <a:pt x="349" y="1584"/>
                  </a:lnTo>
                  <a:lnTo>
                    <a:pt x="341" y="1576"/>
                  </a:lnTo>
                  <a:lnTo>
                    <a:pt x="339" y="1574"/>
                  </a:lnTo>
                  <a:lnTo>
                    <a:pt x="339" y="1568"/>
                  </a:lnTo>
                  <a:lnTo>
                    <a:pt x="341" y="1565"/>
                  </a:lnTo>
                  <a:lnTo>
                    <a:pt x="321" y="1554"/>
                  </a:lnTo>
                  <a:lnTo>
                    <a:pt x="318" y="1551"/>
                  </a:lnTo>
                  <a:lnTo>
                    <a:pt x="316" y="1550"/>
                  </a:lnTo>
                  <a:lnTo>
                    <a:pt x="302" y="1539"/>
                  </a:lnTo>
                  <a:lnTo>
                    <a:pt x="299" y="1539"/>
                  </a:lnTo>
                  <a:lnTo>
                    <a:pt x="297" y="1542"/>
                  </a:lnTo>
                  <a:lnTo>
                    <a:pt x="291" y="1539"/>
                  </a:lnTo>
                  <a:lnTo>
                    <a:pt x="286" y="1534"/>
                  </a:lnTo>
                  <a:lnTo>
                    <a:pt x="281" y="1532"/>
                  </a:lnTo>
                  <a:lnTo>
                    <a:pt x="272" y="1517"/>
                  </a:lnTo>
                  <a:lnTo>
                    <a:pt x="274" y="1512"/>
                  </a:lnTo>
                  <a:lnTo>
                    <a:pt x="281" y="1501"/>
                  </a:lnTo>
                  <a:lnTo>
                    <a:pt x="281" y="1497"/>
                  </a:lnTo>
                  <a:lnTo>
                    <a:pt x="285" y="1487"/>
                  </a:lnTo>
                  <a:lnTo>
                    <a:pt x="285" y="1483"/>
                  </a:lnTo>
                  <a:lnTo>
                    <a:pt x="282" y="1477"/>
                  </a:lnTo>
                  <a:lnTo>
                    <a:pt x="278" y="1456"/>
                  </a:lnTo>
                  <a:lnTo>
                    <a:pt x="282" y="1453"/>
                  </a:lnTo>
                  <a:lnTo>
                    <a:pt x="307" y="1450"/>
                  </a:lnTo>
                  <a:lnTo>
                    <a:pt x="313" y="1448"/>
                  </a:lnTo>
                  <a:lnTo>
                    <a:pt x="314" y="1446"/>
                  </a:lnTo>
                  <a:lnTo>
                    <a:pt x="316" y="1442"/>
                  </a:lnTo>
                  <a:lnTo>
                    <a:pt x="314" y="1411"/>
                  </a:lnTo>
                  <a:lnTo>
                    <a:pt x="316" y="1400"/>
                  </a:lnTo>
                  <a:lnTo>
                    <a:pt x="316" y="1384"/>
                  </a:lnTo>
                  <a:lnTo>
                    <a:pt x="318" y="1384"/>
                  </a:lnTo>
                  <a:lnTo>
                    <a:pt x="331" y="1389"/>
                  </a:lnTo>
                  <a:lnTo>
                    <a:pt x="344" y="1389"/>
                  </a:lnTo>
                  <a:lnTo>
                    <a:pt x="361" y="1385"/>
                  </a:lnTo>
                  <a:lnTo>
                    <a:pt x="374" y="1378"/>
                  </a:lnTo>
                  <a:lnTo>
                    <a:pt x="375" y="1378"/>
                  </a:lnTo>
                  <a:lnTo>
                    <a:pt x="382" y="1375"/>
                  </a:lnTo>
                  <a:lnTo>
                    <a:pt x="388" y="1383"/>
                  </a:lnTo>
                  <a:lnTo>
                    <a:pt x="392" y="1381"/>
                  </a:lnTo>
                  <a:lnTo>
                    <a:pt x="393" y="1385"/>
                  </a:lnTo>
                  <a:lnTo>
                    <a:pt x="394" y="1388"/>
                  </a:lnTo>
                  <a:lnTo>
                    <a:pt x="396" y="1386"/>
                  </a:lnTo>
                  <a:lnTo>
                    <a:pt x="397" y="1385"/>
                  </a:lnTo>
                  <a:lnTo>
                    <a:pt x="403" y="1383"/>
                  </a:lnTo>
                  <a:lnTo>
                    <a:pt x="402" y="1378"/>
                  </a:lnTo>
                  <a:lnTo>
                    <a:pt x="396" y="1375"/>
                  </a:lnTo>
                  <a:lnTo>
                    <a:pt x="393" y="1367"/>
                  </a:lnTo>
                  <a:lnTo>
                    <a:pt x="389" y="1365"/>
                  </a:lnTo>
                  <a:lnTo>
                    <a:pt x="391" y="1356"/>
                  </a:lnTo>
                  <a:lnTo>
                    <a:pt x="388" y="1352"/>
                  </a:lnTo>
                  <a:lnTo>
                    <a:pt x="389" y="1348"/>
                  </a:lnTo>
                  <a:lnTo>
                    <a:pt x="388" y="1343"/>
                  </a:lnTo>
                  <a:lnTo>
                    <a:pt x="392" y="1339"/>
                  </a:lnTo>
                  <a:lnTo>
                    <a:pt x="388" y="1336"/>
                  </a:lnTo>
                  <a:lnTo>
                    <a:pt x="386" y="1328"/>
                  </a:lnTo>
                  <a:lnTo>
                    <a:pt x="377" y="1326"/>
                  </a:lnTo>
                  <a:lnTo>
                    <a:pt x="381" y="1322"/>
                  </a:lnTo>
                  <a:lnTo>
                    <a:pt x="379" y="1311"/>
                  </a:lnTo>
                  <a:lnTo>
                    <a:pt x="383" y="1307"/>
                  </a:lnTo>
                  <a:lnTo>
                    <a:pt x="379" y="1303"/>
                  </a:lnTo>
                  <a:lnTo>
                    <a:pt x="385" y="1298"/>
                  </a:lnTo>
                  <a:lnTo>
                    <a:pt x="382" y="1293"/>
                  </a:lnTo>
                  <a:lnTo>
                    <a:pt x="379" y="1292"/>
                  </a:lnTo>
                  <a:lnTo>
                    <a:pt x="375" y="1294"/>
                  </a:lnTo>
                  <a:lnTo>
                    <a:pt x="374" y="1302"/>
                  </a:lnTo>
                  <a:lnTo>
                    <a:pt x="368" y="1303"/>
                  </a:lnTo>
                  <a:lnTo>
                    <a:pt x="364" y="1303"/>
                  </a:lnTo>
                  <a:lnTo>
                    <a:pt x="360" y="1298"/>
                  </a:lnTo>
                  <a:lnTo>
                    <a:pt x="360" y="1296"/>
                  </a:lnTo>
                  <a:lnTo>
                    <a:pt x="363" y="1294"/>
                  </a:lnTo>
                  <a:lnTo>
                    <a:pt x="364" y="1289"/>
                  </a:lnTo>
                  <a:lnTo>
                    <a:pt x="363" y="1277"/>
                  </a:lnTo>
                  <a:lnTo>
                    <a:pt x="371" y="1269"/>
                  </a:lnTo>
                  <a:lnTo>
                    <a:pt x="369" y="1268"/>
                  </a:lnTo>
                  <a:lnTo>
                    <a:pt x="363" y="1268"/>
                  </a:lnTo>
                  <a:lnTo>
                    <a:pt x="357" y="1261"/>
                  </a:lnTo>
                  <a:lnTo>
                    <a:pt x="357" y="1255"/>
                  </a:lnTo>
                  <a:lnTo>
                    <a:pt x="354" y="1251"/>
                  </a:lnTo>
                  <a:lnTo>
                    <a:pt x="356" y="1246"/>
                  </a:lnTo>
                  <a:lnTo>
                    <a:pt x="356" y="1236"/>
                  </a:lnTo>
                  <a:lnTo>
                    <a:pt x="352" y="1232"/>
                  </a:lnTo>
                  <a:lnTo>
                    <a:pt x="350" y="1231"/>
                  </a:lnTo>
                  <a:lnTo>
                    <a:pt x="354" y="1224"/>
                  </a:lnTo>
                  <a:lnTo>
                    <a:pt x="354" y="1220"/>
                  </a:lnTo>
                  <a:lnTo>
                    <a:pt x="357" y="1217"/>
                  </a:lnTo>
                  <a:lnTo>
                    <a:pt x="357" y="1210"/>
                  </a:lnTo>
                  <a:lnTo>
                    <a:pt x="356" y="1206"/>
                  </a:lnTo>
                  <a:lnTo>
                    <a:pt x="353" y="1202"/>
                  </a:lnTo>
                  <a:lnTo>
                    <a:pt x="352" y="1202"/>
                  </a:lnTo>
                  <a:lnTo>
                    <a:pt x="344" y="1205"/>
                  </a:lnTo>
                  <a:lnTo>
                    <a:pt x="339" y="1198"/>
                  </a:lnTo>
                  <a:lnTo>
                    <a:pt x="339" y="1195"/>
                  </a:lnTo>
                  <a:lnTo>
                    <a:pt x="344" y="1192"/>
                  </a:lnTo>
                  <a:lnTo>
                    <a:pt x="344" y="1187"/>
                  </a:lnTo>
                  <a:lnTo>
                    <a:pt x="349" y="1186"/>
                  </a:lnTo>
                  <a:lnTo>
                    <a:pt x="356" y="1184"/>
                  </a:lnTo>
                  <a:lnTo>
                    <a:pt x="361" y="1182"/>
                  </a:lnTo>
                  <a:lnTo>
                    <a:pt x="367" y="1173"/>
                  </a:lnTo>
                  <a:lnTo>
                    <a:pt x="369" y="1157"/>
                  </a:lnTo>
                  <a:lnTo>
                    <a:pt x="375" y="1153"/>
                  </a:lnTo>
                  <a:lnTo>
                    <a:pt x="385" y="1149"/>
                  </a:lnTo>
                  <a:lnTo>
                    <a:pt x="393" y="1143"/>
                  </a:lnTo>
                  <a:lnTo>
                    <a:pt x="411" y="1142"/>
                  </a:lnTo>
                  <a:lnTo>
                    <a:pt x="417" y="1137"/>
                  </a:lnTo>
                  <a:lnTo>
                    <a:pt x="432" y="1103"/>
                  </a:lnTo>
                  <a:lnTo>
                    <a:pt x="447" y="1081"/>
                  </a:lnTo>
                  <a:lnTo>
                    <a:pt x="454" y="1063"/>
                  </a:lnTo>
                  <a:lnTo>
                    <a:pt x="456" y="1068"/>
                  </a:lnTo>
                  <a:lnTo>
                    <a:pt x="478" y="1072"/>
                  </a:lnTo>
                  <a:lnTo>
                    <a:pt x="486" y="1072"/>
                  </a:lnTo>
                  <a:lnTo>
                    <a:pt x="495" y="1074"/>
                  </a:lnTo>
                  <a:lnTo>
                    <a:pt x="499" y="1068"/>
                  </a:lnTo>
                  <a:lnTo>
                    <a:pt x="502" y="1066"/>
                  </a:lnTo>
                  <a:lnTo>
                    <a:pt x="506" y="1066"/>
                  </a:lnTo>
                  <a:lnTo>
                    <a:pt x="517" y="1070"/>
                  </a:lnTo>
                  <a:lnTo>
                    <a:pt x="518" y="1074"/>
                  </a:lnTo>
                  <a:lnTo>
                    <a:pt x="516" y="1081"/>
                  </a:lnTo>
                  <a:lnTo>
                    <a:pt x="520" y="1082"/>
                  </a:lnTo>
                  <a:lnTo>
                    <a:pt x="521" y="1086"/>
                  </a:lnTo>
                  <a:lnTo>
                    <a:pt x="518" y="1093"/>
                  </a:lnTo>
                  <a:lnTo>
                    <a:pt x="518" y="1094"/>
                  </a:lnTo>
                  <a:lnTo>
                    <a:pt x="520" y="1097"/>
                  </a:lnTo>
                  <a:lnTo>
                    <a:pt x="534" y="1100"/>
                  </a:lnTo>
                  <a:lnTo>
                    <a:pt x="535" y="1108"/>
                  </a:lnTo>
                  <a:lnTo>
                    <a:pt x="531" y="1112"/>
                  </a:lnTo>
                  <a:lnTo>
                    <a:pt x="530" y="1116"/>
                  </a:lnTo>
                  <a:lnTo>
                    <a:pt x="530" y="1119"/>
                  </a:lnTo>
                  <a:lnTo>
                    <a:pt x="534" y="1119"/>
                  </a:lnTo>
                  <a:lnTo>
                    <a:pt x="535" y="1120"/>
                  </a:lnTo>
                  <a:lnTo>
                    <a:pt x="536" y="1128"/>
                  </a:lnTo>
                  <a:lnTo>
                    <a:pt x="538" y="1131"/>
                  </a:lnTo>
                  <a:lnTo>
                    <a:pt x="542" y="1135"/>
                  </a:lnTo>
                  <a:lnTo>
                    <a:pt x="542" y="1143"/>
                  </a:lnTo>
                  <a:lnTo>
                    <a:pt x="543" y="1145"/>
                  </a:lnTo>
                  <a:lnTo>
                    <a:pt x="546" y="1147"/>
                  </a:lnTo>
                  <a:lnTo>
                    <a:pt x="552" y="1142"/>
                  </a:lnTo>
                  <a:lnTo>
                    <a:pt x="556" y="1143"/>
                  </a:lnTo>
                  <a:lnTo>
                    <a:pt x="566" y="1157"/>
                  </a:lnTo>
                  <a:lnTo>
                    <a:pt x="574" y="1161"/>
                  </a:lnTo>
                  <a:lnTo>
                    <a:pt x="577" y="1168"/>
                  </a:lnTo>
                  <a:lnTo>
                    <a:pt x="588" y="1175"/>
                  </a:lnTo>
                  <a:lnTo>
                    <a:pt x="593" y="1178"/>
                  </a:lnTo>
                  <a:lnTo>
                    <a:pt x="602" y="1178"/>
                  </a:lnTo>
                  <a:lnTo>
                    <a:pt x="616" y="1173"/>
                  </a:lnTo>
                  <a:lnTo>
                    <a:pt x="638" y="1130"/>
                  </a:lnTo>
                  <a:lnTo>
                    <a:pt x="646" y="1120"/>
                  </a:lnTo>
                  <a:lnTo>
                    <a:pt x="652" y="1119"/>
                  </a:lnTo>
                  <a:lnTo>
                    <a:pt x="656" y="1120"/>
                  </a:lnTo>
                  <a:lnTo>
                    <a:pt x="660" y="1120"/>
                  </a:lnTo>
                  <a:lnTo>
                    <a:pt x="667" y="1124"/>
                  </a:lnTo>
                  <a:lnTo>
                    <a:pt x="667" y="1127"/>
                  </a:lnTo>
                  <a:lnTo>
                    <a:pt x="671" y="1131"/>
                  </a:lnTo>
                  <a:lnTo>
                    <a:pt x="674" y="1131"/>
                  </a:lnTo>
                  <a:lnTo>
                    <a:pt x="678" y="1131"/>
                  </a:lnTo>
                  <a:lnTo>
                    <a:pt x="681" y="1135"/>
                  </a:lnTo>
                  <a:lnTo>
                    <a:pt x="684" y="1135"/>
                  </a:lnTo>
                  <a:lnTo>
                    <a:pt x="685" y="1133"/>
                  </a:lnTo>
                  <a:lnTo>
                    <a:pt x="691" y="1133"/>
                  </a:lnTo>
                  <a:lnTo>
                    <a:pt x="695" y="1135"/>
                  </a:lnTo>
                  <a:lnTo>
                    <a:pt x="698" y="1142"/>
                  </a:lnTo>
                  <a:lnTo>
                    <a:pt x="699" y="1142"/>
                  </a:lnTo>
                  <a:lnTo>
                    <a:pt x="724" y="1032"/>
                  </a:lnTo>
                  <a:lnTo>
                    <a:pt x="728" y="1025"/>
                  </a:lnTo>
                  <a:lnTo>
                    <a:pt x="726" y="1011"/>
                  </a:lnTo>
                  <a:lnTo>
                    <a:pt x="723" y="993"/>
                  </a:lnTo>
                  <a:lnTo>
                    <a:pt x="720" y="978"/>
                  </a:lnTo>
                  <a:lnTo>
                    <a:pt x="721" y="970"/>
                  </a:lnTo>
                  <a:lnTo>
                    <a:pt x="712" y="951"/>
                  </a:lnTo>
                  <a:lnTo>
                    <a:pt x="706" y="948"/>
                  </a:lnTo>
                  <a:lnTo>
                    <a:pt x="730" y="917"/>
                  </a:lnTo>
                  <a:lnTo>
                    <a:pt x="727" y="917"/>
                  </a:lnTo>
                  <a:lnTo>
                    <a:pt x="726" y="914"/>
                  </a:lnTo>
                  <a:lnTo>
                    <a:pt x="723" y="913"/>
                  </a:lnTo>
                  <a:lnTo>
                    <a:pt x="717" y="907"/>
                  </a:lnTo>
                  <a:lnTo>
                    <a:pt x="717" y="899"/>
                  </a:lnTo>
                  <a:lnTo>
                    <a:pt x="716" y="899"/>
                  </a:lnTo>
                  <a:lnTo>
                    <a:pt x="718" y="899"/>
                  </a:lnTo>
                  <a:lnTo>
                    <a:pt x="718" y="898"/>
                  </a:lnTo>
                  <a:lnTo>
                    <a:pt x="713" y="895"/>
                  </a:lnTo>
                  <a:lnTo>
                    <a:pt x="712" y="895"/>
                  </a:lnTo>
                  <a:lnTo>
                    <a:pt x="707" y="895"/>
                  </a:lnTo>
                  <a:lnTo>
                    <a:pt x="705" y="888"/>
                  </a:lnTo>
                  <a:lnTo>
                    <a:pt x="699" y="884"/>
                  </a:lnTo>
                  <a:lnTo>
                    <a:pt x="695" y="884"/>
                  </a:lnTo>
                  <a:lnTo>
                    <a:pt x="690" y="876"/>
                  </a:lnTo>
                  <a:lnTo>
                    <a:pt x="688" y="876"/>
                  </a:lnTo>
                  <a:lnTo>
                    <a:pt x="688" y="875"/>
                  </a:lnTo>
                  <a:lnTo>
                    <a:pt x="690" y="872"/>
                  </a:lnTo>
                  <a:lnTo>
                    <a:pt x="688" y="870"/>
                  </a:lnTo>
                  <a:lnTo>
                    <a:pt x="680" y="869"/>
                  </a:lnTo>
                  <a:lnTo>
                    <a:pt x="673" y="871"/>
                  </a:lnTo>
                  <a:lnTo>
                    <a:pt x="670" y="867"/>
                  </a:lnTo>
                  <a:lnTo>
                    <a:pt x="666" y="866"/>
                  </a:lnTo>
                  <a:lnTo>
                    <a:pt x="666" y="862"/>
                  </a:lnTo>
                  <a:lnTo>
                    <a:pt x="663" y="862"/>
                  </a:lnTo>
                  <a:lnTo>
                    <a:pt x="653" y="864"/>
                  </a:lnTo>
                  <a:lnTo>
                    <a:pt x="643" y="862"/>
                  </a:lnTo>
                  <a:lnTo>
                    <a:pt x="652" y="836"/>
                  </a:lnTo>
                  <a:lnTo>
                    <a:pt x="653" y="822"/>
                  </a:lnTo>
                  <a:lnTo>
                    <a:pt x="657" y="808"/>
                  </a:lnTo>
                  <a:lnTo>
                    <a:pt x="659" y="795"/>
                  </a:lnTo>
                  <a:lnTo>
                    <a:pt x="662" y="785"/>
                  </a:lnTo>
                  <a:lnTo>
                    <a:pt x="660" y="775"/>
                  </a:lnTo>
                  <a:lnTo>
                    <a:pt x="663" y="763"/>
                  </a:lnTo>
                  <a:lnTo>
                    <a:pt x="659" y="753"/>
                  </a:lnTo>
                  <a:lnTo>
                    <a:pt x="659" y="746"/>
                  </a:lnTo>
                  <a:lnTo>
                    <a:pt x="657" y="742"/>
                  </a:lnTo>
                  <a:lnTo>
                    <a:pt x="627" y="724"/>
                  </a:lnTo>
                  <a:lnTo>
                    <a:pt x="624" y="722"/>
                  </a:lnTo>
                  <a:lnTo>
                    <a:pt x="624" y="718"/>
                  </a:lnTo>
                  <a:lnTo>
                    <a:pt x="627" y="678"/>
                  </a:lnTo>
                  <a:lnTo>
                    <a:pt x="626" y="671"/>
                  </a:lnTo>
                  <a:lnTo>
                    <a:pt x="606" y="641"/>
                  </a:lnTo>
                  <a:lnTo>
                    <a:pt x="635" y="581"/>
                  </a:lnTo>
                  <a:lnTo>
                    <a:pt x="643" y="559"/>
                  </a:lnTo>
                  <a:lnTo>
                    <a:pt x="656" y="510"/>
                  </a:lnTo>
                  <a:lnTo>
                    <a:pt x="657" y="497"/>
                  </a:lnTo>
                  <a:lnTo>
                    <a:pt x="651" y="486"/>
                  </a:lnTo>
                  <a:lnTo>
                    <a:pt x="645" y="472"/>
                  </a:lnTo>
                  <a:lnTo>
                    <a:pt x="645" y="469"/>
                  </a:lnTo>
                  <a:lnTo>
                    <a:pt x="649" y="457"/>
                  </a:lnTo>
                  <a:lnTo>
                    <a:pt x="659" y="417"/>
                  </a:lnTo>
                  <a:lnTo>
                    <a:pt x="660" y="401"/>
                  </a:lnTo>
                  <a:lnTo>
                    <a:pt x="674" y="386"/>
                  </a:lnTo>
                  <a:lnTo>
                    <a:pt x="681" y="376"/>
                  </a:lnTo>
                  <a:lnTo>
                    <a:pt x="680" y="372"/>
                  </a:lnTo>
                  <a:lnTo>
                    <a:pt x="678" y="368"/>
                  </a:lnTo>
                  <a:lnTo>
                    <a:pt x="673" y="364"/>
                  </a:lnTo>
                  <a:lnTo>
                    <a:pt x="668" y="364"/>
                  </a:lnTo>
                  <a:lnTo>
                    <a:pt x="667" y="364"/>
                  </a:lnTo>
                  <a:lnTo>
                    <a:pt x="666" y="360"/>
                  </a:lnTo>
                  <a:lnTo>
                    <a:pt x="665" y="356"/>
                  </a:lnTo>
                  <a:lnTo>
                    <a:pt x="652" y="352"/>
                  </a:lnTo>
                  <a:lnTo>
                    <a:pt x="635" y="344"/>
                  </a:lnTo>
                  <a:lnTo>
                    <a:pt x="709" y="210"/>
                  </a:lnTo>
                  <a:lnTo>
                    <a:pt x="745" y="185"/>
                  </a:lnTo>
                  <a:lnTo>
                    <a:pt x="773" y="181"/>
                  </a:lnTo>
                  <a:lnTo>
                    <a:pt x="798" y="175"/>
                  </a:lnTo>
                  <a:lnTo>
                    <a:pt x="820" y="169"/>
                  </a:lnTo>
                  <a:lnTo>
                    <a:pt x="873" y="153"/>
                  </a:lnTo>
                  <a:lnTo>
                    <a:pt x="901" y="102"/>
                  </a:lnTo>
                  <a:lnTo>
                    <a:pt x="906" y="94"/>
                  </a:lnTo>
                  <a:lnTo>
                    <a:pt x="909" y="87"/>
                  </a:lnTo>
                  <a:lnTo>
                    <a:pt x="913" y="78"/>
                  </a:lnTo>
                  <a:lnTo>
                    <a:pt x="925" y="59"/>
                  </a:lnTo>
                  <a:lnTo>
                    <a:pt x="926" y="57"/>
                  </a:lnTo>
                  <a:lnTo>
                    <a:pt x="911" y="57"/>
                  </a:lnTo>
                  <a:lnTo>
                    <a:pt x="903" y="56"/>
                  </a:lnTo>
                  <a:lnTo>
                    <a:pt x="902" y="42"/>
                  </a:lnTo>
                  <a:lnTo>
                    <a:pt x="905" y="34"/>
                  </a:lnTo>
                  <a:lnTo>
                    <a:pt x="911" y="33"/>
                  </a:lnTo>
                  <a:lnTo>
                    <a:pt x="913" y="31"/>
                  </a:lnTo>
                  <a:lnTo>
                    <a:pt x="923" y="19"/>
                  </a:lnTo>
                  <a:lnTo>
                    <a:pt x="925" y="12"/>
                  </a:lnTo>
                  <a:lnTo>
                    <a:pt x="930" y="0"/>
                  </a:lnTo>
                  <a:lnTo>
                    <a:pt x="931" y="4"/>
                  </a:lnTo>
                  <a:lnTo>
                    <a:pt x="936" y="8"/>
                  </a:lnTo>
                  <a:lnTo>
                    <a:pt x="950" y="7"/>
                  </a:lnTo>
                  <a:lnTo>
                    <a:pt x="972" y="20"/>
                  </a:lnTo>
                  <a:lnTo>
                    <a:pt x="976" y="27"/>
                  </a:lnTo>
                  <a:lnTo>
                    <a:pt x="977" y="33"/>
                  </a:lnTo>
                  <a:lnTo>
                    <a:pt x="981" y="39"/>
                  </a:lnTo>
                  <a:lnTo>
                    <a:pt x="990" y="42"/>
                  </a:lnTo>
                  <a:lnTo>
                    <a:pt x="997" y="57"/>
                  </a:lnTo>
                  <a:lnTo>
                    <a:pt x="1008" y="65"/>
                  </a:lnTo>
                  <a:lnTo>
                    <a:pt x="1036" y="78"/>
                  </a:lnTo>
                  <a:lnTo>
                    <a:pt x="1050" y="78"/>
                  </a:lnTo>
                  <a:lnTo>
                    <a:pt x="1068" y="82"/>
                  </a:lnTo>
                  <a:lnTo>
                    <a:pt x="1077" y="83"/>
                  </a:lnTo>
                  <a:lnTo>
                    <a:pt x="1090" y="91"/>
                  </a:lnTo>
                  <a:lnTo>
                    <a:pt x="1112" y="94"/>
                  </a:lnTo>
                  <a:lnTo>
                    <a:pt x="1121" y="102"/>
                  </a:lnTo>
                  <a:lnTo>
                    <a:pt x="1129" y="106"/>
                  </a:lnTo>
                  <a:lnTo>
                    <a:pt x="1135" y="112"/>
                  </a:lnTo>
                  <a:lnTo>
                    <a:pt x="1144" y="114"/>
                  </a:lnTo>
                  <a:lnTo>
                    <a:pt x="1146" y="119"/>
                  </a:lnTo>
                  <a:lnTo>
                    <a:pt x="1144" y="124"/>
                  </a:lnTo>
                  <a:lnTo>
                    <a:pt x="1146" y="128"/>
                  </a:lnTo>
                  <a:lnTo>
                    <a:pt x="1147" y="143"/>
                  </a:lnTo>
                  <a:lnTo>
                    <a:pt x="1150" y="146"/>
                  </a:lnTo>
                  <a:lnTo>
                    <a:pt x="1157" y="150"/>
                  </a:lnTo>
                  <a:lnTo>
                    <a:pt x="1160" y="153"/>
                  </a:lnTo>
                  <a:lnTo>
                    <a:pt x="1166" y="158"/>
                  </a:lnTo>
                  <a:lnTo>
                    <a:pt x="1173" y="171"/>
                  </a:lnTo>
                  <a:lnTo>
                    <a:pt x="1180" y="175"/>
                  </a:lnTo>
                  <a:lnTo>
                    <a:pt x="1182" y="181"/>
                  </a:lnTo>
                  <a:lnTo>
                    <a:pt x="1180" y="187"/>
                  </a:lnTo>
                  <a:lnTo>
                    <a:pt x="1182" y="190"/>
                  </a:lnTo>
                  <a:lnTo>
                    <a:pt x="1193" y="191"/>
                  </a:lnTo>
                  <a:lnTo>
                    <a:pt x="1210" y="202"/>
                  </a:lnTo>
                  <a:lnTo>
                    <a:pt x="1215" y="207"/>
                  </a:lnTo>
                  <a:lnTo>
                    <a:pt x="1216" y="211"/>
                  </a:lnTo>
                  <a:lnTo>
                    <a:pt x="1218" y="225"/>
                  </a:lnTo>
                  <a:lnTo>
                    <a:pt x="1212" y="239"/>
                  </a:lnTo>
                  <a:lnTo>
                    <a:pt x="1212" y="244"/>
                  </a:lnTo>
                  <a:lnTo>
                    <a:pt x="1214" y="248"/>
                  </a:lnTo>
                  <a:lnTo>
                    <a:pt x="1219" y="252"/>
                  </a:lnTo>
                  <a:lnTo>
                    <a:pt x="1222" y="258"/>
                  </a:lnTo>
                  <a:lnTo>
                    <a:pt x="1229" y="262"/>
                  </a:lnTo>
                  <a:lnTo>
                    <a:pt x="1232" y="266"/>
                  </a:lnTo>
                  <a:lnTo>
                    <a:pt x="1229" y="281"/>
                  </a:lnTo>
                  <a:lnTo>
                    <a:pt x="1230" y="287"/>
                  </a:lnTo>
                  <a:lnTo>
                    <a:pt x="1235" y="293"/>
                  </a:lnTo>
                  <a:lnTo>
                    <a:pt x="1243" y="300"/>
                  </a:lnTo>
                  <a:lnTo>
                    <a:pt x="1246" y="305"/>
                  </a:lnTo>
                  <a:lnTo>
                    <a:pt x="1246" y="310"/>
                  </a:lnTo>
                  <a:lnTo>
                    <a:pt x="1243" y="325"/>
                  </a:lnTo>
                  <a:lnTo>
                    <a:pt x="1243" y="332"/>
                  </a:lnTo>
                  <a:lnTo>
                    <a:pt x="1264" y="356"/>
                  </a:lnTo>
                  <a:lnTo>
                    <a:pt x="1269" y="372"/>
                  </a:lnTo>
                  <a:lnTo>
                    <a:pt x="1280" y="382"/>
                  </a:lnTo>
                  <a:lnTo>
                    <a:pt x="1282" y="386"/>
                  </a:lnTo>
                  <a:lnTo>
                    <a:pt x="1282" y="399"/>
                  </a:lnTo>
                  <a:lnTo>
                    <a:pt x="1286" y="423"/>
                  </a:lnTo>
                  <a:lnTo>
                    <a:pt x="1289" y="434"/>
                  </a:lnTo>
                  <a:lnTo>
                    <a:pt x="1297" y="447"/>
                  </a:lnTo>
                  <a:lnTo>
                    <a:pt x="1300" y="454"/>
                  </a:lnTo>
                  <a:lnTo>
                    <a:pt x="1302" y="461"/>
                  </a:lnTo>
                  <a:lnTo>
                    <a:pt x="1308" y="468"/>
                  </a:lnTo>
                  <a:lnTo>
                    <a:pt x="1312" y="469"/>
                  </a:lnTo>
                  <a:lnTo>
                    <a:pt x="1328" y="471"/>
                  </a:lnTo>
                  <a:lnTo>
                    <a:pt x="1333" y="476"/>
                  </a:lnTo>
                  <a:lnTo>
                    <a:pt x="1340" y="492"/>
                  </a:lnTo>
                  <a:lnTo>
                    <a:pt x="1346" y="501"/>
                  </a:lnTo>
                  <a:lnTo>
                    <a:pt x="1347" y="505"/>
                  </a:lnTo>
                  <a:lnTo>
                    <a:pt x="1349" y="529"/>
                  </a:lnTo>
                  <a:lnTo>
                    <a:pt x="1354" y="536"/>
                  </a:lnTo>
                  <a:lnTo>
                    <a:pt x="1357" y="541"/>
                  </a:lnTo>
                  <a:lnTo>
                    <a:pt x="1374" y="555"/>
                  </a:lnTo>
                  <a:lnTo>
                    <a:pt x="1378" y="563"/>
                  </a:lnTo>
                  <a:lnTo>
                    <a:pt x="1382" y="572"/>
                  </a:lnTo>
                  <a:lnTo>
                    <a:pt x="1381" y="578"/>
                  </a:lnTo>
                  <a:lnTo>
                    <a:pt x="1378" y="584"/>
                  </a:lnTo>
                  <a:lnTo>
                    <a:pt x="1381" y="592"/>
                  </a:lnTo>
                  <a:lnTo>
                    <a:pt x="1390" y="606"/>
                  </a:lnTo>
                  <a:lnTo>
                    <a:pt x="1395" y="609"/>
                  </a:lnTo>
                  <a:lnTo>
                    <a:pt x="1414" y="614"/>
                  </a:lnTo>
                  <a:lnTo>
                    <a:pt x="1417" y="618"/>
                  </a:lnTo>
                  <a:lnTo>
                    <a:pt x="1418" y="621"/>
                  </a:lnTo>
                  <a:lnTo>
                    <a:pt x="1424" y="639"/>
                  </a:lnTo>
                  <a:lnTo>
                    <a:pt x="1426" y="645"/>
                  </a:lnTo>
                  <a:lnTo>
                    <a:pt x="1431" y="648"/>
                  </a:lnTo>
                  <a:lnTo>
                    <a:pt x="1437" y="653"/>
                  </a:lnTo>
                  <a:lnTo>
                    <a:pt x="1445" y="658"/>
                  </a:lnTo>
                  <a:lnTo>
                    <a:pt x="1446" y="663"/>
                  </a:lnTo>
                  <a:lnTo>
                    <a:pt x="1446" y="667"/>
                  </a:lnTo>
                  <a:lnTo>
                    <a:pt x="1440" y="679"/>
                  </a:lnTo>
                  <a:lnTo>
                    <a:pt x="1442" y="689"/>
                  </a:lnTo>
                  <a:lnTo>
                    <a:pt x="1465" y="708"/>
                  </a:lnTo>
                  <a:lnTo>
                    <a:pt x="1475" y="712"/>
                  </a:lnTo>
                  <a:lnTo>
                    <a:pt x="1487" y="718"/>
                  </a:lnTo>
                  <a:lnTo>
                    <a:pt x="1492" y="718"/>
                  </a:lnTo>
                  <a:lnTo>
                    <a:pt x="1497" y="712"/>
                  </a:lnTo>
                  <a:lnTo>
                    <a:pt x="1504" y="710"/>
                  </a:lnTo>
                  <a:lnTo>
                    <a:pt x="1510" y="712"/>
                  </a:lnTo>
                  <a:lnTo>
                    <a:pt x="1515" y="714"/>
                  </a:lnTo>
                  <a:lnTo>
                    <a:pt x="1526" y="722"/>
                  </a:lnTo>
                  <a:lnTo>
                    <a:pt x="1534" y="724"/>
                  </a:lnTo>
                  <a:lnTo>
                    <a:pt x="1551" y="726"/>
                  </a:lnTo>
                  <a:lnTo>
                    <a:pt x="1557" y="722"/>
                  </a:lnTo>
                  <a:lnTo>
                    <a:pt x="1564" y="718"/>
                  </a:lnTo>
                  <a:lnTo>
                    <a:pt x="1571" y="718"/>
                  </a:lnTo>
                  <a:lnTo>
                    <a:pt x="1575" y="720"/>
                  </a:lnTo>
                  <a:lnTo>
                    <a:pt x="1578" y="722"/>
                  </a:lnTo>
                  <a:lnTo>
                    <a:pt x="1584" y="733"/>
                  </a:lnTo>
                  <a:lnTo>
                    <a:pt x="1593" y="753"/>
                  </a:lnTo>
                  <a:lnTo>
                    <a:pt x="1595" y="760"/>
                  </a:lnTo>
                  <a:lnTo>
                    <a:pt x="1595" y="767"/>
                  </a:lnTo>
                  <a:lnTo>
                    <a:pt x="1587" y="778"/>
                  </a:lnTo>
                  <a:lnTo>
                    <a:pt x="1589" y="787"/>
                  </a:lnTo>
                  <a:lnTo>
                    <a:pt x="1592" y="794"/>
                  </a:lnTo>
                  <a:lnTo>
                    <a:pt x="1599" y="799"/>
                  </a:lnTo>
                  <a:lnTo>
                    <a:pt x="1610" y="800"/>
                  </a:lnTo>
                  <a:lnTo>
                    <a:pt x="1614" y="801"/>
                  </a:lnTo>
                  <a:lnTo>
                    <a:pt x="1618" y="813"/>
                  </a:lnTo>
                  <a:lnTo>
                    <a:pt x="1621" y="813"/>
                  </a:lnTo>
                  <a:lnTo>
                    <a:pt x="1636" y="817"/>
                  </a:lnTo>
                  <a:lnTo>
                    <a:pt x="1641" y="821"/>
                  </a:lnTo>
                  <a:lnTo>
                    <a:pt x="1649" y="830"/>
                  </a:lnTo>
                  <a:lnTo>
                    <a:pt x="1657" y="836"/>
                  </a:lnTo>
                  <a:lnTo>
                    <a:pt x="1659" y="844"/>
                  </a:lnTo>
                  <a:lnTo>
                    <a:pt x="1657" y="850"/>
                  </a:lnTo>
                  <a:lnTo>
                    <a:pt x="1667" y="875"/>
                  </a:lnTo>
                  <a:lnTo>
                    <a:pt x="1669" y="883"/>
                  </a:lnTo>
                  <a:lnTo>
                    <a:pt x="1670" y="884"/>
                  </a:lnTo>
                  <a:lnTo>
                    <a:pt x="1666" y="894"/>
                  </a:lnTo>
                  <a:lnTo>
                    <a:pt x="1664" y="899"/>
                  </a:lnTo>
                  <a:lnTo>
                    <a:pt x="1663" y="903"/>
                  </a:lnTo>
                  <a:lnTo>
                    <a:pt x="1659" y="907"/>
                  </a:lnTo>
                  <a:lnTo>
                    <a:pt x="1659" y="911"/>
                  </a:lnTo>
                  <a:lnTo>
                    <a:pt x="1660" y="913"/>
                  </a:lnTo>
                  <a:lnTo>
                    <a:pt x="1674" y="921"/>
                  </a:lnTo>
                  <a:lnTo>
                    <a:pt x="1677" y="925"/>
                  </a:lnTo>
                  <a:lnTo>
                    <a:pt x="1677" y="932"/>
                  </a:lnTo>
                  <a:lnTo>
                    <a:pt x="1678" y="936"/>
                  </a:lnTo>
                  <a:lnTo>
                    <a:pt x="1689" y="938"/>
                  </a:lnTo>
                  <a:lnTo>
                    <a:pt x="1691" y="940"/>
                  </a:lnTo>
                  <a:lnTo>
                    <a:pt x="1692" y="948"/>
                  </a:lnTo>
                  <a:lnTo>
                    <a:pt x="1716" y="962"/>
                  </a:lnTo>
                  <a:lnTo>
                    <a:pt x="1739" y="970"/>
                  </a:lnTo>
                  <a:lnTo>
                    <a:pt x="1746" y="970"/>
                  </a:lnTo>
                  <a:lnTo>
                    <a:pt x="1755" y="969"/>
                  </a:lnTo>
                  <a:lnTo>
                    <a:pt x="1760" y="969"/>
                  </a:lnTo>
                  <a:lnTo>
                    <a:pt x="1764" y="974"/>
                  </a:lnTo>
                  <a:lnTo>
                    <a:pt x="1769" y="982"/>
                  </a:lnTo>
                  <a:lnTo>
                    <a:pt x="1773" y="986"/>
                  </a:lnTo>
                  <a:lnTo>
                    <a:pt x="1784" y="987"/>
                  </a:lnTo>
                  <a:lnTo>
                    <a:pt x="1803" y="987"/>
                  </a:lnTo>
                  <a:lnTo>
                    <a:pt x="1825" y="995"/>
                  </a:lnTo>
                  <a:lnTo>
                    <a:pt x="1846" y="996"/>
                  </a:lnTo>
                  <a:lnTo>
                    <a:pt x="1866" y="1000"/>
                  </a:lnTo>
                  <a:lnTo>
                    <a:pt x="1875" y="1007"/>
                  </a:lnTo>
                  <a:lnTo>
                    <a:pt x="1883" y="1013"/>
                  </a:lnTo>
                  <a:lnTo>
                    <a:pt x="1892" y="1018"/>
                  </a:lnTo>
                  <a:lnTo>
                    <a:pt x="1905" y="1027"/>
                  </a:lnTo>
                  <a:lnTo>
                    <a:pt x="1923" y="1031"/>
                  </a:lnTo>
                  <a:lnTo>
                    <a:pt x="1928" y="1035"/>
                  </a:lnTo>
                  <a:lnTo>
                    <a:pt x="1942" y="1048"/>
                  </a:lnTo>
                  <a:lnTo>
                    <a:pt x="1956" y="1049"/>
                  </a:lnTo>
                  <a:lnTo>
                    <a:pt x="1962" y="1053"/>
                  </a:lnTo>
                  <a:lnTo>
                    <a:pt x="1970" y="1060"/>
                  </a:lnTo>
                  <a:lnTo>
                    <a:pt x="1980" y="1070"/>
                  </a:lnTo>
                  <a:lnTo>
                    <a:pt x="1980" y="1075"/>
                  </a:lnTo>
                  <a:lnTo>
                    <a:pt x="1977" y="1086"/>
                  </a:lnTo>
                  <a:lnTo>
                    <a:pt x="1977" y="1093"/>
                  </a:lnTo>
                  <a:lnTo>
                    <a:pt x="1981" y="1107"/>
                  </a:lnTo>
                  <a:lnTo>
                    <a:pt x="1987" y="1115"/>
                  </a:lnTo>
                  <a:lnTo>
                    <a:pt x="2001" y="1124"/>
                  </a:lnTo>
                  <a:lnTo>
                    <a:pt x="2010" y="1135"/>
                  </a:lnTo>
                  <a:lnTo>
                    <a:pt x="2012" y="1139"/>
                  </a:lnTo>
                  <a:lnTo>
                    <a:pt x="2012" y="1153"/>
                  </a:lnTo>
                  <a:lnTo>
                    <a:pt x="2015" y="1161"/>
                  </a:lnTo>
                  <a:lnTo>
                    <a:pt x="2019" y="1165"/>
                  </a:lnTo>
                  <a:lnTo>
                    <a:pt x="2021" y="1169"/>
                  </a:lnTo>
                  <a:lnTo>
                    <a:pt x="2038" y="1169"/>
                  </a:lnTo>
                  <a:lnTo>
                    <a:pt x="2049" y="1175"/>
                  </a:lnTo>
                  <a:lnTo>
                    <a:pt x="2058" y="1182"/>
                  </a:lnTo>
                  <a:lnTo>
                    <a:pt x="2063" y="1187"/>
                  </a:lnTo>
                  <a:lnTo>
                    <a:pt x="2066" y="1198"/>
                  </a:lnTo>
                  <a:lnTo>
                    <a:pt x="2070" y="1199"/>
                  </a:lnTo>
                  <a:lnTo>
                    <a:pt x="2080" y="1201"/>
                  </a:lnTo>
                  <a:lnTo>
                    <a:pt x="2088" y="1206"/>
                  </a:lnTo>
                  <a:lnTo>
                    <a:pt x="2095" y="1209"/>
                  </a:lnTo>
                  <a:lnTo>
                    <a:pt x="2101" y="1214"/>
                  </a:lnTo>
                  <a:lnTo>
                    <a:pt x="2102" y="1219"/>
                  </a:lnTo>
                  <a:lnTo>
                    <a:pt x="2110" y="1224"/>
                  </a:lnTo>
                  <a:lnTo>
                    <a:pt x="2115" y="1231"/>
                  </a:lnTo>
                  <a:lnTo>
                    <a:pt x="2121" y="1244"/>
                  </a:lnTo>
                  <a:lnTo>
                    <a:pt x="2138" y="1247"/>
                  </a:lnTo>
                  <a:lnTo>
                    <a:pt x="2149" y="1259"/>
                  </a:lnTo>
                  <a:lnTo>
                    <a:pt x="2162" y="1262"/>
                  </a:lnTo>
                  <a:lnTo>
                    <a:pt x="2174" y="1299"/>
                  </a:lnTo>
                  <a:lnTo>
                    <a:pt x="2177" y="1303"/>
                  </a:lnTo>
                  <a:lnTo>
                    <a:pt x="2184" y="1315"/>
                  </a:lnTo>
                  <a:lnTo>
                    <a:pt x="2195" y="1340"/>
                  </a:lnTo>
                  <a:lnTo>
                    <a:pt x="2198" y="1355"/>
                  </a:lnTo>
                  <a:lnTo>
                    <a:pt x="2206" y="1373"/>
                  </a:lnTo>
                  <a:lnTo>
                    <a:pt x="2206" y="1377"/>
                  </a:lnTo>
                  <a:lnTo>
                    <a:pt x="2204" y="1381"/>
                  </a:lnTo>
                  <a:lnTo>
                    <a:pt x="2202" y="1388"/>
                  </a:lnTo>
                  <a:lnTo>
                    <a:pt x="2214" y="1401"/>
                  </a:lnTo>
                  <a:lnTo>
                    <a:pt x="2215" y="1405"/>
                  </a:lnTo>
                  <a:lnTo>
                    <a:pt x="2214" y="1411"/>
                  </a:lnTo>
                  <a:lnTo>
                    <a:pt x="2215" y="1418"/>
                  </a:lnTo>
                  <a:lnTo>
                    <a:pt x="2212" y="1422"/>
                  </a:lnTo>
                  <a:lnTo>
                    <a:pt x="2215" y="1431"/>
                  </a:lnTo>
                  <a:lnTo>
                    <a:pt x="2211" y="1438"/>
                  </a:lnTo>
                  <a:lnTo>
                    <a:pt x="2214" y="1440"/>
                  </a:lnTo>
                  <a:lnTo>
                    <a:pt x="2225" y="1438"/>
                  </a:lnTo>
                  <a:lnTo>
                    <a:pt x="2228" y="1442"/>
                  </a:lnTo>
                  <a:lnTo>
                    <a:pt x="2225" y="1446"/>
                  </a:lnTo>
                  <a:lnTo>
                    <a:pt x="2220" y="1448"/>
                  </a:lnTo>
                  <a:lnTo>
                    <a:pt x="2202" y="1448"/>
                  </a:lnTo>
                  <a:lnTo>
                    <a:pt x="2200" y="1453"/>
                  </a:lnTo>
                  <a:lnTo>
                    <a:pt x="2204" y="1459"/>
                  </a:lnTo>
                  <a:lnTo>
                    <a:pt x="2204" y="1460"/>
                  </a:lnTo>
                  <a:lnTo>
                    <a:pt x="2187" y="1464"/>
                  </a:lnTo>
                  <a:lnTo>
                    <a:pt x="2183" y="1468"/>
                  </a:lnTo>
                  <a:lnTo>
                    <a:pt x="2181" y="1471"/>
                  </a:lnTo>
                  <a:lnTo>
                    <a:pt x="2181" y="1476"/>
                  </a:lnTo>
                  <a:lnTo>
                    <a:pt x="2188" y="1483"/>
                  </a:lnTo>
                  <a:lnTo>
                    <a:pt x="2191" y="1495"/>
                  </a:lnTo>
                  <a:lnTo>
                    <a:pt x="2190" y="1501"/>
                  </a:lnTo>
                  <a:lnTo>
                    <a:pt x="2184" y="1509"/>
                  </a:lnTo>
                  <a:lnTo>
                    <a:pt x="2184" y="1517"/>
                  </a:lnTo>
                  <a:lnTo>
                    <a:pt x="2187" y="1520"/>
                  </a:lnTo>
                  <a:lnTo>
                    <a:pt x="2194" y="1525"/>
                  </a:lnTo>
                  <a:lnTo>
                    <a:pt x="2195" y="1529"/>
                  </a:lnTo>
                  <a:lnTo>
                    <a:pt x="2194" y="1532"/>
                  </a:lnTo>
                  <a:lnTo>
                    <a:pt x="2193" y="1532"/>
                  </a:lnTo>
                  <a:lnTo>
                    <a:pt x="2177" y="1532"/>
                  </a:lnTo>
                  <a:lnTo>
                    <a:pt x="2176" y="1539"/>
                  </a:lnTo>
                  <a:lnTo>
                    <a:pt x="2176" y="1543"/>
                  </a:lnTo>
                  <a:lnTo>
                    <a:pt x="2184" y="1546"/>
                  </a:lnTo>
                  <a:lnTo>
                    <a:pt x="2188" y="1551"/>
                  </a:lnTo>
                  <a:lnTo>
                    <a:pt x="2191" y="1551"/>
                  </a:lnTo>
                  <a:lnTo>
                    <a:pt x="2202" y="1543"/>
                  </a:lnTo>
                  <a:lnTo>
                    <a:pt x="2209" y="1542"/>
                  </a:lnTo>
                  <a:lnTo>
                    <a:pt x="2219" y="1543"/>
                  </a:lnTo>
                  <a:lnTo>
                    <a:pt x="2220" y="1546"/>
                  </a:lnTo>
                  <a:lnTo>
                    <a:pt x="2222" y="1554"/>
                  </a:lnTo>
                  <a:lnTo>
                    <a:pt x="2225" y="1558"/>
                  </a:lnTo>
                  <a:lnTo>
                    <a:pt x="2228" y="1558"/>
                  </a:lnTo>
                  <a:lnTo>
                    <a:pt x="2231" y="1552"/>
                  </a:lnTo>
                  <a:lnTo>
                    <a:pt x="2234" y="1552"/>
                  </a:lnTo>
                  <a:lnTo>
                    <a:pt x="2239" y="1564"/>
                  </a:lnTo>
                  <a:lnTo>
                    <a:pt x="2243" y="1570"/>
                  </a:lnTo>
                  <a:lnTo>
                    <a:pt x="2251" y="1576"/>
                  </a:lnTo>
                  <a:lnTo>
                    <a:pt x="2254" y="1583"/>
                  </a:lnTo>
                  <a:lnTo>
                    <a:pt x="2253" y="1584"/>
                  </a:lnTo>
                  <a:lnTo>
                    <a:pt x="2250" y="1587"/>
                  </a:lnTo>
                  <a:close/>
                  <a:moveTo>
                    <a:pt x="1271" y="3107"/>
                  </a:moveTo>
                  <a:lnTo>
                    <a:pt x="1271" y="3111"/>
                  </a:lnTo>
                  <a:lnTo>
                    <a:pt x="1265" y="3111"/>
                  </a:lnTo>
                  <a:lnTo>
                    <a:pt x="1264" y="3110"/>
                  </a:lnTo>
                  <a:lnTo>
                    <a:pt x="1264" y="3107"/>
                  </a:lnTo>
                  <a:lnTo>
                    <a:pt x="1261" y="3110"/>
                  </a:lnTo>
                  <a:lnTo>
                    <a:pt x="1250" y="3111"/>
                  </a:lnTo>
                  <a:lnTo>
                    <a:pt x="1233" y="3118"/>
                  </a:lnTo>
                  <a:lnTo>
                    <a:pt x="1227" y="3115"/>
                  </a:lnTo>
                  <a:lnTo>
                    <a:pt x="1226" y="3115"/>
                  </a:lnTo>
                  <a:lnTo>
                    <a:pt x="1226" y="3114"/>
                  </a:lnTo>
                  <a:lnTo>
                    <a:pt x="1230" y="3105"/>
                  </a:lnTo>
                  <a:lnTo>
                    <a:pt x="1229" y="3097"/>
                  </a:lnTo>
                  <a:lnTo>
                    <a:pt x="1222" y="3089"/>
                  </a:lnTo>
                  <a:lnTo>
                    <a:pt x="1212" y="3085"/>
                  </a:lnTo>
                  <a:lnTo>
                    <a:pt x="1208" y="3075"/>
                  </a:lnTo>
                  <a:lnTo>
                    <a:pt x="1208" y="3070"/>
                  </a:lnTo>
                  <a:lnTo>
                    <a:pt x="1210" y="3069"/>
                  </a:lnTo>
                  <a:lnTo>
                    <a:pt x="1211" y="3069"/>
                  </a:lnTo>
                  <a:lnTo>
                    <a:pt x="1227" y="3080"/>
                  </a:lnTo>
                  <a:lnTo>
                    <a:pt x="1232" y="3080"/>
                  </a:lnTo>
                  <a:lnTo>
                    <a:pt x="1239" y="3078"/>
                  </a:lnTo>
                  <a:lnTo>
                    <a:pt x="1241" y="3080"/>
                  </a:lnTo>
                  <a:lnTo>
                    <a:pt x="1247" y="3085"/>
                  </a:lnTo>
                  <a:lnTo>
                    <a:pt x="1249" y="3085"/>
                  </a:lnTo>
                  <a:lnTo>
                    <a:pt x="1257" y="3092"/>
                  </a:lnTo>
                  <a:lnTo>
                    <a:pt x="1255" y="3095"/>
                  </a:lnTo>
                  <a:lnTo>
                    <a:pt x="1258" y="3098"/>
                  </a:lnTo>
                  <a:lnTo>
                    <a:pt x="1258" y="3101"/>
                  </a:lnTo>
                  <a:lnTo>
                    <a:pt x="1254" y="3103"/>
                  </a:lnTo>
                  <a:lnTo>
                    <a:pt x="1258" y="3103"/>
                  </a:lnTo>
                  <a:lnTo>
                    <a:pt x="1262" y="3098"/>
                  </a:lnTo>
                  <a:lnTo>
                    <a:pt x="1271" y="3107"/>
                  </a:lnTo>
                  <a:close/>
                  <a:moveTo>
                    <a:pt x="1105" y="2375"/>
                  </a:moveTo>
                  <a:lnTo>
                    <a:pt x="1102" y="2375"/>
                  </a:lnTo>
                  <a:lnTo>
                    <a:pt x="1098" y="2374"/>
                  </a:lnTo>
                  <a:lnTo>
                    <a:pt x="1100" y="2375"/>
                  </a:lnTo>
                  <a:lnTo>
                    <a:pt x="1077" y="2371"/>
                  </a:lnTo>
                  <a:lnTo>
                    <a:pt x="1069" y="2367"/>
                  </a:lnTo>
                  <a:lnTo>
                    <a:pt x="1066" y="2367"/>
                  </a:lnTo>
                  <a:lnTo>
                    <a:pt x="1066" y="2363"/>
                  </a:lnTo>
                  <a:lnTo>
                    <a:pt x="1076" y="2359"/>
                  </a:lnTo>
                  <a:lnTo>
                    <a:pt x="1082" y="2359"/>
                  </a:lnTo>
                  <a:lnTo>
                    <a:pt x="1087" y="2363"/>
                  </a:lnTo>
                  <a:lnTo>
                    <a:pt x="1098" y="2367"/>
                  </a:lnTo>
                  <a:lnTo>
                    <a:pt x="1105" y="2375"/>
                  </a:lnTo>
                  <a:close/>
                  <a:moveTo>
                    <a:pt x="1040" y="2363"/>
                  </a:moveTo>
                  <a:lnTo>
                    <a:pt x="1030" y="2355"/>
                  </a:lnTo>
                  <a:lnTo>
                    <a:pt x="1027" y="2351"/>
                  </a:lnTo>
                  <a:lnTo>
                    <a:pt x="1027" y="2345"/>
                  </a:lnTo>
                  <a:lnTo>
                    <a:pt x="1036" y="2345"/>
                  </a:lnTo>
                  <a:lnTo>
                    <a:pt x="1034" y="2354"/>
                  </a:lnTo>
                  <a:lnTo>
                    <a:pt x="1036" y="2358"/>
                  </a:lnTo>
                  <a:lnTo>
                    <a:pt x="1041" y="2363"/>
                  </a:lnTo>
                  <a:lnTo>
                    <a:pt x="1040" y="2363"/>
                  </a:lnTo>
                  <a:close/>
                  <a:moveTo>
                    <a:pt x="1063" y="2719"/>
                  </a:moveTo>
                  <a:lnTo>
                    <a:pt x="1063" y="2723"/>
                  </a:lnTo>
                  <a:lnTo>
                    <a:pt x="1061" y="2723"/>
                  </a:lnTo>
                  <a:lnTo>
                    <a:pt x="1055" y="2719"/>
                  </a:lnTo>
                  <a:lnTo>
                    <a:pt x="1048" y="2721"/>
                  </a:lnTo>
                  <a:lnTo>
                    <a:pt x="1045" y="2719"/>
                  </a:lnTo>
                  <a:lnTo>
                    <a:pt x="1052" y="2711"/>
                  </a:lnTo>
                  <a:lnTo>
                    <a:pt x="1055" y="2711"/>
                  </a:lnTo>
                  <a:lnTo>
                    <a:pt x="1063" y="2719"/>
                  </a:lnTo>
                  <a:close/>
                  <a:moveTo>
                    <a:pt x="1113" y="2400"/>
                  </a:moveTo>
                  <a:lnTo>
                    <a:pt x="1112" y="2400"/>
                  </a:lnTo>
                  <a:lnTo>
                    <a:pt x="1102" y="2388"/>
                  </a:lnTo>
                  <a:lnTo>
                    <a:pt x="1101" y="2384"/>
                  </a:lnTo>
                  <a:lnTo>
                    <a:pt x="1102" y="2381"/>
                  </a:lnTo>
                  <a:lnTo>
                    <a:pt x="1104" y="2384"/>
                  </a:lnTo>
                  <a:lnTo>
                    <a:pt x="1105" y="2384"/>
                  </a:lnTo>
                  <a:lnTo>
                    <a:pt x="1108" y="2384"/>
                  </a:lnTo>
                  <a:lnTo>
                    <a:pt x="1111" y="2388"/>
                  </a:lnTo>
                  <a:lnTo>
                    <a:pt x="1112" y="2396"/>
                  </a:lnTo>
                  <a:lnTo>
                    <a:pt x="1113" y="2400"/>
                  </a:lnTo>
                  <a:close/>
                  <a:moveTo>
                    <a:pt x="1129" y="2395"/>
                  </a:moveTo>
                  <a:lnTo>
                    <a:pt x="1130" y="2397"/>
                  </a:lnTo>
                  <a:lnTo>
                    <a:pt x="1127" y="2399"/>
                  </a:lnTo>
                  <a:lnTo>
                    <a:pt x="1129" y="2400"/>
                  </a:lnTo>
                  <a:lnTo>
                    <a:pt x="1127" y="2400"/>
                  </a:lnTo>
                  <a:lnTo>
                    <a:pt x="1125" y="2400"/>
                  </a:lnTo>
                  <a:lnTo>
                    <a:pt x="1122" y="2396"/>
                  </a:lnTo>
                  <a:lnTo>
                    <a:pt x="1121" y="2396"/>
                  </a:lnTo>
                  <a:lnTo>
                    <a:pt x="1121" y="2392"/>
                  </a:lnTo>
                  <a:lnTo>
                    <a:pt x="1118" y="2389"/>
                  </a:lnTo>
                  <a:lnTo>
                    <a:pt x="1116" y="2389"/>
                  </a:lnTo>
                  <a:lnTo>
                    <a:pt x="1115" y="2389"/>
                  </a:lnTo>
                  <a:lnTo>
                    <a:pt x="1118" y="2396"/>
                  </a:lnTo>
                  <a:lnTo>
                    <a:pt x="1116" y="2397"/>
                  </a:lnTo>
                  <a:lnTo>
                    <a:pt x="1118" y="2400"/>
                  </a:lnTo>
                  <a:lnTo>
                    <a:pt x="1116" y="2400"/>
                  </a:lnTo>
                  <a:lnTo>
                    <a:pt x="1115" y="2389"/>
                  </a:lnTo>
                  <a:lnTo>
                    <a:pt x="1116" y="2388"/>
                  </a:lnTo>
                  <a:lnTo>
                    <a:pt x="1118" y="2388"/>
                  </a:lnTo>
                  <a:lnTo>
                    <a:pt x="1125" y="2392"/>
                  </a:lnTo>
                  <a:lnTo>
                    <a:pt x="1129" y="2395"/>
                  </a:lnTo>
                  <a:close/>
                  <a:moveTo>
                    <a:pt x="1042" y="2347"/>
                  </a:moveTo>
                  <a:lnTo>
                    <a:pt x="1041" y="2358"/>
                  </a:lnTo>
                  <a:lnTo>
                    <a:pt x="1037" y="2355"/>
                  </a:lnTo>
                  <a:lnTo>
                    <a:pt x="1037" y="2350"/>
                  </a:lnTo>
                  <a:lnTo>
                    <a:pt x="1041" y="2340"/>
                  </a:lnTo>
                  <a:lnTo>
                    <a:pt x="1042" y="2347"/>
                  </a:lnTo>
                  <a:close/>
                  <a:moveTo>
                    <a:pt x="1108" y="2475"/>
                  </a:moveTo>
                  <a:lnTo>
                    <a:pt x="1105" y="2479"/>
                  </a:lnTo>
                  <a:lnTo>
                    <a:pt x="1097" y="2477"/>
                  </a:lnTo>
                  <a:lnTo>
                    <a:pt x="1096" y="2475"/>
                  </a:lnTo>
                  <a:lnTo>
                    <a:pt x="1098" y="2474"/>
                  </a:lnTo>
                  <a:lnTo>
                    <a:pt x="1102" y="2471"/>
                  </a:lnTo>
                  <a:lnTo>
                    <a:pt x="1104" y="2470"/>
                  </a:lnTo>
                  <a:lnTo>
                    <a:pt x="1105" y="2470"/>
                  </a:lnTo>
                  <a:lnTo>
                    <a:pt x="1105" y="2471"/>
                  </a:lnTo>
                  <a:lnTo>
                    <a:pt x="1108" y="2475"/>
                  </a:lnTo>
                  <a:close/>
                  <a:moveTo>
                    <a:pt x="1058" y="2377"/>
                  </a:moveTo>
                  <a:lnTo>
                    <a:pt x="1054" y="2377"/>
                  </a:lnTo>
                  <a:lnTo>
                    <a:pt x="1050" y="2376"/>
                  </a:lnTo>
                  <a:lnTo>
                    <a:pt x="1048" y="2375"/>
                  </a:lnTo>
                  <a:lnTo>
                    <a:pt x="1040" y="2365"/>
                  </a:lnTo>
                  <a:lnTo>
                    <a:pt x="1042" y="2363"/>
                  </a:lnTo>
                  <a:lnTo>
                    <a:pt x="1051" y="2372"/>
                  </a:lnTo>
                  <a:lnTo>
                    <a:pt x="1058" y="2377"/>
                  </a:lnTo>
                  <a:close/>
                  <a:moveTo>
                    <a:pt x="1040" y="3009"/>
                  </a:moveTo>
                  <a:lnTo>
                    <a:pt x="1040" y="3011"/>
                  </a:lnTo>
                  <a:lnTo>
                    <a:pt x="1036" y="3018"/>
                  </a:lnTo>
                  <a:lnTo>
                    <a:pt x="1034" y="3022"/>
                  </a:lnTo>
                  <a:lnTo>
                    <a:pt x="1033" y="3022"/>
                  </a:lnTo>
                  <a:lnTo>
                    <a:pt x="1031" y="3022"/>
                  </a:lnTo>
                  <a:lnTo>
                    <a:pt x="1033" y="3018"/>
                  </a:lnTo>
                  <a:lnTo>
                    <a:pt x="1037" y="3009"/>
                  </a:lnTo>
                  <a:lnTo>
                    <a:pt x="1038" y="3007"/>
                  </a:lnTo>
                  <a:lnTo>
                    <a:pt x="1040" y="3009"/>
                  </a:lnTo>
                  <a:close/>
                  <a:moveTo>
                    <a:pt x="1255" y="3118"/>
                  </a:moveTo>
                  <a:lnTo>
                    <a:pt x="1257" y="3120"/>
                  </a:lnTo>
                  <a:lnTo>
                    <a:pt x="1255" y="3122"/>
                  </a:lnTo>
                  <a:lnTo>
                    <a:pt x="1244" y="3123"/>
                  </a:lnTo>
                  <a:lnTo>
                    <a:pt x="1244" y="3122"/>
                  </a:lnTo>
                  <a:lnTo>
                    <a:pt x="1246" y="3122"/>
                  </a:lnTo>
                  <a:lnTo>
                    <a:pt x="1251" y="3118"/>
                  </a:lnTo>
                  <a:lnTo>
                    <a:pt x="1255" y="3118"/>
                  </a:lnTo>
                  <a:close/>
                  <a:moveTo>
                    <a:pt x="1144" y="2399"/>
                  </a:moveTo>
                  <a:lnTo>
                    <a:pt x="1144" y="2400"/>
                  </a:lnTo>
                  <a:lnTo>
                    <a:pt x="1143" y="2400"/>
                  </a:lnTo>
                  <a:lnTo>
                    <a:pt x="1140" y="2400"/>
                  </a:lnTo>
                  <a:lnTo>
                    <a:pt x="1137" y="2395"/>
                  </a:lnTo>
                  <a:lnTo>
                    <a:pt x="1144" y="2399"/>
                  </a:lnTo>
                  <a:close/>
                  <a:moveTo>
                    <a:pt x="1038" y="2848"/>
                  </a:moveTo>
                  <a:lnTo>
                    <a:pt x="1038" y="2849"/>
                  </a:lnTo>
                  <a:lnTo>
                    <a:pt x="1037" y="2848"/>
                  </a:lnTo>
                  <a:lnTo>
                    <a:pt x="1037" y="2847"/>
                  </a:lnTo>
                  <a:lnTo>
                    <a:pt x="1038" y="2848"/>
                  </a:lnTo>
                  <a:close/>
                  <a:moveTo>
                    <a:pt x="1026" y="2887"/>
                  </a:moveTo>
                  <a:lnTo>
                    <a:pt x="1026" y="2890"/>
                  </a:lnTo>
                  <a:lnTo>
                    <a:pt x="1025" y="2891"/>
                  </a:lnTo>
                  <a:lnTo>
                    <a:pt x="1025" y="2890"/>
                  </a:lnTo>
                  <a:lnTo>
                    <a:pt x="1026" y="2887"/>
                  </a:lnTo>
                  <a:close/>
                </a:path>
              </a:pathLst>
            </a:custGeom>
            <a:solidFill>
              <a:srgbClr val="548DD4"/>
            </a:solidFill>
            <a:ln w="1270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endParaRPr lang="en-US" sz="1200"/>
            </a:p>
          </p:txBody>
        </p:sp>
      </p:grpSp>
      <p:sp>
        <p:nvSpPr>
          <p:cNvPr id="172" name="Rectangle 171"/>
          <p:cNvSpPr>
            <a:spLocks noChangeArrowheads="1"/>
          </p:cNvSpPr>
          <p:nvPr/>
        </p:nvSpPr>
        <p:spPr bwMode="auto">
          <a:xfrm>
            <a:off x="1736144" y="3573440"/>
            <a:ext cx="41197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Manica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cxnSp>
        <p:nvCxnSpPr>
          <p:cNvPr id="174" name="Straight Connector 173"/>
          <p:cNvCxnSpPr>
            <a:stCxn id="269" idx="1"/>
            <a:endCxn id="187" idx="2"/>
          </p:cNvCxnSpPr>
          <p:nvPr/>
        </p:nvCxnSpPr>
        <p:spPr>
          <a:xfrm flipH="1" flipV="1">
            <a:off x="853876" y="4538092"/>
            <a:ext cx="882055" cy="42547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6" name="Left Bracket 175"/>
          <p:cNvSpPr/>
          <p:nvPr/>
        </p:nvSpPr>
        <p:spPr>
          <a:xfrm>
            <a:off x="4505510" y="2317521"/>
            <a:ext cx="88805" cy="818501"/>
          </a:xfrm>
          <a:prstGeom prst="lef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    </a:t>
            </a:r>
            <a:endParaRPr lang="en-GB" dirty="0"/>
          </a:p>
        </p:txBody>
      </p:sp>
      <p:pic>
        <p:nvPicPr>
          <p:cNvPr id="178" name="Picture 17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2840" y="2889380"/>
            <a:ext cx="452725" cy="205562"/>
          </a:xfrm>
          <a:prstGeom prst="rect">
            <a:avLst/>
          </a:prstGeom>
        </p:spPr>
      </p:pic>
      <p:sp>
        <p:nvSpPr>
          <p:cNvPr id="187" name="Right Bracket 186"/>
          <p:cNvSpPr/>
          <p:nvPr/>
        </p:nvSpPr>
        <p:spPr>
          <a:xfrm>
            <a:off x="791958" y="4176122"/>
            <a:ext cx="61918" cy="723939"/>
          </a:xfrm>
          <a:prstGeom prst="righ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8" name="Left Bracket 187"/>
          <p:cNvSpPr/>
          <p:nvPr/>
        </p:nvSpPr>
        <p:spPr>
          <a:xfrm>
            <a:off x="2619350" y="5647931"/>
            <a:ext cx="69453" cy="673299"/>
          </a:xfrm>
          <a:prstGeom prst="lef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91" name="Straight Connector 190"/>
          <p:cNvCxnSpPr>
            <a:stCxn id="188" idx="1"/>
          </p:cNvCxnSpPr>
          <p:nvPr/>
        </p:nvCxnSpPr>
        <p:spPr>
          <a:xfrm flipH="1" flipV="1">
            <a:off x="2254732" y="5607243"/>
            <a:ext cx="364618" cy="37733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3" name="TextBox 192"/>
          <p:cNvSpPr txBox="1"/>
          <p:nvPr/>
        </p:nvSpPr>
        <p:spPr>
          <a:xfrm>
            <a:off x="642273" y="5435775"/>
            <a:ext cx="818592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000" u="sng" dirty="0">
                <a:solidFill>
                  <a:srgbClr val="000000"/>
                </a:solidFill>
              </a:rPr>
              <a:t>&gt;</a:t>
            </a:r>
            <a:r>
              <a:rPr lang="en-US" sz="1000" dirty="0">
                <a:solidFill>
                  <a:srgbClr val="000000"/>
                </a:solidFill>
              </a:rPr>
              <a:t> 40%</a:t>
            </a:r>
          </a:p>
          <a:p>
            <a:pPr>
              <a:spcAft>
                <a:spcPts val="300"/>
              </a:spcAft>
            </a:pPr>
            <a:r>
              <a:rPr lang="fr-FR" sz="1000" dirty="0" smtClean="0">
                <a:solidFill>
                  <a:srgbClr val="000000"/>
                </a:solidFill>
              </a:rPr>
              <a:t>30-39.9</a:t>
            </a:r>
            <a:r>
              <a:rPr lang="fr-FR" sz="1000" dirty="0">
                <a:solidFill>
                  <a:srgbClr val="000000"/>
                </a:solidFill>
              </a:rPr>
              <a:t>%</a:t>
            </a:r>
          </a:p>
          <a:p>
            <a:pPr>
              <a:spcAft>
                <a:spcPts val="30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20-29.9%</a:t>
            </a:r>
            <a:endParaRPr lang="en-US" sz="1000" dirty="0">
              <a:solidFill>
                <a:srgbClr val="000000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&lt; 20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197866" y="5069792"/>
            <a:ext cx="15319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000000"/>
                </a:solidFill>
              </a:rPr>
              <a:t>Stunting prevalence</a:t>
            </a:r>
          </a:p>
          <a:p>
            <a:r>
              <a:rPr lang="en-US" sz="1000" b="1" dirty="0" smtClean="0">
                <a:solidFill>
                  <a:srgbClr val="000000"/>
                </a:solidFill>
              </a:rPr>
              <a:t> among &lt;5s</a:t>
            </a:r>
            <a:endParaRPr lang="en-US" sz="1000" b="1" dirty="0">
              <a:solidFill>
                <a:srgbClr val="000000"/>
              </a:solidFill>
            </a:endParaRPr>
          </a:p>
        </p:txBody>
      </p:sp>
      <p:pic>
        <p:nvPicPr>
          <p:cNvPr id="195" name="Picture 19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2918" y="2338261"/>
            <a:ext cx="343913" cy="255037"/>
          </a:xfrm>
          <a:prstGeom prst="rect">
            <a:avLst/>
          </a:prstGeom>
        </p:spPr>
      </p:pic>
      <p:pic>
        <p:nvPicPr>
          <p:cNvPr id="197" name="Picture 19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9917" y="5710848"/>
            <a:ext cx="452725" cy="205562"/>
          </a:xfrm>
          <a:prstGeom prst="rect">
            <a:avLst/>
          </a:prstGeom>
        </p:spPr>
      </p:pic>
      <p:pic>
        <p:nvPicPr>
          <p:cNvPr id="199" name="Picture 19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9917" y="5987448"/>
            <a:ext cx="259831" cy="316025"/>
          </a:xfrm>
          <a:prstGeom prst="rect">
            <a:avLst/>
          </a:prstGeom>
        </p:spPr>
      </p:pic>
      <p:pic>
        <p:nvPicPr>
          <p:cNvPr id="203" name="Picture 6" descr="http://unrcca.unmissions.org/Portals/unrcca/dnnPhotoGallery/UN%20Logos/IFAD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4390" y="2597853"/>
            <a:ext cx="242004" cy="24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" name="Picture 6" descr="http://unrcca.unmissions.org/Portals/unrcca/dnnPhotoGallery/UN%20Logos/IFAD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913" y="4193986"/>
            <a:ext cx="242004" cy="24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" name="Picture 20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999" y="4482298"/>
            <a:ext cx="259831" cy="316025"/>
          </a:xfrm>
          <a:prstGeom prst="rect">
            <a:avLst/>
          </a:prstGeom>
        </p:spPr>
      </p:pic>
      <p:pic>
        <p:nvPicPr>
          <p:cNvPr id="210" name="Picture 20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3967" y="3645021"/>
            <a:ext cx="343913" cy="255037"/>
          </a:xfrm>
          <a:prstGeom prst="rect">
            <a:avLst/>
          </a:prstGeom>
        </p:spPr>
      </p:pic>
      <p:pic>
        <p:nvPicPr>
          <p:cNvPr id="223" name="Picture 2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0007" y="3926985"/>
            <a:ext cx="259831" cy="316025"/>
          </a:xfrm>
          <a:prstGeom prst="rect">
            <a:avLst/>
          </a:prstGeom>
        </p:spPr>
      </p:pic>
      <p:sp>
        <p:nvSpPr>
          <p:cNvPr id="232" name="Right Bracket 231"/>
          <p:cNvSpPr/>
          <p:nvPr/>
        </p:nvSpPr>
        <p:spPr>
          <a:xfrm>
            <a:off x="1502164" y="3597229"/>
            <a:ext cx="61918" cy="723939"/>
          </a:xfrm>
          <a:prstGeom prst="righ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33" name="Straight Connector 232"/>
          <p:cNvCxnSpPr>
            <a:endCxn id="232" idx="2"/>
          </p:cNvCxnSpPr>
          <p:nvPr/>
        </p:nvCxnSpPr>
        <p:spPr>
          <a:xfrm flipH="1" flipV="1">
            <a:off x="1564082" y="3959199"/>
            <a:ext cx="409508" cy="3436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34" name="Picture 6" descr="http://unrcca.unmissions.org/Portals/unrcca/dnnPhotoGallery/UN%20Logos/IFAD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4469" y="4972523"/>
            <a:ext cx="242004" cy="24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" name="Picture 23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812" y="5242276"/>
            <a:ext cx="649556" cy="184474"/>
          </a:xfrm>
          <a:prstGeom prst="rect">
            <a:avLst/>
          </a:prstGeom>
        </p:spPr>
      </p:pic>
      <p:pic>
        <p:nvPicPr>
          <p:cNvPr id="236" name="Picture 2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812" y="5427375"/>
            <a:ext cx="259831" cy="316025"/>
          </a:xfrm>
          <a:prstGeom prst="rect">
            <a:avLst/>
          </a:prstGeom>
        </p:spPr>
      </p:pic>
      <p:sp>
        <p:nvSpPr>
          <p:cNvPr id="237" name="Left Bracket 236"/>
          <p:cNvSpPr/>
          <p:nvPr/>
        </p:nvSpPr>
        <p:spPr>
          <a:xfrm>
            <a:off x="3607856" y="5000038"/>
            <a:ext cx="45719" cy="759855"/>
          </a:xfrm>
          <a:prstGeom prst="lef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    </a:t>
            </a:r>
            <a:endParaRPr lang="en-GB" dirty="0"/>
          </a:p>
        </p:txBody>
      </p:sp>
      <p:cxnSp>
        <p:nvCxnSpPr>
          <p:cNvPr id="238" name="Straight Connector 237"/>
          <p:cNvCxnSpPr>
            <a:stCxn id="237" idx="1"/>
            <a:endCxn id="156" idx="8"/>
          </p:cNvCxnSpPr>
          <p:nvPr/>
        </p:nvCxnSpPr>
        <p:spPr>
          <a:xfrm flipH="1" flipV="1">
            <a:off x="2846226" y="4781434"/>
            <a:ext cx="761630" cy="59853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39" name="Picture 23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0289" y="3648199"/>
            <a:ext cx="343913" cy="255037"/>
          </a:xfrm>
          <a:prstGeom prst="rect">
            <a:avLst/>
          </a:prstGeom>
        </p:spPr>
      </p:pic>
      <p:pic>
        <p:nvPicPr>
          <p:cNvPr id="240" name="Picture 6" descr="http://unrcca.unmissions.org/Portals/unrcca/dnnPhotoGallery/UN%20Logos/IFAD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288" y="3931789"/>
            <a:ext cx="242004" cy="24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1" name="Picture 24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554" y="4211714"/>
            <a:ext cx="452725" cy="205562"/>
          </a:xfrm>
          <a:prstGeom prst="rect">
            <a:avLst/>
          </a:prstGeom>
        </p:spPr>
      </p:pic>
      <p:pic>
        <p:nvPicPr>
          <p:cNvPr id="242" name="Picture 24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545" y="4474440"/>
            <a:ext cx="259831" cy="316025"/>
          </a:xfrm>
          <a:prstGeom prst="rect">
            <a:avLst/>
          </a:prstGeom>
        </p:spPr>
      </p:pic>
      <p:cxnSp>
        <p:nvCxnSpPr>
          <p:cNvPr id="243" name="Straight Connector 242"/>
          <p:cNvCxnSpPr>
            <a:stCxn id="275" idx="1"/>
            <a:endCxn id="159" idx="5"/>
          </p:cNvCxnSpPr>
          <p:nvPr/>
        </p:nvCxnSpPr>
        <p:spPr>
          <a:xfrm flipH="1" flipV="1">
            <a:off x="2854436" y="3739788"/>
            <a:ext cx="1224334" cy="49060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44" name="Picture 24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40" y="2269964"/>
            <a:ext cx="343913" cy="255037"/>
          </a:xfrm>
          <a:prstGeom prst="rect">
            <a:avLst/>
          </a:prstGeom>
        </p:spPr>
      </p:pic>
      <p:pic>
        <p:nvPicPr>
          <p:cNvPr id="245" name="Picture 6" descr="http://unrcca.unmissions.org/Portals/unrcca/dnnPhotoGallery/UN%20Logos/IFAD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722" y="2532760"/>
            <a:ext cx="242004" cy="24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6" name="Picture 24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74" y="2808879"/>
            <a:ext cx="259831" cy="316025"/>
          </a:xfrm>
          <a:prstGeom prst="rect">
            <a:avLst/>
          </a:prstGeom>
        </p:spPr>
      </p:pic>
      <p:pic>
        <p:nvPicPr>
          <p:cNvPr id="247" name="Picture 24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049" y="3173057"/>
            <a:ext cx="649556" cy="184474"/>
          </a:xfrm>
          <a:prstGeom prst="rect">
            <a:avLst/>
          </a:prstGeom>
        </p:spPr>
      </p:pic>
      <p:pic>
        <p:nvPicPr>
          <p:cNvPr id="248" name="Picture 24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694" y="1784914"/>
            <a:ext cx="343913" cy="255037"/>
          </a:xfrm>
          <a:prstGeom prst="rect">
            <a:avLst/>
          </a:prstGeom>
        </p:spPr>
      </p:pic>
      <p:pic>
        <p:nvPicPr>
          <p:cNvPr id="249" name="Picture 2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694" y="2092695"/>
            <a:ext cx="649556" cy="184474"/>
          </a:xfrm>
          <a:prstGeom prst="rect">
            <a:avLst/>
          </a:prstGeom>
        </p:spPr>
      </p:pic>
      <p:pic>
        <p:nvPicPr>
          <p:cNvPr id="250" name="Picture 24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8874" y="1737507"/>
            <a:ext cx="259831" cy="316025"/>
          </a:xfrm>
          <a:prstGeom prst="rect">
            <a:avLst/>
          </a:prstGeom>
        </p:spPr>
      </p:pic>
      <p:cxnSp>
        <p:nvCxnSpPr>
          <p:cNvPr id="251" name="Straight Connector 250"/>
          <p:cNvCxnSpPr>
            <a:stCxn id="278" idx="2"/>
            <a:endCxn id="144" idx="50"/>
          </p:cNvCxnSpPr>
          <p:nvPr/>
        </p:nvCxnSpPr>
        <p:spPr>
          <a:xfrm>
            <a:off x="2035154" y="2010229"/>
            <a:ext cx="267349" cy="58249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2" name="Picture 25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2774" y="3192512"/>
            <a:ext cx="343913" cy="255037"/>
          </a:xfrm>
          <a:prstGeom prst="rect">
            <a:avLst/>
          </a:prstGeom>
        </p:spPr>
      </p:pic>
      <p:pic>
        <p:nvPicPr>
          <p:cNvPr id="253" name="Picture 6" descr="http://unrcca.unmissions.org/Portals/unrcca/dnnPhotoGallery/UN%20Logos/IFAD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8999" y="3465670"/>
            <a:ext cx="242004" cy="24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4" name="Left Bracket 253"/>
          <p:cNvSpPr/>
          <p:nvPr/>
        </p:nvSpPr>
        <p:spPr>
          <a:xfrm>
            <a:off x="5252200" y="3164606"/>
            <a:ext cx="51779" cy="1059791"/>
          </a:xfrm>
          <a:prstGeom prst="lef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    </a:t>
            </a:r>
            <a:endParaRPr lang="en-GB" dirty="0"/>
          </a:p>
        </p:txBody>
      </p:sp>
      <p:cxnSp>
        <p:nvCxnSpPr>
          <p:cNvPr id="255" name="Straight Connector 254"/>
          <p:cNvCxnSpPr>
            <a:stCxn id="254" idx="1"/>
            <a:endCxn id="153" idx="7"/>
          </p:cNvCxnSpPr>
          <p:nvPr/>
        </p:nvCxnSpPr>
        <p:spPr>
          <a:xfrm flipH="1" flipV="1">
            <a:off x="3510882" y="3301565"/>
            <a:ext cx="1741318" cy="39293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>
            <a:endCxn id="151" idx="60"/>
          </p:cNvCxnSpPr>
          <p:nvPr/>
        </p:nvCxnSpPr>
        <p:spPr>
          <a:xfrm flipH="1">
            <a:off x="4215004" y="2767711"/>
            <a:ext cx="291621" cy="6759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7" name="Picture 6" descr="http://unrcca.unmissions.org/Portals/unrcca/dnnPhotoGallery/UN%20Logos/IFAD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7429" y="1559587"/>
            <a:ext cx="242004" cy="24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8" name="Picture 25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919" y="1861962"/>
            <a:ext cx="452725" cy="205562"/>
          </a:xfrm>
          <a:prstGeom prst="rect">
            <a:avLst/>
          </a:prstGeom>
        </p:spPr>
      </p:pic>
      <p:sp>
        <p:nvSpPr>
          <p:cNvPr id="259" name="Left Bracket 258"/>
          <p:cNvSpPr/>
          <p:nvPr/>
        </p:nvSpPr>
        <p:spPr>
          <a:xfrm>
            <a:off x="4503932" y="1540946"/>
            <a:ext cx="109950" cy="585458"/>
          </a:xfrm>
          <a:prstGeom prst="lef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    </a:t>
            </a:r>
            <a:endParaRPr lang="en-GB" dirty="0"/>
          </a:p>
        </p:txBody>
      </p:sp>
      <p:cxnSp>
        <p:nvCxnSpPr>
          <p:cNvPr id="260" name="Straight Connector 259"/>
          <p:cNvCxnSpPr>
            <a:stCxn id="259" idx="1"/>
          </p:cNvCxnSpPr>
          <p:nvPr/>
        </p:nvCxnSpPr>
        <p:spPr>
          <a:xfrm flipH="1">
            <a:off x="4081851" y="1833675"/>
            <a:ext cx="422081" cy="23110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1" name="AutoShape 55"/>
          <p:cNvSpPr>
            <a:spLocks noChangeAspect="1" noChangeArrowheads="1" noTextEdit="1"/>
          </p:cNvSpPr>
          <p:nvPr/>
        </p:nvSpPr>
        <p:spPr bwMode="auto">
          <a:xfrm>
            <a:off x="2075485" y="1453116"/>
            <a:ext cx="1712343" cy="3632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62" name="Freeform 261"/>
          <p:cNvSpPr>
            <a:spLocks noEditPoints="1"/>
          </p:cNvSpPr>
          <p:nvPr/>
        </p:nvSpPr>
        <p:spPr bwMode="auto">
          <a:xfrm>
            <a:off x="2086071" y="5117235"/>
            <a:ext cx="149312" cy="64145"/>
          </a:xfrm>
          <a:custGeom>
            <a:avLst/>
            <a:gdLst>
              <a:gd name="T0" fmla="*/ 382 w 446"/>
              <a:gd name="T1" fmla="*/ 130 h 228"/>
              <a:gd name="T2" fmla="*/ 381 w 446"/>
              <a:gd name="T3" fmla="*/ 138 h 228"/>
              <a:gd name="T4" fmla="*/ 372 w 446"/>
              <a:gd name="T5" fmla="*/ 129 h 228"/>
              <a:gd name="T6" fmla="*/ 385 w 446"/>
              <a:gd name="T7" fmla="*/ 127 h 228"/>
              <a:gd name="T8" fmla="*/ 195 w 446"/>
              <a:gd name="T9" fmla="*/ 59 h 228"/>
              <a:gd name="T10" fmla="*/ 182 w 446"/>
              <a:gd name="T11" fmla="*/ 68 h 228"/>
              <a:gd name="T12" fmla="*/ 171 w 446"/>
              <a:gd name="T13" fmla="*/ 80 h 228"/>
              <a:gd name="T14" fmla="*/ 172 w 446"/>
              <a:gd name="T15" fmla="*/ 79 h 228"/>
              <a:gd name="T16" fmla="*/ 142 w 446"/>
              <a:gd name="T17" fmla="*/ 110 h 228"/>
              <a:gd name="T18" fmla="*/ 123 w 446"/>
              <a:gd name="T19" fmla="*/ 138 h 228"/>
              <a:gd name="T20" fmla="*/ 90 w 446"/>
              <a:gd name="T21" fmla="*/ 124 h 228"/>
              <a:gd name="T22" fmla="*/ 82 w 446"/>
              <a:gd name="T23" fmla="*/ 115 h 228"/>
              <a:gd name="T24" fmla="*/ 76 w 446"/>
              <a:gd name="T25" fmla="*/ 108 h 228"/>
              <a:gd name="T26" fmla="*/ 57 w 446"/>
              <a:gd name="T27" fmla="*/ 107 h 228"/>
              <a:gd name="T28" fmla="*/ 48 w 446"/>
              <a:gd name="T29" fmla="*/ 120 h 228"/>
              <a:gd name="T30" fmla="*/ 73 w 446"/>
              <a:gd name="T31" fmla="*/ 92 h 228"/>
              <a:gd name="T32" fmla="*/ 90 w 446"/>
              <a:gd name="T33" fmla="*/ 75 h 228"/>
              <a:gd name="T34" fmla="*/ 97 w 446"/>
              <a:gd name="T35" fmla="*/ 35 h 228"/>
              <a:gd name="T36" fmla="*/ 206 w 446"/>
              <a:gd name="T37" fmla="*/ 34 h 228"/>
              <a:gd name="T38" fmla="*/ 204 w 446"/>
              <a:gd name="T39" fmla="*/ 55 h 228"/>
              <a:gd name="T40" fmla="*/ 98 w 446"/>
              <a:gd name="T41" fmla="*/ 219 h 228"/>
              <a:gd name="T42" fmla="*/ 71 w 446"/>
              <a:gd name="T43" fmla="*/ 213 h 228"/>
              <a:gd name="T44" fmla="*/ 33 w 446"/>
              <a:gd name="T45" fmla="*/ 228 h 228"/>
              <a:gd name="T46" fmla="*/ 19 w 446"/>
              <a:gd name="T47" fmla="*/ 222 h 228"/>
              <a:gd name="T48" fmla="*/ 6 w 446"/>
              <a:gd name="T49" fmla="*/ 215 h 228"/>
              <a:gd name="T50" fmla="*/ 1 w 446"/>
              <a:gd name="T51" fmla="*/ 197 h 228"/>
              <a:gd name="T52" fmla="*/ 19 w 446"/>
              <a:gd name="T53" fmla="*/ 199 h 228"/>
              <a:gd name="T54" fmla="*/ 44 w 446"/>
              <a:gd name="T55" fmla="*/ 174 h 228"/>
              <a:gd name="T56" fmla="*/ 47 w 446"/>
              <a:gd name="T57" fmla="*/ 158 h 228"/>
              <a:gd name="T58" fmla="*/ 43 w 446"/>
              <a:gd name="T59" fmla="*/ 130 h 228"/>
              <a:gd name="T60" fmla="*/ 60 w 446"/>
              <a:gd name="T61" fmla="*/ 127 h 228"/>
              <a:gd name="T62" fmla="*/ 83 w 446"/>
              <a:gd name="T63" fmla="*/ 134 h 228"/>
              <a:gd name="T64" fmla="*/ 92 w 446"/>
              <a:gd name="T65" fmla="*/ 130 h 228"/>
              <a:gd name="T66" fmla="*/ 97 w 446"/>
              <a:gd name="T67" fmla="*/ 135 h 228"/>
              <a:gd name="T68" fmla="*/ 106 w 446"/>
              <a:gd name="T69" fmla="*/ 163 h 228"/>
              <a:gd name="T70" fmla="*/ 129 w 446"/>
              <a:gd name="T71" fmla="*/ 172 h 228"/>
              <a:gd name="T72" fmla="*/ 112 w 446"/>
              <a:gd name="T73" fmla="*/ 200 h 228"/>
              <a:gd name="T74" fmla="*/ 435 w 446"/>
              <a:gd name="T75" fmla="*/ 152 h 228"/>
              <a:gd name="T76" fmla="*/ 421 w 446"/>
              <a:gd name="T77" fmla="*/ 202 h 228"/>
              <a:gd name="T78" fmla="*/ 414 w 446"/>
              <a:gd name="T79" fmla="*/ 215 h 228"/>
              <a:gd name="T80" fmla="*/ 413 w 446"/>
              <a:gd name="T81" fmla="*/ 202 h 228"/>
              <a:gd name="T82" fmla="*/ 406 w 446"/>
              <a:gd name="T83" fmla="*/ 195 h 228"/>
              <a:gd name="T84" fmla="*/ 405 w 446"/>
              <a:gd name="T85" fmla="*/ 187 h 228"/>
              <a:gd name="T86" fmla="*/ 382 w 446"/>
              <a:gd name="T87" fmla="*/ 172 h 228"/>
              <a:gd name="T88" fmla="*/ 378 w 446"/>
              <a:gd name="T89" fmla="*/ 177 h 228"/>
              <a:gd name="T90" fmla="*/ 386 w 446"/>
              <a:gd name="T91" fmla="*/ 178 h 228"/>
              <a:gd name="T92" fmla="*/ 388 w 446"/>
              <a:gd name="T93" fmla="*/ 194 h 228"/>
              <a:gd name="T94" fmla="*/ 372 w 446"/>
              <a:gd name="T95" fmla="*/ 200 h 228"/>
              <a:gd name="T96" fmla="*/ 367 w 446"/>
              <a:gd name="T97" fmla="*/ 191 h 228"/>
              <a:gd name="T98" fmla="*/ 371 w 446"/>
              <a:gd name="T99" fmla="*/ 175 h 228"/>
              <a:gd name="T100" fmla="*/ 388 w 446"/>
              <a:gd name="T101" fmla="*/ 152 h 228"/>
              <a:gd name="T102" fmla="*/ 403 w 446"/>
              <a:gd name="T103" fmla="*/ 141 h 228"/>
              <a:gd name="T104" fmla="*/ 413 w 446"/>
              <a:gd name="T105" fmla="*/ 146 h 228"/>
              <a:gd name="T106" fmla="*/ 418 w 446"/>
              <a:gd name="T107" fmla="*/ 149 h 228"/>
              <a:gd name="T108" fmla="*/ 431 w 446"/>
              <a:gd name="T109" fmla="*/ 140 h 228"/>
              <a:gd name="T110" fmla="*/ 434 w 446"/>
              <a:gd name="T111" fmla="*/ 129 h 228"/>
              <a:gd name="T112" fmla="*/ 445 w 446"/>
              <a:gd name="T113" fmla="*/ 128 h 228"/>
              <a:gd name="T114" fmla="*/ 206 w 446"/>
              <a:gd name="T115" fmla="*/ 83 h 228"/>
              <a:gd name="T116" fmla="*/ 190 w 446"/>
              <a:gd name="T117" fmla="*/ 102 h 228"/>
              <a:gd name="T118" fmla="*/ 192 w 446"/>
              <a:gd name="T119" fmla="*/ 92 h 228"/>
              <a:gd name="T120" fmla="*/ 202 w 446"/>
              <a:gd name="T121" fmla="*/ 87 h 228"/>
              <a:gd name="T122" fmla="*/ 207 w 446"/>
              <a:gd name="T123" fmla="*/ 75 h 228"/>
              <a:gd name="T124" fmla="*/ 207 w 446"/>
              <a:gd name="T125" fmla="*/ 59 h 22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46"/>
              <a:gd name="T190" fmla="*/ 0 h 228"/>
              <a:gd name="T191" fmla="*/ 446 w 446"/>
              <a:gd name="T192" fmla="*/ 228 h 22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46" h="228">
                <a:moveTo>
                  <a:pt x="385" y="127"/>
                </a:moveTo>
                <a:lnTo>
                  <a:pt x="388" y="128"/>
                </a:lnTo>
                <a:lnTo>
                  <a:pt x="382" y="130"/>
                </a:lnTo>
                <a:lnTo>
                  <a:pt x="382" y="135"/>
                </a:lnTo>
                <a:lnTo>
                  <a:pt x="381" y="137"/>
                </a:lnTo>
                <a:lnTo>
                  <a:pt x="381" y="138"/>
                </a:lnTo>
                <a:lnTo>
                  <a:pt x="378" y="137"/>
                </a:lnTo>
                <a:lnTo>
                  <a:pt x="372" y="130"/>
                </a:lnTo>
                <a:lnTo>
                  <a:pt x="372" y="129"/>
                </a:lnTo>
                <a:lnTo>
                  <a:pt x="374" y="128"/>
                </a:lnTo>
                <a:lnTo>
                  <a:pt x="380" y="128"/>
                </a:lnTo>
                <a:lnTo>
                  <a:pt x="385" y="127"/>
                </a:lnTo>
                <a:close/>
                <a:moveTo>
                  <a:pt x="204" y="55"/>
                </a:moveTo>
                <a:lnTo>
                  <a:pt x="197" y="55"/>
                </a:lnTo>
                <a:lnTo>
                  <a:pt x="195" y="59"/>
                </a:lnTo>
                <a:lnTo>
                  <a:pt x="185" y="63"/>
                </a:lnTo>
                <a:lnTo>
                  <a:pt x="183" y="68"/>
                </a:lnTo>
                <a:lnTo>
                  <a:pt x="182" y="68"/>
                </a:lnTo>
                <a:lnTo>
                  <a:pt x="181" y="71"/>
                </a:lnTo>
                <a:lnTo>
                  <a:pt x="172" y="78"/>
                </a:lnTo>
                <a:lnTo>
                  <a:pt x="171" y="80"/>
                </a:lnTo>
                <a:lnTo>
                  <a:pt x="172" y="80"/>
                </a:lnTo>
                <a:lnTo>
                  <a:pt x="174" y="78"/>
                </a:lnTo>
                <a:lnTo>
                  <a:pt x="172" y="79"/>
                </a:lnTo>
                <a:lnTo>
                  <a:pt x="170" y="82"/>
                </a:lnTo>
                <a:lnTo>
                  <a:pt x="153" y="97"/>
                </a:lnTo>
                <a:lnTo>
                  <a:pt x="142" y="110"/>
                </a:lnTo>
                <a:lnTo>
                  <a:pt x="133" y="120"/>
                </a:lnTo>
                <a:lnTo>
                  <a:pt x="126" y="130"/>
                </a:lnTo>
                <a:lnTo>
                  <a:pt x="123" y="138"/>
                </a:lnTo>
                <a:lnTo>
                  <a:pt x="117" y="138"/>
                </a:lnTo>
                <a:lnTo>
                  <a:pt x="104" y="133"/>
                </a:lnTo>
                <a:lnTo>
                  <a:pt x="90" y="124"/>
                </a:lnTo>
                <a:lnTo>
                  <a:pt x="83" y="120"/>
                </a:lnTo>
                <a:lnTo>
                  <a:pt x="82" y="119"/>
                </a:lnTo>
                <a:lnTo>
                  <a:pt x="82" y="115"/>
                </a:lnTo>
                <a:lnTo>
                  <a:pt x="79" y="113"/>
                </a:lnTo>
                <a:lnTo>
                  <a:pt x="78" y="110"/>
                </a:lnTo>
                <a:lnTo>
                  <a:pt x="76" y="108"/>
                </a:lnTo>
                <a:lnTo>
                  <a:pt x="71" y="104"/>
                </a:lnTo>
                <a:lnTo>
                  <a:pt x="61" y="105"/>
                </a:lnTo>
                <a:lnTo>
                  <a:pt x="57" y="107"/>
                </a:lnTo>
                <a:lnTo>
                  <a:pt x="51" y="115"/>
                </a:lnTo>
                <a:lnTo>
                  <a:pt x="53" y="120"/>
                </a:lnTo>
                <a:lnTo>
                  <a:pt x="48" y="120"/>
                </a:lnTo>
                <a:lnTo>
                  <a:pt x="53" y="105"/>
                </a:lnTo>
                <a:lnTo>
                  <a:pt x="56" y="100"/>
                </a:lnTo>
                <a:lnTo>
                  <a:pt x="73" y="92"/>
                </a:lnTo>
                <a:lnTo>
                  <a:pt x="82" y="87"/>
                </a:lnTo>
                <a:lnTo>
                  <a:pt x="86" y="84"/>
                </a:lnTo>
                <a:lnTo>
                  <a:pt x="90" y="75"/>
                </a:lnTo>
                <a:lnTo>
                  <a:pt x="94" y="66"/>
                </a:lnTo>
                <a:lnTo>
                  <a:pt x="97" y="55"/>
                </a:lnTo>
                <a:lnTo>
                  <a:pt x="97" y="35"/>
                </a:lnTo>
                <a:lnTo>
                  <a:pt x="103" y="0"/>
                </a:lnTo>
                <a:lnTo>
                  <a:pt x="122" y="6"/>
                </a:lnTo>
                <a:lnTo>
                  <a:pt x="206" y="34"/>
                </a:lnTo>
                <a:lnTo>
                  <a:pt x="208" y="45"/>
                </a:lnTo>
                <a:lnTo>
                  <a:pt x="208" y="51"/>
                </a:lnTo>
                <a:lnTo>
                  <a:pt x="204" y="55"/>
                </a:lnTo>
                <a:close/>
                <a:moveTo>
                  <a:pt x="112" y="200"/>
                </a:moveTo>
                <a:lnTo>
                  <a:pt x="104" y="220"/>
                </a:lnTo>
                <a:lnTo>
                  <a:pt x="98" y="219"/>
                </a:lnTo>
                <a:lnTo>
                  <a:pt x="94" y="215"/>
                </a:lnTo>
                <a:lnTo>
                  <a:pt x="86" y="213"/>
                </a:lnTo>
                <a:lnTo>
                  <a:pt x="71" y="213"/>
                </a:lnTo>
                <a:lnTo>
                  <a:pt x="58" y="215"/>
                </a:lnTo>
                <a:lnTo>
                  <a:pt x="53" y="220"/>
                </a:lnTo>
                <a:lnTo>
                  <a:pt x="33" y="228"/>
                </a:lnTo>
                <a:lnTo>
                  <a:pt x="29" y="225"/>
                </a:lnTo>
                <a:lnTo>
                  <a:pt x="22" y="222"/>
                </a:lnTo>
                <a:lnTo>
                  <a:pt x="19" y="222"/>
                </a:lnTo>
                <a:lnTo>
                  <a:pt x="14" y="227"/>
                </a:lnTo>
                <a:lnTo>
                  <a:pt x="11" y="225"/>
                </a:lnTo>
                <a:lnTo>
                  <a:pt x="6" y="215"/>
                </a:lnTo>
                <a:lnTo>
                  <a:pt x="0" y="206"/>
                </a:lnTo>
                <a:lnTo>
                  <a:pt x="0" y="200"/>
                </a:lnTo>
                <a:lnTo>
                  <a:pt x="1" y="197"/>
                </a:lnTo>
                <a:lnTo>
                  <a:pt x="6" y="195"/>
                </a:lnTo>
                <a:lnTo>
                  <a:pt x="9" y="195"/>
                </a:lnTo>
                <a:lnTo>
                  <a:pt x="19" y="199"/>
                </a:lnTo>
                <a:lnTo>
                  <a:pt x="26" y="197"/>
                </a:lnTo>
                <a:lnTo>
                  <a:pt x="40" y="182"/>
                </a:lnTo>
                <a:lnTo>
                  <a:pt x="44" y="174"/>
                </a:lnTo>
                <a:lnTo>
                  <a:pt x="46" y="169"/>
                </a:lnTo>
                <a:lnTo>
                  <a:pt x="44" y="159"/>
                </a:lnTo>
                <a:lnTo>
                  <a:pt x="47" y="158"/>
                </a:lnTo>
                <a:lnTo>
                  <a:pt x="44" y="152"/>
                </a:lnTo>
                <a:lnTo>
                  <a:pt x="42" y="140"/>
                </a:lnTo>
                <a:lnTo>
                  <a:pt x="43" y="130"/>
                </a:lnTo>
                <a:lnTo>
                  <a:pt x="47" y="128"/>
                </a:lnTo>
                <a:lnTo>
                  <a:pt x="53" y="125"/>
                </a:lnTo>
                <a:lnTo>
                  <a:pt x="60" y="127"/>
                </a:lnTo>
                <a:lnTo>
                  <a:pt x="76" y="133"/>
                </a:lnTo>
                <a:lnTo>
                  <a:pt x="82" y="133"/>
                </a:lnTo>
                <a:lnTo>
                  <a:pt x="83" y="134"/>
                </a:lnTo>
                <a:lnTo>
                  <a:pt x="87" y="134"/>
                </a:lnTo>
                <a:lnTo>
                  <a:pt x="89" y="130"/>
                </a:lnTo>
                <a:lnTo>
                  <a:pt x="92" y="130"/>
                </a:lnTo>
                <a:lnTo>
                  <a:pt x="94" y="132"/>
                </a:lnTo>
                <a:lnTo>
                  <a:pt x="96" y="135"/>
                </a:lnTo>
                <a:lnTo>
                  <a:pt x="97" y="135"/>
                </a:lnTo>
                <a:lnTo>
                  <a:pt x="97" y="145"/>
                </a:lnTo>
                <a:lnTo>
                  <a:pt x="97" y="150"/>
                </a:lnTo>
                <a:lnTo>
                  <a:pt x="106" y="163"/>
                </a:lnTo>
                <a:lnTo>
                  <a:pt x="108" y="167"/>
                </a:lnTo>
                <a:lnTo>
                  <a:pt x="117" y="171"/>
                </a:lnTo>
                <a:lnTo>
                  <a:pt x="129" y="172"/>
                </a:lnTo>
                <a:lnTo>
                  <a:pt x="135" y="180"/>
                </a:lnTo>
                <a:lnTo>
                  <a:pt x="131" y="188"/>
                </a:lnTo>
                <a:lnTo>
                  <a:pt x="112" y="200"/>
                </a:lnTo>
                <a:close/>
                <a:moveTo>
                  <a:pt x="445" y="128"/>
                </a:moveTo>
                <a:lnTo>
                  <a:pt x="446" y="133"/>
                </a:lnTo>
                <a:lnTo>
                  <a:pt x="435" y="152"/>
                </a:lnTo>
                <a:lnTo>
                  <a:pt x="427" y="169"/>
                </a:lnTo>
                <a:lnTo>
                  <a:pt x="427" y="178"/>
                </a:lnTo>
                <a:lnTo>
                  <a:pt x="421" y="202"/>
                </a:lnTo>
                <a:lnTo>
                  <a:pt x="420" y="207"/>
                </a:lnTo>
                <a:lnTo>
                  <a:pt x="417" y="211"/>
                </a:lnTo>
                <a:lnTo>
                  <a:pt x="414" y="215"/>
                </a:lnTo>
                <a:lnTo>
                  <a:pt x="413" y="211"/>
                </a:lnTo>
                <a:lnTo>
                  <a:pt x="414" y="206"/>
                </a:lnTo>
                <a:lnTo>
                  <a:pt x="413" y="202"/>
                </a:lnTo>
                <a:lnTo>
                  <a:pt x="414" y="200"/>
                </a:lnTo>
                <a:lnTo>
                  <a:pt x="408" y="197"/>
                </a:lnTo>
                <a:lnTo>
                  <a:pt x="406" y="195"/>
                </a:lnTo>
                <a:lnTo>
                  <a:pt x="406" y="191"/>
                </a:lnTo>
                <a:lnTo>
                  <a:pt x="403" y="190"/>
                </a:lnTo>
                <a:lnTo>
                  <a:pt x="405" y="187"/>
                </a:lnTo>
                <a:lnTo>
                  <a:pt x="402" y="178"/>
                </a:lnTo>
                <a:lnTo>
                  <a:pt x="397" y="177"/>
                </a:lnTo>
                <a:lnTo>
                  <a:pt x="382" y="172"/>
                </a:lnTo>
                <a:lnTo>
                  <a:pt x="381" y="169"/>
                </a:lnTo>
                <a:lnTo>
                  <a:pt x="378" y="172"/>
                </a:lnTo>
                <a:lnTo>
                  <a:pt x="378" y="177"/>
                </a:lnTo>
                <a:lnTo>
                  <a:pt x="381" y="178"/>
                </a:lnTo>
                <a:lnTo>
                  <a:pt x="383" y="177"/>
                </a:lnTo>
                <a:lnTo>
                  <a:pt x="386" y="178"/>
                </a:lnTo>
                <a:lnTo>
                  <a:pt x="391" y="186"/>
                </a:lnTo>
                <a:lnTo>
                  <a:pt x="391" y="190"/>
                </a:lnTo>
                <a:lnTo>
                  <a:pt x="388" y="194"/>
                </a:lnTo>
                <a:lnTo>
                  <a:pt x="378" y="199"/>
                </a:lnTo>
                <a:lnTo>
                  <a:pt x="374" y="207"/>
                </a:lnTo>
                <a:lnTo>
                  <a:pt x="372" y="200"/>
                </a:lnTo>
                <a:lnTo>
                  <a:pt x="368" y="197"/>
                </a:lnTo>
                <a:lnTo>
                  <a:pt x="368" y="195"/>
                </a:lnTo>
                <a:lnTo>
                  <a:pt x="367" y="191"/>
                </a:lnTo>
                <a:lnTo>
                  <a:pt x="371" y="186"/>
                </a:lnTo>
                <a:lnTo>
                  <a:pt x="372" y="182"/>
                </a:lnTo>
                <a:lnTo>
                  <a:pt x="371" y="175"/>
                </a:lnTo>
                <a:lnTo>
                  <a:pt x="380" y="162"/>
                </a:lnTo>
                <a:lnTo>
                  <a:pt x="381" y="154"/>
                </a:lnTo>
                <a:lnTo>
                  <a:pt x="388" y="152"/>
                </a:lnTo>
                <a:lnTo>
                  <a:pt x="393" y="145"/>
                </a:lnTo>
                <a:lnTo>
                  <a:pt x="400" y="144"/>
                </a:lnTo>
                <a:lnTo>
                  <a:pt x="403" y="141"/>
                </a:lnTo>
                <a:lnTo>
                  <a:pt x="408" y="142"/>
                </a:lnTo>
                <a:lnTo>
                  <a:pt x="408" y="147"/>
                </a:lnTo>
                <a:lnTo>
                  <a:pt x="413" y="146"/>
                </a:lnTo>
                <a:lnTo>
                  <a:pt x="413" y="150"/>
                </a:lnTo>
                <a:lnTo>
                  <a:pt x="416" y="150"/>
                </a:lnTo>
                <a:lnTo>
                  <a:pt x="418" y="149"/>
                </a:lnTo>
                <a:lnTo>
                  <a:pt x="420" y="146"/>
                </a:lnTo>
                <a:lnTo>
                  <a:pt x="427" y="144"/>
                </a:lnTo>
                <a:lnTo>
                  <a:pt x="431" y="140"/>
                </a:lnTo>
                <a:lnTo>
                  <a:pt x="432" y="137"/>
                </a:lnTo>
                <a:lnTo>
                  <a:pt x="431" y="133"/>
                </a:lnTo>
                <a:lnTo>
                  <a:pt x="434" y="129"/>
                </a:lnTo>
                <a:lnTo>
                  <a:pt x="439" y="129"/>
                </a:lnTo>
                <a:lnTo>
                  <a:pt x="443" y="127"/>
                </a:lnTo>
                <a:lnTo>
                  <a:pt x="445" y="128"/>
                </a:lnTo>
                <a:close/>
                <a:moveTo>
                  <a:pt x="210" y="65"/>
                </a:moveTo>
                <a:lnTo>
                  <a:pt x="210" y="71"/>
                </a:lnTo>
                <a:lnTo>
                  <a:pt x="206" y="83"/>
                </a:lnTo>
                <a:lnTo>
                  <a:pt x="197" y="102"/>
                </a:lnTo>
                <a:lnTo>
                  <a:pt x="195" y="102"/>
                </a:lnTo>
                <a:lnTo>
                  <a:pt x="190" y="102"/>
                </a:lnTo>
                <a:lnTo>
                  <a:pt x="192" y="95"/>
                </a:lnTo>
                <a:lnTo>
                  <a:pt x="190" y="93"/>
                </a:lnTo>
                <a:lnTo>
                  <a:pt x="192" y="92"/>
                </a:lnTo>
                <a:lnTo>
                  <a:pt x="193" y="92"/>
                </a:lnTo>
                <a:lnTo>
                  <a:pt x="192" y="88"/>
                </a:lnTo>
                <a:lnTo>
                  <a:pt x="202" y="87"/>
                </a:lnTo>
                <a:lnTo>
                  <a:pt x="204" y="83"/>
                </a:lnTo>
                <a:lnTo>
                  <a:pt x="206" y="75"/>
                </a:lnTo>
                <a:lnTo>
                  <a:pt x="207" y="75"/>
                </a:lnTo>
                <a:lnTo>
                  <a:pt x="208" y="74"/>
                </a:lnTo>
                <a:lnTo>
                  <a:pt x="206" y="67"/>
                </a:lnTo>
                <a:lnTo>
                  <a:pt x="207" y="59"/>
                </a:lnTo>
                <a:lnTo>
                  <a:pt x="210" y="65"/>
                </a:lnTo>
                <a:close/>
              </a:path>
            </a:pathLst>
          </a:custGeom>
          <a:solidFill>
            <a:srgbClr val="CCCCFF"/>
          </a:solidFill>
          <a:ln w="1270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63" name="Rectangle 262"/>
          <p:cNvSpPr>
            <a:spLocks noChangeArrowheads="1"/>
          </p:cNvSpPr>
          <p:nvPr/>
        </p:nvSpPr>
        <p:spPr bwMode="auto">
          <a:xfrm>
            <a:off x="1965331" y="4435241"/>
            <a:ext cx="42263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>
                <a:latin typeface="+mn-lt"/>
                <a:cs typeface="Times New Roman" pitchFamily="18" charset="0"/>
              </a:rPr>
              <a:t>Gaza</a:t>
            </a:r>
          </a:p>
        </p:txBody>
      </p:sp>
      <p:sp>
        <p:nvSpPr>
          <p:cNvPr id="264" name="Rectangle 263"/>
          <p:cNvSpPr>
            <a:spLocks noChangeArrowheads="1"/>
          </p:cNvSpPr>
          <p:nvPr/>
        </p:nvSpPr>
        <p:spPr bwMode="auto">
          <a:xfrm>
            <a:off x="2004196" y="2804636"/>
            <a:ext cx="37597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solidFill>
                  <a:schemeClr val="bg1"/>
                </a:solidFill>
                <a:latin typeface="+mn-lt"/>
                <a:cs typeface="Times New Roman" pitchFamily="18" charset="0"/>
              </a:rPr>
              <a:t>Tete</a:t>
            </a:r>
            <a:endParaRPr lang="en-US" sz="1000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65" name="Rectangle 264"/>
          <p:cNvSpPr>
            <a:spLocks noChangeArrowheads="1"/>
          </p:cNvSpPr>
          <p:nvPr/>
        </p:nvSpPr>
        <p:spPr bwMode="auto">
          <a:xfrm>
            <a:off x="2803419" y="2329371"/>
            <a:ext cx="39113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solidFill>
                  <a:schemeClr val="bg1"/>
                </a:solidFill>
                <a:latin typeface="+mn-lt"/>
                <a:cs typeface="Times New Roman" pitchFamily="18" charset="0"/>
              </a:rPr>
              <a:t>Niassa</a:t>
            </a:r>
            <a:endParaRPr lang="en-US" sz="1000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66" name="Rectangle 265"/>
          <p:cNvSpPr>
            <a:spLocks noChangeArrowheads="1"/>
          </p:cNvSpPr>
          <p:nvPr/>
        </p:nvSpPr>
        <p:spPr bwMode="auto">
          <a:xfrm>
            <a:off x="3521667" y="2697533"/>
            <a:ext cx="51135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Nampula</a:t>
            </a:r>
            <a:endParaRPr lang="en-US" sz="1000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67" name="Rectangle 266"/>
          <p:cNvSpPr>
            <a:spLocks noChangeArrowheads="1"/>
          </p:cNvSpPr>
          <p:nvPr/>
        </p:nvSpPr>
        <p:spPr bwMode="auto">
          <a:xfrm>
            <a:off x="3027561" y="2997416"/>
            <a:ext cx="56105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solidFill>
                  <a:schemeClr val="bg1"/>
                </a:solidFill>
                <a:latin typeface="+mn-lt"/>
                <a:cs typeface="Times New Roman" pitchFamily="18" charset="0"/>
              </a:rPr>
              <a:t>Zambezia</a:t>
            </a:r>
            <a:endParaRPr lang="en-US" sz="1000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68" name="Rectangle 267"/>
          <p:cNvSpPr>
            <a:spLocks noChangeArrowheads="1"/>
          </p:cNvSpPr>
          <p:nvPr/>
        </p:nvSpPr>
        <p:spPr bwMode="auto">
          <a:xfrm>
            <a:off x="2434545" y="4310491"/>
            <a:ext cx="63639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Inhambane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69" name="Rectangle 268"/>
          <p:cNvSpPr>
            <a:spLocks noChangeArrowheads="1"/>
          </p:cNvSpPr>
          <p:nvPr/>
        </p:nvSpPr>
        <p:spPr bwMode="auto">
          <a:xfrm>
            <a:off x="1735931" y="4886627"/>
            <a:ext cx="42479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>
                <a:latin typeface="+mn-lt"/>
                <a:cs typeface="Times New Roman" pitchFamily="18" charset="0"/>
              </a:rPr>
              <a:t>Maputo</a:t>
            </a:r>
          </a:p>
        </p:txBody>
      </p:sp>
      <p:sp>
        <p:nvSpPr>
          <p:cNvPr id="270" name="Rectangle 269"/>
          <p:cNvSpPr>
            <a:spLocks noChangeArrowheads="1"/>
          </p:cNvSpPr>
          <p:nvPr/>
        </p:nvSpPr>
        <p:spPr bwMode="auto">
          <a:xfrm>
            <a:off x="2130567" y="5418099"/>
            <a:ext cx="71654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>
                <a:latin typeface="+mn-lt"/>
                <a:cs typeface="Times New Roman" pitchFamily="18" charset="0"/>
              </a:rPr>
              <a:t>Maputo City </a:t>
            </a:r>
          </a:p>
        </p:txBody>
      </p:sp>
      <p:sp>
        <p:nvSpPr>
          <p:cNvPr id="271" name="Rectangle 270"/>
          <p:cNvSpPr>
            <a:spLocks noChangeArrowheads="1"/>
          </p:cNvSpPr>
          <p:nvPr/>
        </p:nvSpPr>
        <p:spPr bwMode="auto">
          <a:xfrm>
            <a:off x="2551451" y="3508479"/>
            <a:ext cx="36067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dirty="0" err="1">
                <a:latin typeface="+mn-lt"/>
                <a:cs typeface="Times New Roman" pitchFamily="18" charset="0"/>
              </a:rPr>
              <a:t>Sofala</a:t>
            </a:r>
            <a:endParaRPr lang="en-US" sz="1000" dirty="0">
              <a:latin typeface="+mn-lt"/>
              <a:cs typeface="Times New Roman" pitchFamily="18" charset="0"/>
            </a:endParaRPr>
          </a:p>
        </p:txBody>
      </p:sp>
      <p:sp>
        <p:nvSpPr>
          <p:cNvPr id="272" name="Rectangle 271"/>
          <p:cNvSpPr>
            <a:spLocks noChangeArrowheads="1"/>
          </p:cNvSpPr>
          <p:nvPr/>
        </p:nvSpPr>
        <p:spPr bwMode="auto">
          <a:xfrm>
            <a:off x="3558536" y="2162731"/>
            <a:ext cx="47448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000" dirty="0">
                <a:solidFill>
                  <a:schemeClr val="bg1"/>
                </a:solidFill>
                <a:latin typeface="+mn-lt"/>
                <a:cs typeface="Times New Roman" pitchFamily="18" charset="0"/>
              </a:rPr>
              <a:t>Cabo </a:t>
            </a:r>
            <a:endParaRPr lang="en-US" sz="1000" dirty="0" smtClean="0">
              <a:solidFill>
                <a:schemeClr val="bg1"/>
              </a:solidFill>
              <a:latin typeface="+mn-lt"/>
              <a:cs typeface="Times New Roman" pitchFamily="18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Delgado</a:t>
            </a:r>
            <a:endParaRPr lang="en-US" sz="1000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73" name="Right Bracket 272"/>
          <p:cNvSpPr/>
          <p:nvPr/>
        </p:nvSpPr>
        <p:spPr>
          <a:xfrm>
            <a:off x="1076915" y="2243942"/>
            <a:ext cx="70205" cy="1098104"/>
          </a:xfrm>
          <a:prstGeom prst="righ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74" name="Straight Connector 273"/>
          <p:cNvCxnSpPr>
            <a:stCxn id="273" idx="2"/>
            <a:endCxn id="141" idx="46"/>
          </p:cNvCxnSpPr>
          <p:nvPr/>
        </p:nvCxnSpPr>
        <p:spPr>
          <a:xfrm>
            <a:off x="1147120" y="2792994"/>
            <a:ext cx="1072026" cy="802143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5" name="Left Bracket 274"/>
          <p:cNvSpPr/>
          <p:nvPr/>
        </p:nvSpPr>
        <p:spPr>
          <a:xfrm>
            <a:off x="4078770" y="3626675"/>
            <a:ext cx="78499" cy="1207435"/>
          </a:xfrm>
          <a:prstGeom prst="lef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    </a:t>
            </a:r>
            <a:endParaRPr lang="en-GB" dirty="0"/>
          </a:p>
        </p:txBody>
      </p:sp>
      <p:pic>
        <p:nvPicPr>
          <p:cNvPr id="276" name="Picture 27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0383" y="3732822"/>
            <a:ext cx="649556" cy="184474"/>
          </a:xfrm>
          <a:prstGeom prst="rect">
            <a:avLst/>
          </a:prstGeom>
        </p:spPr>
      </p:pic>
      <p:pic>
        <p:nvPicPr>
          <p:cNvPr id="277" name="Picture 27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7107" y="3952301"/>
            <a:ext cx="452725" cy="205562"/>
          </a:xfrm>
          <a:prstGeom prst="rect">
            <a:avLst/>
          </a:prstGeom>
        </p:spPr>
      </p:pic>
      <p:sp>
        <p:nvSpPr>
          <p:cNvPr id="278" name="Right Bracket 277"/>
          <p:cNvSpPr/>
          <p:nvPr/>
        </p:nvSpPr>
        <p:spPr>
          <a:xfrm>
            <a:off x="1984393" y="1693490"/>
            <a:ext cx="50761" cy="633477"/>
          </a:xfrm>
          <a:prstGeom prst="rightBracke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9" name="Rectangle 278"/>
          <p:cNvSpPr/>
          <p:nvPr/>
        </p:nvSpPr>
        <p:spPr bwMode="auto">
          <a:xfrm>
            <a:off x="296955" y="6061069"/>
            <a:ext cx="355371" cy="105250"/>
          </a:xfrm>
          <a:prstGeom prst="rect">
            <a:avLst/>
          </a:prstGeom>
          <a:solidFill>
            <a:srgbClr val="CCCCFF"/>
          </a:solidFill>
          <a:ln w="127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80" name="Rectangle 279"/>
          <p:cNvSpPr/>
          <p:nvPr/>
        </p:nvSpPr>
        <p:spPr bwMode="auto">
          <a:xfrm>
            <a:off x="296955" y="5867519"/>
            <a:ext cx="355371" cy="111075"/>
          </a:xfrm>
          <a:prstGeom prst="rect">
            <a:avLst/>
          </a:prstGeom>
          <a:solidFill>
            <a:srgbClr val="00B0F0"/>
          </a:solidFill>
          <a:ln w="127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dirty="0" smtClean="0">
              <a:ln>
                <a:noFill/>
              </a:ln>
              <a:solidFill>
                <a:srgbClr val="16AABA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81" name="Rectangle 280"/>
          <p:cNvSpPr/>
          <p:nvPr/>
        </p:nvSpPr>
        <p:spPr bwMode="auto">
          <a:xfrm>
            <a:off x="296955" y="5682918"/>
            <a:ext cx="355371" cy="108491"/>
          </a:xfrm>
          <a:prstGeom prst="rect">
            <a:avLst/>
          </a:prstGeom>
          <a:solidFill>
            <a:srgbClr val="548DD4"/>
          </a:solidFill>
          <a:ln w="127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82" name="Rectangle 281"/>
          <p:cNvSpPr/>
          <p:nvPr/>
        </p:nvSpPr>
        <p:spPr bwMode="auto">
          <a:xfrm>
            <a:off x="296955" y="5493403"/>
            <a:ext cx="355371" cy="113264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83" name="Oval 282"/>
          <p:cNvSpPr/>
          <p:nvPr/>
        </p:nvSpPr>
        <p:spPr>
          <a:xfrm>
            <a:off x="2455157" y="3423023"/>
            <a:ext cx="585187" cy="435795"/>
          </a:xfrm>
          <a:prstGeom prst="ellipse">
            <a:avLst/>
          </a:prstGeom>
          <a:noFill/>
          <a:ln w="2540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4" name="Oval 283"/>
          <p:cNvSpPr/>
          <p:nvPr/>
        </p:nvSpPr>
        <p:spPr>
          <a:xfrm>
            <a:off x="1693771" y="3442954"/>
            <a:ext cx="585187" cy="435795"/>
          </a:xfrm>
          <a:prstGeom prst="ellipse">
            <a:avLst/>
          </a:prstGeom>
          <a:noFill/>
          <a:ln w="2540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5" name="Oval 284"/>
          <p:cNvSpPr/>
          <p:nvPr/>
        </p:nvSpPr>
        <p:spPr>
          <a:xfrm>
            <a:off x="1831087" y="2592722"/>
            <a:ext cx="585187" cy="435795"/>
          </a:xfrm>
          <a:prstGeom prst="ellipse">
            <a:avLst/>
          </a:prstGeom>
          <a:noFill/>
          <a:ln w="2540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6" name="Oval 285"/>
          <p:cNvSpPr/>
          <p:nvPr/>
        </p:nvSpPr>
        <p:spPr>
          <a:xfrm>
            <a:off x="2941903" y="2848399"/>
            <a:ext cx="711672" cy="435795"/>
          </a:xfrm>
          <a:prstGeom prst="ellipse">
            <a:avLst/>
          </a:prstGeom>
          <a:noFill/>
          <a:ln w="2540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65097" y="1139979"/>
            <a:ext cx="30384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Agencies intervening at national level: 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70" name="CasellaDiTesto 59"/>
          <p:cNvSpPr txBox="1"/>
          <p:nvPr/>
        </p:nvSpPr>
        <p:spPr>
          <a:xfrm>
            <a:off x="6038915" y="2369200"/>
            <a:ext cx="3738622" cy="393954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263525" indent="-26352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How complementary are the nutrition actions? Is there combined value added?</a:t>
            </a:r>
          </a:p>
          <a:p>
            <a:pPr marL="263525" indent="-26352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Is there a critical nutrition action missing in each region/state, that the UN is well-placed to deliver?</a:t>
            </a:r>
          </a:p>
          <a:p>
            <a:pPr marL="263525" indent="-26352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Are there opportunities for improved collaboration on joint planning (targeting &amp; geographic focus), implementation, M&amp;E?</a:t>
            </a:r>
          </a:p>
          <a:p>
            <a:pPr marL="263525" indent="-26352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How can the use of delivery mechanisms (e.g. schools, community health volunteers, agricultural extension) be optimized?</a:t>
            </a:r>
          </a:p>
          <a:p>
            <a:pPr marL="263525" indent="-26352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Alignment of advocacy, communications, other?</a:t>
            </a:r>
            <a:endParaRPr lang="it-IT" sz="1400" dirty="0">
              <a:solidFill>
                <a:prstClr val="black"/>
              </a:solidFill>
            </a:endParaRPr>
          </a:p>
        </p:txBody>
      </p:sp>
      <p:sp>
        <p:nvSpPr>
          <p:cNvPr id="171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61853" y="1699017"/>
            <a:ext cx="3682574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rgbClr val="548DD4"/>
            </a:outerShdw>
          </a:effectLst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 smtClean="0">
                <a:solidFill>
                  <a:srgbClr val="000000"/>
                </a:solidFill>
              </a:rPr>
              <a:t>Key questions:                                                               </a:t>
            </a:r>
            <a:r>
              <a:rPr lang="en-US" sz="1200" b="1" dirty="0" smtClean="0">
                <a:solidFill>
                  <a:srgbClr val="000000"/>
                </a:solidFill>
              </a:rPr>
              <a:t>When more than one agency present</a:t>
            </a:r>
            <a:endParaRPr lang="en-US" sz="1200" b="1" dirty="0">
              <a:solidFill>
                <a:srgbClr val="000000"/>
              </a:solidFill>
            </a:endParaRPr>
          </a:p>
        </p:txBody>
      </p:sp>
      <p:pic>
        <p:nvPicPr>
          <p:cNvPr id="135" name="Picture 13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1299" y="1187506"/>
            <a:ext cx="649556" cy="18447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6358" y="1160775"/>
            <a:ext cx="259831" cy="31602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9309" y="1163191"/>
            <a:ext cx="452725" cy="205562"/>
          </a:xfrm>
          <a:prstGeom prst="rect">
            <a:avLst/>
          </a:prstGeom>
        </p:spPr>
      </p:pic>
      <p:sp>
        <p:nvSpPr>
          <p:cNvPr id="28" name="Right Bracket 27"/>
          <p:cNvSpPr/>
          <p:nvPr/>
        </p:nvSpPr>
        <p:spPr>
          <a:xfrm>
            <a:off x="146598" y="2622107"/>
            <a:ext cx="45719" cy="45719"/>
          </a:xfrm>
          <a:prstGeom prst="rightBracket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1" name="TextBox 230"/>
          <p:cNvSpPr txBox="1"/>
          <p:nvPr/>
        </p:nvSpPr>
        <p:spPr>
          <a:xfrm>
            <a:off x="8692284" y="32491"/>
            <a:ext cx="994670" cy="4125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5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DRAFT</a:t>
            </a:r>
          </a:p>
        </p:txBody>
      </p:sp>
      <p:sp>
        <p:nvSpPr>
          <p:cNvPr id="124" name="Rounded Rectangular Callout 123"/>
          <p:cNvSpPr/>
          <p:nvPr/>
        </p:nvSpPr>
        <p:spPr>
          <a:xfrm>
            <a:off x="4348267" y="4972523"/>
            <a:ext cx="1499462" cy="1382699"/>
          </a:xfrm>
          <a:prstGeom prst="wedgeRoundRectCallout">
            <a:avLst>
              <a:gd name="adj1" fmla="val -37048"/>
              <a:gd name="adj2" fmla="val -76297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Place the logos (in black and white) of                       UN Agencies next to the provinces/ regions where they are conducting implementation or governance actions </a:t>
            </a:r>
          </a:p>
        </p:txBody>
      </p:sp>
      <p:sp>
        <p:nvSpPr>
          <p:cNvPr id="126" name="Rounded Rectangular Callout 125"/>
          <p:cNvSpPr/>
          <p:nvPr/>
        </p:nvSpPr>
        <p:spPr>
          <a:xfrm>
            <a:off x="70142" y="1352557"/>
            <a:ext cx="1431442" cy="830511"/>
          </a:xfrm>
          <a:prstGeom prst="wedgeRoundRectCallout">
            <a:avLst>
              <a:gd name="adj1" fmla="val 68517"/>
              <a:gd name="adj2" fmla="val 107207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Visually indicate geographic areas where the most UN actions are being undertaken (from previous slide)</a:t>
            </a:r>
          </a:p>
        </p:txBody>
      </p:sp>
      <p:sp>
        <p:nvSpPr>
          <p:cNvPr id="133" name="Rounded Rectangular Callout 132"/>
          <p:cNvSpPr/>
          <p:nvPr/>
        </p:nvSpPr>
        <p:spPr>
          <a:xfrm>
            <a:off x="4914732" y="1020699"/>
            <a:ext cx="1935981" cy="727526"/>
          </a:xfrm>
          <a:prstGeom prst="wedgeRoundRectCallout">
            <a:avLst>
              <a:gd name="adj1" fmla="val -67109"/>
              <a:gd name="adj2" fmla="val -22842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Pls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add logo of agencies working at </a:t>
            </a:r>
            <a:r>
              <a:rPr lang="en-GB" sz="1000" dirty="0" err="1" smtClean="0">
                <a:solidFill>
                  <a:srgbClr val="FFFFFF"/>
                </a:solidFill>
                <a:cs typeface="Arial" pitchFamily="34" charset="0"/>
              </a:rPr>
              <a:t>nat’l</a:t>
            </a: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level next to this note (if any)</a:t>
            </a:r>
          </a:p>
        </p:txBody>
      </p:sp>
      <p:sp>
        <p:nvSpPr>
          <p:cNvPr id="134" name="Rectangle 133"/>
          <p:cNvSpPr/>
          <p:nvPr/>
        </p:nvSpPr>
        <p:spPr>
          <a:xfrm>
            <a:off x="7689304" y="908720"/>
            <a:ext cx="2055122" cy="388938"/>
          </a:xfrm>
          <a:prstGeom prst="rect">
            <a:avLst/>
          </a:prstGeom>
          <a:solidFill>
            <a:srgbClr val="F9EFBD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nl-BE" sz="1200" i="1" dirty="0" smtClean="0">
                <a:solidFill>
                  <a:srgbClr val="000000"/>
                </a:solidFill>
              </a:rPr>
              <a:t>Illustrative – to be populated with country data</a:t>
            </a:r>
            <a:endParaRPr lang="en-US" sz="1200" i="1" dirty="0" smtClean="0">
              <a:solidFill>
                <a:srgbClr val="000000"/>
              </a:solidFill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192317" y="6589974"/>
            <a:ext cx="827700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000000"/>
                </a:solidFill>
              </a:rPr>
              <a:t>Source: UN Inventory exercise; MICS 2009 (UNICEF); </a:t>
            </a:r>
            <a:r>
              <a:rPr lang="en-US" sz="800" dirty="0">
                <a:solidFill>
                  <a:srgbClr val="000000"/>
                </a:solidFill>
              </a:rPr>
              <a:t>: INE Population Census </a:t>
            </a:r>
            <a:r>
              <a:rPr lang="en-US" sz="800" dirty="0" smtClean="0">
                <a:solidFill>
                  <a:srgbClr val="000000"/>
                </a:solidFill>
              </a:rPr>
              <a:t>2007 (Projections </a:t>
            </a:r>
            <a:r>
              <a:rPr lang="en-US" sz="800" dirty="0">
                <a:solidFill>
                  <a:srgbClr val="000000"/>
                </a:solidFill>
              </a:rPr>
              <a:t>for </a:t>
            </a:r>
            <a:r>
              <a:rPr lang="en-US" sz="800" dirty="0" smtClean="0">
                <a:solidFill>
                  <a:srgbClr val="000000"/>
                </a:solidFill>
              </a:rPr>
              <a:t>2011)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2" name="Oval 101"/>
          <p:cNvSpPr/>
          <p:nvPr/>
        </p:nvSpPr>
        <p:spPr>
          <a:xfrm>
            <a:off x="290029" y="6368146"/>
            <a:ext cx="372784" cy="164439"/>
          </a:xfrm>
          <a:prstGeom prst="ellipse">
            <a:avLst/>
          </a:prstGeom>
          <a:noFill/>
          <a:ln w="25400">
            <a:solidFill>
              <a:srgbClr val="CC66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635799" y="6318978"/>
            <a:ext cx="19446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Highest numbers of UN action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32" name="Rounded Rectangular Callout 131"/>
          <p:cNvSpPr/>
          <p:nvPr/>
        </p:nvSpPr>
        <p:spPr>
          <a:xfrm>
            <a:off x="2195490" y="5817117"/>
            <a:ext cx="1713153" cy="768737"/>
          </a:xfrm>
          <a:prstGeom prst="wedgeRoundRectCallout">
            <a:avLst>
              <a:gd name="adj1" fmla="val -93473"/>
              <a:gd name="adj2" fmla="val -41311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Use the map with stunting prevalences from the previous slide (brackets and colours should remain the sam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>
                <a:latin typeface="Arial" pitchFamily="34" charset="0"/>
                <a:cs typeface="Arial" pitchFamily="34" charset="0"/>
              </a:rPr>
              <a:t>UN presence primarily concentrated in X regions, but no UN agencies surveyed are working on nutrition-related actions in Name of provinces/states/regions </a:t>
            </a:r>
            <a:endParaRPr lang="en-GB" sz="1800" dirty="0"/>
          </a:p>
        </p:txBody>
      </p:sp>
      <p:sp>
        <p:nvSpPr>
          <p:cNvPr id="129" name="Rounded Rectangular Callout 128"/>
          <p:cNvSpPr/>
          <p:nvPr/>
        </p:nvSpPr>
        <p:spPr>
          <a:xfrm>
            <a:off x="5077242" y="74215"/>
            <a:ext cx="2035998" cy="325509"/>
          </a:xfrm>
          <a:prstGeom prst="wedgeRoundRectCallout">
            <a:avLst>
              <a:gd name="adj1" fmla="val -61382"/>
              <a:gd name="adj2" fmla="val 31635"/>
              <a:gd name="adj3" fmla="val 16667"/>
            </a:avLst>
          </a:prstGeom>
          <a:solidFill>
            <a:srgbClr val="1F497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Specify the applicable numbers </a:t>
            </a:r>
          </a:p>
        </p:txBody>
      </p:sp>
    </p:spTree>
    <p:extLst>
      <p:ext uri="{BB962C8B-B14F-4D97-AF65-F5344CB8AC3E}">
        <p14:creationId xmlns:p14="http://schemas.microsoft.com/office/powerpoint/2010/main" val="2708230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1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m/%#d/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/&gt;&lt;m_precDefaultWeek/&gt;&lt;m_precDefaultDay&gt;&lt;m_strFormatTime&gt;%#d&lt;/m_strFormatTime&gt;&lt;/m_precDefaultDay&gt;&lt;m_mruColor&gt;&lt;m_vecMRU length=&quot;6&quot;&gt;&lt;elem m_fUsage=&quot;1.00000000000000000000E+000&quot;&gt;&lt;m_ppcolschidx val=&quot;0&quot;/&gt;&lt;m_rgb r=&quot;0&quot; g=&quot;70&quot; b=&quot;c0&quot;/&gt;&lt;m_nBrightness val=&quot;0&quot;/&gt;&lt;/elem&gt;&lt;elem m_fUsage=&quot;9.00000000000000020000E-001&quot;&gt;&lt;m_ppcolschidx val=&quot;0&quot;/&gt;&lt;m_rgb r=&quot;70&quot; g=&quot;70&quot; b=&quot;c0&quot;/&gt;&lt;m_nBrightness val=&quot;0&quot;/&gt;&lt;/elem&gt;&lt;elem m_fUsage=&quot;8.10000000000000050000E-001&quot;&gt;&lt;m_ppcolschidx val=&quot;0&quot;/&gt;&lt;m_rgb r=&quot;0&quot; g=&quot;aa&quot; b=&quot;ea&quot;/&gt;&lt;m_nBrightness val=&quot;0&quot;/&gt;&lt;/elem&gt;&lt;elem m_fUsage=&quot;7.29000000000000090000E-001&quot;&gt;&lt;m_ppcolschidx val=&quot;0&quot;/&gt;&lt;m_rgb r=&quot;a7&quot; g=&quot;e6&quot; b=&quot;ff&quot;/&gt;&lt;m_nBrightness val=&quot;0&quot;/&gt;&lt;/elem&gt;&lt;elem m_fUsage=&quot;6.56100000000000130000E-001&quot;&gt;&lt;m_ppcolschidx val=&quot;0&quot;/&gt;&lt;m_rgb r=&quot;ff&quot; g=&quot;c0&quot; b=&quot;0&quot;/&gt;&lt;m_nBrightness val=&quot;0&quot;/&gt;&lt;/elem&gt;&lt;elem m_fUsage=&quot;5.90490000000000180000E-001&quot;&gt;&lt;m_ppcolschidx val=&quot;0&quot;/&gt;&lt;m_rgb r=&quot;ff&quot; g=&quot;d9&quot; b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n0x6rETEC2AaOveMD8X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789vaW2kCsANHcXgZK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FfWl5D1E22l2NCpLz_d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btMJWfsEmIRiYuPqzIl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xK7k2rGEyTNPsGTxVEJ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zlxXJBpkiwJPFjFsE4c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zlxXJBpkiwJPFjFsE4c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suElGY.k.Rbles6cPe9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e5PGTN2U2yfsPuYY9CC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rLujg_SkWJE0euYHz0b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zN5gONOk.Xrv.VNcPsB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4C0PNPUS4cgVhQJXlD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4C0PNPUS4cgVhQJXl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n0x6rETEC2AaOveMD8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FfWl5D1E22l2NCpLz_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zlxXJBpkiwJPFjFsE4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zlxXJBpkiwJPFjFsE4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zN5gONOk.Xrv.VNcPs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e5PGTN2U2yfsPuYY9CC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rLujg_SkWJE0euYHz0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4C0PNPUS4cgVhQJXlD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4C0PNPUS4cgVhQJXl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1IWHUkbkWJaIi9BzXP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CShP_vm0af5_mJKTiu4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_6Ka5U2EePhObdUnFN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.olPMhA06Vygykh8Ql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PXcKZNpEOxw4mGI7YX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pBqR1Lv0arOgydKtnM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CHFZZKFki3Vmg6vKjG8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1qixzVs0WxqtdXJ2Z2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Ea9PguzE.KPVr6Wc6U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T4vdfsj023p0R_nzL8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Ea9PguzE.KPVr6Wc6U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.olPMhA06Vygykh8Qlq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.olPMhA06Vygykh8Ql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.olPMhA06Vygykh8Ql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CShP_vm0af5_mJKTiu4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9nPvjKREmSL8NlmukLC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9nPvjKREmSL8NlmukLC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RHh2kXq0mDo0HRJJwzZ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9nPvjKREmSL8NlmukL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vIjpjdE2Zar9bGTTN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R1zLWiBE6M4eW7e4Ttn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OHi2v.AkCniBymjZ_e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RHh2kXq0mDo0HRJJwz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R1zLWiBE6M4eW7e4Ttn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R1zLWiBE6M4eW7e4Tt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OHi2v.AkCniBymjZ_ek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OHi2v.AkCniBymjZ_ek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9nPvjKREmSL8NlmukL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OHi2v.AkCniBymjZ_ek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9nPvjKREmSL8NlmukLC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vIjpjdE2Zar9bGTTN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R1zLWiBE6M4eW7e4Ttn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RHh2kXq0mDo0HRJJwzZ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R1zLWiBE6M4eW7e4Ttn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OHi2v.AkCniBymjZ_ek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OHi2v.AkCniBymjZ_ek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9nPvjKREmSL8NlmukLC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lxpdqtke6fR9JhwbeN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vIjpjdE2Zar9bGTTN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RHh2kXq0mDo0HRJJwzZ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xK7k2rGEyTNPsGTxVEJ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xK7k2rGEyTNPsGTxVEJ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xK7k2rGEyTNPsGTxVEJ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xK7k2rGEyTNPsGTxVEJ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e5PGTN2U2yfsPuYY9CC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rLujg_SkWJE0euYHz0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4C0PNPUS4cgVhQJXlD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4C0PNPUS4cgVhQJXl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J996WrEEWRBbvAKfOvk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xK7k2rGEyTNPsGTxVEJ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xK7k2rGEyTNPsGTxVE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keN65rakGqSnhLILp9mA"/>
</p:tagLst>
</file>

<file path=ppt/theme/theme1.xml><?xml version="1.0" encoding="utf-8"?>
<a:theme xmlns:a="http://schemas.openxmlformats.org/drawingml/2006/main" name="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8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REACH3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9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10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11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1_Blank">
  <a:themeElements>
    <a:clrScheme name="Blank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3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6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4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5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7_REACH Master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Blank 1">
    <a:dk1>
      <a:srgbClr val="000000"/>
    </a:dk1>
    <a:lt1>
      <a:srgbClr val="FFFFFF"/>
    </a:lt1>
    <a:dk2>
      <a:srgbClr val="177B57"/>
    </a:dk2>
    <a:lt2>
      <a:srgbClr val="808080"/>
    </a:lt2>
    <a:accent1>
      <a:srgbClr val="E2E2E2"/>
    </a:accent1>
    <a:accent2>
      <a:srgbClr val="BCDEC2"/>
    </a:accent2>
    <a:accent3>
      <a:srgbClr val="FFFFFF"/>
    </a:accent3>
    <a:accent4>
      <a:srgbClr val="000000"/>
    </a:accent4>
    <a:accent5>
      <a:srgbClr val="EEEEEE"/>
    </a:accent5>
    <a:accent6>
      <a:srgbClr val="AAC9B0"/>
    </a:accent6>
    <a:hlink>
      <a:srgbClr val="5BAD82"/>
    </a:hlink>
    <a:folHlink>
      <a:srgbClr val="8EC6A1"/>
    </a:folHlink>
  </a:clrScheme>
  <a:fontScheme name="Blank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Blank 1">
    <a:dk1>
      <a:srgbClr val="000000"/>
    </a:dk1>
    <a:lt1>
      <a:srgbClr val="FFFFFF"/>
    </a:lt1>
    <a:dk2>
      <a:srgbClr val="177B57"/>
    </a:dk2>
    <a:lt2>
      <a:srgbClr val="808080"/>
    </a:lt2>
    <a:accent1>
      <a:srgbClr val="E2E2E2"/>
    </a:accent1>
    <a:accent2>
      <a:srgbClr val="BCDEC2"/>
    </a:accent2>
    <a:accent3>
      <a:srgbClr val="FFFFFF"/>
    </a:accent3>
    <a:accent4>
      <a:srgbClr val="000000"/>
    </a:accent4>
    <a:accent5>
      <a:srgbClr val="EEEEEE"/>
    </a:accent5>
    <a:accent6>
      <a:srgbClr val="AAC9B0"/>
    </a:accent6>
    <a:hlink>
      <a:srgbClr val="5BAD82"/>
    </a:hlink>
    <a:folHlink>
      <a:srgbClr val="8EC6A1"/>
    </a:folHlink>
  </a:clrScheme>
  <a:fontScheme name="Blank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Blank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REACH Master</Template>
  <TotalTime>10288</TotalTime>
  <Words>8668</Words>
  <Application>Microsoft Office PowerPoint</Application>
  <PresentationFormat>A4 Paper (210x297 mm)</PresentationFormat>
  <Paragraphs>1432</Paragraphs>
  <Slides>50</Slides>
  <Notes>4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78" baseType="lpstr">
      <vt:lpstr>Gulim</vt:lpstr>
      <vt:lpstr>Arial</vt:lpstr>
      <vt:lpstr>Arial Narrow</vt:lpstr>
      <vt:lpstr>Calibri</vt:lpstr>
      <vt:lpstr>Cambria</vt:lpstr>
      <vt:lpstr>Gill Sans MT</vt:lpstr>
      <vt:lpstr>Tahoma</vt:lpstr>
      <vt:lpstr>Times New Roman</vt:lpstr>
      <vt:lpstr>Wingdings</vt:lpstr>
      <vt:lpstr>REACH Master</vt:lpstr>
      <vt:lpstr>1_REACH Master</vt:lpstr>
      <vt:lpstr>2_REACH Master</vt:lpstr>
      <vt:lpstr>3_REACH Master</vt:lpstr>
      <vt:lpstr>Office Theme</vt:lpstr>
      <vt:lpstr>6_REACH Master</vt:lpstr>
      <vt:lpstr>4_REACH Master</vt:lpstr>
      <vt:lpstr>5_REACH Master</vt:lpstr>
      <vt:lpstr>7_REACH Master</vt:lpstr>
      <vt:lpstr>1_Office Theme</vt:lpstr>
      <vt:lpstr>8_REACH Master</vt:lpstr>
      <vt:lpstr>REACH3</vt:lpstr>
      <vt:lpstr>9_REACH Master</vt:lpstr>
      <vt:lpstr>10_REACH Master</vt:lpstr>
      <vt:lpstr>11_REACH Master</vt:lpstr>
      <vt:lpstr>1_Blank</vt:lpstr>
      <vt:lpstr>Blank</vt:lpstr>
      <vt:lpstr>3_Office Theme</vt:lpstr>
      <vt:lpstr>think-cell Slide</vt:lpstr>
      <vt:lpstr>Inventory of UN Nutrition Actions  </vt:lpstr>
      <vt:lpstr>Agenda</vt:lpstr>
      <vt:lpstr>PowerPoint Presentation</vt:lpstr>
      <vt:lpstr>Using the Compendium of Actions for Nutrition (draft) to take inventory of                        UN actions</vt:lpstr>
      <vt:lpstr>The UN agencies surveyed are engaged in nutrition actions that support both nutrition governance functions and the implementation of direct services</vt:lpstr>
      <vt:lpstr>PowerPoint Presentation</vt:lpstr>
      <vt:lpstr>Agenda</vt:lpstr>
      <vt:lpstr>UN support compared to stunting prevalence and number of stunted children</vt:lpstr>
      <vt:lpstr>UN presence primarily concentrated in X regions, but no UN agencies surveyed are working on nutrition-related actions in Name of provinces/states/regions </vt:lpstr>
      <vt:lpstr>PowerPoint Presentation</vt:lpstr>
      <vt:lpstr>Identifying the thematic areas in which multiple UN agencies are engaged helps minimize duplication of efforts, ensure complementarity and exploit synergies</vt:lpstr>
      <vt:lpstr>Identifying the thematic areas in which multiple UN agencies are engaged helps minimize duplication of efforts, ensure complementarity and exploit synergies</vt:lpstr>
      <vt:lpstr>PowerPoint Presentation</vt:lpstr>
      <vt:lpstr>At national level, the overlap of actions supported by the surveyed UN agencies highlights opportunities to work better together</vt:lpstr>
      <vt:lpstr>In Kachin, the overlap of X actions undertaken at sub-national level by the surveyed UN agencies highlights opportunities to revisit targeting schemes and to work better together</vt:lpstr>
      <vt:lpstr>The UN agencies surveyed are supporting most/many/some/few of the core nutrition actions in Name of province/state/region </vt:lpstr>
      <vt:lpstr>PowerPoint Presentation</vt:lpstr>
      <vt:lpstr>Most investments in Food, Agriculture and/or Diet-related nutrition actions are made by 4 agencies and tend to be characterized as small and mediu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vestments in Health-based nutrition actions vary in size (1/2)</vt:lpstr>
      <vt:lpstr>PowerPoint Presentation</vt:lpstr>
      <vt:lpstr>PowerPoint Presentation</vt:lpstr>
      <vt:lpstr>Most/many/some/few of the nutrition actions for which the UN agencies surveyed are providing support are aligned to the national nutrition plan</vt:lpstr>
      <vt:lpstr>Most of the investments made by the UN agencies surveyed support Strategic Objectives 1.1 and 1.2 of the National Nutrition Pla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ulti-sectoral nutrition governance support is primarily provided at the national level</vt:lpstr>
      <vt:lpstr>Most of the UN agencies surveyed conduct nutrition governance actions, both sectoral and multi-sectoral facilitation, with XXX focusing on the latter</vt:lpstr>
      <vt:lpstr>Agenda</vt:lpstr>
      <vt:lpstr>Key summary findings from the UN Inventory exercise in Name of Country  </vt:lpstr>
    </vt:vector>
  </TitlesOfParts>
  <Company>World Food Programm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EKERMANN Frauke</dc:creator>
  <cp:lastModifiedBy>DENAVIT Chloe</cp:lastModifiedBy>
  <cp:revision>946</cp:revision>
  <cp:lastPrinted>2015-03-02T14:52:41Z</cp:lastPrinted>
  <dcterms:created xsi:type="dcterms:W3CDTF">2013-10-01T11:58:01Z</dcterms:created>
  <dcterms:modified xsi:type="dcterms:W3CDTF">2016-01-20T11:1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